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charts/chart6.xml" ContentType="application/vnd.openxmlformats-officedocument.drawingml.chart+xml"/>
  <Override PartName="/ppt/notesSlides/notesSlide18.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theme/themeOverride1.xml" ContentType="application/vnd.openxmlformats-officedocument.themeOverride+xml"/>
  <Override PartName="/ppt/charts/chart9.xml" ContentType="application/vnd.openxmlformats-officedocument.drawingml.chart+xml"/>
  <Override PartName="/ppt/theme/themeOverride2.xml" ContentType="application/vnd.openxmlformats-officedocument.themeOverride+xml"/>
  <Override PartName="/ppt/charts/chart10.xml" ContentType="application/vnd.openxmlformats-officedocument.drawingml.chart+xml"/>
  <Override PartName="/ppt/theme/themeOverride3.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1.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15.xml" ContentType="application/vnd.openxmlformats-officedocument.drawingml.chart+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77" r:id="rId2"/>
    <p:sldMasterId id="2147483794" r:id="rId3"/>
  </p:sldMasterIdLst>
  <p:notesMasterIdLst>
    <p:notesMasterId r:id="rId78"/>
  </p:notesMasterIdLst>
  <p:sldIdLst>
    <p:sldId id="2147469845" r:id="rId4"/>
    <p:sldId id="2147470554" r:id="rId5"/>
    <p:sldId id="2147470555" r:id="rId6"/>
    <p:sldId id="2147470559" r:id="rId7"/>
    <p:sldId id="2147470284" r:id="rId8"/>
    <p:sldId id="2147470560" r:id="rId9"/>
    <p:sldId id="2147470306" r:id="rId10"/>
    <p:sldId id="2147470404" r:id="rId11"/>
    <p:sldId id="2147470266" r:id="rId12"/>
    <p:sldId id="2147470402" r:id="rId13"/>
    <p:sldId id="2147470403" r:id="rId14"/>
    <p:sldId id="2147470287" r:id="rId15"/>
    <p:sldId id="2147470561" r:id="rId16"/>
    <p:sldId id="2147470673" r:id="rId17"/>
    <p:sldId id="265" r:id="rId18"/>
    <p:sldId id="2147470193" r:id="rId19"/>
    <p:sldId id="2147470406" r:id="rId20"/>
    <p:sldId id="2147470518" r:id="rId21"/>
    <p:sldId id="2147470516" r:id="rId22"/>
    <p:sldId id="2147470105" r:id="rId23"/>
    <p:sldId id="2147470258" r:id="rId24"/>
    <p:sldId id="2134806325" r:id="rId25"/>
    <p:sldId id="2146847498" r:id="rId26"/>
    <p:sldId id="2147470042" r:id="rId27"/>
    <p:sldId id="2147470280" r:id="rId28"/>
    <p:sldId id="2147470151" r:id="rId29"/>
    <p:sldId id="2147470166" r:id="rId30"/>
    <p:sldId id="2147470163" r:id="rId31"/>
    <p:sldId id="2147470170" r:id="rId32"/>
    <p:sldId id="2147470520" r:id="rId33"/>
    <p:sldId id="2147470417" r:id="rId34"/>
    <p:sldId id="2147470110" r:id="rId35"/>
    <p:sldId id="2147470461" r:id="rId36"/>
    <p:sldId id="2147470463" r:id="rId37"/>
    <p:sldId id="2147470465" r:id="rId38"/>
    <p:sldId id="2147470294" r:id="rId39"/>
    <p:sldId id="2147470434" r:id="rId40"/>
    <p:sldId id="2147470438" r:id="rId41"/>
    <p:sldId id="2147470486" r:id="rId42"/>
    <p:sldId id="2147470563" r:id="rId43"/>
    <p:sldId id="2147470668" r:id="rId44"/>
    <p:sldId id="2147470612" r:id="rId45"/>
    <p:sldId id="2147470667" r:id="rId46"/>
    <p:sldId id="2147470365" r:id="rId47"/>
    <p:sldId id="2147470646" r:id="rId48"/>
    <p:sldId id="2147470282" r:id="rId49"/>
    <p:sldId id="2147469950" r:id="rId50"/>
    <p:sldId id="2147470357" r:id="rId51"/>
    <p:sldId id="2147470669" r:id="rId52"/>
    <p:sldId id="2147470420" r:id="rId53"/>
    <p:sldId id="2147470582" r:id="rId54"/>
    <p:sldId id="2147470616" r:id="rId55"/>
    <p:sldId id="2147470649" r:id="rId56"/>
    <p:sldId id="2147470617" r:id="rId57"/>
    <p:sldId id="2147470335" r:id="rId58"/>
    <p:sldId id="2147470588" r:id="rId59"/>
    <p:sldId id="2147470621" r:id="rId60"/>
    <p:sldId id="2147470354" r:id="rId61"/>
    <p:sldId id="2147470670" r:id="rId62"/>
    <p:sldId id="2147470589" r:id="rId63"/>
    <p:sldId id="2147470530" r:id="rId64"/>
    <p:sldId id="2147470590" r:id="rId65"/>
    <p:sldId id="2147470512" r:id="rId66"/>
    <p:sldId id="2147470051" r:id="rId67"/>
    <p:sldId id="2147470655" r:id="rId68"/>
    <p:sldId id="2147470656" r:id="rId69"/>
    <p:sldId id="2147470625" r:id="rId70"/>
    <p:sldId id="2147470671" r:id="rId71"/>
    <p:sldId id="2147470172" r:id="rId72"/>
    <p:sldId id="2147470606" r:id="rId73"/>
    <p:sldId id="2147470595" r:id="rId74"/>
    <p:sldId id="2147470609" r:id="rId75"/>
    <p:sldId id="2147470385" r:id="rId76"/>
    <p:sldId id="2147470672"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nisha Saldanha" initials="VS" lastIdx="2" clrIdx="0">
    <p:extLst>
      <p:ext uri="{19B8F6BF-5375-455C-9EA6-DF929625EA0E}">
        <p15:presenceInfo xmlns:p15="http://schemas.microsoft.com/office/powerpoint/2012/main" userId="S::vinisha.saldanha@bayer.com::5b3e57e3-77f7-453b-839c-1e191f421b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9817D0-FA43-47AD-A2FB-04E82C23DF00}" v="4" dt="2023-01-09T08:11:43.2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372" autoAdjust="0"/>
  </p:normalViewPr>
  <p:slideViewPr>
    <p:cSldViewPr snapToGrid="0">
      <p:cViewPr varScale="1">
        <p:scale>
          <a:sx n="62" d="100"/>
          <a:sy n="62" d="100"/>
        </p:scale>
        <p:origin x="82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microsoft.com/office/2015/10/relationships/revisionInfo" Target="revisionInfo.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commentAuthors" Target="commentAuthor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1.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parator</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6</c:f>
              <c:numCache>
                <c:formatCode>General</c:formatCode>
                <c:ptCount val="5"/>
                <c:pt idx="0">
                  <c:v>13.2</c:v>
                </c:pt>
              </c:numCache>
            </c:numRef>
          </c:val>
          <c:extLst>
            <c:ext xmlns:c16="http://schemas.microsoft.com/office/drawing/2014/chart" uri="{C3380CC4-5D6E-409C-BE32-E72D297353CC}">
              <c16:uniqueId val="{00000000-BBE4-459C-9479-201F6C111E0B}"/>
            </c:ext>
          </c:extLst>
        </c:ser>
        <c:ser>
          <c:idx val="1"/>
          <c:order val="1"/>
          <c:tx>
            <c:strRef>
              <c:f>Sheet1!$C$1</c:f>
              <c:strCache>
                <c:ptCount val="1"/>
                <c:pt idx="0">
                  <c:v>Drug</c:v>
                </c:pt>
              </c:strCache>
            </c:strRef>
          </c:tx>
          <c:spPr>
            <a:solidFill>
              <a:schemeClr val="accent1"/>
            </a:solidFill>
            <a:ln>
              <a:solidFill>
                <a:schemeClr val="accent1"/>
              </a:solidFill>
            </a:ln>
            <a:effectLst/>
          </c:spPr>
          <c:invertIfNegative val="0"/>
          <c:dPt>
            <c:idx val="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2-BBE4-459C-9479-201F6C111E0B}"/>
              </c:ext>
            </c:extLst>
          </c:dPt>
          <c:dPt>
            <c:idx val="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4-BBE4-459C-9479-201F6C111E0B}"/>
              </c:ext>
            </c:extLst>
          </c:dPt>
          <c:dPt>
            <c:idx val="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6-BBE4-459C-9479-201F6C111E0B}"/>
              </c:ext>
            </c:extLst>
          </c:dPt>
          <c:dPt>
            <c:idx val="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8-BBE4-459C-9479-201F6C111E0B}"/>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6</c:f>
              <c:numCache>
                <c:formatCode>General</c:formatCode>
                <c:ptCount val="5"/>
                <c:pt idx="0">
                  <c:v>10.5</c:v>
                </c:pt>
              </c:numCache>
            </c:numRef>
          </c:val>
          <c:extLst>
            <c:ext xmlns:c16="http://schemas.microsoft.com/office/drawing/2014/chart" uri="{C3380CC4-5D6E-409C-BE32-E72D297353CC}">
              <c16:uniqueId val="{00000009-BBE4-459C-9479-201F6C111E0B}"/>
            </c:ext>
          </c:extLst>
        </c:ser>
        <c:dLbls>
          <c:showLegendKey val="0"/>
          <c:showVal val="0"/>
          <c:showCatName val="0"/>
          <c:showSerName val="0"/>
          <c:showPercent val="0"/>
          <c:showBubbleSize val="0"/>
        </c:dLbls>
        <c:gapWidth val="75"/>
        <c:overlap val="-33"/>
        <c:axId val="1880491408"/>
        <c:axId val="159070560"/>
      </c:barChart>
      <c:catAx>
        <c:axId val="188049140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159070560"/>
        <c:crosses val="autoZero"/>
        <c:auto val="1"/>
        <c:lblAlgn val="ctr"/>
        <c:lblOffset val="100"/>
        <c:tickMarkSkip val="10"/>
        <c:noMultiLvlLbl val="0"/>
      </c:catAx>
      <c:valAx>
        <c:axId val="159070560"/>
        <c:scaling>
          <c:orientation val="minMax"/>
          <c:max val="28"/>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en-US"/>
          </a:p>
        </c:txPr>
        <c:crossAx val="1880491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136222222222219"/>
          <c:y val="0.12564313560547619"/>
          <c:w val="0.81092055555555553"/>
          <c:h val="0.65944366141987343"/>
        </c:manualLayout>
      </c:layout>
      <c:barChart>
        <c:barDir val="col"/>
        <c:grouping val="clustered"/>
        <c:varyColors val="0"/>
        <c:ser>
          <c:idx val="0"/>
          <c:order val="0"/>
          <c:tx>
            <c:strRef>
              <c:f>Sheet1!$B$1</c:f>
              <c:strCache>
                <c:ptCount val="1"/>
                <c:pt idx="0">
                  <c:v>Placebo</c:v>
                </c:pt>
              </c:strCache>
            </c:strRef>
          </c:tx>
          <c:spPr>
            <a:solidFill>
              <a:srgbClr val="707070"/>
            </a:solidFill>
            <a:ln w="9525" cap="flat" cmpd="sng" algn="ctr">
              <a:noFill/>
              <a:prstDash val="solid"/>
            </a:ln>
            <a:effectLst/>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Achieving 10 mg dose</c:v>
                </c:pt>
              </c:strCache>
            </c:strRef>
          </c:cat>
          <c:val>
            <c:numRef>
              <c:f>Sheet1!$B$2</c:f>
              <c:numCache>
                <c:formatCode>0.0</c:formatCode>
                <c:ptCount val="1"/>
                <c:pt idx="0">
                  <c:v>91.4</c:v>
                </c:pt>
              </c:numCache>
            </c:numRef>
          </c:val>
          <c:extLst>
            <c:ext xmlns:c16="http://schemas.microsoft.com/office/drawing/2014/chart" uri="{C3380CC4-5D6E-409C-BE32-E72D297353CC}">
              <c16:uniqueId val="{00000000-7800-41A4-8363-AF963A2A904E}"/>
            </c:ext>
          </c:extLst>
        </c:ser>
        <c:ser>
          <c:idx val="1"/>
          <c:order val="1"/>
          <c:tx>
            <c:strRef>
              <c:f>Sheet1!$C$1</c:f>
              <c:strCache>
                <c:ptCount val="1"/>
                <c:pt idx="0">
                  <c:v>Vericiguat</c:v>
                </c:pt>
              </c:strCache>
            </c:strRef>
          </c:tx>
          <c:spPr>
            <a:solidFill>
              <a:srgbClr val="FC3B2D"/>
            </a:solidFill>
            <a:ln w="9525" cap="flat" cmpd="sng" algn="ctr">
              <a:noFill/>
              <a:prstDash val="solid"/>
            </a:ln>
            <a:effectLst/>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Achieving 10 mg dose</c:v>
                </c:pt>
              </c:strCache>
            </c:strRef>
          </c:cat>
          <c:val>
            <c:numRef>
              <c:f>Sheet1!$C$2</c:f>
              <c:numCache>
                <c:formatCode>General</c:formatCode>
                <c:ptCount val="1"/>
                <c:pt idx="0">
                  <c:v>89.2</c:v>
                </c:pt>
              </c:numCache>
            </c:numRef>
          </c:val>
          <c:extLst>
            <c:ext xmlns:c16="http://schemas.microsoft.com/office/drawing/2014/chart" uri="{C3380CC4-5D6E-409C-BE32-E72D297353CC}">
              <c16:uniqueId val="{00000001-7800-41A4-8363-AF963A2A904E}"/>
            </c:ext>
          </c:extLst>
        </c:ser>
        <c:dLbls>
          <c:showLegendKey val="0"/>
          <c:showVal val="0"/>
          <c:showCatName val="0"/>
          <c:showSerName val="0"/>
          <c:showPercent val="0"/>
          <c:showBubbleSize val="0"/>
        </c:dLbls>
        <c:gapWidth val="150"/>
        <c:axId val="-910333120"/>
        <c:axId val="-910331488"/>
      </c:barChart>
      <c:catAx>
        <c:axId val="-910333120"/>
        <c:scaling>
          <c:orientation val="minMax"/>
        </c:scaling>
        <c:delete val="0"/>
        <c:axPos val="b"/>
        <c:numFmt formatCode="General" sourceLinked="1"/>
        <c:majorTickMark val="out"/>
        <c:minorTickMark val="none"/>
        <c:tickLblPos val="nextTo"/>
        <c:spPr>
          <a:ln>
            <a:solidFill>
              <a:schemeClr val="tx1"/>
            </a:solidFill>
          </a:ln>
        </c:spPr>
        <c:txPr>
          <a:bodyPr/>
          <a:lstStyle/>
          <a:p>
            <a:pPr>
              <a:defRPr sz="1200">
                <a:solidFill>
                  <a:schemeClr val="tx1"/>
                </a:solidFill>
              </a:defRPr>
            </a:pPr>
            <a:endParaRPr lang="en-US"/>
          </a:p>
        </c:txPr>
        <c:crossAx val="-910331488"/>
        <c:crosses val="autoZero"/>
        <c:auto val="1"/>
        <c:lblAlgn val="ctr"/>
        <c:lblOffset val="100"/>
        <c:noMultiLvlLbl val="0"/>
      </c:catAx>
      <c:valAx>
        <c:axId val="-910331488"/>
        <c:scaling>
          <c:orientation val="minMax"/>
          <c:min val="0"/>
        </c:scaling>
        <c:delete val="0"/>
        <c:axPos val="l"/>
        <c:title>
          <c:tx>
            <c:rich>
              <a:bodyPr/>
              <a:lstStyle/>
              <a:p>
                <a:pPr>
                  <a:defRPr sz="1100"/>
                </a:pPr>
                <a:r>
                  <a:rPr lang="en-US" sz="1100" dirty="0"/>
                  <a:t>Patients (%)</a:t>
                </a:r>
              </a:p>
            </c:rich>
          </c:tx>
          <c:overlay val="0"/>
        </c:title>
        <c:numFmt formatCode="General" sourceLinked="0"/>
        <c:majorTickMark val="out"/>
        <c:minorTickMark val="none"/>
        <c:tickLblPos val="nextTo"/>
        <c:spPr>
          <a:ln>
            <a:solidFill>
              <a:schemeClr val="tx1"/>
            </a:solidFill>
          </a:ln>
        </c:spPr>
        <c:txPr>
          <a:bodyPr/>
          <a:lstStyle/>
          <a:p>
            <a:pPr>
              <a:defRPr sz="1100">
                <a:solidFill>
                  <a:schemeClr val="tx1"/>
                </a:solidFill>
              </a:defRPr>
            </a:pPr>
            <a:endParaRPr lang="en-US"/>
          </a:p>
        </c:txPr>
        <c:crossAx val="-910333120"/>
        <c:crosses val="autoZero"/>
        <c:crossBetween val="between"/>
      </c:valAx>
    </c:plotArea>
    <c:legend>
      <c:legendPos val="b"/>
      <c:layout>
        <c:manualLayout>
          <c:xMode val="edge"/>
          <c:yMode val="edge"/>
          <c:x val="0.27614277777777779"/>
          <c:y val="0.89300492211427551"/>
          <c:w val="0.44771416666666669"/>
          <c:h val="8.7192796647333454E-2"/>
        </c:manualLayout>
      </c:layout>
      <c:overlay val="0"/>
      <c:txPr>
        <a:bodyPr/>
        <a:lstStyle/>
        <a:p>
          <a:pPr>
            <a:defRPr sz="1050">
              <a:solidFill>
                <a:schemeClr val="tx1"/>
              </a:solidFill>
            </a:defRPr>
          </a:pPr>
          <a:endParaRPr lang="en-US"/>
        </a:p>
      </c:txPr>
    </c:legend>
    <c:plotVisOnly val="1"/>
    <c:dispBlanksAs val="gap"/>
    <c:showDLblsOverMax val="0"/>
  </c:chart>
  <c:txPr>
    <a:bodyPr/>
    <a:lstStyle/>
    <a:p>
      <a:pPr>
        <a:defRPr sz="14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Primary endpoint event rate (control arm)</c:v>
                </c:pt>
              </c:strCache>
            </c:strRef>
          </c:tx>
          <c:spPr>
            <a:ln w="19050" cap="rnd">
              <a:noFill/>
              <a:round/>
            </a:ln>
            <a:effectLst/>
          </c:spPr>
          <c:marker>
            <c:symbol val="circle"/>
            <c:size val="10"/>
            <c:spPr>
              <a:solidFill>
                <a:schemeClr val="accent2"/>
              </a:solidFill>
              <a:ln w="12700">
                <a:solidFill>
                  <a:schemeClr val="accent2"/>
                </a:solidFill>
              </a:ln>
              <a:effectLst/>
            </c:spPr>
          </c:marker>
          <c:xVal>
            <c:numRef>
              <c:f>Sheet1!$A$2:$A$6</c:f>
              <c:numCache>
                <c:formatCode>General</c:formatCode>
                <c:ptCount val="5"/>
                <c:pt idx="0">
                  <c:v>1615</c:v>
                </c:pt>
                <c:pt idx="1">
                  <c:v>1437</c:v>
                </c:pt>
                <c:pt idx="2">
                  <c:v>1910</c:v>
                </c:pt>
                <c:pt idx="3">
                  <c:v>1971</c:v>
                </c:pt>
                <c:pt idx="4">
                  <c:v>2816</c:v>
                </c:pt>
              </c:numCache>
            </c:numRef>
          </c:xVal>
          <c:yVal>
            <c:numRef>
              <c:f>Sheet1!$B$2:$B$6</c:f>
              <c:numCache>
                <c:formatCode>General</c:formatCode>
                <c:ptCount val="5"/>
                <c:pt idx="0">
                  <c:v>13.2</c:v>
                </c:pt>
                <c:pt idx="1">
                  <c:v>15.6</c:v>
                </c:pt>
                <c:pt idx="2">
                  <c:v>21</c:v>
                </c:pt>
                <c:pt idx="3">
                  <c:v>26.3</c:v>
                </c:pt>
                <c:pt idx="4">
                  <c:v>37.799999999999997</c:v>
                </c:pt>
              </c:numCache>
            </c:numRef>
          </c:yVal>
          <c:smooth val="0"/>
          <c:extLst>
            <c:ext xmlns:c16="http://schemas.microsoft.com/office/drawing/2014/chart" uri="{C3380CC4-5D6E-409C-BE32-E72D297353CC}">
              <c16:uniqueId val="{00000000-6584-4E36-B543-7E0E9D50FFD7}"/>
            </c:ext>
          </c:extLst>
        </c:ser>
        <c:dLbls>
          <c:showLegendKey val="0"/>
          <c:showVal val="0"/>
          <c:showCatName val="0"/>
          <c:showSerName val="0"/>
          <c:showPercent val="0"/>
          <c:showBubbleSize val="0"/>
        </c:dLbls>
        <c:axId val="969517456"/>
        <c:axId val="969512048"/>
      </c:scatterChart>
      <c:valAx>
        <c:axId val="96951745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r>
                  <a:rPr lang="en-GB" sz="1400">
                    <a:solidFill>
                      <a:schemeClr val="tx2"/>
                    </a:solidFill>
                  </a:rPr>
                  <a:t>NT-</a:t>
                </a:r>
                <a:r>
                  <a:rPr lang="en-GB" sz="1400" err="1">
                    <a:solidFill>
                      <a:schemeClr val="tx2"/>
                    </a:solidFill>
                  </a:rPr>
                  <a:t>proBNP</a:t>
                </a:r>
                <a:r>
                  <a:rPr lang="en-GB" sz="1400" baseline="0">
                    <a:solidFill>
                      <a:schemeClr val="tx2"/>
                    </a:solidFill>
                  </a:rPr>
                  <a:t> at randomisation (</a:t>
                </a:r>
                <a:r>
                  <a:rPr lang="en-GB" sz="1400" baseline="0" err="1">
                    <a:solidFill>
                      <a:schemeClr val="tx2"/>
                    </a:solidFill>
                  </a:rPr>
                  <a:t>pg</a:t>
                </a:r>
                <a:r>
                  <a:rPr lang="en-GB" sz="1400" baseline="0">
                    <a:solidFill>
                      <a:schemeClr val="tx2"/>
                    </a:solidFill>
                  </a:rPr>
                  <a:t>/ml)</a:t>
                </a:r>
                <a:endParaRPr lang="en-GB" sz="1400">
                  <a:solidFill>
                    <a:schemeClr val="tx2"/>
                  </a:solidFill>
                </a:endParaRPr>
              </a:p>
            </c:rich>
          </c:tx>
          <c:layout>
            <c:manualLayout>
              <c:xMode val="edge"/>
              <c:yMode val="edge"/>
              <c:x val="0.35453900098425195"/>
              <c:y val="0.957121004114111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969512048"/>
        <c:crosses val="autoZero"/>
        <c:crossBetween val="midCat"/>
      </c:valAx>
      <c:valAx>
        <c:axId val="9695120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r>
                  <a:rPr lang="en-GB" sz="1400" dirty="0">
                    <a:solidFill>
                      <a:schemeClr val="tx2"/>
                    </a:solidFill>
                  </a:rPr>
                  <a:t>Primary</a:t>
                </a:r>
                <a:r>
                  <a:rPr lang="en-GB" sz="1400" baseline="0" dirty="0">
                    <a:solidFill>
                      <a:schemeClr val="tx2"/>
                    </a:solidFill>
                  </a:rPr>
                  <a:t> endpoint event rate </a:t>
                </a:r>
                <a:br>
                  <a:rPr lang="en-GB" sz="1400" baseline="0" dirty="0">
                    <a:solidFill>
                      <a:schemeClr val="tx2"/>
                    </a:solidFill>
                  </a:rPr>
                </a:br>
                <a:r>
                  <a:rPr lang="en-GB" sz="1400" baseline="0" dirty="0">
                    <a:solidFill>
                      <a:schemeClr val="tx2"/>
                    </a:solidFill>
                  </a:rPr>
                  <a:t>(control arm), %</a:t>
                </a:r>
                <a:endParaRPr lang="en-GB" sz="1400" dirty="0">
                  <a:solidFill>
                    <a:schemeClr val="tx2"/>
                  </a:solidFill>
                </a:endParaRPr>
              </a:p>
            </c:rich>
          </c:tx>
          <c:layout>
            <c:manualLayout>
              <c:xMode val="edge"/>
              <c:yMode val="edge"/>
              <c:x val="6.2500000000000003E-3"/>
              <c:y val="8.1657798116155367E-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9695174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98092241781333E-2"/>
          <c:y val="9.2068555134409744E-2"/>
          <c:w val="0.9060482155294407"/>
          <c:h val="0.74296304440731453"/>
        </c:manualLayout>
      </c:layout>
      <c:barChart>
        <c:barDir val="col"/>
        <c:grouping val="clustered"/>
        <c:varyColors val="0"/>
        <c:ser>
          <c:idx val="0"/>
          <c:order val="0"/>
          <c:tx>
            <c:strRef>
              <c:f>Sheet1!$E$18</c:f>
              <c:strCache>
                <c:ptCount val="1"/>
                <c:pt idx="0">
                  <c:v>Annualised NNT</c:v>
                </c:pt>
              </c:strCache>
            </c:strRef>
          </c:tx>
          <c:spPr>
            <a:solidFill>
              <a:srgbClr val="B9BDBE"/>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0-C045-7E47-AF18-F585140B7672}"/>
              </c:ext>
            </c:extLst>
          </c:dPt>
          <c:dPt>
            <c:idx val="1"/>
            <c:invertIfNegative val="0"/>
            <c:bubble3D val="0"/>
            <c:spPr>
              <a:solidFill>
                <a:srgbClr val="FF0000"/>
              </a:solidFill>
              <a:ln>
                <a:noFill/>
              </a:ln>
              <a:effectLst/>
            </c:spPr>
            <c:extLst>
              <c:ext xmlns:c16="http://schemas.microsoft.com/office/drawing/2014/chart" uri="{C3380CC4-5D6E-409C-BE32-E72D297353CC}">
                <c16:uniqueId val="{00000001-C045-7E47-AF18-F585140B7672}"/>
              </c:ext>
            </c:extLst>
          </c:dPt>
          <c:dPt>
            <c:idx val="2"/>
            <c:invertIfNegative val="0"/>
            <c:bubble3D val="0"/>
            <c:spPr>
              <a:solidFill>
                <a:schemeClr val="accent5">
                  <a:lumMod val="75000"/>
                </a:schemeClr>
              </a:solidFill>
              <a:ln>
                <a:noFill/>
              </a:ln>
              <a:effectLst/>
            </c:spPr>
            <c:extLst>
              <c:ext xmlns:c16="http://schemas.microsoft.com/office/drawing/2014/chart" uri="{C3380CC4-5D6E-409C-BE32-E72D297353CC}">
                <c16:uniqueId val="{00000002-C045-7E47-AF18-F585140B7672}"/>
              </c:ext>
            </c:extLst>
          </c:dPt>
          <c:dPt>
            <c:idx val="3"/>
            <c:invertIfNegative val="0"/>
            <c:bubble3D val="0"/>
            <c:spPr>
              <a:solidFill>
                <a:schemeClr val="accent3">
                  <a:lumMod val="40000"/>
                  <a:lumOff val="60000"/>
                </a:schemeClr>
              </a:solidFill>
              <a:ln>
                <a:noFill/>
              </a:ln>
              <a:effectLst/>
            </c:spPr>
            <c:extLst>
              <c:ext xmlns:c16="http://schemas.microsoft.com/office/drawing/2014/chart" uri="{C3380CC4-5D6E-409C-BE32-E72D297353CC}">
                <c16:uniqueId val="{00000003-C045-7E47-AF18-F585140B7672}"/>
              </c:ext>
            </c:extLst>
          </c:dPt>
          <c:dPt>
            <c:idx val="4"/>
            <c:invertIfNegative val="0"/>
            <c:bubble3D val="0"/>
            <c:spPr>
              <a:solidFill>
                <a:schemeClr val="accent3">
                  <a:lumMod val="40000"/>
                  <a:lumOff val="60000"/>
                </a:schemeClr>
              </a:solidFill>
              <a:ln>
                <a:noFill/>
              </a:ln>
              <a:effectLst/>
            </c:spPr>
            <c:extLst>
              <c:ext xmlns:c16="http://schemas.microsoft.com/office/drawing/2014/chart" uri="{C3380CC4-5D6E-409C-BE32-E72D297353CC}">
                <c16:uniqueId val="{00000004-C045-7E47-AF18-F585140B7672}"/>
              </c:ext>
            </c:extLst>
          </c:dPt>
          <c:dPt>
            <c:idx val="5"/>
            <c:invertIfNegative val="0"/>
            <c:bubble3D val="0"/>
            <c:spPr>
              <a:solidFill>
                <a:srgbClr val="B9BDBE"/>
              </a:solidFill>
              <a:ln>
                <a:noFill/>
              </a:ln>
              <a:effectLst/>
            </c:spPr>
            <c:extLst>
              <c:ext xmlns:c16="http://schemas.microsoft.com/office/drawing/2014/chart" uri="{C3380CC4-5D6E-409C-BE32-E72D297353CC}">
                <c16:uniqueId val="{00000000-BF5E-4A65-AD46-2B2EF069420B}"/>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0-1C33-4730-BDA1-2CCCDA207A58}"/>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7:$L$17</c:f>
              <c:strCache>
                <c:ptCount val="7"/>
                <c:pt idx="0">
                  <c:v>Metoprolol
(MERIT-HF)
BB</c:v>
                </c:pt>
                <c:pt idx="1">
                  <c:v>Eplerenone
(EMPHASIS-HF)
MRA</c:v>
                </c:pt>
                <c:pt idx="2">
                  <c:v>Sacubitril/valsartan
(PARADIGM-HF)
ARNi</c:v>
                </c:pt>
                <c:pt idx="3">
                  <c:v>Dapagliflozin
(DAPA-HF)
SGLT2i</c:v>
                </c:pt>
                <c:pt idx="4">
                  <c:v>Empagliflozin
(EMPEROR-Reduced)
SGLT2i</c:v>
                </c:pt>
                <c:pt idx="5">
                  <c:v>Omecamtiv mecarbil
(GALACTIC-HF)
Cardiac myosin activator</c:v>
                </c:pt>
                <c:pt idx="6">
                  <c:v>Vericiguat
(VICTORIA)
sGC stimulator</c:v>
                </c:pt>
              </c:strCache>
            </c:strRef>
          </c:cat>
          <c:val>
            <c:numRef>
              <c:f>Sheet1!$F$18:$L$18</c:f>
              <c:numCache>
                <c:formatCode>General</c:formatCode>
                <c:ptCount val="7"/>
                <c:pt idx="0">
                  <c:v>27</c:v>
                </c:pt>
                <c:pt idx="1">
                  <c:v>19</c:v>
                </c:pt>
                <c:pt idx="2">
                  <c:v>37</c:v>
                </c:pt>
                <c:pt idx="3">
                  <c:v>25</c:v>
                </c:pt>
                <c:pt idx="4">
                  <c:v>19</c:v>
                </c:pt>
                <c:pt idx="5">
                  <c:v>48</c:v>
                </c:pt>
                <c:pt idx="6">
                  <c:v>24</c:v>
                </c:pt>
              </c:numCache>
            </c:numRef>
          </c:val>
          <c:extLst>
            <c:ext xmlns:c16="http://schemas.microsoft.com/office/drawing/2014/chart" uri="{C3380CC4-5D6E-409C-BE32-E72D297353CC}">
              <c16:uniqueId val="{00000000-91B6-4035-896F-5B095FD7C2F3}"/>
            </c:ext>
          </c:extLst>
        </c:ser>
        <c:dLbls>
          <c:showLegendKey val="0"/>
          <c:showVal val="0"/>
          <c:showCatName val="0"/>
          <c:showSerName val="0"/>
          <c:showPercent val="0"/>
          <c:showBubbleSize val="0"/>
        </c:dLbls>
        <c:gapWidth val="219"/>
        <c:overlap val="-27"/>
        <c:axId val="1416168864"/>
        <c:axId val="1414686288"/>
      </c:barChart>
      <c:catAx>
        <c:axId val="1416168864"/>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14686288"/>
        <c:crosses val="autoZero"/>
        <c:auto val="1"/>
        <c:lblAlgn val="ctr"/>
        <c:lblOffset val="100"/>
        <c:noMultiLvlLbl val="0"/>
      </c:catAx>
      <c:valAx>
        <c:axId val="1414686288"/>
        <c:scaling>
          <c:orientation val="minMax"/>
        </c:scaling>
        <c:delete val="0"/>
        <c:axPos val="l"/>
        <c:title>
          <c:tx>
            <c:rich>
              <a:bodyPr rot="-5400000" spcFirstLastPara="1" vertOverflow="ellipsis" vert="horz" wrap="square" anchor="ctr" anchorCtr="1"/>
              <a:lstStyle/>
              <a:p>
                <a:pPr>
                  <a:defRPr lang="en-GB" sz="1200" b="1" i="0" u="none" strike="noStrike" kern="1200" baseline="0" noProof="0">
                    <a:solidFill>
                      <a:schemeClr val="tx1"/>
                    </a:solidFill>
                    <a:latin typeface="+mn-lt"/>
                    <a:ea typeface="+mn-ea"/>
                    <a:cs typeface="+mn-cs"/>
                  </a:defRPr>
                </a:pPr>
                <a:r>
                  <a:rPr lang="en-GB" sz="1200" b="1" i="0" baseline="0" noProof="0" dirty="0">
                    <a:solidFill>
                      <a:schemeClr val="tx1"/>
                    </a:solidFill>
                    <a:effectLst/>
                  </a:rPr>
                  <a:t>Annualised number needed to treat (number of patients)</a:t>
                </a:r>
                <a:endParaRPr lang="en-GB" sz="1200" b="1" noProof="0" dirty="0">
                  <a:solidFill>
                    <a:schemeClr val="tx1"/>
                  </a:solidFill>
                  <a:effectLst/>
                </a:endParaRPr>
              </a:p>
            </c:rich>
          </c:tx>
          <c:layout>
            <c:manualLayout>
              <c:xMode val="edge"/>
              <c:yMode val="edge"/>
              <c:x val="3.3455917232469655E-3"/>
              <c:y val="0.20062421741944469"/>
            </c:manualLayout>
          </c:layout>
          <c:overlay val="0"/>
          <c:spPr>
            <a:noFill/>
            <a:ln>
              <a:noFill/>
            </a:ln>
            <a:effectLst/>
          </c:spPr>
          <c:txPr>
            <a:bodyPr rot="-5400000" spcFirstLastPara="1" vertOverflow="ellipsis" vert="horz" wrap="square" anchor="ctr" anchorCtr="1"/>
            <a:lstStyle/>
            <a:p>
              <a:pPr>
                <a:defRPr lang="en-GB" sz="1200" b="1" i="0" u="none" strike="noStrike" kern="1200" baseline="0" noProof="0">
                  <a:solidFill>
                    <a:schemeClr val="tx1"/>
                  </a:solidFill>
                  <a:latin typeface="+mn-lt"/>
                  <a:ea typeface="+mn-ea"/>
                  <a:cs typeface="+mn-cs"/>
                </a:defRPr>
              </a:pPr>
              <a:endParaRPr lang="en-US"/>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161688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237-4A19-9808-88E014A30E61}"/>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B237-4A19-9808-88E014A30E61}"/>
              </c:ext>
            </c:extLst>
          </c:dPt>
          <c:cat>
            <c:numRef>
              <c:f>Sheet1!$A$2:$A$3</c:f>
              <c:numCache>
                <c:formatCode>General</c:formatCode>
                <c:ptCount val="2"/>
              </c:numCache>
            </c:numRef>
          </c:cat>
          <c:val>
            <c:numRef>
              <c:f>Sheet1!$B$2:$B$3</c:f>
              <c:numCache>
                <c:formatCode>General</c:formatCode>
                <c:ptCount val="2"/>
                <c:pt idx="0">
                  <c:v>90</c:v>
                </c:pt>
                <c:pt idx="1">
                  <c:v>10</c:v>
                </c:pt>
              </c:numCache>
            </c:numRef>
          </c:val>
          <c:extLst>
            <c:ext xmlns:c16="http://schemas.microsoft.com/office/drawing/2014/chart" uri="{C3380CC4-5D6E-409C-BE32-E72D297353CC}">
              <c16:uniqueId val="{00000000-E66A-4C08-808E-E52626E0ABD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986428260341908E-2"/>
          <c:y val="0.16245608039527437"/>
          <c:w val="0.86119314498839838"/>
          <c:h val="0.75203961162703947"/>
        </c:manualLayout>
      </c:layout>
      <c:scatterChart>
        <c:scatterStyle val="lineMarker"/>
        <c:varyColors val="0"/>
        <c:ser>
          <c:idx val="0"/>
          <c:order val="0"/>
          <c:tx>
            <c:strRef>
              <c:f>Sheet1!$A$3:$A$15</c:f>
              <c:strCache>
                <c:ptCount val="13"/>
              </c:strCache>
            </c:strRef>
          </c:tx>
          <c:spPr>
            <a:ln w="28575" cap="rnd" cmpd="sng" algn="ctr">
              <a:noFill/>
              <a:prstDash val="solid"/>
              <a:round/>
            </a:ln>
            <a:effectLst/>
          </c:spPr>
          <c:marker>
            <c:symbol val="diamond"/>
            <c:size val="10"/>
            <c:spPr>
              <a:solidFill>
                <a:schemeClr val="tx1"/>
              </a:solidFill>
              <a:ln w="6350" cap="flat" cmpd="sng" algn="ctr">
                <a:noFill/>
                <a:prstDash val="solid"/>
                <a:round/>
              </a:ln>
              <a:effectLst/>
            </c:spPr>
          </c:marker>
          <c:dPt>
            <c:idx val="0"/>
            <c:bubble3D val="0"/>
            <c:extLst>
              <c:ext xmlns:c16="http://schemas.microsoft.com/office/drawing/2014/chart" uri="{C3380CC4-5D6E-409C-BE32-E72D297353CC}">
                <c16:uniqueId val="{00000000-9107-4751-8311-13E624F17A9B}"/>
              </c:ext>
            </c:extLst>
          </c:dPt>
          <c:dPt>
            <c:idx val="1"/>
            <c:bubble3D val="0"/>
            <c:extLst>
              <c:ext xmlns:c16="http://schemas.microsoft.com/office/drawing/2014/chart" uri="{C3380CC4-5D6E-409C-BE32-E72D297353CC}">
                <c16:uniqueId val="{00000001-9107-4751-8311-13E624F17A9B}"/>
              </c:ext>
            </c:extLst>
          </c:dPt>
          <c:dPt>
            <c:idx val="4"/>
            <c:bubble3D val="0"/>
            <c:extLst>
              <c:ext xmlns:c16="http://schemas.microsoft.com/office/drawing/2014/chart" uri="{C3380CC4-5D6E-409C-BE32-E72D297353CC}">
                <c16:uniqueId val="{00000002-9107-4751-8311-13E624F17A9B}"/>
              </c:ext>
            </c:extLst>
          </c:dPt>
          <c:dPt>
            <c:idx val="8"/>
            <c:bubble3D val="0"/>
            <c:extLst>
              <c:ext xmlns:c16="http://schemas.microsoft.com/office/drawing/2014/chart" uri="{C3380CC4-5D6E-409C-BE32-E72D297353CC}">
                <c16:uniqueId val="{00000003-9107-4751-8311-13E624F17A9B}"/>
              </c:ext>
            </c:extLst>
          </c:dPt>
          <c:dPt>
            <c:idx val="9"/>
            <c:bubble3D val="0"/>
            <c:extLst>
              <c:ext xmlns:c16="http://schemas.microsoft.com/office/drawing/2014/chart" uri="{C3380CC4-5D6E-409C-BE32-E72D297353CC}">
                <c16:uniqueId val="{00000004-9107-4751-8311-13E624F17A9B}"/>
              </c:ext>
            </c:extLst>
          </c:dPt>
          <c:dPt>
            <c:idx val="10"/>
            <c:bubble3D val="0"/>
            <c:extLst>
              <c:ext xmlns:c16="http://schemas.microsoft.com/office/drawing/2014/chart" uri="{C3380CC4-5D6E-409C-BE32-E72D297353CC}">
                <c16:uniqueId val="{00000005-9107-4751-8311-13E624F17A9B}"/>
              </c:ext>
            </c:extLst>
          </c:dPt>
          <c:errBars>
            <c:errDir val="y"/>
            <c:errBarType val="plus"/>
            <c:errValType val="percentage"/>
            <c:noEndCap val="1"/>
            <c:val val="5"/>
            <c:spPr>
              <a:solidFill>
                <a:schemeClr val="tx1"/>
              </a:solidFill>
              <a:ln w="6350" cap="flat" cmpd="sng" algn="ctr">
                <a:noFill/>
                <a:prstDash val="solid"/>
                <a:round/>
              </a:ln>
              <a:effectLst/>
            </c:spPr>
          </c:errBars>
          <c:errBars>
            <c:errDir val="x"/>
            <c:errBarType val="both"/>
            <c:errValType val="cust"/>
            <c:noEndCap val="0"/>
            <c:plus>
              <c:numRef>
                <c:f>Sheet1!$G$3:$G$15</c:f>
                <c:numCache>
                  <c:formatCode>General</c:formatCode>
                  <c:ptCount val="13"/>
                  <c:pt idx="0">
                    <c:v>0.10000000000000003</c:v>
                  </c:pt>
                  <c:pt idx="1">
                    <c:v>0.12000000000000005</c:v>
                  </c:pt>
                  <c:pt idx="2">
                    <c:v>0.12000000000000005</c:v>
                  </c:pt>
                  <c:pt idx="3">
                    <c:v>0.12</c:v>
                  </c:pt>
                  <c:pt idx="4">
                    <c:v>0.13</c:v>
                  </c:pt>
                  <c:pt idx="5">
                    <c:v>0.10999999999999999</c:v>
                  </c:pt>
                  <c:pt idx="6">
                    <c:v>0.13</c:v>
                  </c:pt>
                  <c:pt idx="7">
                    <c:v>0.12</c:v>
                  </c:pt>
                  <c:pt idx="8">
                    <c:v>0.10999999999999999</c:v>
                  </c:pt>
                  <c:pt idx="9">
                    <c:v>0.12</c:v>
                  </c:pt>
                  <c:pt idx="10">
                    <c:v>0.12</c:v>
                  </c:pt>
                </c:numCache>
              </c:numRef>
            </c:plus>
            <c:minus>
              <c:numRef>
                <c:f>Sheet1!$F$3:$F$15</c:f>
                <c:numCache>
                  <c:formatCode>General</c:formatCode>
                  <c:ptCount val="13"/>
                  <c:pt idx="0">
                    <c:v>7.0000000000000007E-2</c:v>
                  </c:pt>
                  <c:pt idx="1">
                    <c:v>8.9999999999999969E-2</c:v>
                  </c:pt>
                  <c:pt idx="2">
                    <c:v>9.0000000000000024E-2</c:v>
                  </c:pt>
                  <c:pt idx="3">
                    <c:v>9.9999999999999978E-2</c:v>
                  </c:pt>
                  <c:pt idx="4">
                    <c:v>0.11000000000000004</c:v>
                  </c:pt>
                  <c:pt idx="5">
                    <c:v>8.9999999999999969E-2</c:v>
                  </c:pt>
                  <c:pt idx="6">
                    <c:v>0.10999999999999999</c:v>
                  </c:pt>
                  <c:pt idx="7">
                    <c:v>9.9999999999999978E-2</c:v>
                  </c:pt>
                  <c:pt idx="8">
                    <c:v>0.10000000000000009</c:v>
                  </c:pt>
                  <c:pt idx="9">
                    <c:v>0.10999999999999999</c:v>
                  </c:pt>
                  <c:pt idx="10">
                    <c:v>9.9999999999999978E-2</c:v>
                  </c:pt>
                </c:numCache>
              </c:numRef>
            </c:minus>
            <c:spPr>
              <a:noFill/>
              <a:ln w="12700" cap="flat" cmpd="sng" algn="ctr">
                <a:solidFill>
                  <a:schemeClr val="tx1"/>
                </a:solidFill>
                <a:prstDash val="solid"/>
                <a:miter lim="800000"/>
              </a:ln>
              <a:effectLst/>
            </c:spPr>
          </c:errBars>
          <c:xVal>
            <c:numRef>
              <c:f>Sheet1!$C$3:$C$14</c:f>
              <c:numCache>
                <c:formatCode>General</c:formatCode>
                <c:ptCount val="12"/>
                <c:pt idx="0">
                  <c:v>0.36</c:v>
                </c:pt>
                <c:pt idx="1">
                  <c:v>0.43</c:v>
                </c:pt>
                <c:pt idx="2">
                  <c:v>0.44</c:v>
                </c:pt>
                <c:pt idx="3">
                  <c:v>0.49</c:v>
                </c:pt>
                <c:pt idx="4">
                  <c:v>0.54</c:v>
                </c:pt>
                <c:pt idx="5">
                  <c:v>0.47</c:v>
                </c:pt>
                <c:pt idx="6">
                  <c:v>0.57999999999999996</c:v>
                </c:pt>
                <c:pt idx="7">
                  <c:v>0.65</c:v>
                </c:pt>
                <c:pt idx="8">
                  <c:v>0.68</c:v>
                </c:pt>
                <c:pt idx="9">
                  <c:v>0.84</c:v>
                </c:pt>
                <c:pt idx="10">
                  <c:v>0.75</c:v>
                </c:pt>
              </c:numCache>
            </c:numRef>
          </c:xVal>
          <c:yVal>
            <c:numRef>
              <c:f>Sheet1!$B$3:$B$15</c:f>
              <c:numCache>
                <c:formatCode>General</c:formatCode>
                <c:ptCount val="13"/>
                <c:pt idx="0">
                  <c:v>13</c:v>
                </c:pt>
                <c:pt idx="1">
                  <c:v>12</c:v>
                </c:pt>
                <c:pt idx="2">
                  <c:v>11</c:v>
                </c:pt>
                <c:pt idx="3">
                  <c:v>10</c:v>
                </c:pt>
                <c:pt idx="4">
                  <c:v>9</c:v>
                </c:pt>
                <c:pt idx="5">
                  <c:v>8</c:v>
                </c:pt>
                <c:pt idx="6">
                  <c:v>7</c:v>
                </c:pt>
                <c:pt idx="7">
                  <c:v>6</c:v>
                </c:pt>
                <c:pt idx="8">
                  <c:v>5</c:v>
                </c:pt>
                <c:pt idx="9">
                  <c:v>4</c:v>
                </c:pt>
                <c:pt idx="10">
                  <c:v>3</c:v>
                </c:pt>
                <c:pt idx="11">
                  <c:v>5</c:v>
                </c:pt>
                <c:pt idx="12">
                  <c:v>3</c:v>
                </c:pt>
              </c:numCache>
            </c:numRef>
          </c:yVal>
          <c:smooth val="0"/>
          <c:extLst>
            <c:ext xmlns:c16="http://schemas.microsoft.com/office/drawing/2014/chart" uri="{C3380CC4-5D6E-409C-BE32-E72D297353CC}">
              <c16:uniqueId val="{00000006-9107-4751-8311-13E624F17A9B}"/>
            </c:ext>
          </c:extLst>
        </c:ser>
        <c:dLbls>
          <c:showLegendKey val="0"/>
          <c:showVal val="0"/>
          <c:showCatName val="0"/>
          <c:showSerName val="0"/>
          <c:showPercent val="0"/>
          <c:showBubbleSize val="0"/>
        </c:dLbls>
        <c:axId val="579133824"/>
        <c:axId val="579135360"/>
      </c:scatterChart>
      <c:valAx>
        <c:axId val="579133824"/>
        <c:scaling>
          <c:logBase val="10"/>
          <c:orientation val="minMax"/>
          <c:max val="2"/>
          <c:min val="0.25"/>
        </c:scaling>
        <c:delete val="1"/>
        <c:axPos val="b"/>
        <c:numFmt formatCode="#,##0.00" sourceLinked="0"/>
        <c:majorTickMark val="out"/>
        <c:minorTickMark val="none"/>
        <c:tickLblPos val="nextTo"/>
        <c:crossAx val="579135360"/>
        <c:crossesAt val="1"/>
        <c:crossBetween val="midCat"/>
      </c:valAx>
      <c:valAx>
        <c:axId val="579135360"/>
        <c:scaling>
          <c:orientation val="minMax"/>
          <c:max val="13.5"/>
          <c:min val="2.5"/>
        </c:scaling>
        <c:delete val="0"/>
        <c:axPos val="l"/>
        <c:numFmt formatCode="General" sourceLinked="1"/>
        <c:majorTickMark val="none"/>
        <c:minorTickMark val="none"/>
        <c:tickLblPos val="none"/>
        <c:spPr>
          <a:noFill/>
          <a:ln w="12700" cap="flat" cmpd="sng" algn="ctr">
            <a:solidFill>
              <a:schemeClr val="tx1"/>
            </a:solidFill>
            <a:prstDash val="dash"/>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579133824"/>
        <c:crossesAt val="1"/>
        <c:crossBetween val="midCat"/>
        <c:majorUnit val="4"/>
        <c:minorUnit val="0.25"/>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34060737941909"/>
          <c:y val="0"/>
          <c:w val="0.77032901694050449"/>
          <c:h val="0.78602979281332397"/>
        </c:manualLayout>
      </c:layout>
      <c:scatterChart>
        <c:scatterStyle val="lineMarker"/>
        <c:varyColors val="0"/>
        <c:ser>
          <c:idx val="0"/>
          <c:order val="0"/>
          <c:tx>
            <c:strRef>
              <c:f>Sheet1!$A$3:$A$5</c:f>
              <c:strCache>
                <c:ptCount val="3"/>
              </c:strCache>
            </c:strRef>
          </c:tx>
          <c:spPr>
            <a:ln w="28575">
              <a:noFill/>
            </a:ln>
          </c:spPr>
          <c:marker>
            <c:symbol val="diamond"/>
            <c:size val="13"/>
            <c:spPr>
              <a:solidFill>
                <a:schemeClr val="tx1"/>
              </a:solidFill>
              <a:ln>
                <a:noFill/>
              </a:ln>
            </c:spPr>
          </c:marker>
          <c:dPt>
            <c:idx val="0"/>
            <c:bubble3D val="0"/>
            <c:extLst>
              <c:ext xmlns:c16="http://schemas.microsoft.com/office/drawing/2014/chart" uri="{C3380CC4-5D6E-409C-BE32-E72D297353CC}">
                <c16:uniqueId val="{00000000-5BDB-4326-9DF8-139E7CC9882A}"/>
              </c:ext>
            </c:extLst>
          </c:dPt>
          <c:dPt>
            <c:idx val="1"/>
            <c:bubble3D val="0"/>
            <c:extLst>
              <c:ext xmlns:c16="http://schemas.microsoft.com/office/drawing/2014/chart" uri="{C3380CC4-5D6E-409C-BE32-E72D297353CC}">
                <c16:uniqueId val="{00000001-5BDB-4326-9DF8-139E7CC9882A}"/>
              </c:ext>
            </c:extLst>
          </c:dPt>
          <c:dPt>
            <c:idx val="2"/>
            <c:bubble3D val="0"/>
            <c:extLst>
              <c:ext xmlns:c16="http://schemas.microsoft.com/office/drawing/2014/chart" uri="{C3380CC4-5D6E-409C-BE32-E72D297353CC}">
                <c16:uniqueId val="{00000002-5BDB-4326-9DF8-139E7CC9882A}"/>
              </c:ext>
            </c:extLst>
          </c:dPt>
          <c:dPt>
            <c:idx val="11"/>
            <c:bubble3D val="0"/>
            <c:extLst>
              <c:ext xmlns:c16="http://schemas.microsoft.com/office/drawing/2014/chart" uri="{C3380CC4-5D6E-409C-BE32-E72D297353CC}">
                <c16:uniqueId val="{00000003-5BDB-4326-9DF8-139E7CC9882A}"/>
              </c:ext>
            </c:extLst>
          </c:dPt>
          <c:dPt>
            <c:idx val="12"/>
            <c:bubble3D val="0"/>
            <c:extLst>
              <c:ext xmlns:c16="http://schemas.microsoft.com/office/drawing/2014/chart" uri="{C3380CC4-5D6E-409C-BE32-E72D297353CC}">
                <c16:uniqueId val="{00000004-5BDB-4326-9DF8-139E7CC9882A}"/>
              </c:ext>
            </c:extLst>
          </c:dPt>
          <c:errBars>
            <c:errDir val="y"/>
            <c:errBarType val="plus"/>
            <c:errValType val="percentage"/>
            <c:noEndCap val="1"/>
            <c:val val="5"/>
            <c:spPr>
              <a:ln>
                <a:noFill/>
              </a:ln>
            </c:spPr>
          </c:errBars>
          <c:errBars>
            <c:errDir val="x"/>
            <c:errBarType val="both"/>
            <c:errValType val="cust"/>
            <c:noEndCap val="0"/>
            <c:plus>
              <c:numRef>
                <c:f>Sheet1!$G$3:$G$14</c:f>
                <c:numCache>
                  <c:formatCode>General</c:formatCode>
                  <c:ptCount val="12"/>
                  <c:pt idx="0">
                    <c:v>0</c:v>
                  </c:pt>
                  <c:pt idx="1">
                    <c:v>0</c:v>
                  </c:pt>
                  <c:pt idx="2">
                    <c:v>0</c:v>
                  </c:pt>
                  <c:pt idx="3">
                    <c:v>0.29000000000000004</c:v>
                  </c:pt>
                  <c:pt idx="4">
                    <c:v>0.12</c:v>
                  </c:pt>
                  <c:pt idx="5">
                    <c:v>0.15000000000000002</c:v>
                  </c:pt>
                  <c:pt idx="6">
                    <c:v>0.25</c:v>
                  </c:pt>
                  <c:pt idx="7">
                    <c:v>0.12</c:v>
                  </c:pt>
                  <c:pt idx="8">
                    <c:v>0.15000000000000013</c:v>
                  </c:pt>
                  <c:pt idx="9">
                    <c:v>0.36</c:v>
                  </c:pt>
                  <c:pt idx="10">
                    <c:v>0.19000000000000006</c:v>
                  </c:pt>
                  <c:pt idx="11">
                    <c:v>0.25</c:v>
                  </c:pt>
                </c:numCache>
              </c:numRef>
            </c:plus>
            <c:minus>
              <c:numRef>
                <c:f>Sheet1!$F$3:$F$14</c:f>
                <c:numCache>
                  <c:formatCode>General</c:formatCode>
                  <c:ptCount val="12"/>
                  <c:pt idx="0">
                    <c:v>0</c:v>
                  </c:pt>
                  <c:pt idx="1">
                    <c:v>0</c:v>
                  </c:pt>
                  <c:pt idx="2">
                    <c:v>0</c:v>
                  </c:pt>
                  <c:pt idx="3">
                    <c:v>0.22000000000000008</c:v>
                  </c:pt>
                  <c:pt idx="4">
                    <c:v>0.10999999999999999</c:v>
                  </c:pt>
                  <c:pt idx="5">
                    <c:v>0.13</c:v>
                  </c:pt>
                  <c:pt idx="6">
                    <c:v>0.20999999999999996</c:v>
                  </c:pt>
                  <c:pt idx="7">
                    <c:v>9.9999999999999978E-2</c:v>
                  </c:pt>
                  <c:pt idx="8">
                    <c:v>0.12</c:v>
                  </c:pt>
                  <c:pt idx="9">
                    <c:v>0.26</c:v>
                  </c:pt>
                  <c:pt idx="10">
                    <c:v>0.16000000000000003</c:v>
                  </c:pt>
                  <c:pt idx="11">
                    <c:v>0.18999999999999995</c:v>
                  </c:pt>
                </c:numCache>
              </c:numRef>
            </c:minus>
            <c:spPr>
              <a:ln w="12700">
                <a:solidFill>
                  <a:schemeClr val="tx1"/>
                </a:solidFill>
              </a:ln>
            </c:spPr>
          </c:errBars>
          <c:xVal>
            <c:numRef>
              <c:f>Sheet1!$C$3:$C$14</c:f>
              <c:numCache>
                <c:formatCode>General</c:formatCode>
                <c:ptCount val="12"/>
                <c:pt idx="3">
                  <c:v>1.06</c:v>
                </c:pt>
                <c:pt idx="4">
                  <c:v>0.83</c:v>
                </c:pt>
                <c:pt idx="5">
                  <c:v>0.93</c:v>
                </c:pt>
                <c:pt idx="6">
                  <c:v>1.01</c:v>
                </c:pt>
                <c:pt idx="7">
                  <c:v>0.83</c:v>
                </c:pt>
                <c:pt idx="8">
                  <c:v>0.95</c:v>
                </c:pt>
                <c:pt idx="9">
                  <c:v>0.9</c:v>
                </c:pt>
                <c:pt idx="10">
                  <c:v>0.87</c:v>
                </c:pt>
                <c:pt idx="11">
                  <c:v>0.99</c:v>
                </c:pt>
              </c:numCache>
            </c:numRef>
          </c:xVal>
          <c:yVal>
            <c:numRef>
              <c:f>Sheet1!$B$3:$B$14</c:f>
              <c:numCache>
                <c:formatCode>General</c:formatCode>
                <c:ptCount val="12"/>
                <c:pt idx="3">
                  <c:v>11</c:v>
                </c:pt>
                <c:pt idx="4">
                  <c:v>10</c:v>
                </c:pt>
                <c:pt idx="5">
                  <c:v>9</c:v>
                </c:pt>
                <c:pt idx="6">
                  <c:v>7</c:v>
                </c:pt>
                <c:pt idx="7">
                  <c:v>6</c:v>
                </c:pt>
                <c:pt idx="8">
                  <c:v>5</c:v>
                </c:pt>
                <c:pt idx="9">
                  <c:v>3</c:v>
                </c:pt>
                <c:pt idx="10">
                  <c:v>2</c:v>
                </c:pt>
                <c:pt idx="11">
                  <c:v>1</c:v>
                </c:pt>
              </c:numCache>
            </c:numRef>
          </c:yVal>
          <c:smooth val="0"/>
          <c:extLst>
            <c:ext xmlns:c16="http://schemas.microsoft.com/office/drawing/2014/chart" uri="{C3380CC4-5D6E-409C-BE32-E72D297353CC}">
              <c16:uniqueId val="{00000005-5BDB-4326-9DF8-139E7CC9882A}"/>
            </c:ext>
          </c:extLst>
        </c:ser>
        <c:dLbls>
          <c:showLegendKey val="0"/>
          <c:showVal val="0"/>
          <c:showCatName val="0"/>
          <c:showSerName val="0"/>
          <c:showPercent val="0"/>
          <c:showBubbleSize val="0"/>
        </c:dLbls>
        <c:axId val="304450944"/>
        <c:axId val="304451520"/>
      </c:scatterChart>
      <c:valAx>
        <c:axId val="304450944"/>
        <c:scaling>
          <c:logBase val="2"/>
          <c:orientation val="minMax"/>
        </c:scaling>
        <c:delete val="0"/>
        <c:axPos val="b"/>
        <c:numFmt formatCode="General" sourceLinked="1"/>
        <c:majorTickMark val="out"/>
        <c:minorTickMark val="none"/>
        <c:tickLblPos val="nextTo"/>
        <c:spPr>
          <a:ln w="19050">
            <a:solidFill>
              <a:schemeClr val="tx1"/>
            </a:solidFill>
          </a:ln>
        </c:spPr>
        <c:txPr>
          <a:bodyPr/>
          <a:lstStyle/>
          <a:p>
            <a:pPr>
              <a:defRPr sz="1200">
                <a:solidFill>
                  <a:schemeClr val="tx1"/>
                </a:solidFill>
              </a:defRPr>
            </a:pPr>
            <a:endParaRPr lang="en-US"/>
          </a:p>
        </c:txPr>
        <c:crossAx val="304451520"/>
        <c:crosses val="autoZero"/>
        <c:crossBetween val="midCat"/>
      </c:valAx>
      <c:valAx>
        <c:axId val="304451520"/>
        <c:scaling>
          <c:orientation val="minMax"/>
          <c:max val="12.5"/>
          <c:min val="0.5"/>
        </c:scaling>
        <c:delete val="0"/>
        <c:axPos val="l"/>
        <c:numFmt formatCode="General" sourceLinked="1"/>
        <c:majorTickMark val="none"/>
        <c:minorTickMark val="none"/>
        <c:tickLblPos val="none"/>
        <c:spPr>
          <a:ln w="19050">
            <a:solidFill>
              <a:schemeClr val="tx1"/>
            </a:solidFill>
            <a:prstDash val="dash"/>
          </a:ln>
        </c:spPr>
        <c:crossAx val="30445094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parator</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6</c:f>
              <c:numCache>
                <c:formatCode>General</c:formatCode>
                <c:ptCount val="5"/>
                <c:pt idx="0">
                  <c:v>26.3</c:v>
                </c:pt>
              </c:numCache>
            </c:numRef>
          </c:val>
          <c:extLst>
            <c:ext xmlns:c16="http://schemas.microsoft.com/office/drawing/2014/chart" uri="{C3380CC4-5D6E-409C-BE32-E72D297353CC}">
              <c16:uniqueId val="{00000000-FB92-4C77-9661-17CDA7E2DAAC}"/>
            </c:ext>
          </c:extLst>
        </c:ser>
        <c:ser>
          <c:idx val="1"/>
          <c:order val="1"/>
          <c:tx>
            <c:strRef>
              <c:f>Sheet1!$C$1</c:f>
              <c:strCache>
                <c:ptCount val="1"/>
                <c:pt idx="0">
                  <c:v>Drug</c:v>
                </c:pt>
              </c:strCache>
            </c:strRef>
          </c:tx>
          <c:spPr>
            <a:solidFill>
              <a:schemeClr val="accent1"/>
            </a:solidFill>
            <a:ln>
              <a:solidFill>
                <a:schemeClr val="accent1"/>
              </a:solidFill>
            </a:ln>
            <a:effectLst/>
          </c:spPr>
          <c:invertIfNegative val="0"/>
          <c:dPt>
            <c:idx val="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2-FB92-4C77-9661-17CDA7E2DAAC}"/>
              </c:ext>
            </c:extLst>
          </c:dPt>
          <c:dPt>
            <c:idx val="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4-FB92-4C77-9661-17CDA7E2DAAC}"/>
              </c:ext>
            </c:extLst>
          </c:dPt>
          <c:dPt>
            <c:idx val="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6-FB92-4C77-9661-17CDA7E2DAAC}"/>
              </c:ext>
            </c:extLst>
          </c:dPt>
          <c:dPt>
            <c:idx val="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8-FB92-4C77-9661-17CDA7E2DAAC}"/>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6</c:f>
              <c:numCache>
                <c:formatCode>General</c:formatCode>
                <c:ptCount val="5"/>
                <c:pt idx="0">
                  <c:v>24.2</c:v>
                </c:pt>
              </c:numCache>
            </c:numRef>
          </c:val>
          <c:extLst>
            <c:ext xmlns:c16="http://schemas.microsoft.com/office/drawing/2014/chart" uri="{C3380CC4-5D6E-409C-BE32-E72D297353CC}">
              <c16:uniqueId val="{00000009-FB92-4C77-9661-17CDA7E2DAAC}"/>
            </c:ext>
          </c:extLst>
        </c:ser>
        <c:dLbls>
          <c:showLegendKey val="0"/>
          <c:showVal val="0"/>
          <c:showCatName val="0"/>
          <c:showSerName val="0"/>
          <c:showPercent val="0"/>
          <c:showBubbleSize val="0"/>
        </c:dLbls>
        <c:gapWidth val="75"/>
        <c:overlap val="-33"/>
        <c:axId val="1880491408"/>
        <c:axId val="159070560"/>
      </c:barChart>
      <c:catAx>
        <c:axId val="188049140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159070560"/>
        <c:crosses val="autoZero"/>
        <c:auto val="1"/>
        <c:lblAlgn val="ctr"/>
        <c:lblOffset val="100"/>
        <c:noMultiLvlLbl val="0"/>
      </c:catAx>
      <c:valAx>
        <c:axId val="159070560"/>
        <c:scaling>
          <c:orientation val="minMax"/>
          <c:max val="28"/>
          <c:min val="-2"/>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en-US"/>
          </a:p>
        </c:txPr>
        <c:crossAx val="1880491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parator</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6</c:f>
              <c:numCache>
                <c:formatCode>General</c:formatCode>
                <c:ptCount val="5"/>
                <c:pt idx="0">
                  <c:v>21</c:v>
                </c:pt>
              </c:numCache>
            </c:numRef>
          </c:val>
          <c:extLst>
            <c:ext xmlns:c16="http://schemas.microsoft.com/office/drawing/2014/chart" uri="{C3380CC4-5D6E-409C-BE32-E72D297353CC}">
              <c16:uniqueId val="{00000000-1031-40AF-8BDF-F090EF458BA8}"/>
            </c:ext>
          </c:extLst>
        </c:ser>
        <c:ser>
          <c:idx val="1"/>
          <c:order val="1"/>
          <c:tx>
            <c:strRef>
              <c:f>Sheet1!$C$1</c:f>
              <c:strCache>
                <c:ptCount val="1"/>
                <c:pt idx="0">
                  <c:v>Drug</c:v>
                </c:pt>
              </c:strCache>
            </c:strRef>
          </c:tx>
          <c:spPr>
            <a:solidFill>
              <a:schemeClr val="accent1"/>
            </a:solidFill>
            <a:ln>
              <a:solidFill>
                <a:schemeClr val="accent1"/>
              </a:solidFill>
            </a:ln>
            <a:effectLst/>
          </c:spPr>
          <c:invertIfNegative val="0"/>
          <c:dPt>
            <c:idx val="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2-1031-40AF-8BDF-F090EF458BA8}"/>
              </c:ext>
            </c:extLst>
          </c:dPt>
          <c:dPt>
            <c:idx val="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4-1031-40AF-8BDF-F090EF458BA8}"/>
              </c:ext>
            </c:extLst>
          </c:dPt>
          <c:dPt>
            <c:idx val="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6-1031-40AF-8BDF-F090EF458BA8}"/>
              </c:ext>
            </c:extLst>
          </c:dPt>
          <c:dPt>
            <c:idx val="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8-1031-40AF-8BDF-F090EF458BA8}"/>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6</c:f>
              <c:numCache>
                <c:formatCode>General</c:formatCode>
                <c:ptCount val="5"/>
                <c:pt idx="0">
                  <c:v>15.8</c:v>
                </c:pt>
              </c:numCache>
            </c:numRef>
          </c:val>
          <c:extLst>
            <c:ext xmlns:c16="http://schemas.microsoft.com/office/drawing/2014/chart" uri="{C3380CC4-5D6E-409C-BE32-E72D297353CC}">
              <c16:uniqueId val="{00000009-1031-40AF-8BDF-F090EF458BA8}"/>
            </c:ext>
          </c:extLst>
        </c:ser>
        <c:dLbls>
          <c:showLegendKey val="0"/>
          <c:showVal val="0"/>
          <c:showCatName val="0"/>
          <c:showSerName val="0"/>
          <c:showPercent val="0"/>
          <c:showBubbleSize val="0"/>
        </c:dLbls>
        <c:gapWidth val="75"/>
        <c:overlap val="-33"/>
        <c:axId val="1880491408"/>
        <c:axId val="159070560"/>
      </c:barChart>
      <c:catAx>
        <c:axId val="188049140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159070560"/>
        <c:crosses val="autoZero"/>
        <c:auto val="1"/>
        <c:lblAlgn val="ctr"/>
        <c:lblOffset val="100"/>
        <c:noMultiLvlLbl val="0"/>
      </c:catAx>
      <c:valAx>
        <c:axId val="159070560"/>
        <c:scaling>
          <c:orientation val="minMax"/>
          <c:max val="28"/>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en-US"/>
          </a:p>
        </c:txPr>
        <c:crossAx val="1880491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24350190269779"/>
          <c:y val="4.0595586623985068E-2"/>
          <c:w val="0.81508178921260888"/>
          <c:h val="0.90076634380803655"/>
        </c:manualLayout>
      </c:layout>
      <c:barChart>
        <c:barDir val="col"/>
        <c:grouping val="clustered"/>
        <c:varyColors val="0"/>
        <c:ser>
          <c:idx val="0"/>
          <c:order val="0"/>
          <c:tx>
            <c:strRef>
              <c:f>Sheet1!$B$1</c:f>
              <c:strCache>
                <c:ptCount val="1"/>
                <c:pt idx="0">
                  <c:v>Comparator</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6</c:f>
              <c:numCache>
                <c:formatCode>General</c:formatCode>
                <c:ptCount val="5"/>
                <c:pt idx="0">
                  <c:v>15.6</c:v>
                </c:pt>
              </c:numCache>
            </c:numRef>
          </c:val>
          <c:extLst>
            <c:ext xmlns:c16="http://schemas.microsoft.com/office/drawing/2014/chart" uri="{C3380CC4-5D6E-409C-BE32-E72D297353CC}">
              <c16:uniqueId val="{00000000-033E-40D5-89BC-26DCB4C1B9FE}"/>
            </c:ext>
          </c:extLst>
        </c:ser>
        <c:ser>
          <c:idx val="1"/>
          <c:order val="1"/>
          <c:tx>
            <c:strRef>
              <c:f>Sheet1!$C$1</c:f>
              <c:strCache>
                <c:ptCount val="1"/>
                <c:pt idx="0">
                  <c:v>Drug</c:v>
                </c:pt>
              </c:strCache>
            </c:strRef>
          </c:tx>
          <c:spPr>
            <a:solidFill>
              <a:schemeClr val="accent1"/>
            </a:solidFill>
            <a:ln>
              <a:solidFill>
                <a:schemeClr val="accent1"/>
              </a:solidFill>
            </a:ln>
            <a:effectLst/>
          </c:spPr>
          <c:invertIfNegative val="0"/>
          <c:dPt>
            <c:idx val="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2-033E-40D5-89BC-26DCB4C1B9FE}"/>
              </c:ext>
            </c:extLst>
          </c:dPt>
          <c:dPt>
            <c:idx val="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4-033E-40D5-89BC-26DCB4C1B9FE}"/>
              </c:ext>
            </c:extLst>
          </c:dPt>
          <c:dPt>
            <c:idx val="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6-033E-40D5-89BC-26DCB4C1B9FE}"/>
              </c:ext>
            </c:extLst>
          </c:dPt>
          <c:dPt>
            <c:idx val="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8-033E-40D5-89BC-26DCB4C1B9FE}"/>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6</c:f>
              <c:numCache>
                <c:formatCode>General</c:formatCode>
                <c:ptCount val="5"/>
                <c:pt idx="0">
                  <c:v>11.6</c:v>
                </c:pt>
              </c:numCache>
            </c:numRef>
          </c:val>
          <c:extLst>
            <c:ext xmlns:c16="http://schemas.microsoft.com/office/drawing/2014/chart" uri="{C3380CC4-5D6E-409C-BE32-E72D297353CC}">
              <c16:uniqueId val="{00000009-033E-40D5-89BC-26DCB4C1B9FE}"/>
            </c:ext>
          </c:extLst>
        </c:ser>
        <c:dLbls>
          <c:showLegendKey val="0"/>
          <c:showVal val="0"/>
          <c:showCatName val="0"/>
          <c:showSerName val="0"/>
          <c:showPercent val="0"/>
          <c:showBubbleSize val="0"/>
        </c:dLbls>
        <c:gapWidth val="75"/>
        <c:overlap val="-33"/>
        <c:axId val="1880491408"/>
        <c:axId val="159070560"/>
      </c:barChart>
      <c:catAx>
        <c:axId val="188049140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159070560"/>
        <c:crosses val="autoZero"/>
        <c:auto val="1"/>
        <c:lblAlgn val="ctr"/>
        <c:lblOffset val="100"/>
        <c:noMultiLvlLbl val="0"/>
      </c:catAx>
      <c:valAx>
        <c:axId val="159070560"/>
        <c:scaling>
          <c:orientation val="minMax"/>
          <c:max val="28"/>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en-US"/>
          </a:p>
        </c:txPr>
        <c:crossAx val="1880491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7087133143786"/>
          <c:y val="5.9842777704223478E-2"/>
          <c:w val="0.81043848767580429"/>
          <c:h val="0.7214900803054759"/>
        </c:manualLayout>
      </c:layout>
      <c:barChart>
        <c:barDir val="col"/>
        <c:grouping val="cluster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dPt>
            <c:idx val="0"/>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1-2DE9-430A-A35E-B1D8E41FB076}"/>
              </c:ext>
            </c:extLst>
          </c:dPt>
          <c:dPt>
            <c:idx val="1"/>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3-2DE9-430A-A35E-B1D8E41FB076}"/>
              </c:ext>
            </c:extLst>
          </c:dPt>
          <c:dPt>
            <c:idx val="2"/>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5-2DE9-430A-A35E-B1D8E41FB076}"/>
              </c:ext>
            </c:extLst>
          </c:dPt>
          <c:dPt>
            <c:idx val="3"/>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7-2DE9-430A-A35E-B1D8E41FB076}"/>
              </c:ext>
            </c:extLst>
          </c:dPt>
          <c:errBars>
            <c:errBarType val="both"/>
            <c:errValType val="cust"/>
            <c:noEndCap val="0"/>
            <c:plus>
              <c:numRef>
                <c:f>Sheet1!$F$2:$F$6</c:f>
                <c:numCache>
                  <c:formatCode>General</c:formatCode>
                  <c:ptCount val="5"/>
                  <c:pt idx="0">
                    <c:v>0</c:v>
                  </c:pt>
                  <c:pt idx="1">
                    <c:v>0.16999999999999993</c:v>
                  </c:pt>
                  <c:pt idx="2">
                    <c:v>0.21999999999999997</c:v>
                  </c:pt>
                  <c:pt idx="3">
                    <c:v>0.22999999999999998</c:v>
                  </c:pt>
                  <c:pt idx="4">
                    <c:v>0.19999999999999996</c:v>
                  </c:pt>
                </c:numCache>
              </c:numRef>
            </c:plus>
            <c:minus>
              <c:numRef>
                <c:f>Sheet1!$E$2:$E$6</c:f>
                <c:numCache>
                  <c:formatCode>General</c:formatCode>
                  <c:ptCount val="5"/>
                  <c:pt idx="0">
                    <c:v>0</c:v>
                  </c:pt>
                  <c:pt idx="1">
                    <c:v>0.1399999999999999</c:v>
                  </c:pt>
                  <c:pt idx="2">
                    <c:v>0.18999999999999995</c:v>
                  </c:pt>
                  <c:pt idx="3">
                    <c:v>0.19999999999999996</c:v>
                  </c:pt>
                  <c:pt idx="4">
                    <c:v>0.16999999999999993</c:v>
                  </c:pt>
                </c:numCache>
              </c:numRef>
            </c:minus>
            <c:spPr>
              <a:noFill/>
              <a:ln w="12700" cap="flat" cmpd="sng" algn="ctr">
                <a:solidFill>
                  <a:schemeClr val="tx1"/>
                </a:solidFill>
                <a:round/>
              </a:ln>
              <a:effectLst/>
            </c:spPr>
          </c:errBars>
          <c:cat>
            <c:strRef>
              <c:f>Sheet1!$A$2:$A$6</c:f>
              <c:strCache>
                <c:ptCount val="5"/>
                <c:pt idx="0">
                  <c:v>No prior hospitalization</c:v>
                </c:pt>
                <c:pt idx="1">
                  <c:v>&gt;12 months</c:v>
                </c:pt>
                <c:pt idx="2">
                  <c:v>6–12 months</c:v>
                </c:pt>
                <c:pt idx="3">
                  <c:v>3–6 months</c:v>
                </c:pt>
                <c:pt idx="4">
                  <c:v>&lt;3 months</c:v>
                </c:pt>
              </c:strCache>
            </c:strRef>
          </c:cat>
          <c:val>
            <c:numRef>
              <c:f>Sheet1!$B$2:$B$6</c:f>
              <c:numCache>
                <c:formatCode>General</c:formatCode>
                <c:ptCount val="5"/>
                <c:pt idx="0">
                  <c:v>1</c:v>
                </c:pt>
                <c:pt idx="1">
                  <c:v>1.26</c:v>
                </c:pt>
                <c:pt idx="2">
                  <c:v>1.29</c:v>
                </c:pt>
                <c:pt idx="3">
                  <c:v>1.46</c:v>
                </c:pt>
                <c:pt idx="4">
                  <c:v>1.46</c:v>
                </c:pt>
              </c:numCache>
            </c:numRef>
          </c:val>
          <c:extLst>
            <c:ext xmlns:c16="http://schemas.microsoft.com/office/drawing/2014/chart" uri="{C3380CC4-5D6E-409C-BE32-E72D297353CC}">
              <c16:uniqueId val="{00000008-2DE9-430A-A35E-B1D8E41FB076}"/>
            </c:ext>
          </c:extLst>
        </c:ser>
        <c:dLbls>
          <c:showLegendKey val="0"/>
          <c:showVal val="0"/>
          <c:showCatName val="0"/>
          <c:showSerName val="0"/>
          <c:showPercent val="0"/>
          <c:showBubbleSize val="0"/>
        </c:dLbls>
        <c:gapWidth val="150"/>
        <c:overlap val="-27"/>
        <c:axId val="948900992"/>
        <c:axId val="453645056"/>
      </c:barChart>
      <c:catAx>
        <c:axId val="948900992"/>
        <c:scaling>
          <c:orientation val="minMax"/>
        </c:scaling>
        <c:delete val="0"/>
        <c:axPos val="b"/>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GB" b="1"/>
                  <a:t>Time from HFH</a:t>
                </a:r>
                <a:r>
                  <a:rPr lang="en-GB" b="1" baseline="0"/>
                  <a:t> to screening</a:t>
                </a:r>
                <a:endParaRPr lang="en-GB" b="1"/>
              </a:p>
            </c:rich>
          </c:tx>
          <c:layout>
            <c:manualLayout>
              <c:xMode val="edge"/>
              <c:yMode val="edge"/>
              <c:x val="0.31605043588551324"/>
              <c:y val="0.9199984126984126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53645056"/>
        <c:crosses val="autoZero"/>
        <c:auto val="1"/>
        <c:lblAlgn val="ctr"/>
        <c:lblOffset val="100"/>
        <c:noMultiLvlLbl val="0"/>
      </c:catAx>
      <c:valAx>
        <c:axId val="453645056"/>
        <c:scaling>
          <c:orientation val="minMax"/>
          <c:max val="1.9"/>
          <c:min val="0.9"/>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GB" b="1"/>
                  <a:t>Hazard</a:t>
                </a:r>
                <a:r>
                  <a:rPr lang="en-GB" b="1" baseline="0"/>
                  <a:t> ratio </a:t>
                </a:r>
                <a:r>
                  <a:rPr lang="en-GB" b="1" i="1" baseline="0"/>
                  <a:t>vs</a:t>
                </a:r>
                <a:r>
                  <a:rPr lang="en-GB" b="1" baseline="0"/>
                  <a:t> no prior HFH</a:t>
                </a:r>
                <a:endParaRPr lang="en-GB" b="1"/>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48900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0187531939505275"/>
          <c:y val="0.13609876499574389"/>
          <c:w val="0.83161087521170152"/>
          <c:h val="0.66854965789233389"/>
        </c:manualLayout>
      </c:layout>
      <c:barChart>
        <c:barDir val="col"/>
        <c:grouping val="clustered"/>
        <c:varyColors val="0"/>
        <c:ser>
          <c:idx val="1"/>
          <c:order val="0"/>
          <c:tx>
            <c:strRef>
              <c:f>Sheet1!$B$1</c:f>
              <c:strCache>
                <c:ptCount val="1"/>
                <c:pt idx="0">
                  <c:v>Placebo</c:v>
                </c:pt>
              </c:strCache>
            </c:strRef>
          </c:tx>
          <c:spPr>
            <a:solidFill>
              <a:srgbClr val="BBBBBB"/>
            </a:solidFill>
            <a:ln w="25400" cap="flat" cmpd="sng" algn="ctr">
              <a:noFill/>
              <a:prstDash val="solid"/>
            </a:ln>
            <a:effectLst/>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Primary composite (CV death/HFH)</c:v>
                </c:pt>
                <c:pt idx="1">
                  <c:v>CV death</c:v>
                </c:pt>
                <c:pt idx="2">
                  <c:v>HFH</c:v>
                </c:pt>
                <c:pt idx="3">
                  <c:v>Total HFH</c:v>
                </c:pt>
                <c:pt idx="4">
                  <c:v>HFH or all-cause mortality</c:v>
                </c:pt>
                <c:pt idx="5">
                  <c:v>All-cause mortality</c:v>
                </c:pt>
              </c:strCache>
            </c:strRef>
          </c:cat>
          <c:val>
            <c:numRef>
              <c:f>Sheet1!$B$2:$B$7</c:f>
              <c:numCache>
                <c:formatCode>General</c:formatCode>
                <c:ptCount val="6"/>
                <c:pt idx="0">
                  <c:v>37.799999999999997</c:v>
                </c:pt>
                <c:pt idx="1">
                  <c:v>13.9</c:v>
                </c:pt>
                <c:pt idx="2">
                  <c:v>29.1</c:v>
                </c:pt>
                <c:pt idx="3">
                  <c:v>42.4</c:v>
                </c:pt>
                <c:pt idx="4">
                  <c:v>40.1</c:v>
                </c:pt>
                <c:pt idx="5">
                  <c:v>16.899999999999999</c:v>
                </c:pt>
              </c:numCache>
            </c:numRef>
          </c:val>
          <c:extLst>
            <c:ext xmlns:c16="http://schemas.microsoft.com/office/drawing/2014/chart" uri="{C3380CC4-5D6E-409C-BE32-E72D297353CC}">
              <c16:uniqueId val="{00000001-14D3-45F2-8789-17161C634D85}"/>
            </c:ext>
          </c:extLst>
        </c:ser>
        <c:ser>
          <c:idx val="0"/>
          <c:order val="1"/>
          <c:tx>
            <c:strRef>
              <c:f>Sheet1!$C$1</c:f>
              <c:strCache>
                <c:ptCount val="1"/>
                <c:pt idx="0">
                  <c:v>Vericiguat</c:v>
                </c:pt>
              </c:strCache>
            </c:strRef>
          </c:tx>
          <c:spPr>
            <a:solidFill>
              <a:schemeClr val="accent1"/>
            </a:solidFill>
            <a:ln w="9525" cap="flat" cmpd="sng" algn="ctr">
              <a:noFill/>
              <a:prstDash val="solid"/>
            </a:ln>
            <a:effectLst/>
          </c:spPr>
          <c:invertIfNegative val="0"/>
          <c:dLbls>
            <c:dLbl>
              <c:idx val="4"/>
              <c:numFmt formatCode="#,##0.0" sourceLinked="0"/>
              <c:spPr>
                <a:noFill/>
                <a:ln>
                  <a:noFill/>
                </a:ln>
                <a:effectLst/>
              </c:spPr>
              <c:txPr>
                <a:bodyPr wrap="square" lIns="38100" tIns="19050" rIns="38100" bIns="19050" anchor="ctr">
                  <a:spAutoFit/>
                </a:bodyPr>
                <a:lstStyle/>
                <a:p>
                  <a:pPr>
                    <a:defRPr sz="1200" b="1">
                      <a:solidFill>
                        <a:schemeClr val="bg1"/>
                      </a:solidFill>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E863-4714-9D7F-DBE9FE3542B8}"/>
                </c:ext>
              </c:extLst>
            </c:dLbl>
            <c:spPr>
              <a:noFill/>
              <a:ln>
                <a:noFill/>
              </a:ln>
              <a:effectLst/>
            </c:spPr>
            <c:txPr>
              <a:bodyPr wrap="square" lIns="38100" tIns="19050" rIns="38100" bIns="19050" anchor="ctr">
                <a:spAutoFit/>
              </a:bodyPr>
              <a:lstStyle/>
              <a:p>
                <a:pPr>
                  <a:defRPr sz="12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Primary composite (CV death/HFH)</c:v>
                </c:pt>
                <c:pt idx="1">
                  <c:v>CV death</c:v>
                </c:pt>
                <c:pt idx="2">
                  <c:v>HFH</c:v>
                </c:pt>
                <c:pt idx="3">
                  <c:v>Total HFH</c:v>
                </c:pt>
                <c:pt idx="4">
                  <c:v>HFH or all-cause mortality</c:v>
                </c:pt>
                <c:pt idx="5">
                  <c:v>All-cause mortality</c:v>
                </c:pt>
              </c:strCache>
            </c:strRef>
          </c:cat>
          <c:val>
            <c:numRef>
              <c:f>Sheet1!$C$2:$C$7</c:f>
              <c:numCache>
                <c:formatCode>General</c:formatCode>
                <c:ptCount val="6"/>
                <c:pt idx="0">
                  <c:v>33.6</c:v>
                </c:pt>
                <c:pt idx="1">
                  <c:v>12.9</c:v>
                </c:pt>
                <c:pt idx="2">
                  <c:v>25.9</c:v>
                </c:pt>
                <c:pt idx="3">
                  <c:v>38.299999999999997</c:v>
                </c:pt>
                <c:pt idx="4">
                  <c:v>35.9</c:v>
                </c:pt>
                <c:pt idx="5">
                  <c:v>16</c:v>
                </c:pt>
              </c:numCache>
            </c:numRef>
          </c:val>
          <c:extLst>
            <c:ext xmlns:c16="http://schemas.microsoft.com/office/drawing/2014/chart" uri="{C3380CC4-5D6E-409C-BE32-E72D297353CC}">
              <c16:uniqueId val="{00000000-14D3-45F2-8789-17161C634D85}"/>
            </c:ext>
          </c:extLst>
        </c:ser>
        <c:dLbls>
          <c:showLegendKey val="0"/>
          <c:showVal val="0"/>
          <c:showCatName val="0"/>
          <c:showSerName val="0"/>
          <c:showPercent val="0"/>
          <c:showBubbleSize val="0"/>
        </c:dLbls>
        <c:gapWidth val="150"/>
        <c:axId val="-910333120"/>
        <c:axId val="-910331488"/>
      </c:barChart>
      <c:catAx>
        <c:axId val="-910333120"/>
        <c:scaling>
          <c:orientation val="minMax"/>
        </c:scaling>
        <c:delete val="0"/>
        <c:axPos val="b"/>
        <c:numFmt formatCode="General" sourceLinked="1"/>
        <c:majorTickMark val="out"/>
        <c:minorTickMark val="none"/>
        <c:tickLblPos val="nextTo"/>
        <c:spPr>
          <a:ln w="12700">
            <a:solidFill>
              <a:srgbClr val="000000"/>
            </a:solidFill>
          </a:ln>
        </c:spPr>
        <c:txPr>
          <a:bodyPr/>
          <a:lstStyle/>
          <a:p>
            <a:pPr>
              <a:defRPr sz="1400" b="1">
                <a:solidFill>
                  <a:schemeClr val="tx1"/>
                </a:solidFill>
              </a:defRPr>
            </a:pPr>
            <a:endParaRPr lang="en-US"/>
          </a:p>
        </c:txPr>
        <c:crossAx val="-910331488"/>
        <c:crosses val="autoZero"/>
        <c:auto val="1"/>
        <c:lblAlgn val="ctr"/>
        <c:lblOffset val="100"/>
        <c:noMultiLvlLbl val="0"/>
      </c:catAx>
      <c:valAx>
        <c:axId val="-910331488"/>
        <c:scaling>
          <c:orientation val="minMax"/>
        </c:scaling>
        <c:delete val="0"/>
        <c:axPos val="l"/>
        <c:title>
          <c:tx>
            <c:rich>
              <a:bodyPr/>
              <a:lstStyle/>
              <a:p>
                <a:pPr>
                  <a:defRPr>
                    <a:solidFill>
                      <a:schemeClr val="tx1"/>
                    </a:solidFill>
                  </a:defRPr>
                </a:pPr>
                <a:r>
                  <a:rPr lang="en-GB" dirty="0">
                    <a:solidFill>
                      <a:schemeClr val="tx1"/>
                    </a:solidFill>
                  </a:rPr>
                  <a:t>Event rate (events/100 </a:t>
                </a:r>
                <a:r>
                  <a:rPr lang="en-GB" baseline="0" dirty="0">
                    <a:solidFill>
                      <a:schemeClr val="tx1"/>
                    </a:solidFill>
                  </a:rPr>
                  <a:t>PY)</a:t>
                </a:r>
                <a:endParaRPr lang="en-GB" dirty="0">
                  <a:solidFill>
                    <a:schemeClr val="tx1"/>
                  </a:solidFill>
                </a:endParaRPr>
              </a:p>
            </c:rich>
          </c:tx>
          <c:layout>
            <c:manualLayout>
              <c:xMode val="edge"/>
              <c:yMode val="edge"/>
              <c:x val="3.5980766280870276E-2"/>
              <c:y val="0.12280148330108123"/>
            </c:manualLayout>
          </c:layout>
          <c:overlay val="0"/>
        </c:title>
        <c:numFmt formatCode="General" sourceLinked="1"/>
        <c:majorTickMark val="out"/>
        <c:minorTickMark val="none"/>
        <c:tickLblPos val="nextTo"/>
        <c:spPr>
          <a:ln w="12700">
            <a:solidFill>
              <a:srgbClr val="53585A"/>
            </a:solidFill>
          </a:ln>
        </c:spPr>
        <c:txPr>
          <a:bodyPr/>
          <a:lstStyle/>
          <a:p>
            <a:pPr>
              <a:defRPr>
                <a:solidFill>
                  <a:schemeClr val="tx1"/>
                </a:solidFill>
              </a:defRPr>
            </a:pPr>
            <a:endParaRPr lang="en-US"/>
          </a:p>
        </c:txPr>
        <c:crossAx val="-910333120"/>
        <c:crosses val="autoZero"/>
        <c:crossBetween val="between"/>
      </c:valAx>
    </c:plotArea>
    <c:legend>
      <c:legendPos val="r"/>
      <c:layout>
        <c:manualLayout>
          <c:xMode val="edge"/>
          <c:yMode val="edge"/>
          <c:x val="0.85000329298972443"/>
          <c:y val="3.7647998918168016E-2"/>
          <c:w val="0.13012242490125517"/>
          <c:h val="0.20917024716172772"/>
        </c:manualLayout>
      </c:layout>
      <c:overlay val="0"/>
      <c:txPr>
        <a:bodyPr/>
        <a:lstStyle/>
        <a:p>
          <a:pPr>
            <a:defRPr>
              <a:solidFill>
                <a:schemeClr val="tx1"/>
              </a:solidFill>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43846439514073"/>
          <c:y val="0.11384815736309087"/>
          <c:w val="0.57599951861916632"/>
          <c:h val="0.77230368527381832"/>
        </c:manualLayout>
      </c:layout>
      <c:doughnutChart>
        <c:varyColors val="1"/>
        <c:ser>
          <c:idx val="0"/>
          <c:order val="0"/>
          <c:tx>
            <c:strRef>
              <c:f>Sheet1!$B$1</c:f>
              <c:strCache>
                <c:ptCount val="1"/>
                <c:pt idx="0">
                  <c:v>Sale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4F46-4F2D-B625-6D5E7A5FA119}"/>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4F46-4F2D-B625-6D5E7A5FA119}"/>
              </c:ext>
            </c:extLst>
          </c:dPt>
          <c:cat>
            <c:numRef>
              <c:f>Sheet1!$A$2:$A$3</c:f>
              <c:numCache>
                <c:formatCode>General</c:formatCode>
                <c:ptCount val="2"/>
              </c:numCache>
            </c:num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4F46-4F2D-B625-6D5E7A5FA11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136222222222219"/>
          <c:y val="0.12564313560547619"/>
          <c:w val="0.81092055555555553"/>
          <c:h val="0.65944366141987343"/>
        </c:manualLayout>
      </c:layout>
      <c:barChart>
        <c:barDir val="col"/>
        <c:grouping val="clustered"/>
        <c:varyColors val="0"/>
        <c:ser>
          <c:idx val="0"/>
          <c:order val="0"/>
          <c:tx>
            <c:strRef>
              <c:f>Sheet1!$B$1</c:f>
              <c:strCache>
                <c:ptCount val="1"/>
                <c:pt idx="0">
                  <c:v>Placebo</c:v>
                </c:pt>
              </c:strCache>
            </c:strRef>
          </c:tx>
          <c:spPr>
            <a:solidFill>
              <a:srgbClr val="707070"/>
            </a:solidFill>
            <a:ln w="9525" cap="flat" cmpd="sng" algn="ctr">
              <a:noFill/>
              <a:prstDash val="solid"/>
            </a:ln>
            <a:effectLst/>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E</c:v>
                </c:pt>
                <c:pt idx="1">
                  <c:v>SAE</c:v>
                </c:pt>
              </c:strCache>
            </c:strRef>
          </c:cat>
          <c:val>
            <c:numRef>
              <c:f>Sheet1!$B$2:$B$3</c:f>
              <c:numCache>
                <c:formatCode>General</c:formatCode>
                <c:ptCount val="2"/>
                <c:pt idx="0" formatCode="0.0">
                  <c:v>81</c:v>
                </c:pt>
                <c:pt idx="1">
                  <c:v>34.799999999999997</c:v>
                </c:pt>
              </c:numCache>
            </c:numRef>
          </c:val>
          <c:extLst>
            <c:ext xmlns:c16="http://schemas.microsoft.com/office/drawing/2014/chart" uri="{C3380CC4-5D6E-409C-BE32-E72D297353CC}">
              <c16:uniqueId val="{00000000-14D3-45F2-8789-17161C634D85}"/>
            </c:ext>
          </c:extLst>
        </c:ser>
        <c:ser>
          <c:idx val="1"/>
          <c:order val="1"/>
          <c:tx>
            <c:strRef>
              <c:f>Sheet1!$C$1</c:f>
              <c:strCache>
                <c:ptCount val="1"/>
                <c:pt idx="0">
                  <c:v>Vericiguat</c:v>
                </c:pt>
              </c:strCache>
            </c:strRef>
          </c:tx>
          <c:spPr>
            <a:solidFill>
              <a:srgbClr val="FC3B2D"/>
            </a:solidFill>
            <a:ln w="9525" cap="flat" cmpd="sng" algn="ctr">
              <a:noFill/>
              <a:prstDash val="solid"/>
            </a:ln>
            <a:effectLst/>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E</c:v>
                </c:pt>
                <c:pt idx="1">
                  <c:v>SAE</c:v>
                </c:pt>
              </c:strCache>
            </c:strRef>
          </c:cat>
          <c:val>
            <c:numRef>
              <c:f>Sheet1!$C$2:$C$3</c:f>
              <c:numCache>
                <c:formatCode>General</c:formatCode>
                <c:ptCount val="2"/>
                <c:pt idx="0">
                  <c:v>80.5</c:v>
                </c:pt>
                <c:pt idx="1">
                  <c:v>32.799999999999997</c:v>
                </c:pt>
              </c:numCache>
            </c:numRef>
          </c:val>
          <c:extLst>
            <c:ext xmlns:c16="http://schemas.microsoft.com/office/drawing/2014/chart" uri="{C3380CC4-5D6E-409C-BE32-E72D297353CC}">
              <c16:uniqueId val="{00000001-14D3-45F2-8789-17161C634D85}"/>
            </c:ext>
          </c:extLst>
        </c:ser>
        <c:dLbls>
          <c:showLegendKey val="0"/>
          <c:showVal val="0"/>
          <c:showCatName val="0"/>
          <c:showSerName val="0"/>
          <c:showPercent val="0"/>
          <c:showBubbleSize val="0"/>
        </c:dLbls>
        <c:gapWidth val="150"/>
        <c:axId val="-910333120"/>
        <c:axId val="-910331488"/>
      </c:barChart>
      <c:catAx>
        <c:axId val="-910333120"/>
        <c:scaling>
          <c:orientation val="minMax"/>
        </c:scaling>
        <c:delete val="0"/>
        <c:axPos val="b"/>
        <c:numFmt formatCode="General" sourceLinked="1"/>
        <c:majorTickMark val="out"/>
        <c:minorTickMark val="none"/>
        <c:tickLblPos val="nextTo"/>
        <c:spPr>
          <a:ln>
            <a:solidFill>
              <a:schemeClr val="tx1"/>
            </a:solidFill>
          </a:ln>
        </c:spPr>
        <c:txPr>
          <a:bodyPr/>
          <a:lstStyle/>
          <a:p>
            <a:pPr>
              <a:defRPr sz="1200">
                <a:solidFill>
                  <a:schemeClr val="tx1"/>
                </a:solidFill>
              </a:defRPr>
            </a:pPr>
            <a:endParaRPr lang="en-US"/>
          </a:p>
        </c:txPr>
        <c:crossAx val="-910331488"/>
        <c:crosses val="autoZero"/>
        <c:auto val="1"/>
        <c:lblAlgn val="ctr"/>
        <c:lblOffset val="100"/>
        <c:noMultiLvlLbl val="0"/>
      </c:catAx>
      <c:valAx>
        <c:axId val="-910331488"/>
        <c:scaling>
          <c:orientation val="minMax"/>
          <c:max val="100"/>
        </c:scaling>
        <c:delete val="0"/>
        <c:axPos val="l"/>
        <c:title>
          <c:tx>
            <c:rich>
              <a:bodyPr/>
              <a:lstStyle/>
              <a:p>
                <a:pPr>
                  <a:defRPr sz="1100"/>
                </a:pPr>
                <a:r>
                  <a:rPr lang="en-US" sz="1100" dirty="0"/>
                  <a:t>Patients (%)</a:t>
                </a:r>
              </a:p>
            </c:rich>
          </c:tx>
          <c:overlay val="0"/>
        </c:title>
        <c:numFmt formatCode="General" sourceLinked="0"/>
        <c:majorTickMark val="out"/>
        <c:minorTickMark val="none"/>
        <c:tickLblPos val="nextTo"/>
        <c:spPr>
          <a:ln>
            <a:solidFill>
              <a:schemeClr val="tx1"/>
            </a:solidFill>
          </a:ln>
        </c:spPr>
        <c:txPr>
          <a:bodyPr/>
          <a:lstStyle/>
          <a:p>
            <a:pPr>
              <a:defRPr sz="1100">
                <a:solidFill>
                  <a:schemeClr val="tx1"/>
                </a:solidFill>
              </a:defRPr>
            </a:pPr>
            <a:endParaRPr lang="en-US"/>
          </a:p>
        </c:txPr>
        <c:crossAx val="-910333120"/>
        <c:crosses val="autoZero"/>
        <c:crossBetween val="between"/>
      </c:valAx>
    </c:plotArea>
    <c:legend>
      <c:legendPos val="b"/>
      <c:layout>
        <c:manualLayout>
          <c:xMode val="edge"/>
          <c:yMode val="edge"/>
          <c:x val="0.27614277777777779"/>
          <c:y val="0.89300492211427551"/>
          <c:w val="0.44771416666666669"/>
          <c:h val="8.7192796647333454E-2"/>
        </c:manualLayout>
      </c:layout>
      <c:overlay val="0"/>
      <c:txPr>
        <a:bodyPr/>
        <a:lstStyle/>
        <a:p>
          <a:pPr>
            <a:defRPr sz="1050">
              <a:solidFill>
                <a:schemeClr val="tx1"/>
              </a:solidFill>
            </a:defRPr>
          </a:pPr>
          <a:endParaRPr lang="en-US"/>
        </a:p>
      </c:txPr>
    </c:legend>
    <c:plotVisOnly val="1"/>
    <c:dispBlanksAs val="gap"/>
    <c:showDLblsOverMax val="0"/>
  </c:chart>
  <c:txPr>
    <a:bodyPr/>
    <a:lstStyle/>
    <a:p>
      <a:pPr>
        <a:defRPr sz="14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077888888888889"/>
          <c:y val="0.11593590349272295"/>
          <c:w val="0.81092055555555553"/>
          <c:h val="0.59489233809236031"/>
        </c:manualLayout>
      </c:layout>
      <c:barChart>
        <c:barDir val="col"/>
        <c:grouping val="clustered"/>
        <c:varyColors val="0"/>
        <c:ser>
          <c:idx val="0"/>
          <c:order val="0"/>
          <c:tx>
            <c:strRef>
              <c:f>Sheet1!$B$1</c:f>
              <c:strCache>
                <c:ptCount val="1"/>
                <c:pt idx="0">
                  <c:v>Placebo</c:v>
                </c:pt>
              </c:strCache>
            </c:strRef>
          </c:tx>
          <c:spPr>
            <a:solidFill>
              <a:srgbClr val="707070"/>
            </a:solidFill>
            <a:ln w="9525" cap="flat" cmpd="sng" algn="ctr">
              <a:noFill/>
              <a:prstDash val="solid"/>
            </a:ln>
            <a:effectLst/>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Symptomatic hypotension</c:v>
                </c:pt>
                <c:pt idx="1">
                  <c:v>Syncope</c:v>
                </c:pt>
              </c:strCache>
            </c:strRef>
          </c:cat>
          <c:val>
            <c:numRef>
              <c:f>Sheet1!$B$2:$B$3</c:f>
              <c:numCache>
                <c:formatCode>General</c:formatCode>
                <c:ptCount val="2"/>
                <c:pt idx="0" formatCode="0.0">
                  <c:v>7.9</c:v>
                </c:pt>
                <c:pt idx="1">
                  <c:v>3.5</c:v>
                </c:pt>
              </c:numCache>
            </c:numRef>
          </c:val>
          <c:extLst>
            <c:ext xmlns:c16="http://schemas.microsoft.com/office/drawing/2014/chart" uri="{C3380CC4-5D6E-409C-BE32-E72D297353CC}">
              <c16:uniqueId val="{00000000-58C1-4218-9F27-0E78A1E39385}"/>
            </c:ext>
          </c:extLst>
        </c:ser>
        <c:ser>
          <c:idx val="1"/>
          <c:order val="1"/>
          <c:tx>
            <c:strRef>
              <c:f>Sheet1!$C$1</c:f>
              <c:strCache>
                <c:ptCount val="1"/>
                <c:pt idx="0">
                  <c:v>Vericiguat</c:v>
                </c:pt>
              </c:strCache>
            </c:strRef>
          </c:tx>
          <c:spPr>
            <a:solidFill>
              <a:srgbClr val="FC3B2D"/>
            </a:solidFill>
            <a:ln w="9525" cap="flat" cmpd="sng" algn="ctr">
              <a:noFill/>
              <a:prstDash val="solid"/>
            </a:ln>
            <a:effectLst/>
          </c:spPr>
          <c:invertIfNegative val="0"/>
          <c:dLbls>
            <c:numFmt formatCode="#,##0.0" sourceLinked="0"/>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Symptomatic hypotension</c:v>
                </c:pt>
                <c:pt idx="1">
                  <c:v>Syncope</c:v>
                </c:pt>
              </c:strCache>
            </c:strRef>
          </c:cat>
          <c:val>
            <c:numRef>
              <c:f>Sheet1!$C$2:$C$3</c:f>
              <c:numCache>
                <c:formatCode>General</c:formatCode>
                <c:ptCount val="2"/>
                <c:pt idx="0">
                  <c:v>9.1</c:v>
                </c:pt>
                <c:pt idx="1">
                  <c:v>4</c:v>
                </c:pt>
              </c:numCache>
            </c:numRef>
          </c:val>
          <c:extLst>
            <c:ext xmlns:c16="http://schemas.microsoft.com/office/drawing/2014/chart" uri="{C3380CC4-5D6E-409C-BE32-E72D297353CC}">
              <c16:uniqueId val="{00000001-58C1-4218-9F27-0E78A1E39385}"/>
            </c:ext>
          </c:extLst>
        </c:ser>
        <c:dLbls>
          <c:showLegendKey val="0"/>
          <c:showVal val="0"/>
          <c:showCatName val="0"/>
          <c:showSerName val="0"/>
          <c:showPercent val="0"/>
          <c:showBubbleSize val="0"/>
        </c:dLbls>
        <c:gapWidth val="150"/>
        <c:axId val="-910333120"/>
        <c:axId val="-910331488"/>
      </c:barChart>
      <c:catAx>
        <c:axId val="-910333120"/>
        <c:scaling>
          <c:orientation val="minMax"/>
        </c:scaling>
        <c:delete val="0"/>
        <c:axPos val="b"/>
        <c:numFmt formatCode="General" sourceLinked="1"/>
        <c:majorTickMark val="out"/>
        <c:minorTickMark val="none"/>
        <c:tickLblPos val="nextTo"/>
        <c:spPr>
          <a:ln>
            <a:solidFill>
              <a:schemeClr val="tx1"/>
            </a:solidFill>
          </a:ln>
        </c:spPr>
        <c:txPr>
          <a:bodyPr/>
          <a:lstStyle/>
          <a:p>
            <a:pPr>
              <a:defRPr sz="1100">
                <a:solidFill>
                  <a:schemeClr val="tx1"/>
                </a:solidFill>
              </a:defRPr>
            </a:pPr>
            <a:endParaRPr lang="en-US"/>
          </a:p>
        </c:txPr>
        <c:crossAx val="-910331488"/>
        <c:crosses val="autoZero"/>
        <c:auto val="1"/>
        <c:lblAlgn val="ctr"/>
        <c:lblOffset val="100"/>
        <c:noMultiLvlLbl val="0"/>
      </c:catAx>
      <c:valAx>
        <c:axId val="-910331488"/>
        <c:scaling>
          <c:orientation val="minMax"/>
          <c:max val="100"/>
        </c:scaling>
        <c:delete val="0"/>
        <c:axPos val="l"/>
        <c:title>
          <c:tx>
            <c:rich>
              <a:bodyPr/>
              <a:lstStyle/>
              <a:p>
                <a:pPr>
                  <a:defRPr sz="1100"/>
                </a:pPr>
                <a:r>
                  <a:rPr lang="en-US" sz="1100" dirty="0"/>
                  <a:t>Patients (%)</a:t>
                </a:r>
              </a:p>
            </c:rich>
          </c:tx>
          <c:overlay val="0"/>
        </c:title>
        <c:numFmt formatCode="General" sourceLinked="0"/>
        <c:majorTickMark val="out"/>
        <c:minorTickMark val="none"/>
        <c:tickLblPos val="nextTo"/>
        <c:spPr>
          <a:ln>
            <a:solidFill>
              <a:schemeClr val="tx1"/>
            </a:solidFill>
          </a:ln>
        </c:spPr>
        <c:txPr>
          <a:bodyPr/>
          <a:lstStyle/>
          <a:p>
            <a:pPr>
              <a:defRPr sz="1100">
                <a:solidFill>
                  <a:schemeClr val="tx1"/>
                </a:solidFill>
              </a:defRPr>
            </a:pPr>
            <a:endParaRPr lang="en-US"/>
          </a:p>
        </c:txPr>
        <c:crossAx val="-910333120"/>
        <c:crosses val="autoZero"/>
        <c:crossBetween val="between"/>
      </c:valAx>
    </c:plotArea>
    <c:legend>
      <c:legendPos val="b"/>
      <c:layout>
        <c:manualLayout>
          <c:xMode val="edge"/>
          <c:yMode val="edge"/>
          <c:x val="0.27614277777777779"/>
          <c:y val="0.89300492211427551"/>
          <c:w val="0.44771416666666669"/>
          <c:h val="8.7192796647333454E-2"/>
        </c:manualLayout>
      </c:layout>
      <c:overlay val="0"/>
      <c:txPr>
        <a:bodyPr/>
        <a:lstStyle/>
        <a:p>
          <a:pPr>
            <a:defRPr sz="1050">
              <a:solidFill>
                <a:schemeClr val="tx1"/>
              </a:solidFill>
            </a:defRPr>
          </a:pPr>
          <a:endParaRPr lang="en-US"/>
        </a:p>
      </c:txPr>
    </c:legend>
    <c:plotVisOnly val="1"/>
    <c:dispBlanksAs val="gap"/>
    <c:showDLblsOverMax val="0"/>
  </c:chart>
  <c:txPr>
    <a:bodyPr/>
    <a:lstStyle/>
    <a:p>
      <a:pPr>
        <a:defRPr sz="14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2-04-19T06:48:54.783" idx="1">
    <p:pos x="7056" y="2853"/>
    <p:text>Update speaker affiliations</p:text>
    <p:extLst>
      <p:ext uri="{C676402C-5697-4E1C-873F-D02D1690AC5C}">
        <p15:threadingInfo xmlns:p15="http://schemas.microsoft.com/office/powerpoint/2012/main" timeZoneBias="-330"/>
      </p:ext>
    </p:extLst>
  </p:cm>
</p:cmLst>
</file>

<file path=ppt/diagrams/_rels/data1.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9E1AE3-66F7-4F0F-A571-46C0A42AD774}"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C93806FB-A276-4C92-8E83-13A62BEE1A39}">
      <dgm:prSet custT="1"/>
      <dgm:spPr/>
      <dgm:t>
        <a:bodyPr/>
        <a:lstStyle/>
        <a:p>
          <a:pPr>
            <a:lnSpc>
              <a:spcPct val="100000"/>
            </a:lnSpc>
          </a:pPr>
          <a:r>
            <a:rPr lang="en-US" sz="1600" b="1" i="0" baseline="0">
              <a:solidFill>
                <a:schemeClr val="accent4"/>
              </a:solidFill>
            </a:rPr>
            <a:t>Residual risk</a:t>
          </a:r>
        </a:p>
        <a:p>
          <a:pPr>
            <a:lnSpc>
              <a:spcPct val="100000"/>
            </a:lnSpc>
          </a:pPr>
          <a:r>
            <a:rPr lang="en-US" sz="1200" b="0" i="0" baseline="0"/>
            <a:t>Despite an evolving HF treatment landscape, significant residual risk remains for patients with HFrEF</a:t>
          </a:r>
          <a:r>
            <a:rPr lang="en-US" sz="1200"/>
            <a:t> CV death and Heart Failure Hospitalization(HFH)</a:t>
          </a:r>
          <a:endParaRPr lang="en-US" sz="1200" dirty="0"/>
        </a:p>
      </dgm:t>
    </dgm:pt>
    <dgm:pt modelId="{79362F83-725C-4DAF-9DAC-AEC6A89D25E9}" type="parTrans" cxnId="{7C0D6447-C4C5-4370-AA17-B25B47961E77}">
      <dgm:prSet/>
      <dgm:spPr/>
      <dgm:t>
        <a:bodyPr/>
        <a:lstStyle/>
        <a:p>
          <a:endParaRPr lang="en-US"/>
        </a:p>
      </dgm:t>
    </dgm:pt>
    <dgm:pt modelId="{E9941537-1FC9-4411-97CF-2E6EADDD6D2A}" type="sibTrans" cxnId="{7C0D6447-C4C5-4370-AA17-B25B47961E77}">
      <dgm:prSet phldrT="1"/>
      <dgm:spPr/>
      <dgm:t>
        <a:bodyPr/>
        <a:lstStyle/>
        <a:p>
          <a:pPr>
            <a:lnSpc>
              <a:spcPct val="100000"/>
            </a:lnSpc>
          </a:pPr>
          <a:endParaRPr lang="en-US"/>
        </a:p>
      </dgm:t>
    </dgm:pt>
    <dgm:pt modelId="{B89C640E-CD82-4EB5-A2D3-B09F431E0FE6}">
      <dgm:prSet custT="1"/>
      <dgm:spPr/>
      <dgm:t>
        <a:bodyPr/>
        <a:lstStyle/>
        <a:p>
          <a:pPr>
            <a:lnSpc>
              <a:spcPct val="100000"/>
            </a:lnSpc>
          </a:pPr>
          <a:r>
            <a:rPr lang="en-US" sz="1600" b="1">
              <a:solidFill>
                <a:schemeClr val="accent4"/>
              </a:solidFill>
            </a:rPr>
            <a:t>Worsening heart failure </a:t>
          </a:r>
        </a:p>
        <a:p>
          <a:pPr>
            <a:lnSpc>
              <a:spcPct val="100000"/>
            </a:lnSpc>
          </a:pPr>
          <a:r>
            <a:rPr lang="en-US" sz="1100"/>
            <a:t> </a:t>
          </a:r>
          <a:r>
            <a:rPr lang="en-US" sz="1200"/>
            <a:t>Patients who due to worsening HF signs and symptoms require hospitalization, emergency visit or unscheduled outpatients visit requiring intravenous diuretics.</a:t>
          </a:r>
          <a:endParaRPr lang="en-US" sz="1100" dirty="0"/>
        </a:p>
      </dgm:t>
    </dgm:pt>
    <dgm:pt modelId="{683F2CB5-785F-4871-AFC6-DC82130A77AA}" type="parTrans" cxnId="{E14C37F8-3C4D-4D2C-AB85-ADB21302D99B}">
      <dgm:prSet/>
      <dgm:spPr/>
      <dgm:t>
        <a:bodyPr/>
        <a:lstStyle/>
        <a:p>
          <a:endParaRPr lang="en-US"/>
        </a:p>
      </dgm:t>
    </dgm:pt>
    <dgm:pt modelId="{602CA2C6-A0F1-4588-830C-BFD60EF9AA5D}" type="sibTrans" cxnId="{E14C37F8-3C4D-4D2C-AB85-ADB21302D99B}">
      <dgm:prSet phldrT="2"/>
      <dgm:spPr/>
      <dgm:t>
        <a:bodyPr/>
        <a:lstStyle/>
        <a:p>
          <a:pPr>
            <a:lnSpc>
              <a:spcPct val="100000"/>
            </a:lnSpc>
          </a:pPr>
          <a:endParaRPr lang="en-US"/>
        </a:p>
      </dgm:t>
    </dgm:pt>
    <dgm:pt modelId="{DE34B9BD-B65F-4458-9E30-D0F9C057BD11}">
      <dgm:prSet custT="1"/>
      <dgm:spPr/>
      <dgm:t>
        <a:bodyPr/>
        <a:lstStyle/>
        <a:p>
          <a:pPr>
            <a:lnSpc>
              <a:spcPct val="100000"/>
            </a:lnSpc>
          </a:pPr>
          <a:r>
            <a:rPr lang="en-US" sz="1600" b="1">
              <a:solidFill>
                <a:schemeClr val="accent4"/>
              </a:solidFill>
            </a:rPr>
            <a:t>Big clinical message </a:t>
          </a:r>
        </a:p>
        <a:p>
          <a:pPr>
            <a:lnSpc>
              <a:spcPct val="100000"/>
            </a:lnSpc>
          </a:pPr>
          <a:r>
            <a:rPr lang="en-US" sz="1200"/>
            <a:t>Taking these patients seriously and do whatever we can to optimize and pull them back from progressing  to advanced phase.</a:t>
          </a:r>
          <a:endParaRPr lang="en-US" sz="1100" dirty="0"/>
        </a:p>
      </dgm:t>
    </dgm:pt>
    <dgm:pt modelId="{EBE852EF-7A60-49D0-B347-9F1AB49F899E}" type="parTrans" cxnId="{2E1E07B2-170C-4BD0-83CD-AFAEC6741CEF}">
      <dgm:prSet/>
      <dgm:spPr/>
      <dgm:t>
        <a:bodyPr/>
        <a:lstStyle/>
        <a:p>
          <a:endParaRPr lang="en-US"/>
        </a:p>
      </dgm:t>
    </dgm:pt>
    <dgm:pt modelId="{8B9322B0-0DAC-4996-BE1A-C710D4BB08DE}" type="sibTrans" cxnId="{2E1E07B2-170C-4BD0-83CD-AFAEC6741CEF}">
      <dgm:prSet phldrT="3"/>
      <dgm:spPr/>
      <dgm:t>
        <a:bodyPr/>
        <a:lstStyle/>
        <a:p>
          <a:pPr>
            <a:lnSpc>
              <a:spcPct val="100000"/>
            </a:lnSpc>
          </a:pPr>
          <a:endParaRPr lang="en-US"/>
        </a:p>
      </dgm:t>
    </dgm:pt>
    <dgm:pt modelId="{F529F31C-02D6-499A-8544-4F888D3CD7DA}">
      <dgm:prSet custT="1"/>
      <dgm:spPr/>
      <dgm:t>
        <a:bodyPr/>
        <a:lstStyle/>
        <a:p>
          <a:pPr>
            <a:lnSpc>
              <a:spcPct val="100000"/>
            </a:lnSpc>
          </a:pPr>
          <a:r>
            <a:rPr lang="en-US" sz="1600" b="1">
              <a:solidFill>
                <a:schemeClr val="accent4"/>
              </a:solidFill>
            </a:rPr>
            <a:t>HF hospitalization</a:t>
          </a:r>
        </a:p>
        <a:p>
          <a:pPr>
            <a:lnSpc>
              <a:spcPct val="100000"/>
            </a:lnSpc>
          </a:pPr>
          <a:r>
            <a:rPr lang="en-US" sz="1200"/>
            <a:t> Provides an opportunity to improve care of patients with worsening heart failure.</a:t>
          </a:r>
          <a:endParaRPr lang="en-US" sz="1200" dirty="0"/>
        </a:p>
      </dgm:t>
    </dgm:pt>
    <dgm:pt modelId="{63113909-1325-4DBA-AD43-1EAF962571B4}" type="parTrans" cxnId="{7A243C04-BB4A-488D-A9C6-8F44BBBD0785}">
      <dgm:prSet/>
      <dgm:spPr/>
      <dgm:t>
        <a:bodyPr/>
        <a:lstStyle/>
        <a:p>
          <a:endParaRPr lang="en-US"/>
        </a:p>
      </dgm:t>
    </dgm:pt>
    <dgm:pt modelId="{0C0F1DDE-4CAC-4C68-9007-7209053F0876}" type="sibTrans" cxnId="{7A243C04-BB4A-488D-A9C6-8F44BBBD0785}">
      <dgm:prSet phldrT="4"/>
      <dgm:spPr/>
      <dgm:t>
        <a:bodyPr/>
        <a:lstStyle/>
        <a:p>
          <a:pPr>
            <a:lnSpc>
              <a:spcPct val="100000"/>
            </a:lnSpc>
          </a:pPr>
          <a:endParaRPr lang="en-US"/>
        </a:p>
      </dgm:t>
    </dgm:pt>
    <dgm:pt modelId="{48D3F8EF-C635-4286-916E-4BFCA20EA9C6}">
      <dgm:prSet custT="1"/>
      <dgm:spPr/>
      <dgm:t>
        <a:bodyPr/>
        <a:lstStyle/>
        <a:p>
          <a:pPr>
            <a:lnSpc>
              <a:spcPct val="100000"/>
            </a:lnSpc>
          </a:pPr>
          <a:r>
            <a:rPr lang="en-US" sz="1600" b="1">
              <a:solidFill>
                <a:schemeClr val="accent4"/>
              </a:solidFill>
            </a:rPr>
            <a:t>Initiation of therapy</a:t>
          </a:r>
        </a:p>
        <a:p>
          <a:pPr>
            <a:lnSpc>
              <a:spcPct val="100000"/>
            </a:lnSpc>
          </a:pPr>
          <a:r>
            <a:rPr lang="en-US" sz="1200"/>
            <a:t>Failure to initiate a medication in the hospital will substantially increase the risk it will never be started.</a:t>
          </a:r>
          <a:endParaRPr lang="en-US" sz="1200" dirty="0"/>
        </a:p>
      </dgm:t>
    </dgm:pt>
    <dgm:pt modelId="{D195E3B5-98FC-4939-802A-063ECBC4CCE8}" type="parTrans" cxnId="{2ED1F357-AF7B-4A12-B1F4-CACA709FEC81}">
      <dgm:prSet/>
      <dgm:spPr/>
      <dgm:t>
        <a:bodyPr/>
        <a:lstStyle/>
        <a:p>
          <a:endParaRPr lang="en-US"/>
        </a:p>
      </dgm:t>
    </dgm:pt>
    <dgm:pt modelId="{0004D762-83ED-44AC-A035-180BB4785B02}" type="sibTrans" cxnId="{2ED1F357-AF7B-4A12-B1F4-CACA709FEC81}">
      <dgm:prSet phldrT="5"/>
      <dgm:spPr/>
      <dgm:t>
        <a:bodyPr/>
        <a:lstStyle/>
        <a:p>
          <a:endParaRPr lang="en-US"/>
        </a:p>
      </dgm:t>
    </dgm:pt>
    <dgm:pt modelId="{0C431A45-2264-4F4E-80FA-6E695F3186F1}" type="pres">
      <dgm:prSet presAssocID="{709E1AE3-66F7-4F0F-A571-46C0A42AD774}" presName="root" presStyleCnt="0">
        <dgm:presLayoutVars>
          <dgm:dir/>
          <dgm:resizeHandles val="exact"/>
        </dgm:presLayoutVars>
      </dgm:prSet>
      <dgm:spPr/>
    </dgm:pt>
    <dgm:pt modelId="{3FBD6EC7-8AFB-4125-A4D5-B41547C01A13}" type="pres">
      <dgm:prSet presAssocID="{709E1AE3-66F7-4F0F-A571-46C0A42AD774}" presName="container" presStyleCnt="0">
        <dgm:presLayoutVars>
          <dgm:dir/>
          <dgm:resizeHandles val="exact"/>
        </dgm:presLayoutVars>
      </dgm:prSet>
      <dgm:spPr/>
    </dgm:pt>
    <dgm:pt modelId="{80B5D6EA-32D4-42C0-AD63-0B5964930BC0}" type="pres">
      <dgm:prSet presAssocID="{C93806FB-A276-4C92-8E83-13A62BEE1A39}" presName="compNode" presStyleCnt="0"/>
      <dgm:spPr/>
    </dgm:pt>
    <dgm:pt modelId="{F9E9CC46-B072-45A6-9061-D9BF59AA6B04}" type="pres">
      <dgm:prSet presAssocID="{C93806FB-A276-4C92-8E83-13A62BEE1A39}" presName="iconBgRect" presStyleLbl="bgShp" presStyleIdx="0" presStyleCnt="5" custLinFactNeighborY="-32310"/>
      <dgm:spPr/>
    </dgm:pt>
    <dgm:pt modelId="{B105D17E-E90E-4652-9D85-8704F423FC68}" type="pres">
      <dgm:prSet presAssocID="{C93806FB-A276-4C92-8E83-13A62BEE1A39}" presName="iconRect" presStyleLbl="node1" presStyleIdx="0" presStyleCnt="5" custLinFactNeighborY="-5570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arning"/>
        </a:ext>
      </dgm:extLst>
    </dgm:pt>
    <dgm:pt modelId="{FAE62837-0CC3-411D-A9B7-90BC1AFEBE78}" type="pres">
      <dgm:prSet presAssocID="{C93806FB-A276-4C92-8E83-13A62BEE1A39}" presName="spaceRect" presStyleCnt="0"/>
      <dgm:spPr/>
    </dgm:pt>
    <dgm:pt modelId="{F11E113F-8301-402B-B310-DE45C3EEFA8C}" type="pres">
      <dgm:prSet presAssocID="{C93806FB-A276-4C92-8E83-13A62BEE1A39}" presName="textRect" presStyleLbl="revTx" presStyleIdx="0" presStyleCnt="5" custScaleX="128110" custLinFactNeighborX="10663" custLinFactNeighborY="-44302">
        <dgm:presLayoutVars>
          <dgm:chMax val="1"/>
          <dgm:chPref val="1"/>
        </dgm:presLayoutVars>
      </dgm:prSet>
      <dgm:spPr/>
    </dgm:pt>
    <dgm:pt modelId="{BD13E632-64B7-473C-90AA-19B138571994}" type="pres">
      <dgm:prSet presAssocID="{E9941537-1FC9-4411-97CF-2E6EADDD6D2A}" presName="sibTrans" presStyleLbl="sibTrans2D1" presStyleIdx="0" presStyleCnt="0"/>
      <dgm:spPr/>
    </dgm:pt>
    <dgm:pt modelId="{E96DE901-21BA-4625-9EED-60DD1F253291}" type="pres">
      <dgm:prSet presAssocID="{B89C640E-CD82-4EB5-A2D3-B09F431E0FE6}" presName="compNode" presStyleCnt="0"/>
      <dgm:spPr/>
    </dgm:pt>
    <dgm:pt modelId="{189268FD-8452-48BE-83C3-798CD1D8EA1A}" type="pres">
      <dgm:prSet presAssocID="{B89C640E-CD82-4EB5-A2D3-B09F431E0FE6}" presName="iconBgRect" presStyleLbl="bgShp" presStyleIdx="1" presStyleCnt="5" custLinFactX="52723" custLinFactNeighborX="100000" custLinFactNeighborY="-29346"/>
      <dgm:spPr/>
    </dgm:pt>
    <dgm:pt modelId="{14400A1B-537A-4D2E-B810-0B497E3BC8E4}" type="pres">
      <dgm:prSet presAssocID="{B89C640E-CD82-4EB5-A2D3-B09F431E0FE6}" presName="iconRect" presStyleLbl="node1" presStyleIdx="1" presStyleCnt="5" custLinFactX="100000" custLinFactNeighborX="163309" custLinFactNeighborY="-61920"/>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Heart organ with solid fill"/>
        </a:ext>
      </dgm:extLst>
    </dgm:pt>
    <dgm:pt modelId="{E4214BE3-D25F-41AD-96B1-3E62987CE0CC}" type="pres">
      <dgm:prSet presAssocID="{B89C640E-CD82-4EB5-A2D3-B09F431E0FE6}" presName="spaceRect" presStyleCnt="0"/>
      <dgm:spPr/>
    </dgm:pt>
    <dgm:pt modelId="{D38AD38D-5421-493A-861E-647289857323}" type="pres">
      <dgm:prSet presAssocID="{B89C640E-CD82-4EB5-A2D3-B09F431E0FE6}" presName="textRect" presStyleLbl="revTx" presStyleIdx="1" presStyleCnt="5" custScaleX="134739" custScaleY="161465" custLinFactNeighborX="81043" custLinFactNeighborY="-36786">
        <dgm:presLayoutVars>
          <dgm:chMax val="1"/>
          <dgm:chPref val="1"/>
        </dgm:presLayoutVars>
      </dgm:prSet>
      <dgm:spPr/>
    </dgm:pt>
    <dgm:pt modelId="{7716E72A-5D6D-4CC4-991F-751BEE557A71}" type="pres">
      <dgm:prSet presAssocID="{602CA2C6-A0F1-4588-830C-BFD60EF9AA5D}" presName="sibTrans" presStyleLbl="sibTrans2D1" presStyleIdx="0" presStyleCnt="0"/>
      <dgm:spPr/>
    </dgm:pt>
    <dgm:pt modelId="{B486EA30-44AC-4BAB-908B-6D374862E475}" type="pres">
      <dgm:prSet presAssocID="{DE34B9BD-B65F-4458-9E30-D0F9C057BD11}" presName="compNode" presStyleCnt="0"/>
      <dgm:spPr/>
    </dgm:pt>
    <dgm:pt modelId="{2E41E927-BAFC-4F88-B374-7352FCC2146E}" type="pres">
      <dgm:prSet presAssocID="{DE34B9BD-B65F-4458-9E30-D0F9C057BD11}" presName="iconBgRect" presStyleLbl="bgShp" presStyleIdx="2" presStyleCnt="5" custLinFactNeighborY="-52658"/>
      <dgm:spPr/>
    </dgm:pt>
    <dgm:pt modelId="{F2044C59-DEC5-4952-B370-8FF473EE64D8}" type="pres">
      <dgm:prSet presAssocID="{DE34B9BD-B65F-4458-9E30-D0F9C057BD11}" presName="iconRect" presStyleLbl="node1" presStyleIdx="2" presStyleCnt="5" custLinFactNeighborY="-9078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lipboard Checked with solid fill"/>
        </a:ext>
      </dgm:extLst>
    </dgm:pt>
    <dgm:pt modelId="{047CEB3E-F567-4CD3-B9D5-987E3FBCBB9A}" type="pres">
      <dgm:prSet presAssocID="{DE34B9BD-B65F-4458-9E30-D0F9C057BD11}" presName="spaceRect" presStyleCnt="0"/>
      <dgm:spPr/>
    </dgm:pt>
    <dgm:pt modelId="{9E0AD1DB-3178-4BE5-91C0-F0AFCAF9EA58}" type="pres">
      <dgm:prSet presAssocID="{DE34B9BD-B65F-4458-9E30-D0F9C057BD11}" presName="textRect" presStyleLbl="revTx" presStyleIdx="2" presStyleCnt="5" custLinFactNeighborX="-1016" custLinFactNeighborY="-56254">
        <dgm:presLayoutVars>
          <dgm:chMax val="1"/>
          <dgm:chPref val="1"/>
        </dgm:presLayoutVars>
      </dgm:prSet>
      <dgm:spPr/>
    </dgm:pt>
    <dgm:pt modelId="{8B8104F6-28CD-4055-87BF-0A34E99EC21F}" type="pres">
      <dgm:prSet presAssocID="{8B9322B0-0DAC-4996-BE1A-C710D4BB08DE}" presName="sibTrans" presStyleLbl="sibTrans2D1" presStyleIdx="0" presStyleCnt="0"/>
      <dgm:spPr/>
    </dgm:pt>
    <dgm:pt modelId="{4B302198-E918-437D-927F-25EB3E32BCBB}" type="pres">
      <dgm:prSet presAssocID="{F529F31C-02D6-499A-8544-4F888D3CD7DA}" presName="compNode" presStyleCnt="0"/>
      <dgm:spPr/>
    </dgm:pt>
    <dgm:pt modelId="{B098B689-2FBB-438C-8A10-BD5D33BEDF1E}" type="pres">
      <dgm:prSet presAssocID="{F529F31C-02D6-499A-8544-4F888D3CD7DA}" presName="iconBgRect" presStyleLbl="bgShp" presStyleIdx="3" presStyleCnt="5" custLinFactNeighborY="-55062"/>
      <dgm:spPr/>
    </dgm:pt>
    <dgm:pt modelId="{18AA1E28-CE00-453A-808C-89B76D88BEF5}" type="pres">
      <dgm:prSet presAssocID="{F529F31C-02D6-499A-8544-4F888D3CD7DA}" presName="iconRect" presStyleLbl="node1" presStyleIdx="3" presStyleCnt="5" custLinFactNeighborY="-94943"/>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Inpatient with solid fill"/>
        </a:ext>
      </dgm:extLst>
    </dgm:pt>
    <dgm:pt modelId="{5D4716E2-7B4F-4A6A-966F-FE245641828B}" type="pres">
      <dgm:prSet presAssocID="{F529F31C-02D6-499A-8544-4F888D3CD7DA}" presName="spaceRect" presStyleCnt="0"/>
      <dgm:spPr/>
    </dgm:pt>
    <dgm:pt modelId="{8FCFCA07-5BF7-40A0-BC98-120AF4EB24E9}" type="pres">
      <dgm:prSet presAssocID="{F529F31C-02D6-499A-8544-4F888D3CD7DA}" presName="textRect" presStyleLbl="revTx" presStyleIdx="3" presStyleCnt="5" custScaleY="144252" custLinFactNeighborX="-1228" custLinFactNeighborY="-75403">
        <dgm:presLayoutVars>
          <dgm:chMax val="1"/>
          <dgm:chPref val="1"/>
        </dgm:presLayoutVars>
      </dgm:prSet>
      <dgm:spPr/>
    </dgm:pt>
    <dgm:pt modelId="{1E97370B-C6F0-4E12-9650-B4A445B24EEA}" type="pres">
      <dgm:prSet presAssocID="{0C0F1DDE-4CAC-4C68-9007-7209053F0876}" presName="sibTrans" presStyleLbl="sibTrans2D1" presStyleIdx="0" presStyleCnt="0"/>
      <dgm:spPr/>
    </dgm:pt>
    <dgm:pt modelId="{14D0EA3A-84F7-4E03-925D-6C9D7465956E}" type="pres">
      <dgm:prSet presAssocID="{48D3F8EF-C635-4286-916E-4BFCA20EA9C6}" presName="compNode" presStyleCnt="0"/>
      <dgm:spPr/>
    </dgm:pt>
    <dgm:pt modelId="{C34F5F6E-F9B9-4237-ABD6-AE3664B2B52F}" type="pres">
      <dgm:prSet presAssocID="{48D3F8EF-C635-4286-916E-4BFCA20EA9C6}" presName="iconBgRect" presStyleLbl="bgShp" presStyleIdx="4" presStyleCnt="5" custLinFactNeighborY="-56257"/>
      <dgm:spPr/>
    </dgm:pt>
    <dgm:pt modelId="{CDDF7564-A15D-4073-9722-A4521C2D19F4}" type="pres">
      <dgm:prSet presAssocID="{48D3F8EF-C635-4286-916E-4BFCA20EA9C6}" presName="iconRect" presStyleLbl="node1" presStyleIdx="4" presStyleCnt="5" custLinFactNeighborY="-96991"/>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Medicine"/>
        </a:ext>
      </dgm:extLst>
    </dgm:pt>
    <dgm:pt modelId="{10C20E7A-6464-4AD4-A328-07D481BDB86A}" type="pres">
      <dgm:prSet presAssocID="{48D3F8EF-C635-4286-916E-4BFCA20EA9C6}" presName="spaceRect" presStyleCnt="0"/>
      <dgm:spPr/>
    </dgm:pt>
    <dgm:pt modelId="{6319DAF7-1F56-4516-958E-CCC785D67CCC}" type="pres">
      <dgm:prSet presAssocID="{48D3F8EF-C635-4286-916E-4BFCA20EA9C6}" presName="textRect" presStyleLbl="revTx" presStyleIdx="4" presStyleCnt="5" custLinFactNeighborX="-508" custLinFactNeighborY="-64632">
        <dgm:presLayoutVars>
          <dgm:chMax val="1"/>
          <dgm:chPref val="1"/>
        </dgm:presLayoutVars>
      </dgm:prSet>
      <dgm:spPr/>
    </dgm:pt>
  </dgm:ptLst>
  <dgm:cxnLst>
    <dgm:cxn modelId="{1C058D03-2099-4CEC-A67D-B1D657ED9FD1}" type="presOf" srcId="{DE34B9BD-B65F-4458-9E30-D0F9C057BD11}" destId="{9E0AD1DB-3178-4BE5-91C0-F0AFCAF9EA58}" srcOrd="0" destOrd="0" presId="urn:microsoft.com/office/officeart/2018/2/layout/IconCircleList"/>
    <dgm:cxn modelId="{7A243C04-BB4A-488D-A9C6-8F44BBBD0785}" srcId="{709E1AE3-66F7-4F0F-A571-46C0A42AD774}" destId="{F529F31C-02D6-499A-8544-4F888D3CD7DA}" srcOrd="3" destOrd="0" parTransId="{63113909-1325-4DBA-AD43-1EAF962571B4}" sibTransId="{0C0F1DDE-4CAC-4C68-9007-7209053F0876}"/>
    <dgm:cxn modelId="{9A496222-1BDC-4D9F-BACF-612927D7AC3A}" type="presOf" srcId="{C93806FB-A276-4C92-8E83-13A62BEE1A39}" destId="{F11E113F-8301-402B-B310-DE45C3EEFA8C}" srcOrd="0" destOrd="0" presId="urn:microsoft.com/office/officeart/2018/2/layout/IconCircleList"/>
    <dgm:cxn modelId="{3C614037-5C29-418E-B4EF-BA10B2E268FE}" type="presOf" srcId="{48D3F8EF-C635-4286-916E-4BFCA20EA9C6}" destId="{6319DAF7-1F56-4516-958E-CCC785D67CCC}" srcOrd="0" destOrd="0" presId="urn:microsoft.com/office/officeart/2018/2/layout/IconCircleList"/>
    <dgm:cxn modelId="{AD7B0963-48F6-4DBE-95A2-E22A69147206}" type="presOf" srcId="{602CA2C6-A0F1-4588-830C-BFD60EF9AA5D}" destId="{7716E72A-5D6D-4CC4-991F-751BEE557A71}" srcOrd="0" destOrd="0" presId="urn:microsoft.com/office/officeart/2018/2/layout/IconCircleList"/>
    <dgm:cxn modelId="{7C0D6447-C4C5-4370-AA17-B25B47961E77}" srcId="{709E1AE3-66F7-4F0F-A571-46C0A42AD774}" destId="{C93806FB-A276-4C92-8E83-13A62BEE1A39}" srcOrd="0" destOrd="0" parTransId="{79362F83-725C-4DAF-9DAC-AEC6A89D25E9}" sibTransId="{E9941537-1FC9-4411-97CF-2E6EADDD6D2A}"/>
    <dgm:cxn modelId="{C223244A-3FE2-4EDA-B20A-CE09F342932F}" type="presOf" srcId="{0C0F1DDE-4CAC-4C68-9007-7209053F0876}" destId="{1E97370B-C6F0-4E12-9650-B4A445B24EEA}" srcOrd="0" destOrd="0" presId="urn:microsoft.com/office/officeart/2018/2/layout/IconCircleList"/>
    <dgm:cxn modelId="{2ED1F357-AF7B-4A12-B1F4-CACA709FEC81}" srcId="{709E1AE3-66F7-4F0F-A571-46C0A42AD774}" destId="{48D3F8EF-C635-4286-916E-4BFCA20EA9C6}" srcOrd="4" destOrd="0" parTransId="{D195E3B5-98FC-4939-802A-063ECBC4CCE8}" sibTransId="{0004D762-83ED-44AC-A035-180BB4785B02}"/>
    <dgm:cxn modelId="{DBA2EEAB-EE91-434F-BF8E-94D582CA2942}" type="presOf" srcId="{E9941537-1FC9-4411-97CF-2E6EADDD6D2A}" destId="{BD13E632-64B7-473C-90AA-19B138571994}" srcOrd="0" destOrd="0" presId="urn:microsoft.com/office/officeart/2018/2/layout/IconCircleList"/>
    <dgm:cxn modelId="{C9FF25AD-1517-4203-BFF2-5155F528E361}" type="presOf" srcId="{F529F31C-02D6-499A-8544-4F888D3CD7DA}" destId="{8FCFCA07-5BF7-40A0-BC98-120AF4EB24E9}" srcOrd="0" destOrd="0" presId="urn:microsoft.com/office/officeart/2018/2/layout/IconCircleList"/>
    <dgm:cxn modelId="{2E1E07B2-170C-4BD0-83CD-AFAEC6741CEF}" srcId="{709E1AE3-66F7-4F0F-A571-46C0A42AD774}" destId="{DE34B9BD-B65F-4458-9E30-D0F9C057BD11}" srcOrd="2" destOrd="0" parTransId="{EBE852EF-7A60-49D0-B347-9F1AB49F899E}" sibTransId="{8B9322B0-0DAC-4996-BE1A-C710D4BB08DE}"/>
    <dgm:cxn modelId="{3E9EB5BC-972A-4BCC-93E8-5FFBA8078A6B}" type="presOf" srcId="{8B9322B0-0DAC-4996-BE1A-C710D4BB08DE}" destId="{8B8104F6-28CD-4055-87BF-0A34E99EC21F}" srcOrd="0" destOrd="0" presId="urn:microsoft.com/office/officeart/2018/2/layout/IconCircleList"/>
    <dgm:cxn modelId="{52F76AEB-C348-49B1-A59B-E0208E6723D8}" type="presOf" srcId="{B89C640E-CD82-4EB5-A2D3-B09F431E0FE6}" destId="{D38AD38D-5421-493A-861E-647289857323}" srcOrd="0" destOrd="0" presId="urn:microsoft.com/office/officeart/2018/2/layout/IconCircleList"/>
    <dgm:cxn modelId="{E14C37F8-3C4D-4D2C-AB85-ADB21302D99B}" srcId="{709E1AE3-66F7-4F0F-A571-46C0A42AD774}" destId="{B89C640E-CD82-4EB5-A2D3-B09F431E0FE6}" srcOrd="1" destOrd="0" parTransId="{683F2CB5-785F-4871-AFC6-DC82130A77AA}" sibTransId="{602CA2C6-A0F1-4588-830C-BFD60EF9AA5D}"/>
    <dgm:cxn modelId="{C6B88DFC-C585-4895-9EDF-B8B68BD0A9A9}" type="presOf" srcId="{709E1AE3-66F7-4F0F-A571-46C0A42AD774}" destId="{0C431A45-2264-4F4E-80FA-6E695F3186F1}" srcOrd="0" destOrd="0" presId="urn:microsoft.com/office/officeart/2018/2/layout/IconCircleList"/>
    <dgm:cxn modelId="{5202A6E4-71E0-48EB-8DCF-D01A9DE474A7}" type="presParOf" srcId="{0C431A45-2264-4F4E-80FA-6E695F3186F1}" destId="{3FBD6EC7-8AFB-4125-A4D5-B41547C01A13}" srcOrd="0" destOrd="0" presId="urn:microsoft.com/office/officeart/2018/2/layout/IconCircleList"/>
    <dgm:cxn modelId="{E6234813-13C7-407C-AAAF-5607E7BEEFEA}" type="presParOf" srcId="{3FBD6EC7-8AFB-4125-A4D5-B41547C01A13}" destId="{80B5D6EA-32D4-42C0-AD63-0B5964930BC0}" srcOrd="0" destOrd="0" presId="urn:microsoft.com/office/officeart/2018/2/layout/IconCircleList"/>
    <dgm:cxn modelId="{ABD117E9-CB5F-4466-92A0-DA39ED8AC8BB}" type="presParOf" srcId="{80B5D6EA-32D4-42C0-AD63-0B5964930BC0}" destId="{F9E9CC46-B072-45A6-9061-D9BF59AA6B04}" srcOrd="0" destOrd="0" presId="urn:microsoft.com/office/officeart/2018/2/layout/IconCircleList"/>
    <dgm:cxn modelId="{06690285-04DF-4DAF-A5DA-7558F6452CE6}" type="presParOf" srcId="{80B5D6EA-32D4-42C0-AD63-0B5964930BC0}" destId="{B105D17E-E90E-4652-9D85-8704F423FC68}" srcOrd="1" destOrd="0" presId="urn:microsoft.com/office/officeart/2018/2/layout/IconCircleList"/>
    <dgm:cxn modelId="{253C4B35-F96D-48A5-9FDC-8C963B4D3060}" type="presParOf" srcId="{80B5D6EA-32D4-42C0-AD63-0B5964930BC0}" destId="{FAE62837-0CC3-411D-A9B7-90BC1AFEBE78}" srcOrd="2" destOrd="0" presId="urn:microsoft.com/office/officeart/2018/2/layout/IconCircleList"/>
    <dgm:cxn modelId="{F5316E44-A2DB-4D5B-8223-62431F2B3168}" type="presParOf" srcId="{80B5D6EA-32D4-42C0-AD63-0B5964930BC0}" destId="{F11E113F-8301-402B-B310-DE45C3EEFA8C}" srcOrd="3" destOrd="0" presId="urn:microsoft.com/office/officeart/2018/2/layout/IconCircleList"/>
    <dgm:cxn modelId="{81929226-AE53-4E59-805D-9AEA6F725343}" type="presParOf" srcId="{3FBD6EC7-8AFB-4125-A4D5-B41547C01A13}" destId="{BD13E632-64B7-473C-90AA-19B138571994}" srcOrd="1" destOrd="0" presId="urn:microsoft.com/office/officeart/2018/2/layout/IconCircleList"/>
    <dgm:cxn modelId="{F065B2EC-E729-49FD-A728-9920DB29E93E}" type="presParOf" srcId="{3FBD6EC7-8AFB-4125-A4D5-B41547C01A13}" destId="{E96DE901-21BA-4625-9EED-60DD1F253291}" srcOrd="2" destOrd="0" presId="urn:microsoft.com/office/officeart/2018/2/layout/IconCircleList"/>
    <dgm:cxn modelId="{BDE9F002-BA1D-43E4-B3E9-DF796C3E28FD}" type="presParOf" srcId="{E96DE901-21BA-4625-9EED-60DD1F253291}" destId="{189268FD-8452-48BE-83C3-798CD1D8EA1A}" srcOrd="0" destOrd="0" presId="urn:microsoft.com/office/officeart/2018/2/layout/IconCircleList"/>
    <dgm:cxn modelId="{0DE3277D-1B86-40C0-A460-7100CF73D8CB}" type="presParOf" srcId="{E96DE901-21BA-4625-9EED-60DD1F253291}" destId="{14400A1B-537A-4D2E-B810-0B497E3BC8E4}" srcOrd="1" destOrd="0" presId="urn:microsoft.com/office/officeart/2018/2/layout/IconCircleList"/>
    <dgm:cxn modelId="{CBA4E936-2984-4CB7-85A3-92BBF99CB48F}" type="presParOf" srcId="{E96DE901-21BA-4625-9EED-60DD1F253291}" destId="{E4214BE3-D25F-41AD-96B1-3E62987CE0CC}" srcOrd="2" destOrd="0" presId="urn:microsoft.com/office/officeart/2018/2/layout/IconCircleList"/>
    <dgm:cxn modelId="{2F357663-7244-44D6-BA07-F3019E2AE7D2}" type="presParOf" srcId="{E96DE901-21BA-4625-9EED-60DD1F253291}" destId="{D38AD38D-5421-493A-861E-647289857323}" srcOrd="3" destOrd="0" presId="urn:microsoft.com/office/officeart/2018/2/layout/IconCircleList"/>
    <dgm:cxn modelId="{F77B75F2-B61A-482C-B430-DC236168D75E}" type="presParOf" srcId="{3FBD6EC7-8AFB-4125-A4D5-B41547C01A13}" destId="{7716E72A-5D6D-4CC4-991F-751BEE557A71}" srcOrd="3" destOrd="0" presId="urn:microsoft.com/office/officeart/2018/2/layout/IconCircleList"/>
    <dgm:cxn modelId="{DF317DA2-4835-4F66-BD51-DBD7BF8B88F9}" type="presParOf" srcId="{3FBD6EC7-8AFB-4125-A4D5-B41547C01A13}" destId="{B486EA30-44AC-4BAB-908B-6D374862E475}" srcOrd="4" destOrd="0" presId="urn:microsoft.com/office/officeart/2018/2/layout/IconCircleList"/>
    <dgm:cxn modelId="{F40FA987-96CC-43F4-8D7F-3DBEA4E96359}" type="presParOf" srcId="{B486EA30-44AC-4BAB-908B-6D374862E475}" destId="{2E41E927-BAFC-4F88-B374-7352FCC2146E}" srcOrd="0" destOrd="0" presId="urn:microsoft.com/office/officeart/2018/2/layout/IconCircleList"/>
    <dgm:cxn modelId="{4FCAD284-4326-4B72-A48C-E5E114E4E037}" type="presParOf" srcId="{B486EA30-44AC-4BAB-908B-6D374862E475}" destId="{F2044C59-DEC5-4952-B370-8FF473EE64D8}" srcOrd="1" destOrd="0" presId="urn:microsoft.com/office/officeart/2018/2/layout/IconCircleList"/>
    <dgm:cxn modelId="{93D7B8C6-1EE3-47B0-B0F9-0A41434FA5A9}" type="presParOf" srcId="{B486EA30-44AC-4BAB-908B-6D374862E475}" destId="{047CEB3E-F567-4CD3-B9D5-987E3FBCBB9A}" srcOrd="2" destOrd="0" presId="urn:microsoft.com/office/officeart/2018/2/layout/IconCircleList"/>
    <dgm:cxn modelId="{7B236788-2CBD-436B-85C6-EC634DFA5C21}" type="presParOf" srcId="{B486EA30-44AC-4BAB-908B-6D374862E475}" destId="{9E0AD1DB-3178-4BE5-91C0-F0AFCAF9EA58}" srcOrd="3" destOrd="0" presId="urn:microsoft.com/office/officeart/2018/2/layout/IconCircleList"/>
    <dgm:cxn modelId="{16058FC0-8A48-4F63-9BCF-7BC308955573}" type="presParOf" srcId="{3FBD6EC7-8AFB-4125-A4D5-B41547C01A13}" destId="{8B8104F6-28CD-4055-87BF-0A34E99EC21F}" srcOrd="5" destOrd="0" presId="urn:microsoft.com/office/officeart/2018/2/layout/IconCircleList"/>
    <dgm:cxn modelId="{B2DD0BBF-F478-48C6-816A-2C793CB2B1FD}" type="presParOf" srcId="{3FBD6EC7-8AFB-4125-A4D5-B41547C01A13}" destId="{4B302198-E918-437D-927F-25EB3E32BCBB}" srcOrd="6" destOrd="0" presId="urn:microsoft.com/office/officeart/2018/2/layout/IconCircleList"/>
    <dgm:cxn modelId="{8FCBB4C6-FC09-4626-AFC4-C9DD139DAFA0}" type="presParOf" srcId="{4B302198-E918-437D-927F-25EB3E32BCBB}" destId="{B098B689-2FBB-438C-8A10-BD5D33BEDF1E}" srcOrd="0" destOrd="0" presId="urn:microsoft.com/office/officeart/2018/2/layout/IconCircleList"/>
    <dgm:cxn modelId="{A15701A4-D4A9-428F-AC8B-4243EA6A2E71}" type="presParOf" srcId="{4B302198-E918-437D-927F-25EB3E32BCBB}" destId="{18AA1E28-CE00-453A-808C-89B76D88BEF5}" srcOrd="1" destOrd="0" presId="urn:microsoft.com/office/officeart/2018/2/layout/IconCircleList"/>
    <dgm:cxn modelId="{22DCAC59-7C4A-4015-9505-2C836F94656B}" type="presParOf" srcId="{4B302198-E918-437D-927F-25EB3E32BCBB}" destId="{5D4716E2-7B4F-4A6A-966F-FE245641828B}" srcOrd="2" destOrd="0" presId="urn:microsoft.com/office/officeart/2018/2/layout/IconCircleList"/>
    <dgm:cxn modelId="{A8E9EC44-5484-417A-89E7-3D4F12A05CD1}" type="presParOf" srcId="{4B302198-E918-437D-927F-25EB3E32BCBB}" destId="{8FCFCA07-5BF7-40A0-BC98-120AF4EB24E9}" srcOrd="3" destOrd="0" presId="urn:microsoft.com/office/officeart/2018/2/layout/IconCircleList"/>
    <dgm:cxn modelId="{626E5F11-17DC-4DAA-8E70-E4CB00942A04}" type="presParOf" srcId="{3FBD6EC7-8AFB-4125-A4D5-B41547C01A13}" destId="{1E97370B-C6F0-4E12-9650-B4A445B24EEA}" srcOrd="7" destOrd="0" presId="urn:microsoft.com/office/officeart/2018/2/layout/IconCircleList"/>
    <dgm:cxn modelId="{3E8858F9-B281-4927-9238-675EB73FBC59}" type="presParOf" srcId="{3FBD6EC7-8AFB-4125-A4D5-B41547C01A13}" destId="{14D0EA3A-84F7-4E03-925D-6C9D7465956E}" srcOrd="8" destOrd="0" presId="urn:microsoft.com/office/officeart/2018/2/layout/IconCircleList"/>
    <dgm:cxn modelId="{85B4B4F1-355D-479E-A28E-2D0723F9BD5F}" type="presParOf" srcId="{14D0EA3A-84F7-4E03-925D-6C9D7465956E}" destId="{C34F5F6E-F9B9-4237-ABD6-AE3664B2B52F}" srcOrd="0" destOrd="0" presId="urn:microsoft.com/office/officeart/2018/2/layout/IconCircleList"/>
    <dgm:cxn modelId="{BB10509C-072A-4F04-81E4-B520912CC4C2}" type="presParOf" srcId="{14D0EA3A-84F7-4E03-925D-6C9D7465956E}" destId="{CDDF7564-A15D-4073-9722-A4521C2D19F4}" srcOrd="1" destOrd="0" presId="urn:microsoft.com/office/officeart/2018/2/layout/IconCircleList"/>
    <dgm:cxn modelId="{35665A81-F00C-4958-88ED-3452160612FB}" type="presParOf" srcId="{14D0EA3A-84F7-4E03-925D-6C9D7465956E}" destId="{10C20E7A-6464-4AD4-A328-07D481BDB86A}" srcOrd="2" destOrd="0" presId="urn:microsoft.com/office/officeart/2018/2/layout/IconCircleList"/>
    <dgm:cxn modelId="{517F9B88-7CB7-4327-AC43-621C8B412677}" type="presParOf" srcId="{14D0EA3A-84F7-4E03-925D-6C9D7465956E}" destId="{6319DAF7-1F56-4516-958E-CCC785D67CCC}" srcOrd="3" destOrd="0" presId="urn:microsoft.com/office/officeart/2018/2/layout/IconCircleLis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88104BE-5A62-45F5-872C-D57DC156F1E9}" type="doc">
      <dgm:prSet loTypeId="urn:microsoft.com/office/officeart/2008/layout/VerticalCurvedList" loCatId="list" qsTypeId="urn:microsoft.com/office/officeart/2005/8/quickstyle/simple1" qsCatId="simple" csTypeId="urn:microsoft.com/office/officeart/2005/8/colors/accent4_2" csCatId="accent4" phldr="1"/>
      <dgm:spPr/>
      <dgm:t>
        <a:bodyPr/>
        <a:lstStyle/>
        <a:p>
          <a:endParaRPr lang="en-GB"/>
        </a:p>
      </dgm:t>
    </dgm:pt>
    <dgm:pt modelId="{E2E93764-91A0-4463-9525-B75017484A48}">
      <dgm:prSet phldrT="[Text]" custT="1"/>
      <dgm:spPr/>
      <dgm:t>
        <a:bodyPr/>
        <a:lstStyle/>
        <a:p>
          <a:r>
            <a:rPr lang="en-GB" sz="2000"/>
            <a:t>The rates of AEs and SAEs were numerically lower with vericiguat compared with placebo</a:t>
          </a:r>
        </a:p>
      </dgm:t>
    </dgm:pt>
    <dgm:pt modelId="{60D47EB1-55D0-416C-A323-18038A515E3D}" type="parTrans" cxnId="{1C39EAF5-72BD-4BB9-9DDC-3495D64697B8}">
      <dgm:prSet/>
      <dgm:spPr/>
      <dgm:t>
        <a:bodyPr/>
        <a:lstStyle/>
        <a:p>
          <a:endParaRPr lang="en-GB"/>
        </a:p>
      </dgm:t>
    </dgm:pt>
    <dgm:pt modelId="{C02C304C-A073-4CA6-B548-FD8C424BD44D}" type="sibTrans" cxnId="{1C39EAF5-72BD-4BB9-9DDC-3495D64697B8}">
      <dgm:prSet/>
      <dgm:spPr/>
      <dgm:t>
        <a:bodyPr/>
        <a:lstStyle/>
        <a:p>
          <a:endParaRPr lang="en-GB"/>
        </a:p>
      </dgm:t>
    </dgm:pt>
    <dgm:pt modelId="{158CBC49-5665-4930-A376-5CC11E66D689}">
      <dgm:prSet phldrT="[Text]" custT="1"/>
      <dgm:spPr/>
      <dgm:t>
        <a:bodyPr/>
        <a:lstStyle/>
        <a:p>
          <a:r>
            <a:rPr lang="en-GB" sz="2000"/>
            <a:t>In VICTORIA, </a:t>
          </a:r>
          <a:r>
            <a:rPr lang="en-GB" sz="2000" b="1"/>
            <a:t>~90% </a:t>
          </a:r>
          <a:r>
            <a:rPr lang="en-GB" sz="2000"/>
            <a:t>adherence to the 10 mg target dose of vericiguat was achieved after ~12 months</a:t>
          </a:r>
        </a:p>
      </dgm:t>
    </dgm:pt>
    <dgm:pt modelId="{EE0F4E1F-2C61-4466-93DB-8CD90C8A7875}" type="parTrans" cxnId="{18A33BE3-2B4B-4D97-B3A4-8C5E83AF75C7}">
      <dgm:prSet/>
      <dgm:spPr/>
      <dgm:t>
        <a:bodyPr/>
        <a:lstStyle/>
        <a:p>
          <a:endParaRPr lang="en-GB"/>
        </a:p>
      </dgm:t>
    </dgm:pt>
    <dgm:pt modelId="{E67982EE-3129-441A-B2D3-28B1FF818265}" type="sibTrans" cxnId="{18A33BE3-2B4B-4D97-B3A4-8C5E83AF75C7}">
      <dgm:prSet/>
      <dgm:spPr/>
      <dgm:t>
        <a:bodyPr/>
        <a:lstStyle/>
        <a:p>
          <a:endParaRPr lang="en-GB"/>
        </a:p>
      </dgm:t>
    </dgm:pt>
    <dgm:pt modelId="{FEC6E767-4A4C-4B06-A2FB-B58D1BE55BCB}">
      <dgm:prSet phldrT="[Text]" custT="1"/>
      <dgm:spPr/>
      <dgm:t>
        <a:bodyPr/>
        <a:lstStyle/>
        <a:p>
          <a:r>
            <a:rPr lang="en-GB" sz="2000"/>
            <a:t>No significant difference in symptomatic hypotension or syncope</a:t>
          </a:r>
        </a:p>
      </dgm:t>
    </dgm:pt>
    <dgm:pt modelId="{F48A2D2E-7215-4B5A-88D0-C8A6F8AA9625}" type="parTrans" cxnId="{F540001F-3978-4B55-8E90-1BAF733433B6}">
      <dgm:prSet/>
      <dgm:spPr/>
      <dgm:t>
        <a:bodyPr/>
        <a:lstStyle/>
        <a:p>
          <a:endParaRPr lang="en-GB"/>
        </a:p>
      </dgm:t>
    </dgm:pt>
    <dgm:pt modelId="{F41FE478-56A8-41CA-A3DE-0004D4087542}" type="sibTrans" cxnId="{F540001F-3978-4B55-8E90-1BAF733433B6}">
      <dgm:prSet/>
      <dgm:spPr/>
      <dgm:t>
        <a:bodyPr/>
        <a:lstStyle/>
        <a:p>
          <a:endParaRPr lang="en-GB"/>
        </a:p>
      </dgm:t>
    </dgm:pt>
    <dgm:pt modelId="{DF4E87E9-4B3D-468E-9EAA-9E17202E5081}" type="pres">
      <dgm:prSet presAssocID="{588104BE-5A62-45F5-872C-D57DC156F1E9}" presName="Name0" presStyleCnt="0">
        <dgm:presLayoutVars>
          <dgm:chMax val="7"/>
          <dgm:chPref val="7"/>
          <dgm:dir/>
        </dgm:presLayoutVars>
      </dgm:prSet>
      <dgm:spPr/>
    </dgm:pt>
    <dgm:pt modelId="{E3FA6CE5-050D-41DE-A74A-40C3C593BAB4}" type="pres">
      <dgm:prSet presAssocID="{588104BE-5A62-45F5-872C-D57DC156F1E9}" presName="Name1" presStyleCnt="0"/>
      <dgm:spPr/>
    </dgm:pt>
    <dgm:pt modelId="{F373988F-81FA-4747-8EA8-0078252EC83B}" type="pres">
      <dgm:prSet presAssocID="{588104BE-5A62-45F5-872C-D57DC156F1E9}" presName="cycle" presStyleCnt="0"/>
      <dgm:spPr/>
    </dgm:pt>
    <dgm:pt modelId="{C12E8736-413D-47E8-9009-771F78D4BB1E}" type="pres">
      <dgm:prSet presAssocID="{588104BE-5A62-45F5-872C-D57DC156F1E9}" presName="srcNode" presStyleLbl="node1" presStyleIdx="0" presStyleCnt="3"/>
      <dgm:spPr/>
    </dgm:pt>
    <dgm:pt modelId="{DC7BB93F-D605-4487-8A4D-4F81E2986CE3}" type="pres">
      <dgm:prSet presAssocID="{588104BE-5A62-45F5-872C-D57DC156F1E9}" presName="conn" presStyleLbl="parChTrans1D2" presStyleIdx="0" presStyleCnt="1"/>
      <dgm:spPr/>
    </dgm:pt>
    <dgm:pt modelId="{7280C17F-A543-41D2-B00E-53F3482ADA23}" type="pres">
      <dgm:prSet presAssocID="{588104BE-5A62-45F5-872C-D57DC156F1E9}" presName="extraNode" presStyleLbl="node1" presStyleIdx="0" presStyleCnt="3"/>
      <dgm:spPr/>
    </dgm:pt>
    <dgm:pt modelId="{E44C278A-19EC-44E6-BCAA-3FCFC9D18868}" type="pres">
      <dgm:prSet presAssocID="{588104BE-5A62-45F5-872C-D57DC156F1E9}" presName="dstNode" presStyleLbl="node1" presStyleIdx="0" presStyleCnt="3"/>
      <dgm:spPr/>
    </dgm:pt>
    <dgm:pt modelId="{E3671A08-DAAE-42D3-A0FF-49E5D039D315}" type="pres">
      <dgm:prSet presAssocID="{E2E93764-91A0-4463-9525-B75017484A48}" presName="text_1" presStyleLbl="node1" presStyleIdx="0" presStyleCnt="3">
        <dgm:presLayoutVars>
          <dgm:bulletEnabled val="1"/>
        </dgm:presLayoutVars>
      </dgm:prSet>
      <dgm:spPr/>
    </dgm:pt>
    <dgm:pt modelId="{9308552C-0121-40E2-930F-867EECF4B3C3}" type="pres">
      <dgm:prSet presAssocID="{E2E93764-91A0-4463-9525-B75017484A48}" presName="accent_1" presStyleCnt="0"/>
      <dgm:spPr/>
    </dgm:pt>
    <dgm:pt modelId="{4B69BF43-6810-41EE-BB16-078D3537A8EF}" type="pres">
      <dgm:prSet presAssocID="{E2E93764-91A0-4463-9525-B75017484A48}" presName="accentRepeatNode" presStyleLbl="solidFgAcc1" presStyleIdx="0" presStyleCnt="3"/>
      <dgm:spPr/>
    </dgm:pt>
    <dgm:pt modelId="{9636D99E-D55D-485D-AA01-B7719ED7EEBC}" type="pres">
      <dgm:prSet presAssocID="{FEC6E767-4A4C-4B06-A2FB-B58D1BE55BCB}" presName="text_2" presStyleLbl="node1" presStyleIdx="1" presStyleCnt="3">
        <dgm:presLayoutVars>
          <dgm:bulletEnabled val="1"/>
        </dgm:presLayoutVars>
      </dgm:prSet>
      <dgm:spPr/>
    </dgm:pt>
    <dgm:pt modelId="{CE2E44E5-FAE9-4FFA-BB37-59602373FC82}" type="pres">
      <dgm:prSet presAssocID="{FEC6E767-4A4C-4B06-A2FB-B58D1BE55BCB}" presName="accent_2" presStyleCnt="0"/>
      <dgm:spPr/>
    </dgm:pt>
    <dgm:pt modelId="{880A6E46-37CC-4B4E-B293-55D25907C83D}" type="pres">
      <dgm:prSet presAssocID="{FEC6E767-4A4C-4B06-A2FB-B58D1BE55BCB}" presName="accentRepeatNode" presStyleLbl="solidFgAcc1" presStyleIdx="1" presStyleCnt="3"/>
      <dgm:spPr/>
    </dgm:pt>
    <dgm:pt modelId="{8906DDF3-1491-4DDC-854F-2DAD004A781B}" type="pres">
      <dgm:prSet presAssocID="{158CBC49-5665-4930-A376-5CC11E66D689}" presName="text_3" presStyleLbl="node1" presStyleIdx="2" presStyleCnt="3">
        <dgm:presLayoutVars>
          <dgm:bulletEnabled val="1"/>
        </dgm:presLayoutVars>
      </dgm:prSet>
      <dgm:spPr/>
    </dgm:pt>
    <dgm:pt modelId="{8CC69FA0-FB18-40EF-B4D3-AA41E4C8B992}" type="pres">
      <dgm:prSet presAssocID="{158CBC49-5665-4930-A376-5CC11E66D689}" presName="accent_3" presStyleCnt="0"/>
      <dgm:spPr/>
    </dgm:pt>
    <dgm:pt modelId="{903EC274-E521-4CC3-AC1F-1849FED6EA64}" type="pres">
      <dgm:prSet presAssocID="{158CBC49-5665-4930-A376-5CC11E66D689}" presName="accentRepeatNode" presStyleLbl="solidFgAcc1" presStyleIdx="2" presStyleCnt="3"/>
      <dgm:spPr/>
    </dgm:pt>
  </dgm:ptLst>
  <dgm:cxnLst>
    <dgm:cxn modelId="{B6DDD717-F0D4-430B-B30E-9937E288332F}" type="presOf" srcId="{158CBC49-5665-4930-A376-5CC11E66D689}" destId="{8906DDF3-1491-4DDC-854F-2DAD004A781B}" srcOrd="0" destOrd="0" presId="urn:microsoft.com/office/officeart/2008/layout/VerticalCurvedList"/>
    <dgm:cxn modelId="{F540001F-3978-4B55-8E90-1BAF733433B6}" srcId="{588104BE-5A62-45F5-872C-D57DC156F1E9}" destId="{FEC6E767-4A4C-4B06-A2FB-B58D1BE55BCB}" srcOrd="1" destOrd="0" parTransId="{F48A2D2E-7215-4B5A-88D0-C8A6F8AA9625}" sibTransId="{F41FE478-56A8-41CA-A3DE-0004D4087542}"/>
    <dgm:cxn modelId="{5F52D736-422E-4F8C-A416-3F9CDBE00988}" type="presOf" srcId="{C02C304C-A073-4CA6-B548-FD8C424BD44D}" destId="{DC7BB93F-D605-4487-8A4D-4F81E2986CE3}" srcOrd="0" destOrd="0" presId="urn:microsoft.com/office/officeart/2008/layout/VerticalCurvedList"/>
    <dgm:cxn modelId="{5CED6296-A5D1-4954-8F0D-023356DCF61B}" type="presOf" srcId="{E2E93764-91A0-4463-9525-B75017484A48}" destId="{E3671A08-DAAE-42D3-A0FF-49E5D039D315}" srcOrd="0" destOrd="0" presId="urn:microsoft.com/office/officeart/2008/layout/VerticalCurvedList"/>
    <dgm:cxn modelId="{2F3B5ABB-ACA7-4538-A06A-499495395E6A}" type="presOf" srcId="{FEC6E767-4A4C-4B06-A2FB-B58D1BE55BCB}" destId="{9636D99E-D55D-485D-AA01-B7719ED7EEBC}" srcOrd="0" destOrd="0" presId="urn:microsoft.com/office/officeart/2008/layout/VerticalCurvedList"/>
    <dgm:cxn modelId="{18A33BE3-2B4B-4D97-B3A4-8C5E83AF75C7}" srcId="{588104BE-5A62-45F5-872C-D57DC156F1E9}" destId="{158CBC49-5665-4930-A376-5CC11E66D689}" srcOrd="2" destOrd="0" parTransId="{EE0F4E1F-2C61-4466-93DB-8CD90C8A7875}" sibTransId="{E67982EE-3129-441A-B2D3-28B1FF818265}"/>
    <dgm:cxn modelId="{1C39EAF5-72BD-4BB9-9DDC-3495D64697B8}" srcId="{588104BE-5A62-45F5-872C-D57DC156F1E9}" destId="{E2E93764-91A0-4463-9525-B75017484A48}" srcOrd="0" destOrd="0" parTransId="{60D47EB1-55D0-416C-A323-18038A515E3D}" sibTransId="{C02C304C-A073-4CA6-B548-FD8C424BD44D}"/>
    <dgm:cxn modelId="{480513F7-FAA5-4193-AEC3-3FC0C833E301}" type="presOf" srcId="{588104BE-5A62-45F5-872C-D57DC156F1E9}" destId="{DF4E87E9-4B3D-468E-9EAA-9E17202E5081}" srcOrd="0" destOrd="0" presId="urn:microsoft.com/office/officeart/2008/layout/VerticalCurvedList"/>
    <dgm:cxn modelId="{CCD5EEFE-DC38-4330-922F-AED04FE6EFC2}" type="presParOf" srcId="{DF4E87E9-4B3D-468E-9EAA-9E17202E5081}" destId="{E3FA6CE5-050D-41DE-A74A-40C3C593BAB4}" srcOrd="0" destOrd="0" presId="urn:microsoft.com/office/officeart/2008/layout/VerticalCurvedList"/>
    <dgm:cxn modelId="{D68DF4B5-B660-4843-AC66-9D709F5DEC6B}" type="presParOf" srcId="{E3FA6CE5-050D-41DE-A74A-40C3C593BAB4}" destId="{F373988F-81FA-4747-8EA8-0078252EC83B}" srcOrd="0" destOrd="0" presId="urn:microsoft.com/office/officeart/2008/layout/VerticalCurvedList"/>
    <dgm:cxn modelId="{77E0E522-320F-4FA2-A311-69B7AB8F5735}" type="presParOf" srcId="{F373988F-81FA-4747-8EA8-0078252EC83B}" destId="{C12E8736-413D-47E8-9009-771F78D4BB1E}" srcOrd="0" destOrd="0" presId="urn:microsoft.com/office/officeart/2008/layout/VerticalCurvedList"/>
    <dgm:cxn modelId="{5D584907-2E7A-4501-9019-FBFF5D4F02F7}" type="presParOf" srcId="{F373988F-81FA-4747-8EA8-0078252EC83B}" destId="{DC7BB93F-D605-4487-8A4D-4F81E2986CE3}" srcOrd="1" destOrd="0" presId="urn:microsoft.com/office/officeart/2008/layout/VerticalCurvedList"/>
    <dgm:cxn modelId="{8A419D97-91DC-4A75-943D-CC654FC0AFBF}" type="presParOf" srcId="{F373988F-81FA-4747-8EA8-0078252EC83B}" destId="{7280C17F-A543-41D2-B00E-53F3482ADA23}" srcOrd="2" destOrd="0" presId="urn:microsoft.com/office/officeart/2008/layout/VerticalCurvedList"/>
    <dgm:cxn modelId="{DA7FB06F-6E40-4CB2-8D94-F5EDF52AD70B}" type="presParOf" srcId="{F373988F-81FA-4747-8EA8-0078252EC83B}" destId="{E44C278A-19EC-44E6-BCAA-3FCFC9D18868}" srcOrd="3" destOrd="0" presId="urn:microsoft.com/office/officeart/2008/layout/VerticalCurvedList"/>
    <dgm:cxn modelId="{7BB9778C-B5C9-44D6-814D-F5201337E05D}" type="presParOf" srcId="{E3FA6CE5-050D-41DE-A74A-40C3C593BAB4}" destId="{E3671A08-DAAE-42D3-A0FF-49E5D039D315}" srcOrd="1" destOrd="0" presId="urn:microsoft.com/office/officeart/2008/layout/VerticalCurvedList"/>
    <dgm:cxn modelId="{8E285DB1-1ED2-43D9-9BB0-6FC7E20FF229}" type="presParOf" srcId="{E3FA6CE5-050D-41DE-A74A-40C3C593BAB4}" destId="{9308552C-0121-40E2-930F-867EECF4B3C3}" srcOrd="2" destOrd="0" presId="urn:microsoft.com/office/officeart/2008/layout/VerticalCurvedList"/>
    <dgm:cxn modelId="{44615A2D-D8BF-406C-9027-549B098A9C47}" type="presParOf" srcId="{9308552C-0121-40E2-930F-867EECF4B3C3}" destId="{4B69BF43-6810-41EE-BB16-078D3537A8EF}" srcOrd="0" destOrd="0" presId="urn:microsoft.com/office/officeart/2008/layout/VerticalCurvedList"/>
    <dgm:cxn modelId="{AE16498F-9536-4972-B9DE-B43FB2D22A8C}" type="presParOf" srcId="{E3FA6CE5-050D-41DE-A74A-40C3C593BAB4}" destId="{9636D99E-D55D-485D-AA01-B7719ED7EEBC}" srcOrd="3" destOrd="0" presId="urn:microsoft.com/office/officeart/2008/layout/VerticalCurvedList"/>
    <dgm:cxn modelId="{17816EAC-71D8-479C-93C5-21FD5341C9D6}" type="presParOf" srcId="{E3FA6CE5-050D-41DE-A74A-40C3C593BAB4}" destId="{CE2E44E5-FAE9-4FFA-BB37-59602373FC82}" srcOrd="4" destOrd="0" presId="urn:microsoft.com/office/officeart/2008/layout/VerticalCurvedList"/>
    <dgm:cxn modelId="{27DBD1EA-85C8-49A8-8170-F377B01FD3A5}" type="presParOf" srcId="{CE2E44E5-FAE9-4FFA-BB37-59602373FC82}" destId="{880A6E46-37CC-4B4E-B293-55D25907C83D}" srcOrd="0" destOrd="0" presId="urn:microsoft.com/office/officeart/2008/layout/VerticalCurvedList"/>
    <dgm:cxn modelId="{AF4DF2F6-517F-4088-8E43-679F20C0DDA2}" type="presParOf" srcId="{E3FA6CE5-050D-41DE-A74A-40C3C593BAB4}" destId="{8906DDF3-1491-4DDC-854F-2DAD004A781B}" srcOrd="5" destOrd="0" presId="urn:microsoft.com/office/officeart/2008/layout/VerticalCurvedList"/>
    <dgm:cxn modelId="{4354C661-CBBC-4171-82A9-8113C567CCCB}" type="presParOf" srcId="{E3FA6CE5-050D-41DE-A74A-40C3C593BAB4}" destId="{8CC69FA0-FB18-40EF-B4D3-AA41E4C8B992}" srcOrd="6" destOrd="0" presId="urn:microsoft.com/office/officeart/2008/layout/VerticalCurvedList"/>
    <dgm:cxn modelId="{9BB2D617-0A96-45F3-B503-E88AA9C8863F}" type="presParOf" srcId="{8CC69FA0-FB18-40EF-B4D3-AA41E4C8B992}" destId="{903EC274-E521-4CC3-AC1F-1849FED6EA6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7368D9A-367C-4755-879A-853B7C412B7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39ED7393-9D7A-41E5-ACC2-940073076802}">
      <dgm:prSet phldrT="[Text]" custT="1"/>
      <dgm:spPr>
        <a:solidFill>
          <a:schemeClr val="accent5"/>
        </a:solidFill>
        <a:ln>
          <a:noFill/>
        </a:ln>
      </dgm:spPr>
      <dgm:t>
        <a:bodyPr/>
        <a:lstStyle/>
        <a:p>
          <a:pPr rtl="0">
            <a:lnSpc>
              <a:spcPct val="120000"/>
            </a:lnSpc>
          </a:pPr>
          <a:r>
            <a:rPr lang="en-GB" sz="1600" dirty="0">
              <a:latin typeface="Arial" panose="020B0604020202020204"/>
            </a:rPr>
            <a:t>In VICTORIA, vericiguat</a:t>
          </a:r>
          <a:r>
            <a:rPr lang="en-GB" sz="1600" dirty="0"/>
            <a:t> was </a:t>
          </a:r>
          <a:r>
            <a:rPr lang="en-GB" sz="1600" dirty="0">
              <a:latin typeface="Arial" panose="020B0604020202020204"/>
            </a:rPr>
            <a:t>specifically investigated</a:t>
          </a:r>
          <a:r>
            <a:rPr lang="en-GB" sz="1600" dirty="0"/>
            <a:t> in</a:t>
          </a:r>
          <a:r>
            <a:rPr lang="en-GB" sz="1600" dirty="0">
              <a:latin typeface="Arial" panose="020B0604020202020204"/>
            </a:rPr>
            <a:t> well-treated patients with HFrEF</a:t>
          </a:r>
          <a:r>
            <a:rPr lang="en-GB" sz="1600" dirty="0"/>
            <a:t> following</a:t>
          </a:r>
          <a:r>
            <a:rPr lang="en-GB" sz="1600" dirty="0">
              <a:latin typeface="Arial" panose="020B0604020202020204"/>
            </a:rPr>
            <a:t> a </a:t>
          </a:r>
          <a:r>
            <a:rPr lang="en-GB" sz="1600" b="0" dirty="0">
              <a:latin typeface="Arial" panose="020B0604020202020204"/>
            </a:rPr>
            <a:t>recent </a:t>
          </a:r>
          <a:r>
            <a:rPr lang="en-GB" sz="1600" b="1" dirty="0">
              <a:latin typeface="Arial" panose="020B0604020202020204"/>
            </a:rPr>
            <a:t>worsening HF event</a:t>
          </a:r>
          <a:r>
            <a:rPr lang="en-GB" sz="1600" baseline="30000" dirty="0">
              <a:latin typeface="Arial" panose="020B0604020202020204"/>
            </a:rPr>
            <a:t>1</a:t>
          </a:r>
          <a:endParaRPr lang="en-GB" sz="1600" baseline="30000" dirty="0"/>
        </a:p>
      </dgm:t>
    </dgm:pt>
    <dgm:pt modelId="{1D425989-B59D-4EEF-AE8F-C3797B81CBB4}" type="parTrans" cxnId="{5EAA489D-DE72-4E4D-B41F-E54A7B8C3741}">
      <dgm:prSet/>
      <dgm:spPr/>
      <dgm:t>
        <a:bodyPr/>
        <a:lstStyle/>
        <a:p>
          <a:endParaRPr lang="en-US"/>
        </a:p>
      </dgm:t>
    </dgm:pt>
    <dgm:pt modelId="{E9F14526-EBD1-451E-AA60-E5E919F0BB69}" type="sibTrans" cxnId="{5EAA489D-DE72-4E4D-B41F-E54A7B8C3741}">
      <dgm:prSet/>
      <dgm:spPr>
        <a:ln>
          <a:solidFill>
            <a:schemeClr val="accent5"/>
          </a:solidFill>
        </a:ln>
      </dgm:spPr>
      <dgm:t>
        <a:bodyPr/>
        <a:lstStyle/>
        <a:p>
          <a:endParaRPr lang="en-US"/>
        </a:p>
      </dgm:t>
    </dgm:pt>
    <dgm:pt modelId="{CE208B1A-5D58-4FE5-B032-F1F974D7B34A}">
      <dgm:prSet phldrT="[Text]" custT="1"/>
      <dgm:spPr>
        <a:solidFill>
          <a:schemeClr val="accent5"/>
        </a:solidFill>
        <a:ln>
          <a:noFill/>
        </a:ln>
      </dgm:spPr>
      <dgm:t>
        <a:bodyPr/>
        <a:lstStyle/>
        <a:p>
          <a:pPr rtl="0">
            <a:lnSpc>
              <a:spcPct val="120000"/>
            </a:lnSpc>
          </a:pPr>
          <a:r>
            <a:rPr lang="en-GB" sz="1600" b="1" dirty="0"/>
            <a:t>Vericiguat significantly reduced </a:t>
          </a:r>
          <a:r>
            <a:rPr lang="en-GB" sz="1600" dirty="0"/>
            <a:t>the primary endpoint of CV death or first HFH by             </a:t>
          </a:r>
          <a:r>
            <a:rPr lang="en-GB" sz="1600" b="1" dirty="0"/>
            <a:t>4.2 events/100 PY </a:t>
          </a:r>
          <a:r>
            <a:rPr lang="en-GB" sz="1600" dirty="0"/>
            <a:t>(NNT of 24), over a median follow-up of 10.8 months</a:t>
          </a:r>
          <a:r>
            <a:rPr lang="en-GB" sz="1600" baseline="30000" dirty="0"/>
            <a:t>1</a:t>
          </a:r>
        </a:p>
      </dgm:t>
    </dgm:pt>
    <dgm:pt modelId="{899F34A2-A373-4220-B0A4-C879F6FBBA6D}" type="parTrans" cxnId="{568334A7-6686-460E-9258-ED41D3677208}">
      <dgm:prSet/>
      <dgm:spPr/>
      <dgm:t>
        <a:bodyPr/>
        <a:lstStyle/>
        <a:p>
          <a:endParaRPr lang="en-US"/>
        </a:p>
      </dgm:t>
    </dgm:pt>
    <dgm:pt modelId="{089E1209-5A73-4538-BCF6-89A87141E6AB}" type="sibTrans" cxnId="{568334A7-6686-460E-9258-ED41D3677208}">
      <dgm:prSet/>
      <dgm:spPr/>
      <dgm:t>
        <a:bodyPr/>
        <a:lstStyle/>
        <a:p>
          <a:endParaRPr lang="en-US"/>
        </a:p>
      </dgm:t>
    </dgm:pt>
    <dgm:pt modelId="{5493021F-2949-481E-B0B8-8D62375144AC}">
      <dgm:prSet phldrT="[Text]" custT="1"/>
      <dgm:spPr>
        <a:solidFill>
          <a:schemeClr val="accent5"/>
        </a:solidFill>
        <a:ln>
          <a:noFill/>
        </a:ln>
      </dgm:spPr>
      <dgm:t>
        <a:bodyPr/>
        <a:lstStyle/>
        <a:p>
          <a:pPr>
            <a:lnSpc>
              <a:spcPct val="120000"/>
            </a:lnSpc>
          </a:pPr>
          <a:r>
            <a:rPr lang="en-GB" sz="1600" dirty="0"/>
            <a:t>Once </a:t>
          </a:r>
          <a:r>
            <a:rPr lang="en-GB" sz="1600" b="1" dirty="0"/>
            <a:t>stable</a:t>
          </a:r>
          <a:r>
            <a:rPr lang="en-GB" sz="1600" dirty="0"/>
            <a:t>, a patient can be initiated on vericiguat at any time following a worsening HF event;</a:t>
          </a:r>
          <a:r>
            <a:rPr lang="en-GB" sz="1600" baseline="30000" dirty="0"/>
            <a:t>2</a:t>
          </a:r>
          <a:r>
            <a:rPr lang="en-GB" sz="1600" dirty="0"/>
            <a:t> however, the period </a:t>
          </a:r>
          <a:r>
            <a:rPr lang="en-GB" sz="1600" b="1" dirty="0"/>
            <a:t>in hospital after stabilization </a:t>
          </a:r>
          <a:r>
            <a:rPr lang="en-GB" sz="1600" b="0" dirty="0"/>
            <a:t>may </a:t>
          </a:r>
          <a:r>
            <a:rPr lang="en-GB" sz="1600" dirty="0"/>
            <a:t>provide an important opportunity to initiate new therapies</a:t>
          </a:r>
          <a:r>
            <a:rPr lang="en-GB" sz="1600" baseline="30000" dirty="0"/>
            <a:t>3</a:t>
          </a:r>
          <a:endParaRPr lang="en-US" sz="1600" dirty="0"/>
        </a:p>
      </dgm:t>
    </dgm:pt>
    <dgm:pt modelId="{E85C2AD5-3869-40F9-AA94-A541F5F91340}" type="parTrans" cxnId="{86535444-68BA-4C1D-A982-F018513D3DB1}">
      <dgm:prSet/>
      <dgm:spPr/>
      <dgm:t>
        <a:bodyPr/>
        <a:lstStyle/>
        <a:p>
          <a:endParaRPr lang="en-US"/>
        </a:p>
      </dgm:t>
    </dgm:pt>
    <dgm:pt modelId="{E7B6F958-E332-41FE-8AB6-0FF98E783B4A}" type="sibTrans" cxnId="{86535444-68BA-4C1D-A982-F018513D3DB1}">
      <dgm:prSet/>
      <dgm:spPr/>
      <dgm:t>
        <a:bodyPr/>
        <a:lstStyle/>
        <a:p>
          <a:endParaRPr lang="en-US"/>
        </a:p>
      </dgm:t>
    </dgm:pt>
    <dgm:pt modelId="{6A4A3B94-6E18-46A4-B11F-BBE93E347B8B}" type="pres">
      <dgm:prSet presAssocID="{47368D9A-367C-4755-879A-853B7C412B78}" presName="Name0" presStyleCnt="0">
        <dgm:presLayoutVars>
          <dgm:chMax val="7"/>
          <dgm:chPref val="7"/>
          <dgm:dir/>
        </dgm:presLayoutVars>
      </dgm:prSet>
      <dgm:spPr/>
    </dgm:pt>
    <dgm:pt modelId="{C8907C5E-EDC3-45C1-BD8C-1B0113F02077}" type="pres">
      <dgm:prSet presAssocID="{47368D9A-367C-4755-879A-853B7C412B78}" presName="Name1" presStyleCnt="0"/>
      <dgm:spPr/>
    </dgm:pt>
    <dgm:pt modelId="{F6EA0E5A-A8C8-40FF-AD3E-28689DB77D1F}" type="pres">
      <dgm:prSet presAssocID="{47368D9A-367C-4755-879A-853B7C412B78}" presName="cycle" presStyleCnt="0"/>
      <dgm:spPr/>
    </dgm:pt>
    <dgm:pt modelId="{126248D1-1CBE-4340-9127-AB00E9CFAF81}" type="pres">
      <dgm:prSet presAssocID="{47368D9A-367C-4755-879A-853B7C412B78}" presName="srcNode" presStyleLbl="node1" presStyleIdx="0" presStyleCnt="3"/>
      <dgm:spPr/>
    </dgm:pt>
    <dgm:pt modelId="{E3E12CA5-8A05-4E53-AB78-92D3F5BC226C}" type="pres">
      <dgm:prSet presAssocID="{47368D9A-367C-4755-879A-853B7C412B78}" presName="conn" presStyleLbl="parChTrans1D2" presStyleIdx="0" presStyleCnt="1"/>
      <dgm:spPr/>
    </dgm:pt>
    <dgm:pt modelId="{25773673-5603-4206-9145-E6C7DA5078DE}" type="pres">
      <dgm:prSet presAssocID="{47368D9A-367C-4755-879A-853B7C412B78}" presName="extraNode" presStyleLbl="node1" presStyleIdx="0" presStyleCnt="3"/>
      <dgm:spPr/>
    </dgm:pt>
    <dgm:pt modelId="{AC7B8CF5-E923-42F3-ADD0-06A0A8C38303}" type="pres">
      <dgm:prSet presAssocID="{47368D9A-367C-4755-879A-853B7C412B78}" presName="dstNode" presStyleLbl="node1" presStyleIdx="0" presStyleCnt="3"/>
      <dgm:spPr/>
    </dgm:pt>
    <dgm:pt modelId="{FCEAEFEF-90C6-4019-BAE9-FA6A687A1D7C}" type="pres">
      <dgm:prSet presAssocID="{39ED7393-9D7A-41E5-ACC2-940073076802}" presName="text_1" presStyleLbl="node1" presStyleIdx="0" presStyleCnt="3">
        <dgm:presLayoutVars>
          <dgm:bulletEnabled val="1"/>
        </dgm:presLayoutVars>
      </dgm:prSet>
      <dgm:spPr/>
    </dgm:pt>
    <dgm:pt modelId="{477122F1-0150-480A-8C44-7B2855182218}" type="pres">
      <dgm:prSet presAssocID="{39ED7393-9D7A-41E5-ACC2-940073076802}" presName="accent_1" presStyleCnt="0"/>
      <dgm:spPr/>
    </dgm:pt>
    <dgm:pt modelId="{338211EB-CA8F-4E06-8A0F-34F2DAA3EC56}" type="pres">
      <dgm:prSet presAssocID="{39ED7393-9D7A-41E5-ACC2-940073076802}" presName="accentRepeatNode" presStyleLbl="solidFgAcc1" presStyleIdx="0" presStyleCnt="3"/>
      <dgm:spPr>
        <a:ln>
          <a:solidFill>
            <a:schemeClr val="accent5"/>
          </a:solidFill>
        </a:ln>
      </dgm:spPr>
    </dgm:pt>
    <dgm:pt modelId="{6F225048-748B-4A4C-B6B6-635BD89F2832}" type="pres">
      <dgm:prSet presAssocID="{CE208B1A-5D58-4FE5-B032-F1F974D7B34A}" presName="text_2" presStyleLbl="node1" presStyleIdx="1" presStyleCnt="3">
        <dgm:presLayoutVars>
          <dgm:bulletEnabled val="1"/>
        </dgm:presLayoutVars>
      </dgm:prSet>
      <dgm:spPr/>
    </dgm:pt>
    <dgm:pt modelId="{5176958D-09B3-457D-B620-4911B9B12AFD}" type="pres">
      <dgm:prSet presAssocID="{CE208B1A-5D58-4FE5-B032-F1F974D7B34A}" presName="accent_2" presStyleCnt="0"/>
      <dgm:spPr/>
    </dgm:pt>
    <dgm:pt modelId="{786B0BA9-D297-4AF0-9650-4E68854AD90A}" type="pres">
      <dgm:prSet presAssocID="{CE208B1A-5D58-4FE5-B032-F1F974D7B34A}" presName="accentRepeatNode" presStyleLbl="solidFgAcc1" presStyleIdx="1" presStyleCnt="3"/>
      <dgm:spPr>
        <a:ln>
          <a:solidFill>
            <a:schemeClr val="accent5"/>
          </a:solidFill>
        </a:ln>
      </dgm:spPr>
    </dgm:pt>
    <dgm:pt modelId="{FDA392A3-D4D4-4767-86CF-02461C7CBB85}" type="pres">
      <dgm:prSet presAssocID="{5493021F-2949-481E-B0B8-8D62375144AC}" presName="text_3" presStyleLbl="node1" presStyleIdx="2" presStyleCnt="3">
        <dgm:presLayoutVars>
          <dgm:bulletEnabled val="1"/>
        </dgm:presLayoutVars>
      </dgm:prSet>
      <dgm:spPr/>
    </dgm:pt>
    <dgm:pt modelId="{46ECCC1B-B417-41AE-BCE9-597B71B981FB}" type="pres">
      <dgm:prSet presAssocID="{5493021F-2949-481E-B0B8-8D62375144AC}" presName="accent_3" presStyleCnt="0"/>
      <dgm:spPr/>
    </dgm:pt>
    <dgm:pt modelId="{263182A8-DC38-4A66-B599-6656C4024708}" type="pres">
      <dgm:prSet presAssocID="{5493021F-2949-481E-B0B8-8D62375144AC}" presName="accentRepeatNode" presStyleLbl="solidFgAcc1" presStyleIdx="2" presStyleCnt="3"/>
      <dgm:spPr>
        <a:ln>
          <a:solidFill>
            <a:schemeClr val="accent5"/>
          </a:solidFill>
        </a:ln>
      </dgm:spPr>
    </dgm:pt>
  </dgm:ptLst>
  <dgm:cxnLst>
    <dgm:cxn modelId="{1491A539-B0CD-4629-A52E-0E7A8AC35A18}" type="presOf" srcId="{E9F14526-EBD1-451E-AA60-E5E919F0BB69}" destId="{E3E12CA5-8A05-4E53-AB78-92D3F5BC226C}" srcOrd="0" destOrd="0" presId="urn:microsoft.com/office/officeart/2008/layout/VerticalCurvedList"/>
    <dgm:cxn modelId="{86535444-68BA-4C1D-A982-F018513D3DB1}" srcId="{47368D9A-367C-4755-879A-853B7C412B78}" destId="{5493021F-2949-481E-B0B8-8D62375144AC}" srcOrd="2" destOrd="0" parTransId="{E85C2AD5-3869-40F9-AA94-A541F5F91340}" sibTransId="{E7B6F958-E332-41FE-8AB6-0FF98E783B4A}"/>
    <dgm:cxn modelId="{6FBC7F65-1951-42FA-B5BE-25A037260D1A}" type="presOf" srcId="{39ED7393-9D7A-41E5-ACC2-940073076802}" destId="{FCEAEFEF-90C6-4019-BAE9-FA6A687A1D7C}" srcOrd="0" destOrd="0" presId="urn:microsoft.com/office/officeart/2008/layout/VerticalCurvedList"/>
    <dgm:cxn modelId="{5A089453-F43C-4763-9028-3C9F5C2624F0}" type="presOf" srcId="{CE208B1A-5D58-4FE5-B032-F1F974D7B34A}" destId="{6F225048-748B-4A4C-B6B6-635BD89F2832}" srcOrd="0" destOrd="0" presId="urn:microsoft.com/office/officeart/2008/layout/VerticalCurvedList"/>
    <dgm:cxn modelId="{4FBC1782-287A-4165-A3BB-97D78B4E077A}" type="presOf" srcId="{5493021F-2949-481E-B0B8-8D62375144AC}" destId="{FDA392A3-D4D4-4767-86CF-02461C7CBB85}" srcOrd="0" destOrd="0" presId="urn:microsoft.com/office/officeart/2008/layout/VerticalCurvedList"/>
    <dgm:cxn modelId="{5EAA489D-DE72-4E4D-B41F-E54A7B8C3741}" srcId="{47368D9A-367C-4755-879A-853B7C412B78}" destId="{39ED7393-9D7A-41E5-ACC2-940073076802}" srcOrd="0" destOrd="0" parTransId="{1D425989-B59D-4EEF-AE8F-C3797B81CBB4}" sibTransId="{E9F14526-EBD1-451E-AA60-E5E919F0BB69}"/>
    <dgm:cxn modelId="{568334A7-6686-460E-9258-ED41D3677208}" srcId="{47368D9A-367C-4755-879A-853B7C412B78}" destId="{CE208B1A-5D58-4FE5-B032-F1F974D7B34A}" srcOrd="1" destOrd="0" parTransId="{899F34A2-A373-4220-B0A4-C879F6FBBA6D}" sibTransId="{089E1209-5A73-4538-BCF6-89A87141E6AB}"/>
    <dgm:cxn modelId="{24ED2DE2-A024-49E0-8A4B-214B1BD04BC3}" type="presOf" srcId="{47368D9A-367C-4755-879A-853B7C412B78}" destId="{6A4A3B94-6E18-46A4-B11F-BBE93E347B8B}" srcOrd="0" destOrd="0" presId="urn:microsoft.com/office/officeart/2008/layout/VerticalCurvedList"/>
    <dgm:cxn modelId="{CD9DD285-629C-46C2-AF67-AA9C70D55B60}" type="presParOf" srcId="{6A4A3B94-6E18-46A4-B11F-BBE93E347B8B}" destId="{C8907C5E-EDC3-45C1-BD8C-1B0113F02077}" srcOrd="0" destOrd="0" presId="urn:microsoft.com/office/officeart/2008/layout/VerticalCurvedList"/>
    <dgm:cxn modelId="{3EC1B93E-9716-4A60-8532-ABF9E0145664}" type="presParOf" srcId="{C8907C5E-EDC3-45C1-BD8C-1B0113F02077}" destId="{F6EA0E5A-A8C8-40FF-AD3E-28689DB77D1F}" srcOrd="0" destOrd="0" presId="urn:microsoft.com/office/officeart/2008/layout/VerticalCurvedList"/>
    <dgm:cxn modelId="{3C3461B7-1D2E-4FB9-A3AC-123AE10470DB}" type="presParOf" srcId="{F6EA0E5A-A8C8-40FF-AD3E-28689DB77D1F}" destId="{126248D1-1CBE-4340-9127-AB00E9CFAF81}" srcOrd="0" destOrd="0" presId="urn:microsoft.com/office/officeart/2008/layout/VerticalCurvedList"/>
    <dgm:cxn modelId="{4424552C-E287-46AF-A096-5ECCB05E9BD4}" type="presParOf" srcId="{F6EA0E5A-A8C8-40FF-AD3E-28689DB77D1F}" destId="{E3E12CA5-8A05-4E53-AB78-92D3F5BC226C}" srcOrd="1" destOrd="0" presId="urn:microsoft.com/office/officeart/2008/layout/VerticalCurvedList"/>
    <dgm:cxn modelId="{02C35E6E-604A-4515-B4E5-F02BF03A495C}" type="presParOf" srcId="{F6EA0E5A-A8C8-40FF-AD3E-28689DB77D1F}" destId="{25773673-5603-4206-9145-E6C7DA5078DE}" srcOrd="2" destOrd="0" presId="urn:microsoft.com/office/officeart/2008/layout/VerticalCurvedList"/>
    <dgm:cxn modelId="{930C5E0D-56F1-4ED7-B914-9B4884EF35E7}" type="presParOf" srcId="{F6EA0E5A-A8C8-40FF-AD3E-28689DB77D1F}" destId="{AC7B8CF5-E923-42F3-ADD0-06A0A8C38303}" srcOrd="3" destOrd="0" presId="urn:microsoft.com/office/officeart/2008/layout/VerticalCurvedList"/>
    <dgm:cxn modelId="{984ECA97-7385-47C7-8309-6E9B572CC8EA}" type="presParOf" srcId="{C8907C5E-EDC3-45C1-BD8C-1B0113F02077}" destId="{FCEAEFEF-90C6-4019-BAE9-FA6A687A1D7C}" srcOrd="1" destOrd="0" presId="urn:microsoft.com/office/officeart/2008/layout/VerticalCurvedList"/>
    <dgm:cxn modelId="{64A854AE-28A4-470E-9FBD-AA0FCB536B40}" type="presParOf" srcId="{C8907C5E-EDC3-45C1-BD8C-1B0113F02077}" destId="{477122F1-0150-480A-8C44-7B2855182218}" srcOrd="2" destOrd="0" presId="urn:microsoft.com/office/officeart/2008/layout/VerticalCurvedList"/>
    <dgm:cxn modelId="{CCB9EFC0-20C9-41AD-8277-08F4A1FE30BA}" type="presParOf" srcId="{477122F1-0150-480A-8C44-7B2855182218}" destId="{338211EB-CA8F-4E06-8A0F-34F2DAA3EC56}" srcOrd="0" destOrd="0" presId="urn:microsoft.com/office/officeart/2008/layout/VerticalCurvedList"/>
    <dgm:cxn modelId="{913A3942-A84D-4EB6-85E3-0A171C249C0C}" type="presParOf" srcId="{C8907C5E-EDC3-45C1-BD8C-1B0113F02077}" destId="{6F225048-748B-4A4C-B6B6-635BD89F2832}" srcOrd="3" destOrd="0" presId="urn:microsoft.com/office/officeart/2008/layout/VerticalCurvedList"/>
    <dgm:cxn modelId="{12073DF5-927F-4D92-BA72-35222C5E939E}" type="presParOf" srcId="{C8907C5E-EDC3-45C1-BD8C-1B0113F02077}" destId="{5176958D-09B3-457D-B620-4911B9B12AFD}" srcOrd="4" destOrd="0" presId="urn:microsoft.com/office/officeart/2008/layout/VerticalCurvedList"/>
    <dgm:cxn modelId="{AE55AAAD-CB5B-43A3-94B8-4EDD10BEEC66}" type="presParOf" srcId="{5176958D-09B3-457D-B620-4911B9B12AFD}" destId="{786B0BA9-D297-4AF0-9650-4E68854AD90A}" srcOrd="0" destOrd="0" presId="urn:microsoft.com/office/officeart/2008/layout/VerticalCurvedList"/>
    <dgm:cxn modelId="{8B0B5C52-2407-49B1-9638-C31FE9775458}" type="presParOf" srcId="{C8907C5E-EDC3-45C1-BD8C-1B0113F02077}" destId="{FDA392A3-D4D4-4767-86CF-02461C7CBB85}" srcOrd="5" destOrd="0" presId="urn:microsoft.com/office/officeart/2008/layout/VerticalCurvedList"/>
    <dgm:cxn modelId="{71AD434D-DCF5-4994-91FD-26469342E821}" type="presParOf" srcId="{C8907C5E-EDC3-45C1-BD8C-1B0113F02077}" destId="{46ECCC1B-B417-41AE-BCE9-597B71B981FB}" srcOrd="6" destOrd="0" presId="urn:microsoft.com/office/officeart/2008/layout/VerticalCurvedList"/>
    <dgm:cxn modelId="{D7243A22-E9C1-43BF-A9AE-800F21B24F2A}" type="presParOf" srcId="{46ECCC1B-B417-41AE-BCE9-597B71B981FB}" destId="{263182A8-DC38-4A66-B599-6656C4024708}"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E9CC46-B072-45A6-9061-D9BF59AA6B04}">
      <dsp:nvSpPr>
        <dsp:cNvPr id="0" name=""/>
        <dsp:cNvSpPr/>
      </dsp:nvSpPr>
      <dsp:spPr>
        <a:xfrm>
          <a:off x="187003" y="779404"/>
          <a:ext cx="909501" cy="909501"/>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105D17E-E90E-4652-9D85-8704F423FC68}">
      <dsp:nvSpPr>
        <dsp:cNvPr id="0" name=""/>
        <dsp:cNvSpPr/>
      </dsp:nvSpPr>
      <dsp:spPr>
        <a:xfrm>
          <a:off x="377999" y="970414"/>
          <a:ext cx="527510" cy="5275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11E113F-8301-402B-B310-DE45C3EEFA8C}">
      <dsp:nvSpPr>
        <dsp:cNvPr id="0" name=""/>
        <dsp:cNvSpPr/>
      </dsp:nvSpPr>
      <dsp:spPr>
        <a:xfrm>
          <a:off x="1218679" y="670336"/>
          <a:ext cx="2746454" cy="9095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i="0" kern="1200" baseline="0">
              <a:solidFill>
                <a:schemeClr val="accent4"/>
              </a:solidFill>
            </a:rPr>
            <a:t>Residual risk</a:t>
          </a:r>
        </a:p>
        <a:p>
          <a:pPr marL="0" lvl="0" indent="0" algn="l" defTabSz="711200">
            <a:lnSpc>
              <a:spcPct val="100000"/>
            </a:lnSpc>
            <a:spcBef>
              <a:spcPct val="0"/>
            </a:spcBef>
            <a:spcAft>
              <a:spcPct val="35000"/>
            </a:spcAft>
            <a:buNone/>
          </a:pPr>
          <a:r>
            <a:rPr lang="en-US" sz="1200" b="0" i="0" kern="1200" baseline="0"/>
            <a:t>Despite an evolving HF treatment landscape, significant residual risk remains for patients with HFrEF</a:t>
          </a:r>
          <a:r>
            <a:rPr lang="en-US" sz="1200" kern="1200"/>
            <a:t> CV death and Heart Failure Hospitalization(HFH)</a:t>
          </a:r>
          <a:endParaRPr lang="en-US" sz="1200" kern="1200" dirty="0"/>
        </a:p>
      </dsp:txBody>
      <dsp:txXfrm>
        <a:off x="1218679" y="670336"/>
        <a:ext cx="2746454" cy="909501"/>
      </dsp:txXfrm>
    </dsp:sp>
    <dsp:sp modelId="{189268FD-8452-48BE-83C3-798CD1D8EA1A}">
      <dsp:nvSpPr>
        <dsp:cNvPr id="0" name=""/>
        <dsp:cNvSpPr/>
      </dsp:nvSpPr>
      <dsp:spPr>
        <a:xfrm>
          <a:off x="5499101" y="806361"/>
          <a:ext cx="909501" cy="909501"/>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400A1B-537A-4D2E-B810-0B497E3BC8E4}">
      <dsp:nvSpPr>
        <dsp:cNvPr id="0" name=""/>
        <dsp:cNvSpPr/>
      </dsp:nvSpPr>
      <dsp:spPr>
        <a:xfrm>
          <a:off x="5690062" y="937624"/>
          <a:ext cx="527510" cy="5275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38AD38D-5421-493A-861E-647289857323}">
      <dsp:nvSpPr>
        <dsp:cNvPr id="0" name=""/>
        <dsp:cNvSpPr/>
      </dsp:nvSpPr>
      <dsp:spPr>
        <a:xfrm>
          <a:off x="6579526" y="459182"/>
          <a:ext cx="2888568" cy="14685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a:solidFill>
                <a:schemeClr val="accent4"/>
              </a:solidFill>
            </a:rPr>
            <a:t>Worsening heart failure </a:t>
          </a:r>
        </a:p>
        <a:p>
          <a:pPr marL="0" lvl="0" indent="0" algn="l" defTabSz="711200">
            <a:lnSpc>
              <a:spcPct val="100000"/>
            </a:lnSpc>
            <a:spcBef>
              <a:spcPct val="0"/>
            </a:spcBef>
            <a:spcAft>
              <a:spcPct val="35000"/>
            </a:spcAft>
            <a:buNone/>
          </a:pPr>
          <a:r>
            <a:rPr lang="en-US" sz="1100" kern="1200"/>
            <a:t> </a:t>
          </a:r>
          <a:r>
            <a:rPr lang="en-US" sz="1200" kern="1200"/>
            <a:t>Patients who due to worsening HF signs and symptoms require hospitalization, emergency visit or unscheduled outpatients visit requiring intravenous diuretics.</a:t>
          </a:r>
          <a:endParaRPr lang="en-US" sz="1100" kern="1200" dirty="0"/>
        </a:p>
      </dsp:txBody>
      <dsp:txXfrm>
        <a:off x="6579526" y="459182"/>
        <a:ext cx="2888568" cy="1468526"/>
      </dsp:txXfrm>
    </dsp:sp>
    <dsp:sp modelId="{2E41E927-BAFC-4F88-B374-7352FCC2146E}">
      <dsp:nvSpPr>
        <dsp:cNvPr id="0" name=""/>
        <dsp:cNvSpPr/>
      </dsp:nvSpPr>
      <dsp:spPr>
        <a:xfrm>
          <a:off x="187003" y="2879240"/>
          <a:ext cx="909501" cy="909501"/>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044C59-DEC5-4952-B370-8FF473EE64D8}">
      <dsp:nvSpPr>
        <dsp:cNvPr id="0" name=""/>
        <dsp:cNvSpPr/>
      </dsp:nvSpPr>
      <dsp:spPr>
        <a:xfrm>
          <a:off x="377999" y="3070281"/>
          <a:ext cx="527510" cy="5275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E0AD1DB-3178-4BE5-91C0-F0AFCAF9EA58}">
      <dsp:nvSpPr>
        <dsp:cNvPr id="0" name=""/>
        <dsp:cNvSpPr/>
      </dsp:nvSpPr>
      <dsp:spPr>
        <a:xfrm>
          <a:off x="1269617" y="2846534"/>
          <a:ext cx="2143824" cy="9095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a:solidFill>
                <a:schemeClr val="accent4"/>
              </a:solidFill>
            </a:rPr>
            <a:t>Big clinical message </a:t>
          </a:r>
        </a:p>
        <a:p>
          <a:pPr marL="0" lvl="0" indent="0" algn="l" defTabSz="711200">
            <a:lnSpc>
              <a:spcPct val="100000"/>
            </a:lnSpc>
            <a:spcBef>
              <a:spcPct val="0"/>
            </a:spcBef>
            <a:spcAft>
              <a:spcPct val="35000"/>
            </a:spcAft>
            <a:buNone/>
          </a:pPr>
          <a:r>
            <a:rPr lang="en-US" sz="1200" kern="1200"/>
            <a:t>Taking these patients seriously and do whatever we can to optimize and pull them back from progressing  to advanced phase.</a:t>
          </a:r>
          <a:endParaRPr lang="en-US" sz="1100" kern="1200" dirty="0"/>
        </a:p>
      </dsp:txBody>
      <dsp:txXfrm>
        <a:off x="1269617" y="2846534"/>
        <a:ext cx="2143824" cy="909501"/>
      </dsp:txXfrm>
    </dsp:sp>
    <dsp:sp modelId="{B098B689-2FBB-438C-8A10-BD5D33BEDF1E}">
      <dsp:nvSpPr>
        <dsp:cNvPr id="0" name=""/>
        <dsp:cNvSpPr/>
      </dsp:nvSpPr>
      <dsp:spPr>
        <a:xfrm>
          <a:off x="3808768" y="2857376"/>
          <a:ext cx="909501" cy="909501"/>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AA1E28-CE00-453A-808C-89B76D88BEF5}">
      <dsp:nvSpPr>
        <dsp:cNvPr id="0" name=""/>
        <dsp:cNvSpPr/>
      </dsp:nvSpPr>
      <dsp:spPr>
        <a:xfrm>
          <a:off x="3999764" y="3048326"/>
          <a:ext cx="527510" cy="5275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FCFCA07-5BF7-40A0-BC98-120AF4EB24E9}">
      <dsp:nvSpPr>
        <dsp:cNvPr id="0" name=""/>
        <dsp:cNvSpPr/>
      </dsp:nvSpPr>
      <dsp:spPr>
        <a:xfrm>
          <a:off x="4886837" y="2471138"/>
          <a:ext cx="2143824" cy="13119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a:solidFill>
                <a:schemeClr val="accent4"/>
              </a:solidFill>
            </a:rPr>
            <a:t>HF hospitalization</a:t>
          </a:r>
        </a:p>
        <a:p>
          <a:pPr marL="0" lvl="0" indent="0" algn="l" defTabSz="711200">
            <a:lnSpc>
              <a:spcPct val="100000"/>
            </a:lnSpc>
            <a:spcBef>
              <a:spcPct val="0"/>
            </a:spcBef>
            <a:spcAft>
              <a:spcPct val="35000"/>
            </a:spcAft>
            <a:buNone/>
          </a:pPr>
          <a:r>
            <a:rPr lang="en-US" sz="1200" kern="1200"/>
            <a:t> Provides an opportunity to improve care of patients with worsening heart failure.</a:t>
          </a:r>
          <a:endParaRPr lang="en-US" sz="1200" kern="1200" dirty="0"/>
        </a:p>
      </dsp:txBody>
      <dsp:txXfrm>
        <a:off x="4886837" y="2471138"/>
        <a:ext cx="2143824" cy="1311974"/>
      </dsp:txXfrm>
    </dsp:sp>
    <dsp:sp modelId="{C34F5F6E-F9B9-4237-ABD6-AE3664B2B52F}">
      <dsp:nvSpPr>
        <dsp:cNvPr id="0" name=""/>
        <dsp:cNvSpPr/>
      </dsp:nvSpPr>
      <dsp:spPr>
        <a:xfrm>
          <a:off x="7430533" y="2846507"/>
          <a:ext cx="909501" cy="909501"/>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DF7564-A15D-4073-9722-A4521C2D19F4}">
      <dsp:nvSpPr>
        <dsp:cNvPr id="0" name=""/>
        <dsp:cNvSpPr/>
      </dsp:nvSpPr>
      <dsp:spPr>
        <a:xfrm>
          <a:off x="7621528" y="3037522"/>
          <a:ext cx="527510" cy="52751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19DAF7-1F56-4516-958E-CCC785D67CCC}">
      <dsp:nvSpPr>
        <dsp:cNvPr id="0" name=""/>
        <dsp:cNvSpPr/>
      </dsp:nvSpPr>
      <dsp:spPr>
        <a:xfrm>
          <a:off x="8524037" y="2770336"/>
          <a:ext cx="2143824" cy="9095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a:solidFill>
                <a:schemeClr val="accent4"/>
              </a:solidFill>
            </a:rPr>
            <a:t>Initiation of therapy</a:t>
          </a:r>
        </a:p>
        <a:p>
          <a:pPr marL="0" lvl="0" indent="0" algn="l" defTabSz="711200">
            <a:lnSpc>
              <a:spcPct val="100000"/>
            </a:lnSpc>
            <a:spcBef>
              <a:spcPct val="0"/>
            </a:spcBef>
            <a:spcAft>
              <a:spcPct val="35000"/>
            </a:spcAft>
            <a:buNone/>
          </a:pPr>
          <a:r>
            <a:rPr lang="en-US" sz="1200" kern="1200"/>
            <a:t>Failure to initiate a medication in the hospital will substantially increase the risk it will never be started.</a:t>
          </a:r>
          <a:endParaRPr lang="en-US" sz="1200" kern="1200" dirty="0"/>
        </a:p>
      </dsp:txBody>
      <dsp:txXfrm>
        <a:off x="8524037" y="2770336"/>
        <a:ext cx="2143824" cy="9095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BB93F-D605-4487-8A4D-4F81E2986CE3}">
      <dsp:nvSpPr>
        <dsp:cNvPr id="0" name=""/>
        <dsp:cNvSpPr/>
      </dsp:nvSpPr>
      <dsp:spPr>
        <a:xfrm>
          <a:off x="-4560209" y="-699219"/>
          <a:ext cx="5432276" cy="5432276"/>
        </a:xfrm>
        <a:prstGeom prst="blockArc">
          <a:avLst>
            <a:gd name="adj1" fmla="val 18900000"/>
            <a:gd name="adj2" fmla="val 2700000"/>
            <a:gd name="adj3" fmla="val 398"/>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671A08-DAAE-42D3-A0FF-49E5D039D315}">
      <dsp:nvSpPr>
        <dsp:cNvPr id="0" name=""/>
        <dsp:cNvSpPr/>
      </dsp:nvSpPr>
      <dsp:spPr>
        <a:xfrm>
          <a:off x="560853" y="403383"/>
          <a:ext cx="9312661" cy="80676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372"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a:t>The rates of AEs and SAEs were numerically lower with vericiguat compared with placebo</a:t>
          </a:r>
        </a:p>
      </dsp:txBody>
      <dsp:txXfrm>
        <a:off x="560853" y="403383"/>
        <a:ext cx="9312661" cy="806767"/>
      </dsp:txXfrm>
    </dsp:sp>
    <dsp:sp modelId="{4B69BF43-6810-41EE-BB16-078D3537A8EF}">
      <dsp:nvSpPr>
        <dsp:cNvPr id="0" name=""/>
        <dsp:cNvSpPr/>
      </dsp:nvSpPr>
      <dsp:spPr>
        <a:xfrm>
          <a:off x="56623" y="302537"/>
          <a:ext cx="1008459" cy="1008459"/>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36D99E-D55D-485D-AA01-B7719ED7EEBC}">
      <dsp:nvSpPr>
        <dsp:cNvPr id="0" name=""/>
        <dsp:cNvSpPr/>
      </dsp:nvSpPr>
      <dsp:spPr>
        <a:xfrm>
          <a:off x="854113" y="1613534"/>
          <a:ext cx="9019401" cy="80676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372"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a:t>No significant difference in symptomatic hypotension or syncope</a:t>
          </a:r>
        </a:p>
      </dsp:txBody>
      <dsp:txXfrm>
        <a:off x="854113" y="1613534"/>
        <a:ext cx="9019401" cy="806767"/>
      </dsp:txXfrm>
    </dsp:sp>
    <dsp:sp modelId="{880A6E46-37CC-4B4E-B293-55D25907C83D}">
      <dsp:nvSpPr>
        <dsp:cNvPr id="0" name=""/>
        <dsp:cNvSpPr/>
      </dsp:nvSpPr>
      <dsp:spPr>
        <a:xfrm>
          <a:off x="349883" y="1512688"/>
          <a:ext cx="1008459" cy="1008459"/>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06DDF3-1491-4DDC-854F-2DAD004A781B}">
      <dsp:nvSpPr>
        <dsp:cNvPr id="0" name=""/>
        <dsp:cNvSpPr/>
      </dsp:nvSpPr>
      <dsp:spPr>
        <a:xfrm>
          <a:off x="560853" y="2823685"/>
          <a:ext cx="9312661" cy="80676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372"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a:t>In VICTORIA, </a:t>
          </a:r>
          <a:r>
            <a:rPr lang="en-GB" sz="2000" b="1" kern="1200"/>
            <a:t>~90% </a:t>
          </a:r>
          <a:r>
            <a:rPr lang="en-GB" sz="2000" kern="1200"/>
            <a:t>adherence to the 10 mg target dose of vericiguat was achieved after ~12 months</a:t>
          </a:r>
        </a:p>
      </dsp:txBody>
      <dsp:txXfrm>
        <a:off x="560853" y="2823685"/>
        <a:ext cx="9312661" cy="806767"/>
      </dsp:txXfrm>
    </dsp:sp>
    <dsp:sp modelId="{903EC274-E521-4CC3-AC1F-1849FED6EA64}">
      <dsp:nvSpPr>
        <dsp:cNvPr id="0" name=""/>
        <dsp:cNvSpPr/>
      </dsp:nvSpPr>
      <dsp:spPr>
        <a:xfrm>
          <a:off x="56623" y="2722839"/>
          <a:ext cx="1008459" cy="1008459"/>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12CA5-8A05-4E53-AB78-92D3F5BC226C}">
      <dsp:nvSpPr>
        <dsp:cNvPr id="0" name=""/>
        <dsp:cNvSpPr/>
      </dsp:nvSpPr>
      <dsp:spPr>
        <a:xfrm>
          <a:off x="-5224484" y="-800239"/>
          <a:ext cx="6221641" cy="6221641"/>
        </a:xfrm>
        <a:prstGeom prst="blockArc">
          <a:avLst>
            <a:gd name="adj1" fmla="val 18900000"/>
            <a:gd name="adj2" fmla="val 2700000"/>
            <a:gd name="adj3" fmla="val 347"/>
          </a:avLst>
        </a:prstGeom>
        <a:noFill/>
        <a:ln w="12700" cap="flat" cmpd="sng" algn="ctr">
          <a:solidFill>
            <a:schemeClr val="accent5"/>
          </a:solidFill>
          <a:prstDash val="solid"/>
          <a:miter lim="800000"/>
        </a:ln>
        <a:effectLst/>
      </dsp:spPr>
      <dsp:style>
        <a:lnRef idx="2">
          <a:scrgbClr r="0" g="0" b="0"/>
        </a:lnRef>
        <a:fillRef idx="0">
          <a:scrgbClr r="0" g="0" b="0"/>
        </a:fillRef>
        <a:effectRef idx="0">
          <a:scrgbClr r="0" g="0" b="0"/>
        </a:effectRef>
        <a:fontRef idx="minor"/>
      </dsp:style>
    </dsp:sp>
    <dsp:sp modelId="{FCEAEFEF-90C6-4019-BAE9-FA6A687A1D7C}">
      <dsp:nvSpPr>
        <dsp:cNvPr id="0" name=""/>
        <dsp:cNvSpPr/>
      </dsp:nvSpPr>
      <dsp:spPr>
        <a:xfrm>
          <a:off x="641417" y="462116"/>
          <a:ext cx="9516471" cy="924232"/>
        </a:xfrm>
        <a:prstGeom prst="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3609" tIns="40640" rIns="40640" bIns="40640" numCol="1" spcCol="1270" anchor="ctr" anchorCtr="0">
          <a:noAutofit/>
        </a:bodyPr>
        <a:lstStyle/>
        <a:p>
          <a:pPr marL="0" lvl="0" indent="0" algn="l" defTabSz="711200" rtl="0">
            <a:lnSpc>
              <a:spcPct val="120000"/>
            </a:lnSpc>
            <a:spcBef>
              <a:spcPct val="0"/>
            </a:spcBef>
            <a:spcAft>
              <a:spcPct val="35000"/>
            </a:spcAft>
            <a:buNone/>
          </a:pPr>
          <a:r>
            <a:rPr lang="en-GB" sz="1600" kern="1200" dirty="0">
              <a:latin typeface="Arial" panose="020B0604020202020204"/>
            </a:rPr>
            <a:t>In VICTORIA, vericiguat</a:t>
          </a:r>
          <a:r>
            <a:rPr lang="en-GB" sz="1600" kern="1200" dirty="0"/>
            <a:t> was </a:t>
          </a:r>
          <a:r>
            <a:rPr lang="en-GB" sz="1600" kern="1200" dirty="0">
              <a:latin typeface="Arial" panose="020B0604020202020204"/>
            </a:rPr>
            <a:t>specifically investigated</a:t>
          </a:r>
          <a:r>
            <a:rPr lang="en-GB" sz="1600" kern="1200" dirty="0"/>
            <a:t> in</a:t>
          </a:r>
          <a:r>
            <a:rPr lang="en-GB" sz="1600" kern="1200" dirty="0">
              <a:latin typeface="Arial" panose="020B0604020202020204"/>
            </a:rPr>
            <a:t> well-treated patients with HFrEF</a:t>
          </a:r>
          <a:r>
            <a:rPr lang="en-GB" sz="1600" kern="1200" dirty="0"/>
            <a:t> following</a:t>
          </a:r>
          <a:r>
            <a:rPr lang="en-GB" sz="1600" kern="1200" dirty="0">
              <a:latin typeface="Arial" panose="020B0604020202020204"/>
            </a:rPr>
            <a:t> a </a:t>
          </a:r>
          <a:r>
            <a:rPr lang="en-GB" sz="1600" b="0" kern="1200" dirty="0">
              <a:latin typeface="Arial" panose="020B0604020202020204"/>
            </a:rPr>
            <a:t>recent </a:t>
          </a:r>
          <a:r>
            <a:rPr lang="en-GB" sz="1600" b="1" kern="1200" dirty="0">
              <a:latin typeface="Arial" panose="020B0604020202020204"/>
            </a:rPr>
            <a:t>worsening HF event</a:t>
          </a:r>
          <a:r>
            <a:rPr lang="en-GB" sz="1600" kern="1200" baseline="30000" dirty="0">
              <a:latin typeface="Arial" panose="020B0604020202020204"/>
            </a:rPr>
            <a:t>1</a:t>
          </a:r>
          <a:endParaRPr lang="en-GB" sz="1600" kern="1200" baseline="30000" dirty="0"/>
        </a:p>
      </dsp:txBody>
      <dsp:txXfrm>
        <a:off x="641417" y="462116"/>
        <a:ext cx="9516471" cy="924232"/>
      </dsp:txXfrm>
    </dsp:sp>
    <dsp:sp modelId="{338211EB-CA8F-4E06-8A0F-34F2DAA3EC56}">
      <dsp:nvSpPr>
        <dsp:cNvPr id="0" name=""/>
        <dsp:cNvSpPr/>
      </dsp:nvSpPr>
      <dsp:spPr>
        <a:xfrm>
          <a:off x="63772" y="346587"/>
          <a:ext cx="1155290" cy="1155290"/>
        </a:xfrm>
        <a:prstGeom prst="ellipse">
          <a:avLst/>
        </a:prstGeom>
        <a:solidFill>
          <a:schemeClr val="lt1">
            <a:hueOff val="0"/>
            <a:satOff val="0"/>
            <a:lumOff val="0"/>
            <a:alphaOff val="0"/>
          </a:schemeClr>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sp>
    <dsp:sp modelId="{6F225048-748B-4A4C-B6B6-635BD89F2832}">
      <dsp:nvSpPr>
        <dsp:cNvPr id="0" name=""/>
        <dsp:cNvSpPr/>
      </dsp:nvSpPr>
      <dsp:spPr>
        <a:xfrm>
          <a:off x="977375" y="1848464"/>
          <a:ext cx="9180513" cy="924232"/>
        </a:xfrm>
        <a:prstGeom prst="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3609" tIns="40640" rIns="40640" bIns="40640" numCol="1" spcCol="1270" anchor="ctr" anchorCtr="0">
          <a:noAutofit/>
        </a:bodyPr>
        <a:lstStyle/>
        <a:p>
          <a:pPr marL="0" lvl="0" indent="0" algn="l" defTabSz="711200" rtl="0">
            <a:lnSpc>
              <a:spcPct val="120000"/>
            </a:lnSpc>
            <a:spcBef>
              <a:spcPct val="0"/>
            </a:spcBef>
            <a:spcAft>
              <a:spcPct val="35000"/>
            </a:spcAft>
            <a:buNone/>
          </a:pPr>
          <a:r>
            <a:rPr lang="en-GB" sz="1600" b="1" kern="1200" dirty="0"/>
            <a:t>Vericiguat significantly reduced </a:t>
          </a:r>
          <a:r>
            <a:rPr lang="en-GB" sz="1600" kern="1200" dirty="0"/>
            <a:t>the primary endpoint of CV death or first HFH by             </a:t>
          </a:r>
          <a:r>
            <a:rPr lang="en-GB" sz="1600" b="1" kern="1200" dirty="0"/>
            <a:t>4.2 events/100 PY </a:t>
          </a:r>
          <a:r>
            <a:rPr lang="en-GB" sz="1600" kern="1200" dirty="0"/>
            <a:t>(NNT of 24), over a median follow-up of 10.8 months</a:t>
          </a:r>
          <a:r>
            <a:rPr lang="en-GB" sz="1600" kern="1200" baseline="30000" dirty="0"/>
            <a:t>1</a:t>
          </a:r>
        </a:p>
      </dsp:txBody>
      <dsp:txXfrm>
        <a:off x="977375" y="1848464"/>
        <a:ext cx="9180513" cy="924232"/>
      </dsp:txXfrm>
    </dsp:sp>
    <dsp:sp modelId="{786B0BA9-D297-4AF0-9650-4E68854AD90A}">
      <dsp:nvSpPr>
        <dsp:cNvPr id="0" name=""/>
        <dsp:cNvSpPr/>
      </dsp:nvSpPr>
      <dsp:spPr>
        <a:xfrm>
          <a:off x="399730" y="1732935"/>
          <a:ext cx="1155290" cy="1155290"/>
        </a:xfrm>
        <a:prstGeom prst="ellipse">
          <a:avLst/>
        </a:prstGeom>
        <a:solidFill>
          <a:schemeClr val="lt1">
            <a:hueOff val="0"/>
            <a:satOff val="0"/>
            <a:lumOff val="0"/>
            <a:alphaOff val="0"/>
          </a:schemeClr>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sp>
    <dsp:sp modelId="{FDA392A3-D4D4-4767-86CF-02461C7CBB85}">
      <dsp:nvSpPr>
        <dsp:cNvPr id="0" name=""/>
        <dsp:cNvSpPr/>
      </dsp:nvSpPr>
      <dsp:spPr>
        <a:xfrm>
          <a:off x="641417" y="3234813"/>
          <a:ext cx="9516471" cy="924232"/>
        </a:xfrm>
        <a:prstGeom prst="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3609" tIns="40640" rIns="40640" bIns="40640" numCol="1" spcCol="1270" anchor="ctr" anchorCtr="0">
          <a:noAutofit/>
        </a:bodyPr>
        <a:lstStyle/>
        <a:p>
          <a:pPr marL="0" lvl="0" indent="0" algn="l" defTabSz="711200">
            <a:lnSpc>
              <a:spcPct val="120000"/>
            </a:lnSpc>
            <a:spcBef>
              <a:spcPct val="0"/>
            </a:spcBef>
            <a:spcAft>
              <a:spcPct val="35000"/>
            </a:spcAft>
            <a:buNone/>
          </a:pPr>
          <a:r>
            <a:rPr lang="en-GB" sz="1600" kern="1200" dirty="0"/>
            <a:t>Once </a:t>
          </a:r>
          <a:r>
            <a:rPr lang="en-GB" sz="1600" b="1" kern="1200" dirty="0"/>
            <a:t>stable</a:t>
          </a:r>
          <a:r>
            <a:rPr lang="en-GB" sz="1600" kern="1200" dirty="0"/>
            <a:t>, a patient can be initiated on vericiguat at any time following a worsening HF event;</a:t>
          </a:r>
          <a:r>
            <a:rPr lang="en-GB" sz="1600" kern="1200" baseline="30000" dirty="0"/>
            <a:t>2</a:t>
          </a:r>
          <a:r>
            <a:rPr lang="en-GB" sz="1600" kern="1200" dirty="0"/>
            <a:t> however, the period </a:t>
          </a:r>
          <a:r>
            <a:rPr lang="en-GB" sz="1600" b="1" kern="1200" dirty="0"/>
            <a:t>in hospital after stabilization </a:t>
          </a:r>
          <a:r>
            <a:rPr lang="en-GB" sz="1600" b="0" kern="1200" dirty="0"/>
            <a:t>may </a:t>
          </a:r>
          <a:r>
            <a:rPr lang="en-GB" sz="1600" kern="1200" dirty="0"/>
            <a:t>provide an important opportunity to initiate new therapies</a:t>
          </a:r>
          <a:r>
            <a:rPr lang="en-GB" sz="1600" kern="1200" baseline="30000" dirty="0"/>
            <a:t>3</a:t>
          </a:r>
          <a:endParaRPr lang="en-US" sz="1600" kern="1200" dirty="0"/>
        </a:p>
      </dsp:txBody>
      <dsp:txXfrm>
        <a:off x="641417" y="3234813"/>
        <a:ext cx="9516471" cy="924232"/>
      </dsp:txXfrm>
    </dsp:sp>
    <dsp:sp modelId="{263182A8-DC38-4A66-B599-6656C4024708}">
      <dsp:nvSpPr>
        <dsp:cNvPr id="0" name=""/>
        <dsp:cNvSpPr/>
      </dsp:nvSpPr>
      <dsp:spPr>
        <a:xfrm>
          <a:off x="63772" y="3119284"/>
          <a:ext cx="1155290" cy="1155290"/>
        </a:xfrm>
        <a:prstGeom prst="ellipse">
          <a:avLst/>
        </a:prstGeom>
        <a:solidFill>
          <a:schemeClr val="lt1">
            <a:hueOff val="0"/>
            <a:satOff val="0"/>
            <a:lumOff val="0"/>
            <a:alphaOff val="0"/>
          </a:schemeClr>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3123AD-B0D4-4EAD-8249-47D64CE33632}" type="datetimeFigureOut">
              <a:rPr lang="en-US" smtClean="0"/>
              <a:t>23/0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F6BF7E-B5E5-404F-B1B8-6C25A0FA60A1}" type="slidenum">
              <a:rPr lang="en-US" smtClean="0"/>
              <a:t>‹#›</a:t>
            </a:fld>
            <a:endParaRPr lang="en-US"/>
          </a:p>
        </p:txBody>
      </p:sp>
    </p:spTree>
    <p:extLst>
      <p:ext uri="{BB962C8B-B14F-4D97-AF65-F5344CB8AC3E}">
        <p14:creationId xmlns:p14="http://schemas.microsoft.com/office/powerpoint/2010/main" val="21013203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ventional post approval phase IV stud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BACC71-B6ED-48C2-8724-03746D49A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1140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715963"/>
            <a:ext cx="4767262" cy="26828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37443"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a:ln>
                  <a:noFill/>
                </a:ln>
                <a:solidFill>
                  <a:prstClr val="black"/>
                </a:solidFill>
                <a:effectLst/>
                <a:uLnTx/>
                <a:uFillTx/>
                <a:latin typeface="Arial"/>
                <a:ea typeface="+mn-ea"/>
                <a:cs typeface="+mn-cs"/>
              </a:rPr>
              <a:pPr marL="0" marR="0" lvl="0" indent="0" algn="r" defTabSz="93744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833DDD77-59D3-44C2-B653-D7C1EC768534}"/>
              </a:ext>
            </a:extLst>
          </p:cNvPr>
          <p:cNvSpPr/>
          <p:nvPr/>
        </p:nvSpPr>
        <p:spPr>
          <a:xfrm>
            <a:off x="-1161019" y="1679389"/>
            <a:ext cx="1732828" cy="66338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Arial"/>
                <a:ea typeface="+mn-ea"/>
                <a:cs typeface="+mn-cs"/>
              </a:rPr>
              <a:t>Vericiguat is an </a:t>
            </a:r>
            <a:r>
              <a:rPr kumimoji="0" lang="en-GB" sz="700" b="1" i="0" u="none" strike="noStrike" kern="1200" cap="none" spc="0" normalizeH="0" baseline="0" noProof="0" err="1">
                <a:ln>
                  <a:noFill/>
                </a:ln>
                <a:solidFill>
                  <a:prstClr val="black"/>
                </a:solidFill>
                <a:effectLst/>
                <a:uLnTx/>
                <a:uFillTx/>
                <a:latin typeface="Arial"/>
                <a:ea typeface="+mn-ea"/>
                <a:cs typeface="+mn-cs"/>
              </a:rPr>
              <a:t>sGC</a:t>
            </a:r>
            <a:r>
              <a:rPr kumimoji="0" lang="en-GB" sz="700" b="1" i="0" u="none" strike="noStrike" kern="1200" cap="none" spc="0" normalizeH="0" baseline="0" noProof="0">
                <a:ln>
                  <a:noFill/>
                </a:ln>
                <a:solidFill>
                  <a:prstClr val="black"/>
                </a:solidFill>
                <a:effectLst/>
                <a:uLnTx/>
                <a:uFillTx/>
                <a:latin typeface="Arial"/>
                <a:ea typeface="+mn-ea"/>
                <a:cs typeface="+mn-cs"/>
              </a:rPr>
              <a:t> stimulat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GB" sz="700" b="0" i="0" u="none" strike="noStrike" kern="1200" cap="none" spc="0" normalizeH="0" baseline="0" noProof="0">
                <a:ln>
                  <a:noFill/>
                </a:ln>
                <a:solidFill>
                  <a:prstClr val="black"/>
                </a:solidFill>
                <a:effectLst/>
                <a:uLnTx/>
                <a:uFillTx/>
                <a:latin typeface="Arial"/>
                <a:ea typeface="+mn-ea"/>
                <a:cs typeface="+mn-cs"/>
              </a:rPr>
              <a:t>Armstrong JACC Heart Fail 2018 – VICTORIA</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p3A</a:t>
            </a:r>
          </a:p>
        </p:txBody>
      </p:sp>
      <p:sp>
        <p:nvSpPr>
          <p:cNvPr id="7" name="Rectangle 6">
            <a:extLst>
              <a:ext uri="{FF2B5EF4-FFF2-40B4-BE49-F238E27FC236}">
                <a16:creationId xmlns:a16="http://schemas.microsoft.com/office/drawing/2014/main" id="{64F0AC94-B79E-47F5-AA20-4112D85A2C67}"/>
              </a:ext>
            </a:extLst>
          </p:cNvPr>
          <p:cNvSpPr/>
          <p:nvPr/>
        </p:nvSpPr>
        <p:spPr>
          <a:xfrm>
            <a:off x="-1201267" y="422583"/>
            <a:ext cx="2139362" cy="811523"/>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Arial"/>
                <a:ea typeface="+mn-ea"/>
                <a:cs typeface="+mn-cs"/>
              </a:rPr>
              <a:t>Vericiguat restores a key pathway in HF pathophysiolog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GB" sz="700" b="0" i="0" u="none" strike="noStrike" kern="1200" cap="none" spc="0" normalizeH="0" baseline="0" noProof="0">
                <a:ln>
                  <a:noFill/>
                </a:ln>
                <a:solidFill>
                  <a:prstClr val="black"/>
                </a:solidFill>
                <a:effectLst/>
                <a:uLnTx/>
                <a:uFillTx/>
                <a:latin typeface="Arial"/>
                <a:ea typeface="+mn-ea"/>
                <a:cs typeface="+mn-cs"/>
              </a:rPr>
              <a:t>Follows from content of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Arial"/>
                <a:ea typeface="+mn-ea"/>
                <a:cs typeface="+mn-cs"/>
              </a:rPr>
              <a:t>…to improve HF outco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Arial"/>
                <a:ea typeface="+mn-ea"/>
                <a:cs typeface="+mn-cs"/>
              </a:rPr>
              <a:t>- Armstrong 2020 p1 abstract conclusion</a:t>
            </a:r>
          </a:p>
        </p:txBody>
      </p:sp>
      <p:cxnSp>
        <p:nvCxnSpPr>
          <p:cNvPr id="9" name="Straight Connector 8">
            <a:extLst>
              <a:ext uri="{FF2B5EF4-FFF2-40B4-BE49-F238E27FC236}">
                <a16:creationId xmlns:a16="http://schemas.microsoft.com/office/drawing/2014/main" id="{8AE1A1F5-7D0C-4497-9606-1ED870788E8D}"/>
              </a:ext>
            </a:extLst>
          </p:cNvPr>
          <p:cNvCxnSpPr>
            <a:stCxn id="7" idx="3"/>
          </p:cNvCxnSpPr>
          <p:nvPr/>
        </p:nvCxnSpPr>
        <p:spPr>
          <a:xfrm>
            <a:off x="938095" y="828345"/>
            <a:ext cx="207818" cy="290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CFE44F0-06D4-416D-8CA2-9FF0709C76FB}"/>
              </a:ext>
            </a:extLst>
          </p:cNvPr>
          <p:cNvCxnSpPr>
            <a:cxnSpLocks/>
            <a:stCxn id="6" idx="3"/>
          </p:cNvCxnSpPr>
          <p:nvPr/>
        </p:nvCxnSpPr>
        <p:spPr>
          <a:xfrm flipV="1">
            <a:off x="571809" y="1918449"/>
            <a:ext cx="1986120" cy="926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671AF60-68E9-4FD0-9A65-236AA964E1BB}"/>
              </a:ext>
            </a:extLst>
          </p:cNvPr>
          <p:cNvSpPr/>
          <p:nvPr/>
        </p:nvSpPr>
        <p:spPr>
          <a:xfrm>
            <a:off x="-1439867" y="3284538"/>
            <a:ext cx="1732828" cy="66338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Arial"/>
                <a:ea typeface="+mn-ea"/>
                <a:cs typeface="+mn-cs"/>
              </a:rPr>
              <a:t>Breitenstein.HandbExpPharmacol.2017</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p5A</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Heart inflammation</a:t>
            </a:r>
          </a:p>
        </p:txBody>
      </p:sp>
      <p:cxnSp>
        <p:nvCxnSpPr>
          <p:cNvPr id="16" name="Straight Arrow Connector 15">
            <a:extLst>
              <a:ext uri="{FF2B5EF4-FFF2-40B4-BE49-F238E27FC236}">
                <a16:creationId xmlns:a16="http://schemas.microsoft.com/office/drawing/2014/main" id="{6BC53028-5E3F-4B8C-AD36-143047B72FC3}"/>
              </a:ext>
            </a:extLst>
          </p:cNvPr>
          <p:cNvCxnSpPr>
            <a:cxnSpLocks/>
            <a:stCxn id="15" idx="3"/>
          </p:cNvCxnSpPr>
          <p:nvPr/>
        </p:nvCxnSpPr>
        <p:spPr>
          <a:xfrm flipV="1">
            <a:off x="292961" y="2782083"/>
            <a:ext cx="1594662" cy="8341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8B9F5F8-2497-483C-ADEF-85EFC633427E}"/>
              </a:ext>
            </a:extLst>
          </p:cNvPr>
          <p:cNvSpPr/>
          <p:nvPr/>
        </p:nvSpPr>
        <p:spPr>
          <a:xfrm>
            <a:off x="-1439867" y="4083181"/>
            <a:ext cx="1732828" cy="66338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err="1">
                <a:ln>
                  <a:noFill/>
                </a:ln>
                <a:solidFill>
                  <a:prstClr val="black"/>
                </a:solidFill>
                <a:effectLst/>
                <a:uLnTx/>
                <a:uFillTx/>
                <a:latin typeface="Arial"/>
                <a:ea typeface="+mn-ea"/>
                <a:cs typeface="+mn-cs"/>
              </a:rPr>
              <a:t>Sandner</a:t>
            </a:r>
            <a:r>
              <a:rPr kumimoji="0" lang="en-GB" sz="700" b="0" i="0" u="none" strike="noStrike" kern="1200" cap="none" spc="0" normalizeH="0" baseline="0" noProof="0">
                <a:ln>
                  <a:noFill/>
                </a:ln>
                <a:solidFill>
                  <a:prstClr val="black"/>
                </a:solidFill>
                <a:effectLst/>
                <a:uLnTx/>
                <a:uFillTx/>
                <a:latin typeface="Arial"/>
                <a:ea typeface="+mn-ea"/>
                <a:cs typeface="+mn-cs"/>
              </a:rPr>
              <a:t> 2021 p5 green box </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vasodilation, inflammation</a:t>
            </a:r>
          </a:p>
        </p:txBody>
      </p:sp>
      <p:cxnSp>
        <p:nvCxnSpPr>
          <p:cNvPr id="20" name="Straight Arrow Connector 19">
            <a:extLst>
              <a:ext uri="{FF2B5EF4-FFF2-40B4-BE49-F238E27FC236}">
                <a16:creationId xmlns:a16="http://schemas.microsoft.com/office/drawing/2014/main" id="{647E3BC7-13BD-4E04-96CA-9F9700DE57EC}"/>
              </a:ext>
            </a:extLst>
          </p:cNvPr>
          <p:cNvCxnSpPr>
            <a:cxnSpLocks/>
            <a:stCxn id="19" idx="3"/>
          </p:cNvCxnSpPr>
          <p:nvPr/>
        </p:nvCxnSpPr>
        <p:spPr>
          <a:xfrm flipV="1">
            <a:off x="292961" y="3027119"/>
            <a:ext cx="3006051" cy="13877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7D7FCED-04C7-4BF3-9679-BE3E7D5A130E}"/>
              </a:ext>
            </a:extLst>
          </p:cNvPr>
          <p:cNvSpPr/>
          <p:nvPr/>
        </p:nvSpPr>
        <p:spPr>
          <a:xfrm>
            <a:off x="-1439867" y="2595910"/>
            <a:ext cx="1732828" cy="66338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Arial"/>
                <a:ea typeface="+mn-ea"/>
                <a:cs typeface="+mn-cs"/>
              </a:rPr>
              <a:t>Armstrong JACC Heart Fail 2018 – VICTORIA</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p1B</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hypertrophy, fibrosis</a:t>
            </a:r>
            <a:br>
              <a:rPr kumimoji="0" lang="en-GB" sz="700" b="0" i="0" u="none" strike="noStrike" kern="1200" cap="none" spc="0" normalizeH="0" baseline="0" noProof="0">
                <a:ln>
                  <a:noFill/>
                </a:ln>
                <a:solidFill>
                  <a:prstClr val="black"/>
                </a:solidFill>
                <a:effectLst/>
                <a:uLnTx/>
                <a:uFillTx/>
                <a:latin typeface="Arial"/>
                <a:ea typeface="+mn-ea"/>
                <a:cs typeface="+mn-cs"/>
              </a:rPr>
            </a:br>
            <a:endParaRPr kumimoji="0" lang="en-GB" sz="700" b="0" i="0" u="none" strike="noStrike" kern="1200" cap="none" spc="0" normalizeH="0" baseline="0" noProof="0">
              <a:ln>
                <a:noFill/>
              </a:ln>
              <a:solidFill>
                <a:prstClr val="black"/>
              </a:solidFill>
              <a:effectLst/>
              <a:uLnTx/>
              <a:uFillTx/>
              <a:latin typeface="Arial"/>
              <a:ea typeface="+mn-ea"/>
              <a:cs typeface="+mn-cs"/>
            </a:endParaRPr>
          </a:p>
        </p:txBody>
      </p:sp>
      <p:cxnSp>
        <p:nvCxnSpPr>
          <p:cNvPr id="23" name="Straight Arrow Connector 22">
            <a:extLst>
              <a:ext uri="{FF2B5EF4-FFF2-40B4-BE49-F238E27FC236}">
                <a16:creationId xmlns:a16="http://schemas.microsoft.com/office/drawing/2014/main" id="{F1FE3EC2-279C-4AC3-877F-1E5B89DED182}"/>
              </a:ext>
            </a:extLst>
          </p:cNvPr>
          <p:cNvCxnSpPr>
            <a:cxnSpLocks/>
            <a:stCxn id="22" idx="3"/>
          </p:cNvCxnSpPr>
          <p:nvPr/>
        </p:nvCxnSpPr>
        <p:spPr>
          <a:xfrm flipV="1">
            <a:off x="292961" y="2845231"/>
            <a:ext cx="1219086" cy="82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BC86ACF9-8804-4C11-9CDE-A90C9C1C43FD}"/>
              </a:ext>
            </a:extLst>
          </p:cNvPr>
          <p:cNvSpPr/>
          <p:nvPr/>
        </p:nvSpPr>
        <p:spPr>
          <a:xfrm>
            <a:off x="6392298" y="3838145"/>
            <a:ext cx="1732828" cy="66338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Arial"/>
                <a:ea typeface="+mn-ea"/>
                <a:cs typeface="+mn-cs"/>
              </a:rPr>
              <a:t>Breitenstein.HandbExpPharmacol.2017</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p6A, 5A (renal blood flow)</a:t>
            </a:r>
            <a:br>
              <a:rPr kumimoji="0" lang="en-GB" sz="700" b="0" i="0" u="none" strike="noStrike" kern="1200" cap="none" spc="0" normalizeH="0" baseline="0" noProof="0">
                <a:ln>
                  <a:noFill/>
                </a:ln>
                <a:solidFill>
                  <a:prstClr val="black"/>
                </a:solidFill>
                <a:effectLst/>
                <a:uLnTx/>
                <a:uFillTx/>
                <a:latin typeface="Arial"/>
                <a:ea typeface="+mn-ea"/>
                <a:cs typeface="+mn-cs"/>
              </a:rPr>
            </a:br>
            <a:r>
              <a:rPr kumimoji="0" lang="en-GB" sz="700" b="0" i="0" u="none" strike="noStrike" kern="1200" cap="none" spc="0" normalizeH="0" baseline="0" noProof="0">
                <a:ln>
                  <a:noFill/>
                </a:ln>
                <a:solidFill>
                  <a:prstClr val="black"/>
                </a:solidFill>
                <a:effectLst/>
                <a:uLnTx/>
                <a:uFillTx/>
                <a:latin typeface="Arial"/>
                <a:ea typeface="+mn-ea"/>
                <a:cs typeface="+mn-cs"/>
              </a:rPr>
              <a:t>p1B, 5A (fibrosis – renal and heart)</a:t>
            </a:r>
          </a:p>
        </p:txBody>
      </p:sp>
      <p:cxnSp>
        <p:nvCxnSpPr>
          <p:cNvPr id="29" name="Straight Arrow Connector 28">
            <a:extLst>
              <a:ext uri="{FF2B5EF4-FFF2-40B4-BE49-F238E27FC236}">
                <a16:creationId xmlns:a16="http://schemas.microsoft.com/office/drawing/2014/main" id="{26053EB1-7D99-49F3-A06D-7BA4BC142660}"/>
              </a:ext>
            </a:extLst>
          </p:cNvPr>
          <p:cNvCxnSpPr>
            <a:cxnSpLocks/>
            <a:stCxn id="28" idx="1"/>
          </p:cNvCxnSpPr>
          <p:nvPr/>
        </p:nvCxnSpPr>
        <p:spPr>
          <a:xfrm flipH="1" flipV="1">
            <a:off x="5211482" y="3012375"/>
            <a:ext cx="1180816" cy="11574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A8CC920-0F19-4BF5-9E52-A06940C52ABC}"/>
              </a:ext>
            </a:extLst>
          </p:cNvPr>
          <p:cNvCxnSpPr>
            <a:cxnSpLocks/>
            <a:stCxn id="28" idx="1"/>
          </p:cNvCxnSpPr>
          <p:nvPr/>
        </p:nvCxnSpPr>
        <p:spPr>
          <a:xfrm flipH="1" flipV="1">
            <a:off x="2205432" y="2886417"/>
            <a:ext cx="4186866" cy="12834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348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180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9650" y="703263"/>
            <a:ext cx="4684713" cy="2635250"/>
          </a:xfrm>
        </p:spPr>
      </p:sp>
      <p:sp>
        <p:nvSpPr>
          <p:cNvPr id="3" name="Notes Placeholder 2"/>
          <p:cNvSpPr>
            <a:spLocks noGrp="1"/>
          </p:cNvSpPr>
          <p:nvPr>
            <p:ph type="body" idx="1"/>
          </p:nvPr>
        </p:nvSpPr>
        <p:spPr/>
        <p:txBody>
          <a:bodyPr/>
          <a:lstStyle/>
          <a:p>
            <a:endParaRPr lang="en-US" b="0"/>
          </a:p>
        </p:txBody>
      </p:sp>
    </p:spTree>
    <p:extLst>
      <p:ext uri="{BB962C8B-B14F-4D97-AF65-F5344CB8AC3E}">
        <p14:creationId xmlns:p14="http://schemas.microsoft.com/office/powerpoint/2010/main" val="1188285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F41519E5-2A02-4168-A252-05313FDABFEA}"/>
              </a:ext>
            </a:extLst>
          </p:cNvPr>
          <p:cNvSpPr/>
          <p:nvPr/>
        </p:nvSpPr>
        <p:spPr>
          <a:xfrm>
            <a:off x="6172200" y="1147327"/>
            <a:ext cx="2916324" cy="4108817"/>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Armstrong JACC Heart Fail 2018 - VICTORIA.pd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4 Fig 1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no run in peri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4/col2/ par 2/ lines 1-8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chronic HF, NYHA II-IV, receiving SO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Armstrong PW-2020-N </a:t>
            </a:r>
            <a:r>
              <a:rPr kumimoji="0" lang="en-US" sz="900" b="1" i="0" u="none" strike="noStrike" kern="1200" cap="none" spc="0" normalizeH="0" baseline="0" noProof="0" err="1">
                <a:ln>
                  <a:noFill/>
                </a:ln>
                <a:solidFill>
                  <a:srgbClr val="000000"/>
                </a:solidFill>
                <a:effectLst/>
                <a:uLnTx/>
                <a:uFillTx/>
                <a:latin typeface="Lato" panose="020F0502020204030203" pitchFamily="34" charset="0"/>
                <a:ea typeface="+mn-ea"/>
                <a:cs typeface="+mn-cs"/>
              </a:rPr>
              <a:t>Engl</a:t>
            </a: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 J Med-v382p1883.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2 B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reduced EF and chronic HF with recent decompensated H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2A, 5A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worsening HR event bullets; inpatient or outpati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2D</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 (NYHA II-IV, LVEF &lt;45%, Elevated natriuretic peptid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Armstrong PW-2020- N </a:t>
            </a:r>
            <a:r>
              <a:rPr kumimoji="0" lang="en-US" sz="900" b="1" i="0" u="none" strike="noStrike" kern="1200" cap="none" spc="0" normalizeH="0" baseline="0" noProof="0" err="1">
                <a:ln>
                  <a:noFill/>
                </a:ln>
                <a:solidFill>
                  <a:srgbClr val="000000"/>
                </a:solidFill>
                <a:effectLst/>
                <a:uLnTx/>
                <a:uFillTx/>
                <a:latin typeface="Lato" panose="020F0502020204030203" pitchFamily="34" charset="0"/>
                <a:ea typeface="+mn-ea"/>
                <a:cs typeface="+mn-cs"/>
              </a:rPr>
              <a:t>Engl</a:t>
            </a: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 J Med-v382p1883 (Suppl).pd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19A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clinical st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39 A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SOC treat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HicksKA-2015-Circulation-v132-p302.pd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28/ Appendix 7/ HF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34/ Appendix 8/ Initiation or Intensification of HF Treatment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HF defin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EMA. CPMP_EWP_235_95_Rev2.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6/ 4.1.2. Worsening of heart failure </a:t>
            </a:r>
            <a:r>
              <a:rPr kumimoji="0" lang="en-US" sz="900" b="0" i="1" u="none" strike="noStrike" kern="1200" cap="none" spc="0" normalizeH="0" baseline="0" noProof="0">
                <a:ln>
                  <a:noFill/>
                </a:ln>
                <a:solidFill>
                  <a:srgbClr val="000000"/>
                </a:solidFill>
                <a:effectLst/>
                <a:uLnTx/>
                <a:uFillTx/>
                <a:latin typeface="Lato" panose="020F0502020204030203" pitchFamily="34" charset="0"/>
                <a:ea typeface="+mn-ea"/>
                <a:cs typeface="+mn-cs"/>
              </a:rPr>
              <a:t>(inpatient/outpati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Lam_CS_JAMA_Cardiology_2020.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2A</a:t>
            </a:r>
          </a:p>
        </p:txBody>
      </p:sp>
    </p:spTree>
    <p:extLst>
      <p:ext uri="{BB962C8B-B14F-4D97-AF65-F5344CB8AC3E}">
        <p14:creationId xmlns:p14="http://schemas.microsoft.com/office/powerpoint/2010/main" val="3231955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BACC71-B6ED-48C2-8724-03746D49A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3212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tes</a:t>
            </a:r>
          </a:p>
          <a:p>
            <a:r>
              <a:rPr lang="en-GB" b="0" u="none"/>
              <a:t>Notes.</a:t>
            </a:r>
          </a:p>
          <a:p>
            <a:pPr marL="171450" indent="-171450">
              <a:buFont typeface="Arial" panose="020B0604020202020204" pitchFamily="34" charset="0"/>
              <a:buChar char="•"/>
            </a:pPr>
            <a:r>
              <a:rPr lang="en-GB" b="0" u="none"/>
              <a:t>Level 1</a:t>
            </a:r>
          </a:p>
          <a:p>
            <a:pPr marL="342900" lvl="1" indent="-171450">
              <a:buFont typeface="Arial" panose="020B0604020202020204" pitchFamily="34" charset="0"/>
              <a:buChar char="•"/>
            </a:pPr>
            <a:r>
              <a:rPr lang="en-GB"/>
              <a:t>Level 2</a:t>
            </a:r>
          </a:p>
          <a:p>
            <a:pPr marL="171450" indent="-171450">
              <a:buFont typeface="Arial" panose="020B0604020202020204" pitchFamily="34" charset="0"/>
              <a:buChar char="•"/>
            </a:pPr>
            <a:endParaRPr lang="en-GB"/>
          </a:p>
          <a:p>
            <a:r>
              <a:rPr lang="en-GB"/>
              <a:t>Abbreviations</a:t>
            </a:r>
          </a:p>
          <a:p>
            <a:r>
              <a:rPr lang="en-GB" b="0" u="none"/>
              <a:t>Please only include abbreviations that appear on the notes section here, unless otherwise specified.</a:t>
            </a:r>
          </a:p>
          <a:p>
            <a:endParaRPr lang="en-GB"/>
          </a:p>
          <a:p>
            <a:r>
              <a:rPr lang="en-GB"/>
              <a:t>References</a:t>
            </a:r>
          </a:p>
          <a:p>
            <a:r>
              <a:rPr lang="en-GB" u="none"/>
              <a:t>1. </a:t>
            </a:r>
            <a:r>
              <a:rPr lang="en-GB" b="0" u="none"/>
              <a:t>Reference 1. Full stop after each reference.</a:t>
            </a:r>
          </a:p>
          <a:p>
            <a:r>
              <a:rPr lang="en-GB" u="none"/>
              <a:t>2. </a:t>
            </a:r>
            <a:r>
              <a:rPr lang="en-GB" b="0" u="none"/>
              <a:t>Reference 2. Bold the numbers individually instead of using an automatic numbered list.</a:t>
            </a:r>
            <a:endParaRPr lang="en-US" b="0" u="non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17F4C95-56F2-4055-9461-FE14478BE17A}"/>
              </a:ext>
            </a:extLst>
          </p:cNvPr>
          <p:cNvSpPr/>
          <p:nvPr/>
        </p:nvSpPr>
        <p:spPr>
          <a:xfrm>
            <a:off x="6172200" y="1143000"/>
            <a:ext cx="3996444" cy="1061829"/>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Lato" panose="020F0502020204030203" pitchFamily="34" charset="0"/>
                <a:ea typeface="+mn-ea"/>
                <a:cs typeface="+mn-cs"/>
              </a:rPr>
              <a:t>Figure and number at ris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Lato" panose="020F0502020204030203" pitchFamily="34" charset="0"/>
                <a:ea typeface="+mn-ea"/>
                <a:cs typeface="+mn-cs"/>
              </a:rPr>
              <a:t>Armstrong PW-2020-N </a:t>
            </a:r>
            <a:r>
              <a:rPr kumimoji="0" lang="en-US" sz="1050" b="1" i="0" u="none" strike="noStrike" kern="1200" cap="none" spc="0" normalizeH="0" baseline="0" noProof="0" err="1">
                <a:ln>
                  <a:noFill/>
                </a:ln>
                <a:solidFill>
                  <a:srgbClr val="000000"/>
                </a:solidFill>
                <a:effectLst/>
                <a:uLnTx/>
                <a:uFillTx/>
                <a:latin typeface="Lato" panose="020F0502020204030203" pitchFamily="34" charset="0"/>
                <a:ea typeface="+mn-ea"/>
                <a:cs typeface="+mn-cs"/>
              </a:rPr>
              <a:t>Engl</a:t>
            </a:r>
            <a:r>
              <a:rPr kumimoji="0" lang="en-US" sz="1050" b="1" i="0" u="none" strike="noStrike" kern="1200" cap="none" spc="0" normalizeH="0" baseline="0" noProof="0">
                <a:ln>
                  <a:noFill/>
                </a:ln>
                <a:solidFill>
                  <a:srgbClr val="000000"/>
                </a:solidFill>
                <a:effectLst/>
                <a:uLnTx/>
                <a:uFillTx/>
                <a:latin typeface="Lato" panose="020F0502020204030203" pitchFamily="34" charset="0"/>
                <a:ea typeface="+mn-ea"/>
                <a:cs typeface="+mn-cs"/>
              </a:rPr>
              <a:t> J Med-v382p1883</a:t>
            </a:r>
            <a:r>
              <a:rPr kumimoji="0" lang="en-US" sz="1050" b="0" i="0" u="none" strike="noStrike" kern="1200" cap="none" spc="0" normalizeH="0" baseline="0" noProof="0">
                <a:ln>
                  <a:noFill/>
                </a:ln>
                <a:solidFill>
                  <a:srgbClr val="000000"/>
                </a:solidFill>
                <a:effectLst/>
                <a:uLnTx/>
                <a:uFillTx/>
                <a:latin typeface="Lato" panose="020F0502020204030203" pitchFamily="34" charset="0"/>
                <a:ea typeface="+mn-ea"/>
                <a:cs typeface="+mn-cs"/>
              </a:rPr>
              <a:t>/p6/Figure 2A “Primary outcome” inset pan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Lato" panose="020F0502020204030203" pitchFamily="34" charset="0"/>
                <a:ea typeface="+mn-ea"/>
                <a:cs typeface="+mn-cs"/>
              </a:rPr>
              <a:t>Event rate, HR, : p7/Tabl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Lato" panose="020F0502020204030203" pitchFamily="34" charset="0"/>
                <a:ea typeface="+mn-ea"/>
                <a:cs typeface="+mn-cs"/>
              </a:rPr>
              <a:t>ARR: p9/c1/Discussion/para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Lato" panose="020F0502020204030203" pitchFamily="34" charset="0"/>
                <a:ea typeface="+mn-ea"/>
                <a:cs typeface="+mn-cs"/>
              </a:rPr>
              <a:t>Annual NNT: p9/c1/Discussion/para1</a:t>
            </a:r>
          </a:p>
        </p:txBody>
      </p:sp>
    </p:spTree>
    <p:extLst>
      <p:ext uri="{BB962C8B-B14F-4D97-AF65-F5344CB8AC3E}">
        <p14:creationId xmlns:p14="http://schemas.microsoft.com/office/powerpoint/2010/main" val="18047251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71378" y="3709674"/>
            <a:ext cx="4756723" cy="4903833"/>
          </a:xfrm>
        </p:spPr>
        <p:txBody>
          <a:bodyPr/>
          <a:lstStyle/>
          <a:p>
            <a:pPr defTabSz="937443">
              <a:spcBef>
                <a:spcPts val="308"/>
              </a:spcBef>
              <a:defRPr/>
            </a:pPr>
            <a:endParaRPr lang="en-US">
              <a:latin typeface="Arial Narrow" panose="020B0606020202030204" pitchFamily="34" charset="0"/>
            </a:endParaRPr>
          </a:p>
        </p:txBody>
      </p:sp>
      <p:sp>
        <p:nvSpPr>
          <p:cNvPr id="5" name="Slide Number Placeholder 4"/>
          <p:cNvSpPr>
            <a:spLocks noGrp="1"/>
          </p:cNvSpPr>
          <p:nvPr>
            <p:ph type="sldNum" sz="quarter" idx="5"/>
          </p:nvPr>
        </p:nvSpPr>
        <p:spPr/>
        <p:txBody>
          <a:bodyPr/>
          <a:lstStyle/>
          <a:p>
            <a:pPr marL="0" marR="0" lvl="0" indent="0" algn="r" defTabSz="937419"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7419"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83874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715963"/>
            <a:ext cx="4767262" cy="2682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7443"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a:ln>
                  <a:noFill/>
                </a:ln>
                <a:solidFill>
                  <a:prstClr val="black"/>
                </a:solidFill>
                <a:effectLst/>
                <a:uLnTx/>
                <a:uFillTx/>
                <a:latin typeface="Arial"/>
                <a:ea typeface="+mn-ea"/>
                <a:cs typeface="+mn-cs"/>
              </a:rPr>
              <a:pPr marL="0" marR="0" lvl="0" indent="0" algn="r" defTabSz="93744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37363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Here, we present an overview of the safety outcomes from VICTORIA. These data show that vericiguat demonstrated a similar safety profile compared with placebo when vericiguat was added to GDMT, with no significant difference in the AEs of special interest (symptomatic hypotension and syncope). The majority of patients in the VICTORIA trial tolerated vericiguat as evidenced by them achieving the 10 mg target dose.</a:t>
            </a:r>
            <a:r>
              <a:rPr lang="en-US" sz="1000" baseline="30000" dirty="0">
                <a:solidFill>
                  <a:schemeClr val="tx1"/>
                </a:solidFill>
                <a:latin typeface="Arial" panose="020B0604020202020204" pitchFamily="34" charset="0"/>
                <a:cs typeface="Arial" panose="020B0604020202020204" pitchFamily="34" charset="0"/>
              </a:rPr>
              <a:t>1</a:t>
            </a:r>
            <a:r>
              <a:rPr lang="en-US" sz="1000" dirty="0">
                <a:solidFill>
                  <a:schemeClr val="tx1"/>
                </a:solidFill>
                <a:latin typeface="Arial" panose="020B0604020202020204" pitchFamily="34" charset="0"/>
                <a:cs typeface="Arial" panose="020B0604020202020204" pitchFamily="34" charset="0"/>
              </a:rPr>
              <a:t>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r>
              <a:rPr lang="en-US" sz="1000" b="1" dirty="0">
                <a:solidFill>
                  <a:schemeClr val="tx1"/>
                </a:solidFill>
                <a:latin typeface="Arial" panose="020B0604020202020204" pitchFamily="34" charset="0"/>
                <a:cs typeface="Arial" panose="020B0604020202020204" pitchFamily="34" charset="0"/>
              </a:rPr>
              <a:t>Questions to explore</a:t>
            </a:r>
          </a:p>
          <a:p>
            <a:pPr marL="181240" marR="0" lvl="0" indent="-18124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lang="en-US" sz="1000" dirty="0">
                <a:solidFill>
                  <a:schemeClr val="tx1"/>
                </a:solidFill>
                <a:latin typeface="Arial" panose="020B0604020202020204" pitchFamily="34" charset="0"/>
                <a:cs typeface="Arial" panose="020B0604020202020204" pitchFamily="34" charset="0"/>
              </a:rPr>
              <a:t>What AE would you be most concerned about for Betty?</a:t>
            </a:r>
          </a:p>
          <a:p>
            <a:pPr marL="181240" marR="0" lvl="0" indent="-18124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lang="en-US" sz="1000" dirty="0">
                <a:solidFill>
                  <a:schemeClr val="tx1"/>
                </a:solidFill>
                <a:latin typeface="Arial" panose="020B0604020202020204" pitchFamily="34" charset="0"/>
                <a:cs typeface="Arial" panose="020B0604020202020204" pitchFamily="34" charset="0"/>
              </a:rPr>
              <a:t>What are your thoughts on the symptomatic hypotension data in VICTORIA?</a:t>
            </a:r>
          </a:p>
          <a:p>
            <a:pPr marL="181240" marR="0" lvl="0" indent="-18124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lang="en-US" sz="1000" dirty="0">
                <a:solidFill>
                  <a:schemeClr val="tx1"/>
                </a:solidFill>
                <a:latin typeface="Arial" panose="020B0604020202020204" pitchFamily="34" charset="0"/>
                <a:cs typeface="Arial" panose="020B0604020202020204" pitchFamily="34" charset="0"/>
              </a:rPr>
              <a:t>Do these data reassure you about use of vericiguat in patients like Betty?</a:t>
            </a:r>
          </a:p>
          <a:p>
            <a:pPr marL="181240" marR="0" lvl="0" indent="-18124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endParaRPr lang="en-GB" sz="1000" dirty="0">
              <a:solidFill>
                <a:schemeClr val="tx1"/>
              </a:solidFill>
              <a:latin typeface="Arial" panose="020B0604020202020204" pitchFamily="34" charset="0"/>
              <a:cs typeface="Arial" panose="020B0604020202020204" pitchFamily="34" charset="0"/>
            </a:endParaRPr>
          </a:p>
          <a:p>
            <a:pPr defTabSz="966612">
              <a:defRPr/>
            </a:pPr>
            <a:r>
              <a:rPr lang="en-US" sz="1000" b="1" dirty="0">
                <a:solidFill>
                  <a:schemeClr val="tx1"/>
                </a:solidFill>
                <a:latin typeface="Arial" panose="020B0604020202020204" pitchFamily="34" charset="0"/>
                <a:cs typeface="Arial" panose="020B0604020202020204" pitchFamily="34" charset="0"/>
              </a:rPr>
              <a:t>Bridge to next slide</a:t>
            </a:r>
          </a:p>
          <a:p>
            <a:pPr marL="181240" indent="-181240" defTabSz="966612">
              <a:buFont typeface="Arial" panose="020B0604020202020204" pitchFamily="34" charset="0"/>
              <a:buChar char="•"/>
              <a:defRPr/>
            </a:pPr>
            <a:r>
              <a:rPr lang="en-GB" dirty="0">
                <a:latin typeface="Arial" panose="020B0604020202020204" pitchFamily="34" charset="0"/>
                <a:cs typeface="Arial" panose="020B0604020202020204" pitchFamily="34" charset="0"/>
              </a:rPr>
              <a:t>Let us explore changes in blood pressure between the treatment arms in VICTORIA</a:t>
            </a:r>
          </a:p>
          <a:p>
            <a:pPr defTabSz="966612">
              <a:defRPr/>
            </a:pPr>
            <a:endParaRPr lang="en-GB" sz="1000" dirty="0">
              <a:solidFill>
                <a:schemeClr val="tx1"/>
              </a:solidFill>
              <a:latin typeface="Arial" panose="020B0604020202020204" pitchFamily="34" charset="0"/>
              <a:cs typeface="Arial" panose="020B0604020202020204" pitchFamily="34" charset="0"/>
            </a:endParaRPr>
          </a:p>
          <a:p>
            <a:pPr defTabSz="966612">
              <a:defRPr/>
            </a:pPr>
            <a:r>
              <a:rPr lang="en-GB" sz="1000" b="1" dirty="0">
                <a:solidFill>
                  <a:schemeClr val="tx1"/>
                </a:solidFill>
                <a:latin typeface="Arial" panose="020B0604020202020204" pitchFamily="34" charset="0"/>
                <a:cs typeface="Arial" panose="020B0604020202020204" pitchFamily="34" charset="0"/>
              </a:rPr>
              <a:t>Details</a:t>
            </a:r>
          </a:p>
          <a:p>
            <a:pPr marL="171450" indent="-171450" defTabSz="966612">
              <a:buFont typeface="Arial" panose="020B0604020202020204" pitchFamily="34" charset="0"/>
              <a:buChar char="•"/>
              <a:defRPr/>
            </a:pPr>
            <a:r>
              <a:rPr lang="en-GB" sz="1000" dirty="0">
                <a:solidFill>
                  <a:schemeClr val="tx1"/>
                </a:solidFill>
                <a:latin typeface="Arial" panose="020B0604020202020204" pitchFamily="34" charset="0"/>
                <a:cs typeface="Arial" panose="020B0604020202020204" pitchFamily="34" charset="0"/>
              </a:rPr>
              <a:t>In VICTORIA, vericiguat was shown to be well tolerated with an acceptable safety profile in a high-risk patient population</a:t>
            </a:r>
            <a:r>
              <a:rPr lang="en-GB" sz="1000" baseline="30000" dirty="0">
                <a:solidFill>
                  <a:schemeClr val="tx1"/>
                </a:solidFill>
                <a:latin typeface="Arial" panose="020B0604020202020204" pitchFamily="34" charset="0"/>
                <a:cs typeface="Arial" panose="020B0604020202020204" pitchFamily="34" charset="0"/>
              </a:rPr>
              <a:t>1,2</a:t>
            </a:r>
          </a:p>
          <a:p>
            <a:pPr defTabSz="966612">
              <a:defRPr/>
            </a:pPr>
            <a:endParaRPr lang="en-US" dirty="0">
              <a:latin typeface="Arial" panose="020B0604020202020204" pitchFamily="34" charset="0"/>
              <a:cs typeface="Arial" panose="020B0604020202020204" pitchFamily="34" charset="0"/>
            </a:endParaRPr>
          </a:p>
          <a:p>
            <a:pPr defTabSz="966612">
              <a:defRPr/>
            </a:pPr>
            <a:r>
              <a:rPr lang="da-DK" b="1" dirty="0">
                <a:solidFill>
                  <a:srgbClr val="000000"/>
                </a:solidFill>
                <a:ea typeface="MS PGothic" charset="0"/>
              </a:rPr>
              <a:t>Abbreviations</a:t>
            </a:r>
          </a:p>
          <a:p>
            <a:pPr defTabSz="966612">
              <a:defRPr/>
            </a:pPr>
            <a:r>
              <a:rPr lang="en-GB" dirty="0">
                <a:solidFill>
                  <a:srgbClr val="000000"/>
                </a:solidFill>
                <a:ea typeface="MS PGothic" charset="0"/>
              </a:rPr>
              <a:t>AE, adverse event; GDMT, guideline-directed medical therapy.</a:t>
            </a:r>
            <a:endParaRPr lang="en-GB" dirty="0"/>
          </a:p>
          <a:p>
            <a:pPr defTabSz="966612">
              <a:defRPr/>
            </a:pPr>
            <a:endParaRPr lang="en-GB" sz="1000" dirty="0">
              <a:solidFill>
                <a:schemeClr val="tx1"/>
              </a:solidFill>
              <a:latin typeface="Arial" panose="020B0604020202020204" pitchFamily="34" charset="0"/>
              <a:cs typeface="Arial" panose="020B0604020202020204" pitchFamily="34" charset="0"/>
            </a:endParaRPr>
          </a:p>
          <a:p>
            <a:pPr defTabSz="966612">
              <a:defRPr/>
            </a:pPr>
            <a:r>
              <a:rPr lang="en-US" sz="1000" b="1" dirty="0">
                <a:solidFill>
                  <a:schemeClr val="tx1"/>
                </a:solidFill>
                <a:latin typeface="Arial" panose="020B0604020202020204" pitchFamily="34" charset="0"/>
                <a:cs typeface="Arial" panose="020B0604020202020204" pitchFamily="34" charset="0"/>
              </a:rPr>
              <a:t>References</a:t>
            </a:r>
          </a:p>
          <a:p>
            <a:pPr marL="0" indent="0" defTabSz="966612">
              <a:buNone/>
              <a:defRPr/>
            </a:pPr>
            <a:r>
              <a:rPr kumimoji="0" lang="da-DK" sz="1000" b="1" i="0" u="none" strike="noStrike" kern="1200" cap="none" spc="0" normalizeH="0" baseline="0" noProof="0" dirty="0">
                <a:ln>
                  <a:noFill/>
                </a:ln>
                <a:solidFill>
                  <a:srgbClr val="000000"/>
                </a:solidFill>
                <a:effectLst/>
                <a:uLnTx/>
                <a:uFillTx/>
                <a:latin typeface="+mn-lt"/>
                <a:ea typeface="MS PGothic" charset="0"/>
                <a:cs typeface="+mn-cs"/>
              </a:rPr>
              <a:t>1. </a:t>
            </a:r>
            <a:r>
              <a:rPr kumimoji="0" lang="da-DK" sz="1000" b="0" i="0" u="none" strike="noStrike" kern="1200" cap="none" spc="0" normalizeH="0" baseline="0" noProof="0" dirty="0">
                <a:ln>
                  <a:noFill/>
                </a:ln>
                <a:solidFill>
                  <a:srgbClr val="000000"/>
                </a:solidFill>
                <a:effectLst/>
                <a:uLnTx/>
                <a:uFillTx/>
                <a:latin typeface="+mn-lt"/>
                <a:ea typeface="MS PGothic" charset="0"/>
                <a:cs typeface="+mn-cs"/>
              </a:rPr>
              <a:t>Armstrong PW </a:t>
            </a:r>
            <a:r>
              <a:rPr kumimoji="0" lang="da-DK" sz="1000" b="0" i="1" u="none" strike="noStrike" kern="1200" cap="none" spc="0" normalizeH="0" baseline="0" noProof="0" dirty="0">
                <a:ln>
                  <a:noFill/>
                </a:ln>
                <a:solidFill>
                  <a:srgbClr val="000000"/>
                </a:solidFill>
                <a:effectLst/>
                <a:uLnTx/>
                <a:uFillTx/>
                <a:latin typeface="+mn-lt"/>
                <a:ea typeface="MS PGothic" charset="0"/>
                <a:cs typeface="+mn-cs"/>
              </a:rPr>
              <a:t>et al. N Engl J Med</a:t>
            </a:r>
            <a:r>
              <a:rPr kumimoji="0" lang="da-DK" sz="1000" b="0" i="0" u="none" strike="noStrike" kern="1200" cap="none" spc="0" normalizeH="0" baseline="0" noProof="0" dirty="0">
                <a:ln>
                  <a:noFill/>
                </a:ln>
                <a:solidFill>
                  <a:srgbClr val="000000"/>
                </a:solidFill>
                <a:effectLst/>
                <a:uLnTx/>
                <a:uFillTx/>
                <a:latin typeface="+mn-lt"/>
                <a:ea typeface="MS PGothic" charset="0"/>
                <a:cs typeface="+mn-cs"/>
              </a:rPr>
              <a:t> 2020;382:1883–1893.</a:t>
            </a:r>
          </a:p>
          <a:p>
            <a:pPr marL="0" indent="0" defTabSz="966612">
              <a:buNone/>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2. </a:t>
            </a:r>
            <a:r>
              <a:rPr kumimoji="0" lang="da-DK" sz="1000" b="0" i="0" u="none" strike="noStrike" kern="1200" cap="none" spc="0" normalizeH="0" baseline="0" noProof="0" dirty="0">
                <a:ln>
                  <a:noFill/>
                </a:ln>
                <a:solidFill>
                  <a:srgbClr val="000000"/>
                </a:solidFill>
                <a:effectLst/>
                <a:uLnTx/>
                <a:uFillTx/>
                <a:latin typeface="Arial"/>
                <a:ea typeface="+mn-ea"/>
                <a:cs typeface="+mn-cs"/>
              </a:rPr>
              <a:t>Lam C </a:t>
            </a:r>
            <a:r>
              <a:rPr kumimoji="0" lang="da-DK" sz="1000" b="0" i="1" u="none" strike="noStrike" kern="1200" cap="none" spc="0" normalizeH="0" baseline="0" noProof="0" dirty="0">
                <a:ln>
                  <a:noFill/>
                </a:ln>
                <a:solidFill>
                  <a:srgbClr val="000000"/>
                </a:solidFill>
                <a:effectLst/>
                <a:uLnTx/>
                <a:uFillTx/>
                <a:latin typeface="Arial"/>
                <a:ea typeface="+mn-ea"/>
                <a:cs typeface="+mn-cs"/>
              </a:rPr>
              <a:t>et al. </a:t>
            </a:r>
            <a:r>
              <a:rPr kumimoji="0" lang="en-GB" sz="1000" b="0" i="1" u="none" strike="noStrike" kern="1200" cap="none" spc="0" normalizeH="0" baseline="0" noProof="0" dirty="0">
                <a:ln>
                  <a:noFill/>
                </a:ln>
                <a:solidFill>
                  <a:srgbClr val="000000"/>
                </a:solidFill>
                <a:effectLst/>
                <a:uLnTx/>
                <a:uFillTx/>
                <a:latin typeface="Arial"/>
                <a:ea typeface="+mn-ea"/>
                <a:cs typeface="+mn-cs"/>
              </a:rPr>
              <a:t>J Am Heart Assoc</a:t>
            </a:r>
            <a:r>
              <a:rPr kumimoji="0" lang="en-GB" sz="1000" b="0" i="0" u="none" strike="noStrike" kern="1200" cap="none" spc="0" normalizeH="0" baseline="0" noProof="0" dirty="0">
                <a:ln>
                  <a:noFill/>
                </a:ln>
                <a:solidFill>
                  <a:srgbClr val="000000"/>
                </a:solidFill>
                <a:effectLst/>
                <a:uLnTx/>
                <a:uFillTx/>
                <a:latin typeface="Arial"/>
                <a:ea typeface="+mn-ea"/>
                <a:cs typeface="+mn-cs"/>
              </a:rPr>
              <a:t> 2021;10:e021094.</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754778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084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egnaposto immagine diapositiva 1"/>
          <p:cNvSpPr>
            <a:spLocks noGrp="1" noRot="1" noChangeAspect="1" noTextEdit="1"/>
          </p:cNvSpPr>
          <p:nvPr>
            <p:ph type="sldImg"/>
          </p:nvPr>
        </p:nvSpPr>
        <p:spPr>
          <a:ln/>
        </p:spPr>
      </p:sp>
      <p:sp>
        <p:nvSpPr>
          <p:cNvPr id="209925" name="Segnaposto note 2"/>
          <p:cNvSpPr>
            <a:spLocks noGrp="1"/>
          </p:cNvSpPr>
          <p:nvPr>
            <p:ph type="body" idx="1"/>
          </p:nvPr>
        </p:nvSpPr>
        <p:spPr>
          <a:ln/>
        </p:spPr>
        <p:txBody>
          <a:bodyPr>
            <a:normAutofit/>
          </a:bodyPr>
          <a:lstStyle/>
          <a:p>
            <a:pPr eaLnBrk="1" hangingPunct="1">
              <a:lnSpc>
                <a:spcPct val="120000"/>
              </a:lnSpc>
              <a:defRPr/>
            </a:pPr>
            <a:endParaRPr lang="en-US"/>
          </a:p>
        </p:txBody>
      </p:sp>
      <p:sp>
        <p:nvSpPr>
          <p:cNvPr id="24474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100">
                <a:solidFill>
                  <a:srgbClr val="000000"/>
                </a:solidFill>
                <a:latin typeface="Arial" pitchFamily="34" charset="0"/>
              </a:defRPr>
            </a:lvl1pPr>
            <a:lvl2pPr marL="736771" indent="-283374" eaLnBrk="0" hangingPunct="0">
              <a:spcBef>
                <a:spcPct val="30000"/>
              </a:spcBef>
              <a:defRPr sz="1100">
                <a:solidFill>
                  <a:srgbClr val="000000"/>
                </a:solidFill>
                <a:latin typeface="Arial" pitchFamily="34" charset="0"/>
              </a:defRPr>
            </a:lvl2pPr>
            <a:lvl3pPr marL="1133494" indent="-226699" eaLnBrk="0" hangingPunct="0">
              <a:spcBef>
                <a:spcPct val="30000"/>
              </a:spcBef>
              <a:defRPr sz="1100">
                <a:solidFill>
                  <a:srgbClr val="000000"/>
                </a:solidFill>
                <a:latin typeface="Arial" pitchFamily="34" charset="0"/>
              </a:defRPr>
            </a:lvl3pPr>
            <a:lvl4pPr marL="1586891" indent="-226699" eaLnBrk="0" hangingPunct="0">
              <a:spcBef>
                <a:spcPct val="30000"/>
              </a:spcBef>
              <a:defRPr sz="1100">
                <a:solidFill>
                  <a:srgbClr val="000000"/>
                </a:solidFill>
                <a:latin typeface="Arial" pitchFamily="34" charset="0"/>
              </a:defRPr>
            </a:lvl4pPr>
            <a:lvl5pPr marL="2040289" indent="-226699" eaLnBrk="0" hangingPunct="0">
              <a:spcBef>
                <a:spcPct val="30000"/>
              </a:spcBef>
              <a:defRPr sz="1100">
                <a:solidFill>
                  <a:srgbClr val="000000"/>
                </a:solidFill>
                <a:latin typeface="Arial" pitchFamily="34" charset="0"/>
              </a:defRPr>
            </a:lvl5pPr>
            <a:lvl6pPr marL="2493686" indent="-226699" eaLnBrk="0" fontAlgn="base" hangingPunct="0">
              <a:spcBef>
                <a:spcPct val="30000"/>
              </a:spcBef>
              <a:spcAft>
                <a:spcPct val="0"/>
              </a:spcAft>
              <a:defRPr sz="1100">
                <a:solidFill>
                  <a:srgbClr val="000000"/>
                </a:solidFill>
                <a:latin typeface="Arial" pitchFamily="34" charset="0"/>
              </a:defRPr>
            </a:lvl6pPr>
            <a:lvl7pPr marL="2947083" indent="-226699" eaLnBrk="0" fontAlgn="base" hangingPunct="0">
              <a:spcBef>
                <a:spcPct val="30000"/>
              </a:spcBef>
              <a:spcAft>
                <a:spcPct val="0"/>
              </a:spcAft>
              <a:defRPr sz="1100">
                <a:solidFill>
                  <a:srgbClr val="000000"/>
                </a:solidFill>
                <a:latin typeface="Arial" pitchFamily="34" charset="0"/>
              </a:defRPr>
            </a:lvl7pPr>
            <a:lvl8pPr marL="3400481" indent="-226699" eaLnBrk="0" fontAlgn="base" hangingPunct="0">
              <a:spcBef>
                <a:spcPct val="30000"/>
              </a:spcBef>
              <a:spcAft>
                <a:spcPct val="0"/>
              </a:spcAft>
              <a:defRPr sz="1100">
                <a:solidFill>
                  <a:srgbClr val="000000"/>
                </a:solidFill>
                <a:latin typeface="Arial" pitchFamily="34" charset="0"/>
              </a:defRPr>
            </a:lvl8pPr>
            <a:lvl9pPr marL="3853878" indent="-226699" eaLnBrk="0" fontAlgn="base" hangingPunct="0">
              <a:spcBef>
                <a:spcPct val="30000"/>
              </a:spcBef>
              <a:spcAft>
                <a:spcPct val="0"/>
              </a:spcAft>
              <a:defRPr sz="1100">
                <a:solidFill>
                  <a:srgbClr val="000000"/>
                </a:solidFill>
                <a:latin typeface="Arial" pitchFamily="34" charset="0"/>
              </a:defRPr>
            </a:lvl9pPr>
          </a:lstStyle>
          <a:p>
            <a:pPr marL="0" marR="0" lvl="0" indent="0" algn="r" defTabSz="631347" rtl="0" eaLnBrk="1" fontAlgn="base" latinLnBrk="0" hangingPunct="1">
              <a:lnSpc>
                <a:spcPct val="100000"/>
              </a:lnSpc>
              <a:spcBef>
                <a:spcPct val="0"/>
              </a:spcBef>
              <a:spcAft>
                <a:spcPct val="0"/>
              </a:spcAft>
              <a:buClrTx/>
              <a:buSzTx/>
              <a:buFontTx/>
              <a:buNone/>
              <a:tabLst/>
              <a:defRPr/>
            </a:pPr>
            <a:fld id="{1D971E61-DFEC-4F90-9629-784EDB890FBA}" type="slidenum">
              <a:rPr kumimoji="0" lang="en-GB" sz="1100" b="0" i="0" u="none" strike="noStrike" kern="1200" cap="none" spc="0" normalizeH="0" baseline="0" noProof="0">
                <a:ln>
                  <a:noFill/>
                </a:ln>
                <a:solidFill>
                  <a:prstClr val="black"/>
                </a:solidFill>
                <a:effectLst/>
                <a:uLnTx/>
                <a:uFillTx/>
                <a:latin typeface="Arial" pitchFamily="34" charset="0"/>
                <a:ea typeface="MS PGothic" charset="0"/>
                <a:cs typeface="+mn-cs"/>
              </a:rPr>
              <a:pPr marL="0" marR="0" lvl="0" indent="0" algn="r" defTabSz="631347" rtl="0" eaLnBrk="1" fontAlgn="base" latinLnBrk="0" hangingPunct="1">
                <a:lnSpc>
                  <a:spcPct val="100000"/>
                </a:lnSpc>
                <a:spcBef>
                  <a:spcPct val="0"/>
                </a:spcBef>
                <a:spcAft>
                  <a:spcPct val="0"/>
                </a:spcAft>
                <a:buClrTx/>
                <a:buSzTx/>
                <a:buFontTx/>
                <a:buNone/>
                <a:tabLst/>
                <a:defRPr/>
              </a:pPr>
              <a:t>6</a:t>
            </a:fld>
            <a:endParaRPr kumimoji="0" lang="en-GB" sz="1100" b="0" i="0" u="none" strike="noStrike" kern="1200" cap="none" spc="0" normalizeH="0" baseline="0" noProof="0">
              <a:ln>
                <a:noFill/>
              </a:ln>
              <a:solidFill>
                <a:prstClr val="black"/>
              </a:solidFill>
              <a:effectLst/>
              <a:uLnTx/>
              <a:uFillTx/>
              <a:latin typeface="Arial" pitchFamily="34" charset="0"/>
              <a:ea typeface="MS PGothic" charset="0"/>
              <a:cs typeface="+mn-cs"/>
            </a:endParaRPr>
          </a:p>
        </p:txBody>
      </p:sp>
    </p:spTree>
    <p:extLst>
      <p:ext uri="{BB962C8B-B14F-4D97-AF65-F5344CB8AC3E}">
        <p14:creationId xmlns:p14="http://schemas.microsoft.com/office/powerpoint/2010/main" val="759994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6B0A8652-F122-184F-862D-4DA1C075A47A}" type="slidenum">
              <a:rPr kumimoji="0" lang="en-SG"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26</a:t>
            </a:fld>
            <a:endParaRPr kumimoji="0" lang="en-SG"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
        <p:nvSpPr>
          <p:cNvPr id="11" name="Rectangle 10">
            <a:extLst>
              <a:ext uri="{FF2B5EF4-FFF2-40B4-BE49-F238E27FC236}">
                <a16:creationId xmlns:a16="http://schemas.microsoft.com/office/drawing/2014/main" id="{93C02B06-0212-4B4A-B824-986D1455B1FD}"/>
              </a:ext>
            </a:extLst>
          </p:cNvPr>
          <p:cNvSpPr/>
          <p:nvPr/>
        </p:nvSpPr>
        <p:spPr>
          <a:xfrm>
            <a:off x="6186636" y="1558148"/>
            <a:ext cx="2176926" cy="507831"/>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Lam_2021_JAHA/</a:t>
            </a: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7/Figure1/panels B-G and p8/c2/Discussion/para1/L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12178015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E6BE43-72E8-5744-B2F8-2C2F60E167F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34897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206023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geo mean, p is for difference in curves/slopes between V and P (overall test 0-16-32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A8652-F122-184F-862D-4DA1C075A47A}"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6090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148759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F97AE8A-4633-42D3-89CB-EAEE068971BF}" type="slidenum">
              <a:rPr lang="en-US" noProof="0" smtClean="0"/>
              <a:t>31</a:t>
            </a:fld>
            <a:endParaRPr lang="en-US" noProof="0"/>
          </a:p>
        </p:txBody>
      </p:sp>
      <p:sp>
        <p:nvSpPr>
          <p:cNvPr id="5" name="TextBox 4">
            <a:extLst>
              <a:ext uri="{FF2B5EF4-FFF2-40B4-BE49-F238E27FC236}">
                <a16:creationId xmlns:a16="http://schemas.microsoft.com/office/drawing/2014/main" id="{92CEBB84-21B3-4A3F-A600-AB6B3838FDCE}"/>
              </a:ext>
            </a:extLst>
          </p:cNvPr>
          <p:cNvSpPr txBox="1"/>
          <p:nvPr/>
        </p:nvSpPr>
        <p:spPr>
          <a:xfrm>
            <a:off x="-908052" y="1518848"/>
            <a:ext cx="1649288" cy="1446550"/>
          </a:xfrm>
          <a:prstGeom prst="rect">
            <a:avLst/>
          </a:prstGeom>
          <a:solidFill>
            <a:srgbClr val="92D050"/>
          </a:solidFill>
          <a:ln>
            <a:solidFill>
              <a:schemeClr val="tx1"/>
            </a:solidFill>
          </a:ln>
        </p:spPr>
        <p:txBody>
          <a:bodyPr wrap="square" rtlCol="0">
            <a:spAutoFit/>
          </a:bodyPr>
          <a:lstStyle/>
          <a:p>
            <a:r>
              <a:rPr lang="en-US" sz="800"/>
              <a:t>1/ McMurray-2014-NEJM</a:t>
            </a:r>
          </a:p>
          <a:p>
            <a:r>
              <a:rPr lang="en-US" sz="800"/>
              <a:t>PARADIGM-HF</a:t>
            </a:r>
          </a:p>
          <a:p>
            <a:r>
              <a:rPr lang="en-US" sz="800"/>
              <a:t>P1/conclusions/L2-3</a:t>
            </a:r>
          </a:p>
          <a:p>
            <a:r>
              <a:rPr lang="en-US" sz="800"/>
              <a:t>First HFH or CV death:</a:t>
            </a:r>
          </a:p>
          <a:p>
            <a:r>
              <a:rPr lang="en-US" sz="800"/>
              <a:t>P1/Methods/L4-5</a:t>
            </a:r>
          </a:p>
          <a:p>
            <a:r>
              <a:rPr lang="en-US" sz="800"/>
              <a:t>LVEF &lt;=35%: </a:t>
            </a:r>
          </a:p>
          <a:p>
            <a:r>
              <a:rPr lang="en-US" sz="800"/>
              <a:t>P1/Methods/L2</a:t>
            </a:r>
          </a:p>
          <a:p>
            <a:endParaRPr lang="en-US" sz="800"/>
          </a:p>
          <a:p>
            <a:r>
              <a:rPr lang="en-US" sz="800"/>
              <a:t>RRR and P: p998/Figure2/Panel A HR and P</a:t>
            </a:r>
          </a:p>
          <a:p>
            <a:endParaRPr lang="en-US" sz="800"/>
          </a:p>
        </p:txBody>
      </p:sp>
      <p:sp>
        <p:nvSpPr>
          <p:cNvPr id="6" name="TextBox 5">
            <a:extLst>
              <a:ext uri="{FF2B5EF4-FFF2-40B4-BE49-F238E27FC236}">
                <a16:creationId xmlns:a16="http://schemas.microsoft.com/office/drawing/2014/main" id="{2CBF110B-CBC9-4C89-A532-F86863DEF66B}"/>
              </a:ext>
            </a:extLst>
          </p:cNvPr>
          <p:cNvSpPr txBox="1"/>
          <p:nvPr/>
        </p:nvSpPr>
        <p:spPr>
          <a:xfrm>
            <a:off x="-908052" y="3051123"/>
            <a:ext cx="1649288" cy="1569660"/>
          </a:xfrm>
          <a:prstGeom prst="rect">
            <a:avLst/>
          </a:prstGeom>
          <a:solidFill>
            <a:srgbClr val="92D050"/>
          </a:solidFill>
          <a:ln>
            <a:solidFill>
              <a:schemeClr val="tx1"/>
            </a:solidFill>
          </a:ln>
        </p:spPr>
        <p:txBody>
          <a:bodyPr wrap="square" rtlCol="0">
            <a:spAutoFit/>
          </a:bodyPr>
          <a:lstStyle/>
          <a:p>
            <a:r>
              <a:rPr lang="en-US" sz="800"/>
              <a:t>3/ McMurrayJJV-2019-NEnglJMed-v381-p1995</a:t>
            </a:r>
          </a:p>
          <a:p>
            <a:r>
              <a:rPr lang="en-US" sz="800"/>
              <a:t>DAPA-HF:</a:t>
            </a:r>
          </a:p>
          <a:p>
            <a:r>
              <a:rPr lang="en-US" sz="800"/>
              <a:t>P1995/conclusions/L4</a:t>
            </a:r>
          </a:p>
          <a:p>
            <a:r>
              <a:rPr lang="en-US" sz="800"/>
              <a:t>Primary outcome: </a:t>
            </a:r>
          </a:p>
          <a:p>
            <a:r>
              <a:rPr lang="en-US" sz="800"/>
              <a:t>P1995/methods/L4-6</a:t>
            </a:r>
          </a:p>
          <a:p>
            <a:r>
              <a:rPr lang="en-US" sz="800"/>
              <a:t>LVEF &lt;=40%: </a:t>
            </a:r>
          </a:p>
          <a:p>
            <a:r>
              <a:rPr lang="en-US" sz="800"/>
              <a:t>P1995/methods/L2-3</a:t>
            </a:r>
          </a:p>
          <a:p>
            <a:endParaRPr lang="en-US" sz="800"/>
          </a:p>
          <a:p>
            <a:r>
              <a:rPr lang="en-US" sz="800"/>
              <a:t>RRR value and P = p2002/Table 2/highlighted (1-HR)</a:t>
            </a:r>
          </a:p>
          <a:p>
            <a:endParaRPr lang="en-US" sz="800"/>
          </a:p>
        </p:txBody>
      </p:sp>
      <p:sp>
        <p:nvSpPr>
          <p:cNvPr id="7" name="TextBox 6">
            <a:extLst>
              <a:ext uri="{FF2B5EF4-FFF2-40B4-BE49-F238E27FC236}">
                <a16:creationId xmlns:a16="http://schemas.microsoft.com/office/drawing/2014/main" id="{8DAA757E-9D0A-4FB7-A638-73ED985402A3}"/>
              </a:ext>
            </a:extLst>
          </p:cNvPr>
          <p:cNvSpPr txBox="1"/>
          <p:nvPr/>
        </p:nvSpPr>
        <p:spPr>
          <a:xfrm>
            <a:off x="2456892" y="4266453"/>
            <a:ext cx="1649288" cy="1815882"/>
          </a:xfrm>
          <a:prstGeom prst="rect">
            <a:avLst/>
          </a:prstGeom>
          <a:solidFill>
            <a:srgbClr val="92D050"/>
          </a:solidFill>
          <a:ln>
            <a:solidFill>
              <a:schemeClr val="tx1"/>
            </a:solidFill>
          </a:ln>
        </p:spPr>
        <p:txBody>
          <a:bodyPr wrap="square" rtlCol="0">
            <a:spAutoFit/>
          </a:bodyPr>
          <a:lstStyle/>
          <a:p>
            <a:r>
              <a:rPr lang="en-US" sz="800"/>
              <a:t>4/ Armstrong PW-2020-N </a:t>
            </a:r>
            <a:r>
              <a:rPr lang="en-US" sz="800" err="1"/>
              <a:t>Engl</a:t>
            </a:r>
            <a:r>
              <a:rPr lang="en-US" sz="800"/>
              <a:t> J Med-v382p1883</a:t>
            </a:r>
          </a:p>
          <a:p>
            <a:endParaRPr lang="en-US" sz="800"/>
          </a:p>
          <a:p>
            <a:r>
              <a:rPr lang="en-US" sz="800"/>
              <a:t>VICTORIA: p1/conclusions/L4</a:t>
            </a:r>
          </a:p>
          <a:p>
            <a:r>
              <a:rPr lang="en-US" sz="800"/>
              <a:t>Primary outcome: p1/methods/L4-6</a:t>
            </a:r>
          </a:p>
          <a:p>
            <a:r>
              <a:rPr lang="en-US" sz="800"/>
              <a:t>LVEF &lt;45%: p1/methods/L3</a:t>
            </a:r>
          </a:p>
          <a:p>
            <a:endParaRPr lang="en-US" sz="800"/>
          </a:p>
          <a:p>
            <a:r>
              <a:rPr lang="en-US" sz="800"/>
              <a:t>RRR value: p9/c1/discussion/L10-12</a:t>
            </a:r>
          </a:p>
          <a:p>
            <a:endParaRPr lang="en-US" sz="800"/>
          </a:p>
          <a:p>
            <a:r>
              <a:rPr lang="en-US" sz="800"/>
              <a:t>P value = p7/Table 2/A</a:t>
            </a:r>
          </a:p>
          <a:p>
            <a:endParaRPr lang="en-US" sz="800"/>
          </a:p>
          <a:p>
            <a:endParaRPr lang="en-US" sz="800"/>
          </a:p>
        </p:txBody>
      </p:sp>
      <p:sp>
        <p:nvSpPr>
          <p:cNvPr id="8" name="TextBox 7">
            <a:extLst>
              <a:ext uri="{FF2B5EF4-FFF2-40B4-BE49-F238E27FC236}">
                <a16:creationId xmlns:a16="http://schemas.microsoft.com/office/drawing/2014/main" id="{669ED7A8-95EE-4E32-9122-0B8A4F4D29F0}"/>
              </a:ext>
            </a:extLst>
          </p:cNvPr>
          <p:cNvSpPr txBox="1"/>
          <p:nvPr/>
        </p:nvSpPr>
        <p:spPr>
          <a:xfrm>
            <a:off x="4180754" y="4266453"/>
            <a:ext cx="1649288" cy="1323439"/>
          </a:xfrm>
          <a:prstGeom prst="rect">
            <a:avLst/>
          </a:prstGeom>
          <a:solidFill>
            <a:srgbClr val="92D050"/>
          </a:solidFill>
          <a:ln>
            <a:solidFill>
              <a:schemeClr val="tx1"/>
            </a:solidFill>
          </a:ln>
        </p:spPr>
        <p:txBody>
          <a:bodyPr wrap="square" rtlCol="0">
            <a:spAutoFit/>
          </a:bodyPr>
          <a:lstStyle/>
          <a:p>
            <a:r>
              <a:rPr lang="en-US" sz="800"/>
              <a:t>5/ </a:t>
            </a:r>
            <a:r>
              <a:rPr lang="sv-SE" sz="800"/>
              <a:t>Packer M-2020-N Engl J Med-epub</a:t>
            </a:r>
            <a:endParaRPr lang="en-US" sz="800"/>
          </a:p>
          <a:p>
            <a:endParaRPr lang="en-US" sz="800"/>
          </a:p>
          <a:p>
            <a:r>
              <a:rPr lang="en-US" sz="800"/>
              <a:t>EMPEROR-Reduced:</a:t>
            </a:r>
          </a:p>
          <a:p>
            <a:r>
              <a:rPr lang="en-US" sz="800"/>
              <a:t>P1/Conclusions/L5</a:t>
            </a:r>
          </a:p>
          <a:p>
            <a:r>
              <a:rPr lang="en-US" sz="800"/>
              <a:t>Primary outcome: p3/column 2</a:t>
            </a:r>
          </a:p>
          <a:p>
            <a:r>
              <a:rPr lang="en-US" sz="800"/>
              <a:t>LVEF&lt;=40%: p1/methods/L2</a:t>
            </a:r>
          </a:p>
          <a:p>
            <a:endParaRPr lang="en-US" sz="800"/>
          </a:p>
          <a:p>
            <a:r>
              <a:rPr lang="en-US" sz="800"/>
              <a:t>RRR and p: p6/Table 2/highlighted</a:t>
            </a:r>
          </a:p>
          <a:p>
            <a:endParaRPr lang="en-US" sz="800"/>
          </a:p>
        </p:txBody>
      </p:sp>
      <p:sp>
        <p:nvSpPr>
          <p:cNvPr id="9" name="TextBox 8">
            <a:extLst>
              <a:ext uri="{FF2B5EF4-FFF2-40B4-BE49-F238E27FC236}">
                <a16:creationId xmlns:a16="http://schemas.microsoft.com/office/drawing/2014/main" id="{EF8943F3-396C-48BF-A11C-25BBE1AD888C}"/>
              </a:ext>
            </a:extLst>
          </p:cNvPr>
          <p:cNvSpPr txBox="1"/>
          <p:nvPr/>
        </p:nvSpPr>
        <p:spPr>
          <a:xfrm>
            <a:off x="5949280" y="2352750"/>
            <a:ext cx="1816772" cy="1200329"/>
          </a:xfrm>
          <a:prstGeom prst="rect">
            <a:avLst/>
          </a:prstGeom>
          <a:solidFill>
            <a:srgbClr val="92D050"/>
          </a:solidFill>
          <a:ln>
            <a:solidFill>
              <a:schemeClr val="tx1"/>
            </a:solidFill>
          </a:ln>
        </p:spPr>
        <p:txBody>
          <a:bodyPr wrap="square" rtlCol="0">
            <a:spAutoFit/>
          </a:bodyPr>
          <a:lstStyle/>
          <a:p>
            <a:r>
              <a:rPr lang="en-US" sz="800"/>
              <a:t>6/ Teerlink_2020 NEJM (GALACTIC HF)</a:t>
            </a:r>
          </a:p>
          <a:p>
            <a:endParaRPr lang="en-US" sz="800"/>
          </a:p>
          <a:p>
            <a:r>
              <a:rPr lang="en-US" sz="800"/>
              <a:t>GALACTIC-HF: p1/conclusions/L4</a:t>
            </a:r>
          </a:p>
          <a:p>
            <a:r>
              <a:rPr lang="en-US" sz="800"/>
              <a:t>Primary outcome: p1/methods/L4-6</a:t>
            </a:r>
          </a:p>
          <a:p>
            <a:r>
              <a:rPr lang="en-US" sz="800"/>
              <a:t>LVEF: p1/methods/L2</a:t>
            </a:r>
          </a:p>
          <a:p>
            <a:endParaRPr lang="en-US" sz="800"/>
          </a:p>
          <a:p>
            <a:r>
              <a:rPr lang="en-US" sz="800"/>
              <a:t>RRR and p value: p4/figure 1/</a:t>
            </a:r>
            <a:r>
              <a:rPr lang="en-US" sz="800" err="1"/>
              <a:t>panelA</a:t>
            </a:r>
            <a:r>
              <a:rPr lang="en-US" sz="800"/>
              <a:t> </a:t>
            </a:r>
          </a:p>
          <a:p>
            <a:endParaRPr lang="en-US" sz="800"/>
          </a:p>
          <a:p>
            <a:endParaRPr lang="en-US" sz="800"/>
          </a:p>
        </p:txBody>
      </p:sp>
      <p:sp>
        <p:nvSpPr>
          <p:cNvPr id="10" name="TextBox 9">
            <a:extLst>
              <a:ext uri="{FF2B5EF4-FFF2-40B4-BE49-F238E27FC236}">
                <a16:creationId xmlns:a16="http://schemas.microsoft.com/office/drawing/2014/main" id="{BC2CEDD3-82A1-47CC-B769-6DBB0D0FBA78}"/>
              </a:ext>
            </a:extLst>
          </p:cNvPr>
          <p:cNvSpPr txBox="1"/>
          <p:nvPr/>
        </p:nvSpPr>
        <p:spPr>
          <a:xfrm>
            <a:off x="741236" y="4264510"/>
            <a:ext cx="1649288" cy="707886"/>
          </a:xfrm>
          <a:prstGeom prst="rect">
            <a:avLst/>
          </a:prstGeom>
          <a:solidFill>
            <a:srgbClr val="92D050"/>
          </a:solidFill>
          <a:ln>
            <a:solidFill>
              <a:schemeClr val="tx1"/>
            </a:solidFill>
          </a:ln>
        </p:spPr>
        <p:txBody>
          <a:bodyPr wrap="square" rtlCol="0">
            <a:spAutoFit/>
          </a:bodyPr>
          <a:lstStyle/>
          <a:p>
            <a:r>
              <a:rPr lang="en-US" sz="800"/>
              <a:t>ARR, NNT, RRR and P values for all trials: </a:t>
            </a:r>
          </a:p>
          <a:p>
            <a:r>
              <a:rPr lang="en-US" sz="800"/>
              <a:t>2/Chaudhary A_2021_CJC Open3/p651/Table2/</a:t>
            </a:r>
          </a:p>
          <a:p>
            <a:endParaRPr lang="en-US" sz="800"/>
          </a:p>
        </p:txBody>
      </p:sp>
    </p:spTree>
    <p:extLst>
      <p:ext uri="{BB962C8B-B14F-4D97-AF65-F5344CB8AC3E}">
        <p14:creationId xmlns:p14="http://schemas.microsoft.com/office/powerpoint/2010/main" val="3965088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7857638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460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643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795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89FD6-7D9A-4BA8-9D65-FA9C4784940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Notes Placeholder 10">
            <a:extLst>
              <a:ext uri="{FF2B5EF4-FFF2-40B4-BE49-F238E27FC236}">
                <a16:creationId xmlns:a16="http://schemas.microsoft.com/office/drawing/2014/main" id="{A886ED27-C0E6-4907-9450-CA64C3B7139B}"/>
              </a:ext>
            </a:extLst>
          </p:cNvPr>
          <p:cNvSpPr>
            <a:spLocks noGrp="1"/>
          </p:cNvSpPr>
          <p:nvPr>
            <p:ph type="body" idx="1"/>
          </p:nvPr>
        </p:nvSpPr>
        <p:spPr/>
        <p:txBody>
          <a:bodyPr/>
          <a:lstStyle/>
          <a:p>
            <a:endParaRPr lang="en-US" b="0" u="none"/>
          </a:p>
        </p:txBody>
      </p:sp>
      <p:sp>
        <p:nvSpPr>
          <p:cNvPr id="9" name="Slide Image Placeholder 8">
            <a:extLst>
              <a:ext uri="{FF2B5EF4-FFF2-40B4-BE49-F238E27FC236}">
                <a16:creationId xmlns:a16="http://schemas.microsoft.com/office/drawing/2014/main" id="{C68295B0-FEFC-4533-9E32-B6922307307B}"/>
              </a:ext>
            </a:extLst>
          </p:cNvPr>
          <p:cNvSpPr>
            <a:spLocks noGrp="1" noRot="1" noChangeAspect="1"/>
          </p:cNvSpPr>
          <p:nvPr>
            <p:ph type="sldImg"/>
          </p:nvPr>
        </p:nvSpPr>
        <p:spPr/>
      </p:sp>
      <p:sp>
        <p:nvSpPr>
          <p:cNvPr id="12" name="TextBox 11">
            <a:extLst>
              <a:ext uri="{FF2B5EF4-FFF2-40B4-BE49-F238E27FC236}">
                <a16:creationId xmlns:a16="http://schemas.microsoft.com/office/drawing/2014/main" id="{3AC412E1-FD02-438F-A065-F188DEF1A2C1}"/>
              </a:ext>
            </a:extLst>
          </p:cNvPr>
          <p:cNvSpPr txBox="1"/>
          <p:nvPr/>
        </p:nvSpPr>
        <p:spPr>
          <a:xfrm>
            <a:off x="-5059223" y="1570999"/>
            <a:ext cx="5763965" cy="1869743"/>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panose="020F0502020204030204"/>
                <a:ea typeface="+mn-ea"/>
                <a:cs typeface="+mn-cs"/>
              </a:rPr>
              <a:t>HF is a progressive cond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panose="020F0502020204030204"/>
                <a:ea typeface="+mn-ea"/>
                <a:cs typeface="+mn-cs"/>
              </a:rPr>
              <a:t>Series of worsening HF events characterized by progressive signs and symptoms of HF requiring further interv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Cowie MR-2014-ESC Heart Fail.-v1p110 / page 112 / col 2 / para 1 / L3-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Cowie MR-2014-ESC Heart Fail.-v1p110 / page 110 / abstract / para 2 / L4-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Greene SJ-2018-JAMA Cardiol-v3p252 / page 252 / col 1 / para 1 / L1-4  and 253 / figure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a:t>
            </a:r>
            <a:r>
              <a:rPr kumimoji="0" lang="en-US" sz="1050" b="0" i="0" u="none" strike="noStrike" kern="1200" cap="none" spc="0" normalizeH="0" baseline="0" noProof="0" err="1">
                <a:ln>
                  <a:noFill/>
                </a:ln>
                <a:solidFill>
                  <a:prstClr val="black"/>
                </a:solidFill>
                <a:effectLst/>
                <a:uLnTx/>
                <a:uFillTx/>
                <a:latin typeface="Calibri" panose="020F0502020204030204"/>
                <a:ea typeface="+mn-ea"/>
                <a:cs typeface="+mn-cs"/>
              </a:rPr>
              <a:t>Gheorghiade</a:t>
            </a: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 M-2005-Am J Cardiol-2005-v96p / p13G / Figur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Butler-2019-JACC / page 2 / col 2 / para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panose="020F0502020204030204"/>
                <a:ea typeface="+mn-ea"/>
                <a:cs typeface="+mn-cs"/>
              </a:rPr>
              <a:t>Deteriorating heart fun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Cowie MR-2014-ESC Heart Fail.-v1p110 / page 112 / col 2 / para 1 / L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panose="020F0502020204030204"/>
                <a:ea typeface="+mn-ea"/>
                <a:cs typeface="+mn-cs"/>
              </a:rPr>
              <a:t>S: Butler-2019-JACC / page 2 / col 2 / para 2</a:t>
            </a:r>
          </a:p>
        </p:txBody>
      </p:sp>
      <p:sp>
        <p:nvSpPr>
          <p:cNvPr id="13" name="Rectangle 12">
            <a:extLst>
              <a:ext uri="{FF2B5EF4-FFF2-40B4-BE49-F238E27FC236}">
                <a16:creationId xmlns:a16="http://schemas.microsoft.com/office/drawing/2014/main" id="{A72A6A59-BB58-4081-9791-73103FB8FE92}"/>
              </a:ext>
            </a:extLst>
          </p:cNvPr>
          <p:cNvSpPr/>
          <p:nvPr/>
        </p:nvSpPr>
        <p:spPr>
          <a:xfrm>
            <a:off x="5841268" y="2051720"/>
            <a:ext cx="2988332" cy="775952"/>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mn-cs"/>
              </a:rPr>
              <a:t>Definition for worsening HF ev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S: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Butler-2019-JACC / page 2 / col 2/ para 2 / L2-7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S: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owie-2014-ESCHeartFail page 118 / col 1 / para 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S: Armstrong-2020-NEJM-page 2 / col 2 / para  3 / annotation A</a:t>
            </a:r>
          </a:p>
        </p:txBody>
      </p:sp>
      <p:sp>
        <p:nvSpPr>
          <p:cNvPr id="15" name="Rectangle 14">
            <a:extLst>
              <a:ext uri="{FF2B5EF4-FFF2-40B4-BE49-F238E27FC236}">
                <a16:creationId xmlns:a16="http://schemas.microsoft.com/office/drawing/2014/main" id="{1719C322-4FDD-485C-A54B-EF6DF11AA21C}"/>
              </a:ext>
            </a:extLst>
          </p:cNvPr>
          <p:cNvSpPr/>
          <p:nvPr/>
        </p:nvSpPr>
        <p:spPr>
          <a:xfrm>
            <a:off x="-1971600" y="795923"/>
            <a:ext cx="2675935" cy="695992"/>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Calibri" panose="020F0502020204030204"/>
                <a:ea typeface="+mn-ea"/>
                <a:cs typeface="+mn-cs"/>
              </a:rPr>
              <a:t>S for title:</a:t>
            </a:r>
            <a:br>
              <a:rPr kumimoji="0" lang="en-GB" sz="7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GB" sz="700" b="0" i="0" u="none" strike="noStrike" kern="1200" cap="none" spc="0" normalizeH="0" baseline="0" noProof="0" err="1">
                <a:ln>
                  <a:noFill/>
                </a:ln>
                <a:solidFill>
                  <a:prstClr val="black"/>
                </a:solidFill>
                <a:effectLst/>
                <a:uLnTx/>
                <a:uFillTx/>
                <a:latin typeface="Calibri" panose="020F0502020204030204"/>
                <a:ea typeface="+mn-ea"/>
                <a:cs typeface="+mn-cs"/>
              </a:rPr>
              <a:t>Gheorghiade</a:t>
            </a:r>
            <a:r>
              <a:rPr kumimoji="0" lang="en-GB" sz="700" b="0" i="0" u="none" strike="noStrike" kern="1200" cap="none" spc="0" normalizeH="0" baseline="0" noProof="0">
                <a:ln>
                  <a:noFill/>
                </a:ln>
                <a:solidFill>
                  <a:prstClr val="black"/>
                </a:solidFill>
                <a:effectLst/>
                <a:uLnTx/>
                <a:uFillTx/>
                <a:latin typeface="Calibri" panose="020F0502020204030204"/>
                <a:ea typeface="+mn-ea"/>
                <a:cs typeface="+mn-cs"/>
              </a:rPr>
              <a:t> 2005 p13G fig 2 lege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Calibri" panose="020F0502020204030204"/>
                <a:ea typeface="+mn-ea"/>
                <a:cs typeface="+mn-cs"/>
              </a:rPr>
              <a:t>Cowie 2014 p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 Greene SJ-2018-JAMA Cardiol-v3p252 / page 252 / col 1 / para 1 / L1-4</a:t>
            </a: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1168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Bef>
                <a:spcPts val="300"/>
              </a:spcBef>
              <a:defRPr/>
            </a:pPr>
            <a:r>
              <a:rPr lang="en-US" b="0" i="1" u="none" dirty="0"/>
              <a:t>If the TL asks about the safety data of vericiguat in VICTORIA</a:t>
            </a:r>
            <a:r>
              <a:rPr lang="en-GB" b="0" i="1" u="none" dirty="0"/>
              <a:t>, there are slides on this topic including hypotension and renal impairment in the MDT on Safety and Tolerability.</a:t>
            </a:r>
            <a:endParaRPr lang="en-GB" b="0" u="none" dirty="0">
              <a:cs typeface="Arial" panose="020B0604020202020204" pitchFamily="34" charset="0"/>
            </a:endParaRPr>
          </a:p>
          <a:p>
            <a:endParaRPr lang="en-GB" u="none" dirty="0"/>
          </a:p>
          <a:p>
            <a:r>
              <a:rPr lang="en-GB" u="none" dirty="0"/>
              <a:t>Abbreviations</a:t>
            </a:r>
          </a:p>
          <a:p>
            <a:r>
              <a:rPr lang="en-GB" b="0" u="none" dirty="0"/>
              <a:t>MDT, medical discussion topic; TL, thought leader. </a:t>
            </a:r>
          </a:p>
          <a:p>
            <a:pPr defTabSz="966612">
              <a:defRPr/>
            </a:pPr>
            <a:endParaRPr lang="en-GB" u="non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085780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205441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1565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2729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4297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CF21BB-4570-4AAE-AFF2-E08C795290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2881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89FD6-7D9A-4BA8-9D65-FA9C4784940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Notes Placeholder 10">
            <a:extLst>
              <a:ext uri="{FF2B5EF4-FFF2-40B4-BE49-F238E27FC236}">
                <a16:creationId xmlns:a16="http://schemas.microsoft.com/office/drawing/2014/main" id="{A886ED27-C0E6-4907-9450-CA64C3B7139B}"/>
              </a:ext>
            </a:extLst>
          </p:cNvPr>
          <p:cNvSpPr>
            <a:spLocks noGrp="1"/>
          </p:cNvSpPr>
          <p:nvPr>
            <p:ph type="body" idx="1"/>
          </p:nvPr>
        </p:nvSpPr>
        <p:spPr/>
        <p:txBody>
          <a:bodyPr/>
          <a:lstStyle/>
          <a:p>
            <a:endParaRPr lang="en-US" b="0" u="none" dirty="0"/>
          </a:p>
        </p:txBody>
      </p:sp>
      <p:sp>
        <p:nvSpPr>
          <p:cNvPr id="4" name="Slide Image Placeholder 3">
            <a:extLst>
              <a:ext uri="{FF2B5EF4-FFF2-40B4-BE49-F238E27FC236}">
                <a16:creationId xmlns:a16="http://schemas.microsoft.com/office/drawing/2014/main" id="{90A4AE42-4BE3-45CC-893D-F1E38234A7CE}"/>
              </a:ext>
            </a:extLst>
          </p:cNvPr>
          <p:cNvSpPr>
            <a:spLocks noGrp="1" noRot="1" noChangeAspect="1"/>
          </p:cNvSpPr>
          <p:nvPr>
            <p:ph type="sldImg"/>
          </p:nvPr>
        </p:nvSpPr>
        <p:spPr/>
      </p:sp>
      <p:sp>
        <p:nvSpPr>
          <p:cNvPr id="7" name="Rectangle 6">
            <a:extLst>
              <a:ext uri="{FF2B5EF4-FFF2-40B4-BE49-F238E27FC236}">
                <a16:creationId xmlns:a16="http://schemas.microsoft.com/office/drawing/2014/main" id="{2BDD365A-F11F-4C6F-A820-0D744165ACF3}"/>
              </a:ext>
            </a:extLst>
          </p:cNvPr>
          <p:cNvSpPr/>
          <p:nvPr/>
        </p:nvSpPr>
        <p:spPr>
          <a:xfrm>
            <a:off x="6156379" y="1143000"/>
            <a:ext cx="2484276" cy="577081"/>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Lato" panose="020F0502020204030203" pitchFamily="34" charset="0"/>
                <a:ea typeface="+mn-ea"/>
                <a:cs typeface="+mn-cs"/>
              </a:rPr>
              <a:t>Gheorghiade</a:t>
            </a:r>
            <a:r>
              <a:rPr kumimoji="0" lang="en-US" sz="105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 M-2005-AmJCardiol.2005-v96p11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13G/Figure 2</a:t>
            </a:r>
          </a:p>
        </p:txBody>
      </p:sp>
    </p:spTree>
    <p:extLst>
      <p:ext uri="{BB962C8B-B14F-4D97-AF65-F5344CB8AC3E}">
        <p14:creationId xmlns:p14="http://schemas.microsoft.com/office/powerpoint/2010/main" val="553613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3187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GB" b="0" u="non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138399CD-F07D-43E8-A46F-730ADCC5BCA3}"/>
              </a:ext>
            </a:extLst>
          </p:cNvPr>
          <p:cNvSpPr/>
          <p:nvPr/>
        </p:nvSpPr>
        <p:spPr>
          <a:xfrm>
            <a:off x="6172200" y="1143000"/>
            <a:ext cx="2484276" cy="784830"/>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McDonaghT-2021-EurHeartJ-epub-ESC guidelines/</a:t>
            </a: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59/C2/Table: </a:t>
            </a:r>
            <a:r>
              <a:rPr kumimoji="0" lang="en-US" sz="900" b="0" i="0" u="none" strike="noStrike" kern="1200" cap="none" spc="0" normalizeH="0" baseline="0" noProof="0" dirty="0">
                <a:ln>
                  <a:noFill/>
                </a:ln>
                <a:solidFill>
                  <a:prstClr val="black"/>
                </a:solidFill>
                <a:effectLst/>
                <a:uLnTx/>
                <a:uFillTx/>
                <a:latin typeface="AdvP3E7259"/>
                <a:ea typeface="+mn-ea"/>
                <a:cs typeface="+mn-cs"/>
              </a:rPr>
              <a:t>Recommendations for pre-discharge and early post-dischar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dvP3E7259"/>
                <a:ea typeface="+mn-ea"/>
                <a:cs typeface="+mn-cs"/>
              </a:rPr>
              <a:t>follow-up of patients hospitalized for acute he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dvP3E7259"/>
                <a:ea typeface="+mn-ea"/>
                <a:cs typeface="+mn-cs"/>
              </a:rPr>
              <a:t>failure</a:t>
            </a: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1710602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charset="0"/>
              <a:ea typeface="MS PGothic" charset="0"/>
              <a:cs typeface="+mn-cs"/>
            </a:endParaRPr>
          </a:p>
        </p:txBody>
      </p:sp>
      <p:sp>
        <p:nvSpPr>
          <p:cNvPr id="5" name="Rectangle 4">
            <a:extLst>
              <a:ext uri="{FF2B5EF4-FFF2-40B4-BE49-F238E27FC236}">
                <a16:creationId xmlns:a16="http://schemas.microsoft.com/office/drawing/2014/main" id="{02C5B9F2-09D2-6737-BE49-EE2DAC810B3C}"/>
              </a:ext>
            </a:extLst>
          </p:cNvPr>
          <p:cNvSpPr/>
          <p:nvPr/>
        </p:nvSpPr>
        <p:spPr>
          <a:xfrm>
            <a:off x="-393950" y="1935480"/>
            <a:ext cx="1140710" cy="76409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op half diagram: McDonaghT-2021-EurHeartJ-epub-ESC guidelines; p22 figure 2</a:t>
            </a:r>
            <a:endParaRPr kumimoji="0" lang="en-GB" sz="7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2B50F5C9-104F-EE20-C0BB-67C2AB0F7B0D}"/>
              </a:ext>
            </a:extLst>
          </p:cNvPr>
          <p:cNvSpPr/>
          <p:nvPr/>
        </p:nvSpPr>
        <p:spPr>
          <a:xfrm>
            <a:off x="992890" y="3710940"/>
            <a:ext cx="820670" cy="125939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Orange box above: McDonaghT-2021-EurHeartJ-epub-ESC guidelines; p24, col2, recs, soluble gyanylate cyclase receptor stimulator figure 2</a:t>
            </a:r>
            <a:endParaRPr kumimoji="0" lang="en-GB" sz="7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DB008C5-91AF-CA36-9D49-E05DF76E8D0D}"/>
              </a:ext>
            </a:extLst>
          </p:cNvPr>
          <p:cNvSpPr/>
          <p:nvPr/>
        </p:nvSpPr>
        <p:spPr>
          <a:xfrm>
            <a:off x="4604770" y="3710940"/>
            <a:ext cx="820670" cy="125939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Orange box above: McDonaghT-2021-EurHeartJ-epub-ESC guidelines; p25, col1, recs, digoxin</a:t>
            </a:r>
            <a:endParaRPr kumimoji="0" lang="en-GB" sz="7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1C0C519A-7ACA-F797-B575-439C986C2122}"/>
              </a:ext>
            </a:extLst>
          </p:cNvPr>
          <p:cNvSpPr/>
          <p:nvPr/>
        </p:nvSpPr>
        <p:spPr>
          <a:xfrm>
            <a:off x="3400810" y="3703320"/>
            <a:ext cx="820670" cy="125939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Yellow box above: McDonaghT-2021-EurHeartJ-epub-ESC guidelines; p24, col2, recs, Hydralazine and isosorbide dinitrate</a:t>
            </a:r>
            <a:endParaRPr kumimoji="0" lang="en-GB" sz="7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288B9D9-8970-C2D6-87B5-64199F618916}"/>
              </a:ext>
            </a:extLst>
          </p:cNvPr>
          <p:cNvSpPr/>
          <p:nvPr/>
        </p:nvSpPr>
        <p:spPr>
          <a:xfrm>
            <a:off x="2113030" y="3703320"/>
            <a:ext cx="820670" cy="125939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Yellow box above: McDonaghT-2021-EurHeartJ-epub-ESC guidelines; p24, col2, recs, If-channel inhibitor</a:t>
            </a:r>
            <a:endParaRPr kumimoji="0" lang="en-GB" sz="7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065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6140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3337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u="none" dirty="0">
                <a:latin typeface="Arial" panose="020B0604020202020204" pitchFamily="34" charset="0"/>
                <a:cs typeface="Arial" panose="020B0604020202020204" pitchFamily="34" charset="0"/>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u="none" dirty="0">
                <a:latin typeface="Arial" panose="020B0604020202020204" pitchFamily="34" charset="0"/>
                <a:cs typeface="Arial" panose="020B0604020202020204" pitchFamily="34" charset="0"/>
              </a:rPr>
              <a:t>ACEi, angiotensin-converting enzyme inhibitor; ARNi, angiotensin receptor–neprilysin inhibitor; BB, beta blocker; CCS, Canadian Cardiovascular Society; CHFS, Canadian Heart Failure Society; CI, confidence interval; CV, cardiovascular; HFH, heart failure hospitalization; HFrEF, heart failure with reduced ejection fraction; HR, hazard ratio; MRA, mineralocorticoid receptor antagonist; SGLT2i, sodium–glucose cotransporter 2 inhibitor. </a:t>
            </a:r>
          </a:p>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FE7378-645D-4DAF-8662-278A2C1B28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D0D8C3AD-A1B6-457A-80D4-841AA278B064}"/>
              </a:ext>
            </a:extLst>
          </p:cNvPr>
          <p:cNvSpPr/>
          <p:nvPr/>
        </p:nvSpPr>
        <p:spPr>
          <a:xfrm>
            <a:off x="6255549" y="421062"/>
            <a:ext cx="2245181" cy="1892826"/>
          </a:xfrm>
          <a:prstGeom prst="rect">
            <a:avLst/>
          </a:prstGeom>
          <a:solidFill>
            <a:schemeClr val="accent6"/>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Tromp J-JACC-2022-v10-pp73/</a:t>
            </a: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81/Central illustration 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N=95,444: p76/c1/Results/para1/L3-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HFrEF: p79/c1/Discussion/para1/L1-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Footnote: p76/c1/Results/para1/L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Red bo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Tromp J-JACC-2022-v10-pp73/conclu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Lam and Butler-Circulation-2020</a:t>
            </a:r>
          </a:p>
        </p:txBody>
      </p:sp>
      <p:sp>
        <p:nvSpPr>
          <p:cNvPr id="6" name="Rectangle 5">
            <a:extLst>
              <a:ext uri="{FF2B5EF4-FFF2-40B4-BE49-F238E27FC236}">
                <a16:creationId xmlns:a16="http://schemas.microsoft.com/office/drawing/2014/main" id="{F522D551-52C8-4CD0-8726-1DCF2548E3A5}"/>
              </a:ext>
            </a:extLst>
          </p:cNvPr>
          <p:cNvSpPr/>
          <p:nvPr/>
        </p:nvSpPr>
        <p:spPr>
          <a:xfrm>
            <a:off x="6417332" y="2660311"/>
            <a:ext cx="2245181" cy="784830"/>
          </a:xfrm>
          <a:prstGeom prst="rect">
            <a:avLst/>
          </a:prstGeom>
          <a:solidFill>
            <a:schemeClr val="accent6"/>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McDonald M-2021-CanJCardiol-v37p53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age 533 / col 1 / para 3 (blue highlights)</a:t>
            </a:r>
          </a:p>
        </p:txBody>
      </p:sp>
    </p:spTree>
    <p:extLst>
      <p:ext uri="{BB962C8B-B14F-4D97-AF65-F5344CB8AC3E}">
        <p14:creationId xmlns:p14="http://schemas.microsoft.com/office/powerpoint/2010/main" val="25193913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none" dirty="0">
                <a:latin typeface="Arial" panose="020B0604020202020204" pitchFamily="34" charset="0"/>
                <a:cs typeface="Arial" panose="020B0604020202020204" pitchFamily="34" charset="0"/>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Arial" panose="020B0604020202020204" pitchFamily="34" charset="0"/>
                <a:ea typeface="MS PGothic" charset="0"/>
                <a:cs typeface="Arial" panose="020B0604020202020204" pitchFamily="34" charset="0"/>
              </a:rPr>
              <a:t>ARR, absolute rate reduction; CV, cardiovascular; HF, heart failure; HFH, heart failure hospitalization; </a:t>
            </a:r>
            <a:r>
              <a:rPr kumimoji="0" lang="en-GB" sz="1000" b="0" i="0" u="none" strike="noStrike" kern="1200" cap="none" spc="0" normalizeH="0" baseline="0" noProof="0" dirty="0" err="1">
                <a:ln>
                  <a:noFill/>
                </a:ln>
                <a:effectLst/>
                <a:uLnTx/>
                <a:uFillTx/>
                <a:latin typeface="Arial" panose="020B0604020202020204" pitchFamily="34" charset="0"/>
                <a:ea typeface="MS PGothic" charset="0"/>
                <a:cs typeface="Arial" panose="020B0604020202020204" pitchFamily="34" charset="0"/>
              </a:rPr>
              <a:t>HFrEF</a:t>
            </a:r>
            <a:r>
              <a:rPr kumimoji="0" lang="en-GB" sz="1000" b="0" i="0" u="none" strike="noStrike" kern="1200" cap="none" spc="0" normalizeH="0" baseline="0" noProof="0" dirty="0">
                <a:ln>
                  <a:noFill/>
                </a:ln>
                <a:effectLst/>
                <a:uLnTx/>
                <a:uFillTx/>
                <a:latin typeface="Arial" panose="020B0604020202020204" pitchFamily="34" charset="0"/>
                <a:ea typeface="MS PGothic" charset="0"/>
                <a:cs typeface="Arial" panose="020B0604020202020204" pitchFamily="34" charset="0"/>
              </a:rPr>
              <a:t>, heart failure with reduced ejection fraction; IV, intravenous;</a:t>
            </a:r>
            <a:br>
              <a:rPr kumimoji="0" lang="en-GB" sz="1000" b="0" i="0" u="none" strike="noStrike" kern="1200" cap="none" spc="0" normalizeH="0" baseline="0" noProof="0" dirty="0">
                <a:ln>
                  <a:noFill/>
                </a:ln>
                <a:effectLst/>
                <a:uLnTx/>
                <a:uFillTx/>
                <a:latin typeface="Arial" panose="020B0604020202020204" pitchFamily="34" charset="0"/>
                <a:ea typeface="MS PGothic" charset="0"/>
                <a:cs typeface="Arial" panose="020B0604020202020204" pitchFamily="34" charset="0"/>
              </a:rPr>
            </a:br>
            <a:r>
              <a:rPr kumimoji="0" lang="en-GB" sz="1000" b="0" i="0" u="none" strike="noStrike" kern="1200" cap="none" spc="0" normalizeH="0" baseline="0" noProof="0" dirty="0">
                <a:ln>
                  <a:noFill/>
                </a:ln>
                <a:effectLst/>
                <a:uLnTx/>
                <a:uFillTx/>
                <a:latin typeface="Arial" panose="020B0604020202020204" pitchFamily="34" charset="0"/>
                <a:ea typeface="MS PGothic" charset="0"/>
                <a:cs typeface="Arial" panose="020B0604020202020204" pitchFamily="34" charset="0"/>
              </a:rPr>
              <a:t>LVEF, left ventricular ejection fraction; NNT, number needed to treat; PY, patient years; RRR, relative risk reduction.</a:t>
            </a:r>
          </a:p>
          <a:p>
            <a:endParaRPr lang="en-US" b="0" u="non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0F970BE-7303-42E3-B48D-4D9DD1A64F91}"/>
              </a:ext>
            </a:extLst>
          </p:cNvPr>
          <p:cNvSpPr txBox="1"/>
          <p:nvPr/>
        </p:nvSpPr>
        <p:spPr>
          <a:xfrm>
            <a:off x="-908052" y="1518848"/>
            <a:ext cx="1649288" cy="1446550"/>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 McMurray-2014-NEJ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ARADIGM-H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conclusions/L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First HFH or CV dea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Methods/L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LVEF &lt;=3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Methods/L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RRR and P: p998/Figure2/Panel A HR and 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38E4AC6-4EC0-46D2-84DF-EFCA01C3090A}"/>
              </a:ext>
            </a:extLst>
          </p:cNvPr>
          <p:cNvSpPr txBox="1"/>
          <p:nvPr/>
        </p:nvSpPr>
        <p:spPr>
          <a:xfrm>
            <a:off x="-908052" y="3051123"/>
            <a:ext cx="1649288" cy="1569660"/>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 McMurrayJJV-2019-NEnglJMed-v381-p199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APA-H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995/conclusions/L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imary outco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995/methods/L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LVEF &lt;=4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995/methods/L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RRR value and P = p2002/Table 2/highlighted (1-H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30BFEA1-050C-40F3-AAD2-6E253EC02CB3}"/>
              </a:ext>
            </a:extLst>
          </p:cNvPr>
          <p:cNvSpPr txBox="1"/>
          <p:nvPr/>
        </p:nvSpPr>
        <p:spPr>
          <a:xfrm>
            <a:off x="2456892" y="4266453"/>
            <a:ext cx="1649288" cy="1815882"/>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 Armstrong PW-2020-N </a:t>
            </a: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J Med-v382p188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VICTORIA: p1/conclusions/L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imary outcome: p1/methods/L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LVEF &lt;45%: p1/methods/L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RRR value: p9/c1/discussion/L10-1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 value = p7/Table 2/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07E971F-94E9-4694-810D-9FB699AF9822}"/>
              </a:ext>
            </a:extLst>
          </p:cNvPr>
          <p:cNvSpPr txBox="1"/>
          <p:nvPr/>
        </p:nvSpPr>
        <p:spPr>
          <a:xfrm>
            <a:off x="4180754" y="4266453"/>
            <a:ext cx="1649288" cy="1323439"/>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5/ </a:t>
            </a:r>
            <a:r>
              <a:rPr kumimoji="0" lang="sv-SE" sz="800" b="0" i="0" u="none" strike="noStrike" kern="1200" cap="none" spc="0" normalizeH="0" baseline="0" noProof="0" dirty="0">
                <a:ln>
                  <a:noFill/>
                </a:ln>
                <a:solidFill>
                  <a:prstClr val="black"/>
                </a:solidFill>
                <a:effectLst/>
                <a:uLnTx/>
                <a:uFillTx/>
                <a:latin typeface="Calibri" panose="020F0502020204030204"/>
                <a:ea typeface="+mn-ea"/>
                <a:cs typeface="+mn-cs"/>
              </a:rPr>
              <a:t>Packer M-2020-N Engl J Med-epub</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EMPEROR-Redu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1/Conclusions/L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imary outcome: p3/colum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LVEF&lt;=40%: p1/methods/L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RRR and p: p6/Table 2/highligh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2C40FE3-F9A8-4C0F-8E67-A6494448804D}"/>
              </a:ext>
            </a:extLst>
          </p:cNvPr>
          <p:cNvSpPr txBox="1"/>
          <p:nvPr/>
        </p:nvSpPr>
        <p:spPr>
          <a:xfrm>
            <a:off x="5949280" y="2352750"/>
            <a:ext cx="1816772" cy="1200329"/>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6/ Teerlink_2020 NEJM (GALACTIC H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GALACTIC-HF: p1/conclusions/L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imary outcome: p1/methods/L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LVEF: p1/methods/L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RRR and p value: p4/figure 1/</a:t>
            </a: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panelA</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98F378C-D19B-4FF7-B0BF-ED78C161DA1A}"/>
              </a:ext>
            </a:extLst>
          </p:cNvPr>
          <p:cNvSpPr txBox="1"/>
          <p:nvPr/>
        </p:nvSpPr>
        <p:spPr>
          <a:xfrm>
            <a:off x="465446" y="4754880"/>
            <a:ext cx="1649288" cy="707886"/>
          </a:xfrm>
          <a:prstGeom prst="rect">
            <a:avLst/>
          </a:prstGeom>
          <a:solidFill>
            <a:srgbClr val="92D050"/>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RR, NNT, RRR and P values for all tri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Chaudhary A_2021_CJC Open3/p651/Table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9217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357A3-36B6-4AF9-90F5-96F5957CF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393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2267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56592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864CE0D-AAD4-4986-9A35-6089F30B3738}"/>
              </a:ext>
            </a:extLst>
          </p:cNvPr>
          <p:cNvSpPr txBox="1"/>
          <p:nvPr/>
        </p:nvSpPr>
        <p:spPr>
          <a:xfrm>
            <a:off x="-675456" y="2248198"/>
            <a:ext cx="1188132" cy="338554"/>
          </a:xfrm>
          <a:prstGeom prst="rect">
            <a:avLst/>
          </a:prstGeom>
          <a:solidFill>
            <a:schemeClr val="accent6"/>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rmstrong 2020 NEJ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P8 table highlight</a:t>
            </a:r>
          </a:p>
        </p:txBody>
      </p:sp>
      <p:sp>
        <p:nvSpPr>
          <p:cNvPr id="7" name="Left Brace 6">
            <a:extLst>
              <a:ext uri="{FF2B5EF4-FFF2-40B4-BE49-F238E27FC236}">
                <a16:creationId xmlns:a16="http://schemas.microsoft.com/office/drawing/2014/main" id="{EBCD0700-5FD8-44A7-A8AA-43FE28BA0FB9}"/>
              </a:ext>
            </a:extLst>
          </p:cNvPr>
          <p:cNvSpPr/>
          <p:nvPr/>
        </p:nvSpPr>
        <p:spPr>
          <a:xfrm>
            <a:off x="512676" y="2015716"/>
            <a:ext cx="173124" cy="86409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F788026E-027C-4CF3-89EF-31B3835DA591}"/>
              </a:ext>
            </a:extLst>
          </p:cNvPr>
          <p:cNvSpPr txBox="1"/>
          <p:nvPr/>
        </p:nvSpPr>
        <p:spPr>
          <a:xfrm>
            <a:off x="-711460" y="3331635"/>
            <a:ext cx="1188132" cy="338554"/>
          </a:xfrm>
          <a:prstGeom prst="rect">
            <a:avLst/>
          </a:prstGeom>
          <a:solidFill>
            <a:schemeClr val="accent6"/>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rmstrong 2020 NEJ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p9E</a:t>
            </a:r>
          </a:p>
        </p:txBody>
      </p:sp>
      <p:sp>
        <p:nvSpPr>
          <p:cNvPr id="9" name="Left Brace 8">
            <a:extLst>
              <a:ext uri="{FF2B5EF4-FFF2-40B4-BE49-F238E27FC236}">
                <a16:creationId xmlns:a16="http://schemas.microsoft.com/office/drawing/2014/main" id="{B138152C-12C1-455C-A1DF-52883ABB2926}"/>
              </a:ext>
            </a:extLst>
          </p:cNvPr>
          <p:cNvSpPr/>
          <p:nvPr/>
        </p:nvSpPr>
        <p:spPr>
          <a:xfrm>
            <a:off x="476672" y="3349470"/>
            <a:ext cx="173124" cy="32071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8A085BDD-CF0A-4B6D-852F-8E6DB89AA161}"/>
              </a:ext>
            </a:extLst>
          </p:cNvPr>
          <p:cNvSpPr txBox="1"/>
          <p:nvPr/>
        </p:nvSpPr>
        <p:spPr>
          <a:xfrm>
            <a:off x="-664625" y="3889272"/>
            <a:ext cx="1188132" cy="338554"/>
          </a:xfrm>
          <a:prstGeom prst="rect">
            <a:avLst/>
          </a:prstGeom>
          <a:solidFill>
            <a:schemeClr val="accent6"/>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rmstrong 2020 NEJ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p3B</a:t>
            </a:r>
          </a:p>
        </p:txBody>
      </p:sp>
      <p:cxnSp>
        <p:nvCxnSpPr>
          <p:cNvPr id="11" name="Straight Connector 10">
            <a:extLst>
              <a:ext uri="{FF2B5EF4-FFF2-40B4-BE49-F238E27FC236}">
                <a16:creationId xmlns:a16="http://schemas.microsoft.com/office/drawing/2014/main" id="{59B72A26-8113-47BD-A07F-B29950FF3DA0}"/>
              </a:ext>
            </a:extLst>
          </p:cNvPr>
          <p:cNvCxnSpPr>
            <a:cxnSpLocks/>
            <a:stCxn id="10" idx="3"/>
          </p:cNvCxnSpPr>
          <p:nvPr/>
        </p:nvCxnSpPr>
        <p:spPr>
          <a:xfrm flipV="1">
            <a:off x="523507" y="4006729"/>
            <a:ext cx="457221" cy="5182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60DE978-B1AE-4C2C-BDEB-003629BF23D9}"/>
              </a:ext>
            </a:extLst>
          </p:cNvPr>
          <p:cNvSpPr txBox="1"/>
          <p:nvPr/>
        </p:nvSpPr>
        <p:spPr>
          <a:xfrm>
            <a:off x="-711460" y="1270833"/>
            <a:ext cx="1188132" cy="338554"/>
          </a:xfrm>
          <a:prstGeom prst="rect">
            <a:avLst/>
          </a:prstGeom>
          <a:solidFill>
            <a:schemeClr val="accent6"/>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rmstrong 2020 NEJ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P9C+E</a:t>
            </a:r>
          </a:p>
        </p:txBody>
      </p:sp>
      <p:cxnSp>
        <p:nvCxnSpPr>
          <p:cNvPr id="13" name="Straight Connector 12">
            <a:extLst>
              <a:ext uri="{FF2B5EF4-FFF2-40B4-BE49-F238E27FC236}">
                <a16:creationId xmlns:a16="http://schemas.microsoft.com/office/drawing/2014/main" id="{7D02BBF4-7B4B-4B22-9E65-19915692643B}"/>
              </a:ext>
            </a:extLst>
          </p:cNvPr>
          <p:cNvCxnSpPr>
            <a:cxnSpLocks/>
            <a:stCxn id="12" idx="3"/>
          </p:cNvCxnSpPr>
          <p:nvPr/>
        </p:nvCxnSpPr>
        <p:spPr>
          <a:xfrm flipV="1">
            <a:off x="476672" y="1388290"/>
            <a:ext cx="457221" cy="518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75338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21E0B943-F802-4E55-589C-7D233F46DCF9}"/>
              </a:ext>
            </a:extLst>
          </p:cNvPr>
          <p:cNvSpPr/>
          <p:nvPr/>
        </p:nvSpPr>
        <p:spPr>
          <a:xfrm>
            <a:off x="6178304" y="1136664"/>
            <a:ext cx="2212930" cy="1892826"/>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Title</a:t>
            </a:r>
            <a:endPar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10506_Verquvo PI (FDA): p1, col1, indications and us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20117_Verquvo SMPC: p3, 4.1 therapeutic ind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N Engl J Med-v382p1883: p2, col2, para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 N Engl J Med-v382p1883 (Suppl): p17, inclusion criteria, points 3 and 4</a:t>
            </a:r>
          </a:p>
        </p:txBody>
      </p:sp>
      <p:sp>
        <p:nvSpPr>
          <p:cNvPr id="6" name="Rectangle 5">
            <a:extLst>
              <a:ext uri="{FF2B5EF4-FFF2-40B4-BE49-F238E27FC236}">
                <a16:creationId xmlns:a16="http://schemas.microsoft.com/office/drawing/2014/main" id="{C564066B-F43D-858C-9A09-CD98DA22DF69}"/>
              </a:ext>
            </a:extLst>
          </p:cNvPr>
          <p:cNvSpPr/>
          <p:nvPr/>
        </p:nvSpPr>
        <p:spPr>
          <a:xfrm>
            <a:off x="-1569394" y="1143000"/>
            <a:ext cx="2212930" cy="5770811"/>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Left hand visu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Poin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10506_Verquvo PI (FDA): p1, col1, indications and us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20117_Verquvo SMPC: p3, 4.1 therapeutic ind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Poin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 N Engl J Med-v382p1883 (Suppl): p19, exclusion criteria, point 1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Point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20117_Verquvo SMPC: p3, 4.2 posology point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Poi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20117_Verquvo SMPC: p12, para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Point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10506_Verquvo PI (FDA): p5, 8.6 renal impair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20117_Verquvo SMPC: p3, 4.2 posology, point 5; p3, 4.2 renal impair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N Engl J Med-v382p1883: p2, col2, last para, line 1; p2, col2, para3, line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 N Engl J Med-v382p1883 (Suppl): p20, exclusion criteria, point 16; p19, exclusion criteria, point 1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Point 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10506_Verquvo PI (FDA) 220117_Verquvo SMPC: p5, 4.5 pharmacodynamic interac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N Engl J Med-v382p1883: p4, col2, para1, line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 N Engl J Med-v382p1883 (Suppl): p39, table S1</a:t>
            </a:r>
          </a:p>
        </p:txBody>
      </p:sp>
    </p:spTree>
    <p:extLst>
      <p:ext uri="{BB962C8B-B14F-4D97-AF65-F5344CB8AC3E}">
        <p14:creationId xmlns:p14="http://schemas.microsoft.com/office/powerpoint/2010/main" val="23429257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579120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478F0C-A994-4D08-A25E-04E7A4BE478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7E09E00-F3D4-4E09-D50F-FB2B2E44B1AC}"/>
              </a:ext>
            </a:extLst>
          </p:cNvPr>
          <p:cNvSpPr txBox="1"/>
          <p:nvPr/>
        </p:nvSpPr>
        <p:spPr>
          <a:xfrm>
            <a:off x="6197909" y="1133856"/>
            <a:ext cx="1781428" cy="1077218"/>
          </a:xfrm>
          <a:prstGeom prst="rect">
            <a:avLst/>
          </a:prstGeom>
          <a:solidFill>
            <a:srgbClr val="00B05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Bayer Verquvo SmP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p3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Merck Sharp &amp; Dohme Corp. VERQUVO™ (Vericiguat): Highlights of prescribing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p1A</a:t>
            </a:r>
            <a:endParaRPr kumimoji="0" lang="en-US" sz="8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6" name="Straight Arrow Connector 5">
            <a:extLst>
              <a:ext uri="{FF2B5EF4-FFF2-40B4-BE49-F238E27FC236}">
                <a16:creationId xmlns:a16="http://schemas.microsoft.com/office/drawing/2014/main" id="{29E9009C-E91F-6C9B-AEC9-311E45B3B32B}"/>
              </a:ext>
            </a:extLst>
          </p:cNvPr>
          <p:cNvCxnSpPr>
            <a:cxnSpLocks/>
          </p:cNvCxnSpPr>
          <p:nvPr/>
        </p:nvCxnSpPr>
        <p:spPr>
          <a:xfrm flipH="1">
            <a:off x="5459848" y="1685277"/>
            <a:ext cx="738061" cy="1586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351325F-2068-DD51-8669-7418A2829A84}"/>
              </a:ext>
            </a:extLst>
          </p:cNvPr>
          <p:cNvSpPr txBox="1"/>
          <p:nvPr/>
        </p:nvSpPr>
        <p:spPr>
          <a:xfrm>
            <a:off x="-1420101" y="3298740"/>
            <a:ext cx="1781428" cy="830997"/>
          </a:xfrm>
          <a:prstGeom prst="rect">
            <a:avLst/>
          </a:prstGeom>
          <a:solidFill>
            <a:srgbClr val="00B050"/>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Bayer Verquvo SmPC / p4 highligh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MSD Verquvo prescribing info / p1 / col 2 highligh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0674ED7E-5267-2AA2-13F8-B6345D9520FB}"/>
              </a:ext>
            </a:extLst>
          </p:cNvPr>
          <p:cNvCxnSpPr>
            <a:stCxn id="10" idx="3"/>
          </p:cNvCxnSpPr>
          <p:nvPr/>
        </p:nvCxnSpPr>
        <p:spPr>
          <a:xfrm>
            <a:off x="361327" y="3714239"/>
            <a:ext cx="654673" cy="322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397D617-D15D-5838-C96F-EE96A1A5F32C}"/>
              </a:ext>
            </a:extLst>
          </p:cNvPr>
          <p:cNvSpPr txBox="1"/>
          <p:nvPr/>
        </p:nvSpPr>
        <p:spPr>
          <a:xfrm>
            <a:off x="6246839" y="2964537"/>
            <a:ext cx="1781428" cy="338554"/>
          </a:xfrm>
          <a:prstGeom prst="rect">
            <a:avLst/>
          </a:prstGeom>
          <a:solidFill>
            <a:srgbClr val="00B050"/>
          </a:solidFill>
          <a:ln/>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black"/>
                </a:solidFill>
                <a:effectLst/>
                <a:uLnTx/>
                <a:uFillTx/>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Bayer Verquvo SmPC</a:t>
            </a:r>
            <a:br>
              <a:rPr kumimoji="0" lang="en-US" sz="800" b="0" i="0" u="none" strike="noStrike" kern="1200" cap="none" spc="0" normalizeH="0" baseline="0" noProof="0" dirty="0">
                <a:ln>
                  <a:noFill/>
                </a:ln>
                <a:solidFill>
                  <a:prstClr val="black"/>
                </a:solidFill>
                <a:effectLst/>
                <a:uLnTx/>
                <a:uFillTx/>
                <a:latin typeface="Arial"/>
                <a:ea typeface="+mn-ea"/>
                <a:cs typeface="+mn-cs"/>
              </a:rPr>
            </a:br>
            <a:r>
              <a:rPr kumimoji="0" lang="en-US" sz="800" b="0" i="0" u="none" strike="noStrike" kern="1200" cap="none" spc="0" normalizeH="0" baseline="0" noProof="0" dirty="0">
                <a:ln>
                  <a:noFill/>
                </a:ln>
                <a:solidFill>
                  <a:prstClr val="black"/>
                </a:solidFill>
                <a:effectLst/>
                <a:uLnTx/>
                <a:uFillTx/>
                <a:latin typeface="Arial"/>
                <a:ea typeface="+mn-ea"/>
                <a:cs typeface="+mn-cs"/>
              </a:rPr>
              <a:t>p3</a:t>
            </a:r>
          </a:p>
        </p:txBody>
      </p:sp>
      <p:cxnSp>
        <p:nvCxnSpPr>
          <p:cNvPr id="14" name="Straight Arrow Connector 13">
            <a:extLst>
              <a:ext uri="{FF2B5EF4-FFF2-40B4-BE49-F238E27FC236}">
                <a16:creationId xmlns:a16="http://schemas.microsoft.com/office/drawing/2014/main" id="{C4E20200-861D-49CB-2C45-8D7567269316}"/>
              </a:ext>
            </a:extLst>
          </p:cNvPr>
          <p:cNvCxnSpPr>
            <a:cxnSpLocks/>
            <a:stCxn id="16" idx="1"/>
          </p:cNvCxnSpPr>
          <p:nvPr/>
        </p:nvCxnSpPr>
        <p:spPr>
          <a:xfrm flipH="1">
            <a:off x="4584700" y="3133814"/>
            <a:ext cx="1662139" cy="2761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8B1C018-D4CB-4678-94B8-06A2F9513D5F}"/>
              </a:ext>
            </a:extLst>
          </p:cNvPr>
          <p:cNvCxnSpPr>
            <a:cxnSpLocks/>
            <a:stCxn id="5" idx="1"/>
          </p:cNvCxnSpPr>
          <p:nvPr/>
        </p:nvCxnSpPr>
        <p:spPr>
          <a:xfrm flipH="1" flipV="1">
            <a:off x="3884613" y="1487204"/>
            <a:ext cx="2313296" cy="1852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92F1869-A432-4D87-90EB-0BF886F246C5}"/>
              </a:ext>
            </a:extLst>
          </p:cNvPr>
          <p:cNvSpPr txBox="1"/>
          <p:nvPr/>
        </p:nvSpPr>
        <p:spPr>
          <a:xfrm>
            <a:off x="6209572" y="2320133"/>
            <a:ext cx="1781428" cy="338554"/>
          </a:xfrm>
          <a:prstGeom prst="rect">
            <a:avLst/>
          </a:prstGeom>
          <a:solidFill>
            <a:srgbClr val="00B050"/>
          </a:solidFill>
          <a:ln/>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prstClr val="black"/>
                </a:solidFill>
                <a:effectLst/>
                <a:uLnTx/>
                <a:uFillTx/>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Bayer Verquvo SmPC</a:t>
            </a:r>
            <a:br>
              <a:rPr kumimoji="0" lang="en-US" sz="800" b="0" i="0" u="none" strike="noStrike" kern="1200" cap="none" spc="0" normalizeH="0" baseline="0" noProof="0" dirty="0">
                <a:ln>
                  <a:noFill/>
                </a:ln>
                <a:solidFill>
                  <a:prstClr val="black"/>
                </a:solidFill>
                <a:effectLst/>
                <a:uLnTx/>
                <a:uFillTx/>
                <a:latin typeface="Arial"/>
                <a:ea typeface="+mn-ea"/>
                <a:cs typeface="+mn-cs"/>
              </a:rPr>
            </a:br>
            <a:r>
              <a:rPr kumimoji="0" lang="en-US" sz="800" b="0" i="0" u="none" strike="noStrike" kern="1200" cap="none" spc="0" normalizeH="0" baseline="0" noProof="0" dirty="0">
                <a:ln>
                  <a:noFill/>
                </a:ln>
                <a:solidFill>
                  <a:prstClr val="black"/>
                </a:solidFill>
                <a:effectLst/>
                <a:uLnTx/>
                <a:uFillTx/>
                <a:latin typeface="Arial"/>
                <a:ea typeface="+mn-ea"/>
                <a:cs typeface="+mn-cs"/>
              </a:rPr>
              <a:t>p4</a:t>
            </a:r>
            <a:endParaRPr kumimoji="0" lang="en-US" sz="8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cxnSp>
        <p:nvCxnSpPr>
          <p:cNvPr id="27" name="Straight Arrow Connector 26">
            <a:extLst>
              <a:ext uri="{FF2B5EF4-FFF2-40B4-BE49-F238E27FC236}">
                <a16:creationId xmlns:a16="http://schemas.microsoft.com/office/drawing/2014/main" id="{22A827BC-4A74-4238-8E81-3EB1F4AE2B22}"/>
              </a:ext>
            </a:extLst>
          </p:cNvPr>
          <p:cNvCxnSpPr>
            <a:cxnSpLocks/>
          </p:cNvCxnSpPr>
          <p:nvPr/>
        </p:nvCxnSpPr>
        <p:spPr>
          <a:xfrm flipH="1">
            <a:off x="5559562" y="2514600"/>
            <a:ext cx="625493" cy="3517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4834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544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DEA3068-C9E1-48DE-851F-6B1B573A540B}"/>
              </a:ext>
            </a:extLst>
          </p:cNvPr>
          <p:cNvSpPr/>
          <p:nvPr/>
        </p:nvSpPr>
        <p:spPr>
          <a:xfrm>
            <a:off x="6021288" y="1841644"/>
            <a:ext cx="3287333" cy="646331"/>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Well treated’: </a:t>
            </a:r>
            <a:r>
              <a:rPr kumimoji="0" lang="en-US" sz="9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rmstrong-2020-NEJM / page 1 / Methods / L3-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recent worsening HF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rmstrong-2020-NEJM / page 2 / col 2 / para 3 / L1-8</a:t>
            </a:r>
          </a:p>
        </p:txBody>
      </p:sp>
      <p:sp>
        <p:nvSpPr>
          <p:cNvPr id="12" name="Rectangle 11">
            <a:extLst>
              <a:ext uri="{FF2B5EF4-FFF2-40B4-BE49-F238E27FC236}">
                <a16:creationId xmlns:a16="http://schemas.microsoft.com/office/drawing/2014/main" id="{832CE67A-640D-47AB-AA7D-278635A0AC5A}"/>
              </a:ext>
            </a:extLst>
          </p:cNvPr>
          <p:cNvSpPr/>
          <p:nvPr/>
        </p:nvSpPr>
        <p:spPr>
          <a:xfrm>
            <a:off x="6020414" y="2646224"/>
            <a:ext cx="3287332" cy="369332"/>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N </a:t>
            </a:r>
            <a:r>
              <a:rPr kumimoji="0" lang="en-US" sz="900" b="1" i="0" u="none" strike="noStrike" kern="1200" cap="none" spc="0" normalizeH="0" baseline="0" noProof="0" dirty="0" err="1">
                <a:ln>
                  <a:noFill/>
                </a:ln>
                <a:solidFill>
                  <a:srgbClr val="000000"/>
                </a:solidFill>
                <a:effectLst/>
                <a:uLnTx/>
                <a:uFillTx/>
                <a:latin typeface="Lato" panose="020F0502020204030203" pitchFamily="34" charset="0"/>
                <a:ea typeface="+mn-ea"/>
                <a:cs typeface="+mn-cs"/>
              </a:rPr>
              <a:t>Engl</a:t>
            </a: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 J Med-v382p1883/p9/C1/Discussion/para1/L10-18</a:t>
            </a:r>
          </a:p>
        </p:txBody>
      </p:sp>
      <p:sp>
        <p:nvSpPr>
          <p:cNvPr id="13" name="Rectangle 12">
            <a:extLst>
              <a:ext uri="{FF2B5EF4-FFF2-40B4-BE49-F238E27FC236}">
                <a16:creationId xmlns:a16="http://schemas.microsoft.com/office/drawing/2014/main" id="{6B393894-3A2F-43A1-A015-C3CF0C57FCB9}"/>
              </a:ext>
            </a:extLst>
          </p:cNvPr>
          <p:cNvSpPr/>
          <p:nvPr/>
        </p:nvSpPr>
        <p:spPr>
          <a:xfrm>
            <a:off x="6020414" y="3173805"/>
            <a:ext cx="3287332" cy="784830"/>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220117_Verquvo SMPC/p3/4.1/para1/L1-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McDonaghT-2021-EurHeartJ-epub-ESC guidelines/p54/Figure 11/”Intermediate, Pre-discharge, long-term”</a:t>
            </a:r>
          </a:p>
        </p:txBody>
      </p:sp>
      <p:cxnSp>
        <p:nvCxnSpPr>
          <p:cNvPr id="15" name="Straight Arrow Connector 14">
            <a:extLst>
              <a:ext uri="{FF2B5EF4-FFF2-40B4-BE49-F238E27FC236}">
                <a16:creationId xmlns:a16="http://schemas.microsoft.com/office/drawing/2014/main" id="{47CE8E44-005B-4455-B0BC-D05936E71990}"/>
              </a:ext>
            </a:extLst>
          </p:cNvPr>
          <p:cNvCxnSpPr/>
          <p:nvPr/>
        </p:nvCxnSpPr>
        <p:spPr>
          <a:xfrm flipH="1">
            <a:off x="5445224" y="2120826"/>
            <a:ext cx="576064" cy="749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8DF7937-03A2-4453-AAFB-8E56F237A03D}"/>
              </a:ext>
            </a:extLst>
          </p:cNvPr>
          <p:cNvCxnSpPr>
            <a:cxnSpLocks/>
            <a:stCxn id="12" idx="1"/>
          </p:cNvCxnSpPr>
          <p:nvPr/>
        </p:nvCxnSpPr>
        <p:spPr>
          <a:xfrm flipH="1">
            <a:off x="5445224" y="2830890"/>
            <a:ext cx="5751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CB11983-3B1D-43B6-BED8-9CCCA38F4532}"/>
              </a:ext>
            </a:extLst>
          </p:cNvPr>
          <p:cNvCxnSpPr>
            <a:cxnSpLocks/>
            <a:stCxn id="13" idx="1"/>
          </p:cNvCxnSpPr>
          <p:nvPr/>
        </p:nvCxnSpPr>
        <p:spPr>
          <a:xfrm flipH="1" flipV="1">
            <a:off x="5445224" y="3419872"/>
            <a:ext cx="575190" cy="1463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6372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4927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3780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0932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5FCDF047-DB92-4338-9BD3-FA5C25FAE011}"/>
              </a:ext>
            </a:extLst>
          </p:cNvPr>
          <p:cNvSpPr>
            <a:spLocks noGrp="1" noRot="1" noChangeAspect="1"/>
          </p:cNvSpPr>
          <p:nvPr>
            <p:ph type="sldImg"/>
          </p:nvPr>
        </p:nvSpPr>
        <p:spPr/>
      </p:sp>
      <p:sp>
        <p:nvSpPr>
          <p:cNvPr id="5" name="Rectangle 4">
            <a:extLst>
              <a:ext uri="{FF2B5EF4-FFF2-40B4-BE49-F238E27FC236}">
                <a16:creationId xmlns:a16="http://schemas.microsoft.com/office/drawing/2014/main" id="{4F838060-9097-49CE-A348-F55D6145A1D8}"/>
              </a:ext>
            </a:extLst>
          </p:cNvPr>
          <p:cNvSpPr/>
          <p:nvPr/>
        </p:nvSpPr>
        <p:spPr>
          <a:xfrm>
            <a:off x="6172200" y="1232337"/>
            <a:ext cx="3062796" cy="1323439"/>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mn-cs"/>
              </a:rPr>
              <a:t>Title and Sub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S: Mentz RJ </a:t>
            </a:r>
            <a:r>
              <a:rPr kumimoji="0" lang="en-GB" sz="800" b="0" i="1" u="none" strike="noStrike" kern="1200" cap="none" spc="0" normalizeH="0" baseline="0" noProof="0" dirty="0">
                <a:ln>
                  <a:noFill/>
                </a:ln>
                <a:solidFill>
                  <a:prstClr val="black"/>
                </a:solidFill>
                <a:effectLst/>
                <a:uLnTx/>
                <a:uFillTx/>
                <a:latin typeface="Calibri" panose="020F0502020204030204"/>
                <a:ea typeface="+mn-ea"/>
                <a:cs typeface="+mn-cs"/>
              </a:rPr>
              <a:t>et al.J Cardiac Fail </a:t>
            </a: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2021; doi: 10.1016/j.cardfail.2021.11.013 / Page 2/ Methods/ highligh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lso p3/c2/Discussion/L3-5 and p5/c1/para1/L1 (main title on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mn-cs"/>
              </a:rPr>
              <a:t>Numbers, labels and axis lab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S: Mentz RJ </a:t>
            </a:r>
            <a:r>
              <a:rPr kumimoji="0" lang="en-GB" sz="800" b="0" i="1" u="none" strike="noStrike" kern="1200" cap="none" spc="0" normalizeH="0" baseline="0" noProof="0" dirty="0">
                <a:ln>
                  <a:noFill/>
                </a:ln>
                <a:solidFill>
                  <a:prstClr val="black"/>
                </a:solidFill>
                <a:effectLst/>
                <a:uLnTx/>
                <a:uFillTx/>
                <a:latin typeface="Calibri" panose="020F0502020204030204"/>
                <a:ea typeface="+mn-ea"/>
                <a:cs typeface="+mn-cs"/>
              </a:rPr>
              <a:t>et al.J Cardiac Fail </a:t>
            </a: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2021; doi: 10.1016/j.cardfail.2021.11.013 / Page 4 / Figure 1 A and B with WHFE only</a:t>
            </a:r>
            <a:endParaRPr kumimoji="0" lang="en-GB" sz="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55314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50874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11580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38070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14396-B62A-4700-A891-B1EDF3921ED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B005D106-1C51-4642-853E-87E70CBB9915}"/>
              </a:ext>
            </a:extLst>
          </p:cNvPr>
          <p:cNvSpPr/>
          <p:nvPr/>
        </p:nvSpPr>
        <p:spPr>
          <a:xfrm>
            <a:off x="6172200" y="1143000"/>
            <a:ext cx="1276826" cy="646331"/>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Voors AA-2021-Eur J Heart Fail_v23_p1313/</a:t>
            </a: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1319/Table4</a:t>
            </a:r>
          </a:p>
        </p:txBody>
      </p:sp>
    </p:spTree>
    <p:extLst>
      <p:ext uri="{BB962C8B-B14F-4D97-AF65-F5344CB8AC3E}">
        <p14:creationId xmlns:p14="http://schemas.microsoft.com/office/powerpoint/2010/main" val="30792384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14396-B62A-4700-A891-B1EDF3921ED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4E36C025-C531-58A6-12B8-CF5C73228F78}"/>
              </a:ext>
            </a:extLst>
          </p:cNvPr>
          <p:cNvSpPr/>
          <p:nvPr/>
        </p:nvSpPr>
        <p:spPr>
          <a:xfrm>
            <a:off x="6172200" y="1143000"/>
            <a:ext cx="1276826" cy="1615827"/>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Voors AA-2021-Eur J Heart Fail_v23_p1313/</a:t>
            </a: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5/Table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Footnote: p1, abstract methods, line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Red box: p3, col2, last para, last sentence</a:t>
            </a:r>
          </a:p>
        </p:txBody>
      </p:sp>
    </p:spTree>
    <p:extLst>
      <p:ext uri="{BB962C8B-B14F-4D97-AF65-F5344CB8AC3E}">
        <p14:creationId xmlns:p14="http://schemas.microsoft.com/office/powerpoint/2010/main" val="261374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C85F84C1-57B5-4713-B14E-EBE9388F4CB7}"/>
              </a:ext>
            </a:extLst>
          </p:cNvPr>
          <p:cNvSpPr/>
          <p:nvPr/>
        </p:nvSpPr>
        <p:spPr>
          <a:xfrm>
            <a:off x="6165642" y="1139585"/>
            <a:ext cx="2866279" cy="507831"/>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Solomon </a:t>
            </a:r>
            <a:r>
              <a:rPr kumimoji="0" lang="en-US" sz="900" b="1" i="0" u="none" strike="noStrike" kern="1200" cap="none" spc="0" normalizeH="0" baseline="0" noProof="0" err="1">
                <a:ln>
                  <a:noFill/>
                </a:ln>
                <a:solidFill>
                  <a:srgbClr val="000000"/>
                </a:solidFill>
                <a:effectLst/>
                <a:uLnTx/>
                <a:uFillTx/>
                <a:latin typeface="Lato" panose="020F0502020204030203" pitchFamily="34" charset="0"/>
                <a:ea typeface="+mn-ea"/>
                <a:cs typeface="+mn-cs"/>
              </a:rPr>
              <a:t>SD_JACC_Heart</a:t>
            </a:r>
            <a:r>
              <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rPr>
              <a:t> Failure_2016v4p816/</a:t>
            </a:r>
            <a:r>
              <a:rPr kumimoji="0" lang="en-US" sz="900" b="0" i="0" u="none" strike="noStrike" kern="1200" cap="none" spc="0" normalizeH="0" baseline="0" noProof="0">
                <a:ln>
                  <a:noFill/>
                </a:ln>
                <a:solidFill>
                  <a:srgbClr val="000000"/>
                </a:solidFill>
                <a:effectLst/>
                <a:uLnTx/>
                <a:uFillTx/>
                <a:latin typeface="Lato" panose="020F0502020204030203" pitchFamily="34" charset="0"/>
                <a:ea typeface="+mn-ea"/>
                <a:cs typeface="+mn-cs"/>
              </a:rPr>
              <a:t>p819/c1/para2/L1-9 and c2/Figure 1</a:t>
            </a:r>
            <a:endParaRPr kumimoji="0" lang="en-US" sz="900" b="1" i="0" u="none" strike="noStrike" kern="1200" cap="none" spc="0" normalizeH="0" baseline="0" noProof="0">
              <a:ln>
                <a:noFill/>
              </a:ln>
              <a:solidFill>
                <a:srgbClr val="000000"/>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4265973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3816C9-283A-4221-8036-BE03AB4CA518}"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F0CE3555-A712-4D22-9AFA-CB608F251FAE}"/>
              </a:ext>
            </a:extLst>
          </p:cNvPr>
          <p:cNvSpPr/>
          <p:nvPr/>
        </p:nvSpPr>
        <p:spPr>
          <a:xfrm>
            <a:off x="6228969" y="1936160"/>
            <a:ext cx="1888894" cy="923330"/>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Voors AA-2021-Eur J Heart Fail_v23_p1313/</a:t>
            </a: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1318/Figure 2 and Figure 2 lege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Footnote *: p1317/c2/para1/L12-14</a:t>
            </a:r>
          </a:p>
        </p:txBody>
      </p:sp>
    </p:spTree>
    <p:extLst>
      <p:ext uri="{BB962C8B-B14F-4D97-AF65-F5344CB8AC3E}">
        <p14:creationId xmlns:p14="http://schemas.microsoft.com/office/powerpoint/2010/main" val="9713105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46413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7AE8A-4633-42D3-89CB-EAEE068971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0424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b="0" u="none"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9660AF17-A8CA-4600-9D9E-9DEEAEE0F42D}"/>
              </a:ext>
            </a:extLst>
          </p:cNvPr>
          <p:cNvSpPr>
            <a:spLocks noGrp="1" noRot="1" noChangeAspect="1"/>
          </p:cNvSpPr>
          <p:nvPr>
            <p:ph type="sldImg"/>
          </p:nvPr>
        </p:nvSpPr>
        <p:spPr/>
      </p:sp>
      <p:sp>
        <p:nvSpPr>
          <p:cNvPr id="12" name="Rectangle 11">
            <a:extLst>
              <a:ext uri="{FF2B5EF4-FFF2-40B4-BE49-F238E27FC236}">
                <a16:creationId xmlns:a16="http://schemas.microsoft.com/office/drawing/2014/main" id="{0EB39E5F-6489-4D60-A964-635DD16BEA09}"/>
              </a:ext>
            </a:extLst>
          </p:cNvPr>
          <p:cNvSpPr/>
          <p:nvPr/>
        </p:nvSpPr>
        <p:spPr>
          <a:xfrm>
            <a:off x="6228969" y="1944869"/>
            <a:ext cx="1888894" cy="1200329"/>
          </a:xfrm>
          <a:prstGeom prst="rect">
            <a:avLst/>
          </a:prstGeom>
          <a:solidFill>
            <a:srgbClr val="92D050"/>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RosanoGMC-2021-EurJHeartFail-epub_ESC consensus/</a:t>
            </a: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6/Figure2 and Figure 2 lege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Armstrong PW-2020- N Engl J Med-v382p1883 (Supp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19, exclusion criteria point 1b</a:t>
            </a:r>
          </a:p>
        </p:txBody>
      </p:sp>
    </p:spTree>
    <p:extLst>
      <p:ext uri="{BB962C8B-B14F-4D97-AF65-F5344CB8AC3E}">
        <p14:creationId xmlns:p14="http://schemas.microsoft.com/office/powerpoint/2010/main" val="34264066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4B1341F1-AFC3-4B40-B415-909C4C97EACC}"/>
              </a:ext>
            </a:extLst>
          </p:cNvPr>
          <p:cNvSpPr/>
          <p:nvPr/>
        </p:nvSpPr>
        <p:spPr>
          <a:xfrm>
            <a:off x="5989615" y="1871700"/>
            <a:ext cx="2916324" cy="3139321"/>
          </a:xfrm>
          <a:prstGeom prst="rect">
            <a:avLst/>
          </a:prstGeom>
          <a:solidFill>
            <a:schemeClr val="accent6"/>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Bullet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McMurray JJV &amp; Packer M-Circulation-2021-143-p875-877.pdf</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2 Figure</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3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Bulle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McDonaghT-2021-EurHeartJ-epub-ESC guidelines.pdf</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24A </a:t>
            </a: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drugs recommended or to be</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considered in selected patients with</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HRrE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Greene SJ-2021-JHeartFailRev-epub.pdf</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9 Fig 2</a:t>
            </a:r>
            <a:endPar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RosanoGMC-2021-EurJHeartFail-epub_ESC consensus</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5A, p5 figure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Lato" panose="020F0502020204030203" pitchFamily="34" charset="0"/>
                <a:ea typeface="+mn-ea"/>
                <a:cs typeface="+mn-cs"/>
              </a:rPr>
              <a:t>Bullet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McDonaghT-2021-EurHeartJ-epub-ESC guidelines.pdf</a:t>
            </a: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p59A</a:t>
            </a:r>
            <a:endParaRPr kumimoji="0" lang="en-US" sz="900" b="0" i="0" u="none" strike="noStrike" kern="1200" cap="none" spc="0" normalizeH="0" baseline="0" noProof="0" dirty="0">
              <a:ln>
                <a:noFill/>
              </a:ln>
              <a:solidFill>
                <a:srgbClr val="000000"/>
              </a:solidFill>
              <a:effectLst/>
              <a:uLnTx/>
              <a:uFillTx/>
              <a:latin typeface="Lato" panose="020F0502020204030203" pitchFamily="34" charset="0"/>
              <a:ea typeface="+mn-ea"/>
              <a:cs typeface="+mn-cs"/>
              <a:sym typeface="Wingdings" panose="05000000000000000000" pitchFamily="2" charset="2"/>
            </a:endParaRPr>
          </a:p>
        </p:txBody>
      </p:sp>
    </p:spTree>
    <p:extLst>
      <p:ext uri="{BB962C8B-B14F-4D97-AF65-F5344CB8AC3E}">
        <p14:creationId xmlns:p14="http://schemas.microsoft.com/office/powerpoint/2010/main" val="3039318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28FDE-F028-AF4C-A735-BBDA7371A6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79D49B6D-6C2B-4254-AEC2-80F98D31A443}"/>
              </a:ext>
            </a:extLst>
          </p:cNvPr>
          <p:cNvSpPr/>
          <p:nvPr/>
        </p:nvSpPr>
        <p:spPr>
          <a:xfrm>
            <a:off x="-823965" y="326023"/>
            <a:ext cx="1730343" cy="800354"/>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S for title: </a:t>
            </a:r>
            <a:r>
              <a:rPr kumimoji="0" lang="en-GB" sz="7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 20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DC query – should we have citation number </a:t>
            </a:r>
            <a:r>
              <a:rPr kumimoji="0" lang="en-GB" sz="700" b="1" i="0" u="none" strike="noStrike" kern="1200" cap="none" spc="0" normalizeH="0" baseline="30000" noProof="0">
                <a:ln>
                  <a:noFill/>
                </a:ln>
                <a:solidFill>
                  <a:sysClr val="windowText" lastClr="000000"/>
                </a:solidFill>
                <a:effectLst/>
                <a:uLnTx/>
                <a:uFillTx/>
                <a:latin typeface="Calibri" panose="020F0502020204030204"/>
                <a:ea typeface="+mn-ea"/>
                <a:cs typeface="+mn-cs"/>
              </a:rPr>
              <a:t>1</a:t>
            </a: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 here and in ref footnote? And DC ok assuming that this statement is based generally on the </a:t>
            </a:r>
            <a:r>
              <a:rPr kumimoji="0" lang="en-GB" sz="700" b="1"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 data shown on the slide</a:t>
            </a:r>
          </a:p>
        </p:txBody>
      </p:sp>
      <p:cxnSp>
        <p:nvCxnSpPr>
          <p:cNvPr id="6" name="Straight Connector 5">
            <a:extLst>
              <a:ext uri="{FF2B5EF4-FFF2-40B4-BE49-F238E27FC236}">
                <a16:creationId xmlns:a16="http://schemas.microsoft.com/office/drawing/2014/main" id="{7879DBAE-C267-47D4-BA73-F9F2378A32D0}"/>
              </a:ext>
            </a:extLst>
          </p:cNvPr>
          <p:cNvCxnSpPr>
            <a:cxnSpLocks/>
            <a:endCxn id="5" idx="3"/>
          </p:cNvCxnSpPr>
          <p:nvPr/>
        </p:nvCxnSpPr>
        <p:spPr>
          <a:xfrm flipH="1" flipV="1">
            <a:off x="906378" y="726200"/>
            <a:ext cx="255578" cy="172622"/>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EDF4727-2CC1-4CCB-A197-99263E55412D}"/>
              </a:ext>
            </a:extLst>
          </p:cNvPr>
          <p:cNvSpPr/>
          <p:nvPr/>
        </p:nvSpPr>
        <p:spPr>
          <a:xfrm>
            <a:off x="-336620" y="1235241"/>
            <a:ext cx="1242998" cy="45511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S for subheading:</a:t>
            </a:r>
            <a:b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br>
            <a:r>
              <a:rPr kumimoji="0" lang="en-GB" sz="7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 2014 abstract (green) and p5 fig lege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DC OK</a:t>
            </a:r>
          </a:p>
        </p:txBody>
      </p:sp>
      <p:cxnSp>
        <p:nvCxnSpPr>
          <p:cNvPr id="8" name="Straight Connector 7">
            <a:extLst>
              <a:ext uri="{FF2B5EF4-FFF2-40B4-BE49-F238E27FC236}">
                <a16:creationId xmlns:a16="http://schemas.microsoft.com/office/drawing/2014/main" id="{C6775339-14E8-414A-96E1-86EAF95DB872}"/>
              </a:ext>
            </a:extLst>
          </p:cNvPr>
          <p:cNvCxnSpPr>
            <a:cxnSpLocks/>
            <a:endCxn id="7" idx="3"/>
          </p:cNvCxnSpPr>
          <p:nvPr/>
        </p:nvCxnSpPr>
        <p:spPr>
          <a:xfrm flipH="1">
            <a:off x="906378" y="1397626"/>
            <a:ext cx="311726" cy="65170"/>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59617DA-8CF6-4814-BF0F-2DC2970AE092}"/>
              </a:ext>
            </a:extLst>
          </p:cNvPr>
          <p:cNvSpPr/>
          <p:nvPr/>
        </p:nvSpPr>
        <p:spPr>
          <a:xfrm>
            <a:off x="5501500" y="1470608"/>
            <a:ext cx="1140710" cy="477044"/>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S: </a:t>
            </a:r>
            <a:r>
              <a:rPr kumimoji="0" lang="en-GB" sz="7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 2014 p4 left colum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DC OK</a:t>
            </a:r>
          </a:p>
        </p:txBody>
      </p:sp>
      <p:cxnSp>
        <p:nvCxnSpPr>
          <p:cNvPr id="10" name="Straight Connector 9">
            <a:extLst>
              <a:ext uri="{FF2B5EF4-FFF2-40B4-BE49-F238E27FC236}">
                <a16:creationId xmlns:a16="http://schemas.microsoft.com/office/drawing/2014/main" id="{114DCA21-1DBE-4C9E-A311-6C7FFC118016}"/>
              </a:ext>
            </a:extLst>
          </p:cNvPr>
          <p:cNvCxnSpPr>
            <a:cxnSpLocks/>
            <a:stCxn id="9" idx="1"/>
          </p:cNvCxnSpPr>
          <p:nvPr/>
        </p:nvCxnSpPr>
        <p:spPr>
          <a:xfrm flipH="1" flipV="1">
            <a:off x="5245922" y="1698164"/>
            <a:ext cx="255578" cy="10966"/>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8C19307-AB7A-4684-A56B-A9628E8C1D9B}"/>
              </a:ext>
            </a:extLst>
          </p:cNvPr>
          <p:cNvSpPr/>
          <p:nvPr/>
        </p:nvSpPr>
        <p:spPr>
          <a:xfrm>
            <a:off x="-219161" y="2133492"/>
            <a:ext cx="1140710" cy="477044"/>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S for graph: </a:t>
            </a:r>
            <a:r>
              <a:rPr kumimoji="0" lang="en-GB" sz="7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 2014 p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DC OK</a:t>
            </a:r>
          </a:p>
        </p:txBody>
      </p:sp>
      <p:sp>
        <p:nvSpPr>
          <p:cNvPr id="12" name="Rectangle 11">
            <a:extLst>
              <a:ext uri="{FF2B5EF4-FFF2-40B4-BE49-F238E27FC236}">
                <a16:creationId xmlns:a16="http://schemas.microsoft.com/office/drawing/2014/main" id="{5C141631-4491-4D31-ABDF-1126D8052A84}"/>
              </a:ext>
            </a:extLst>
          </p:cNvPr>
          <p:cNvSpPr/>
          <p:nvPr/>
        </p:nvSpPr>
        <p:spPr>
          <a:xfrm>
            <a:off x="5653900" y="2291399"/>
            <a:ext cx="988310" cy="477044"/>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S: </a:t>
            </a:r>
            <a:r>
              <a:rPr kumimoji="0" lang="en-GB" sz="7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 2014 p4 right colum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DC OK</a:t>
            </a:r>
          </a:p>
        </p:txBody>
      </p:sp>
      <p:cxnSp>
        <p:nvCxnSpPr>
          <p:cNvPr id="13" name="Straight Connector 12">
            <a:extLst>
              <a:ext uri="{FF2B5EF4-FFF2-40B4-BE49-F238E27FC236}">
                <a16:creationId xmlns:a16="http://schemas.microsoft.com/office/drawing/2014/main" id="{FF313F29-4706-4399-B21B-702ABD255444}"/>
              </a:ext>
            </a:extLst>
          </p:cNvPr>
          <p:cNvCxnSpPr>
            <a:cxnSpLocks/>
            <a:stCxn id="12" idx="1"/>
          </p:cNvCxnSpPr>
          <p:nvPr/>
        </p:nvCxnSpPr>
        <p:spPr>
          <a:xfrm flipH="1" flipV="1">
            <a:off x="5398322" y="2518955"/>
            <a:ext cx="255578" cy="10966"/>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1A0340D-2523-4CA9-A88F-1E76243B8883}"/>
              </a:ext>
            </a:extLst>
          </p:cNvPr>
          <p:cNvSpPr/>
          <p:nvPr/>
        </p:nvSpPr>
        <p:spPr>
          <a:xfrm>
            <a:off x="5501500" y="2883566"/>
            <a:ext cx="1140710" cy="477044"/>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S: </a:t>
            </a:r>
            <a:r>
              <a:rPr kumimoji="0" lang="en-GB" sz="700" b="0" i="0" u="none" strike="noStrike" kern="1200" cap="none" spc="0" normalizeH="0" baseline="0" noProof="0" err="1">
                <a:ln>
                  <a:noFill/>
                </a:ln>
                <a:solidFill>
                  <a:sysClr val="windowText" lastClr="000000"/>
                </a:solidFill>
                <a:effectLst/>
                <a:uLnTx/>
                <a:uFillTx/>
                <a:latin typeface="Calibri" panose="020F0502020204030204"/>
                <a:ea typeface="+mn-ea"/>
                <a:cs typeface="+mn-cs"/>
              </a:rPr>
              <a:t>Bakal</a:t>
            </a:r>
            <a:r>
              <a:rPr kumimoji="0" lang="en-GB" sz="700" b="0" i="0" u="none" strike="noStrike" kern="1200" cap="none" spc="0" normalizeH="0" baseline="0" noProof="0">
                <a:ln>
                  <a:noFill/>
                </a:ln>
                <a:solidFill>
                  <a:sysClr val="windowText" lastClr="000000"/>
                </a:solidFill>
                <a:effectLst/>
                <a:uLnTx/>
                <a:uFillTx/>
                <a:latin typeface="Calibri" panose="020F0502020204030204"/>
                <a:ea typeface="+mn-ea"/>
                <a:cs typeface="+mn-cs"/>
              </a:rPr>
              <a:t> 2014 p4 left colum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ysClr val="windowText" lastClr="000000"/>
                </a:solidFill>
                <a:effectLst/>
                <a:uLnTx/>
                <a:uFillTx/>
                <a:latin typeface="Calibri" panose="020F0502020204030204"/>
                <a:ea typeface="+mn-ea"/>
                <a:cs typeface="+mn-cs"/>
              </a:rPr>
              <a:t>DC OK</a:t>
            </a:r>
          </a:p>
        </p:txBody>
      </p:sp>
      <p:cxnSp>
        <p:nvCxnSpPr>
          <p:cNvPr id="15" name="Straight Connector 14">
            <a:extLst>
              <a:ext uri="{FF2B5EF4-FFF2-40B4-BE49-F238E27FC236}">
                <a16:creationId xmlns:a16="http://schemas.microsoft.com/office/drawing/2014/main" id="{E8354352-BF2C-41F8-8F42-DC3038813F36}"/>
              </a:ext>
            </a:extLst>
          </p:cNvPr>
          <p:cNvCxnSpPr>
            <a:cxnSpLocks/>
            <a:stCxn id="14" idx="1"/>
          </p:cNvCxnSpPr>
          <p:nvPr/>
        </p:nvCxnSpPr>
        <p:spPr>
          <a:xfrm flipH="1" flipV="1">
            <a:off x="5245922" y="3111122"/>
            <a:ext cx="255578" cy="1096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BD92229-954B-4D51-86D4-C0D6CE20A3C7}"/>
              </a:ext>
            </a:extLst>
          </p:cNvPr>
          <p:cNvCxnSpPr>
            <a:cxnSpLocks/>
            <a:endCxn id="11" idx="3"/>
          </p:cNvCxnSpPr>
          <p:nvPr/>
        </p:nvCxnSpPr>
        <p:spPr>
          <a:xfrm flipH="1">
            <a:off x="921549" y="2372014"/>
            <a:ext cx="77891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615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a:t>Notes: </a:t>
            </a:r>
          </a:p>
          <a:p>
            <a:r>
              <a:rPr lang="en-GB" sz="1100" b="0"/>
              <a:t>Clinical risk can be defined as risk of hospitalisation and mort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a:solidFill>
                <a:srgbClr val="FF7733"/>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t>Baseline risk: Initial diagnosis and treatment may be in the in-patient or outpatient set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t>Residual risk: Initiation and titration of recommended GDMT ICD/CRT as indic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t>Advanced risk: Those patients refractory/intolerant to recommended GDMT may be considered for heart transplantation, mechanical circulatory support, or IV inotrope therapy, or palliative care</a:t>
            </a:r>
          </a:p>
          <a:p>
            <a:endParaRPr lang="en-GB" sz="1100" b="0"/>
          </a:p>
          <a:p>
            <a:r>
              <a:rPr lang="en-GB" sz="1100" b="1"/>
              <a:t>Abbreviations: </a:t>
            </a:r>
          </a:p>
          <a:p>
            <a:r>
              <a:rPr lang="en-GB" sz="1100"/>
              <a:t>CRT, cardiac resynchronisation therapy; GDMT, guideline-directed medical therapy; ICD, implantable cardioverter-defibrillator; IV, intravenous</a:t>
            </a:r>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C5C1FD00-C831-4052-8DF1-559214BA2CE8}" type="slidenum">
              <a:rPr kumimoji="0" lang="en-GB"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4217532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noProof="0" dirty="0"/>
              <a:t>In this diagram, you can see an overview of the major pharmacological therapies used to manage and treat HF. Most of these target compensatory mechanisms are activated in HF, such as the RAAS, SNS or NPS.</a:t>
            </a:r>
            <a:r>
              <a:rPr lang="en-US" sz="900" b="0" i="0" u="none" baseline="30000" noProof="0" dirty="0"/>
              <a:t>1</a:t>
            </a:r>
            <a:r>
              <a:rPr lang="en-US" sz="900" b="0" i="0" u="none" baseline="30000" noProof="0" dirty="0">
                <a:latin typeface="Arial" panose="020B0604020202020204" pitchFamily="34" charset="0"/>
                <a:cs typeface="Arial" panose="020B0604020202020204" pitchFamily="34" charset="0"/>
              </a:rPr>
              <a:t>‒4</a:t>
            </a:r>
            <a:r>
              <a:rPr lang="en-US" sz="900" b="0" i="0" u="none" noProof="0" dirty="0"/>
              <a:t> As you can see, vericiguat is the only </a:t>
            </a:r>
            <a:r>
              <a:rPr lang="en-US" sz="900" b="0" u="none" noProof="0" dirty="0"/>
              <a:t>therapy that targets and restores the impaired</a:t>
            </a:r>
            <a:r>
              <a:rPr lang="en-US" sz="900" b="0" i="0" u="none" noProof="0" dirty="0"/>
              <a:t> NO-sGC-cGMP pathway.</a:t>
            </a:r>
            <a:r>
              <a:rPr lang="en-US" sz="900" b="0" i="0" u="none" baseline="30000" noProof="0" dirty="0"/>
              <a:t>5</a:t>
            </a:r>
            <a:r>
              <a:rPr lang="en-US" sz="900" b="0" i="0" u="none" baseline="30000" noProof="0" dirty="0">
                <a:latin typeface="Arial" panose="020B0604020202020204" pitchFamily="34" charset="0"/>
                <a:cs typeface="Arial" panose="020B0604020202020204" pitchFamily="34" charset="0"/>
              </a:rPr>
              <a:t>‒7</a:t>
            </a:r>
            <a:endParaRPr lang="en-US" sz="900" b="0" i="0" u="none" baseline="30000" noProof="0" dirty="0"/>
          </a:p>
          <a:p>
            <a:endParaRPr lang="en-US" sz="900" b="1" noProof="0" dirty="0"/>
          </a:p>
          <a:p>
            <a:r>
              <a:rPr lang="en-US" sz="900" b="1" i="0" noProof="0" dirty="0">
                <a:solidFill>
                  <a:schemeClr val="tx1"/>
                </a:solidFill>
                <a:latin typeface="Arial" panose="020B0604020202020204" pitchFamily="34" charset="0"/>
                <a:cs typeface="Arial" panose="020B0604020202020204" pitchFamily="34" charset="0"/>
              </a:rPr>
              <a:t>Questions to explore</a:t>
            </a:r>
          </a:p>
          <a:p>
            <a:pPr marL="181240" indent="-181240">
              <a:buFont typeface="Arial" panose="020B0604020202020204" pitchFamily="34" charset="0"/>
              <a:buChar char="•"/>
            </a:pPr>
            <a:r>
              <a:rPr lang="en-US" sz="900" b="0" i="0" u="none" noProof="0" dirty="0">
                <a:solidFill>
                  <a:schemeClr val="tx1"/>
                </a:solidFill>
                <a:latin typeface="Arial" panose="020B0604020202020204" pitchFamily="34" charset="0"/>
                <a:cs typeface="Arial" panose="020B0604020202020204" pitchFamily="34" charset="0"/>
              </a:rPr>
              <a:t>What treatments do you commonly prescribe to your patients with HF?</a:t>
            </a:r>
          </a:p>
          <a:p>
            <a:pPr marL="181240" indent="-181240">
              <a:buFont typeface="Arial" panose="020B0604020202020204" pitchFamily="34" charset="0"/>
              <a:buChar char="•"/>
            </a:pPr>
            <a:r>
              <a:rPr lang="en-US" sz="900" b="0" i="0" u="none" noProof="0" dirty="0">
                <a:solidFill>
                  <a:schemeClr val="tx1"/>
                </a:solidFill>
                <a:latin typeface="Arial" panose="020B0604020202020204" pitchFamily="34" charset="0"/>
                <a:cs typeface="Arial" panose="020B0604020202020204" pitchFamily="34" charset="0"/>
              </a:rPr>
              <a:t>Do you feel there is a need for new therapies for your patients?</a:t>
            </a:r>
          </a:p>
          <a:p>
            <a:pPr marL="181240" indent="-181240">
              <a:buFont typeface="Arial" panose="020B0604020202020204" pitchFamily="34" charset="0"/>
              <a:buChar char="•"/>
            </a:pPr>
            <a:r>
              <a:rPr lang="en-US" sz="900" b="0" i="0" u="none" noProof="0" dirty="0">
                <a:solidFill>
                  <a:schemeClr val="tx1"/>
                </a:solidFill>
                <a:latin typeface="Arial" panose="020B0604020202020204" pitchFamily="34" charset="0"/>
                <a:cs typeface="Arial" panose="020B0604020202020204" pitchFamily="34" charset="0"/>
              </a:rPr>
              <a:t>What are your views on treatments that target the NO-sGC-cGMP pathway as an option for your patients with HF?</a:t>
            </a:r>
          </a:p>
          <a:p>
            <a:pPr defTabSz="966612">
              <a:defRPr/>
            </a:pPr>
            <a:endParaRPr lang="en-US" sz="900" i="1" noProof="0" dirty="0">
              <a:solidFill>
                <a:schemeClr val="tx1"/>
              </a:solidFill>
              <a:latin typeface="Arial" panose="020B0604020202020204" pitchFamily="34" charset="0"/>
              <a:cs typeface="Arial" panose="020B0604020202020204" pitchFamily="34" charset="0"/>
            </a:endParaRPr>
          </a:p>
          <a:p>
            <a:pPr defTabSz="966612">
              <a:defRPr/>
            </a:pPr>
            <a:r>
              <a:rPr lang="en-US" sz="900" b="1" i="0" noProof="0" dirty="0">
                <a:solidFill>
                  <a:schemeClr val="tx1"/>
                </a:solidFill>
                <a:latin typeface="Arial" panose="020B0604020202020204" pitchFamily="34" charset="0"/>
                <a:cs typeface="Arial" panose="020B0604020202020204" pitchFamily="34" charset="0"/>
              </a:rPr>
              <a:t>Bridge to next slide</a:t>
            </a:r>
          </a:p>
          <a:p>
            <a:pPr marL="181240" indent="-181240" defTabSz="966612">
              <a:buFont typeface="Arial" panose="020B0604020202020204" pitchFamily="34" charset="0"/>
              <a:buChar char="•"/>
              <a:defRPr/>
            </a:pPr>
            <a:r>
              <a:rPr lang="en-US" sz="900" b="0" i="0" u="none" noProof="0" dirty="0">
                <a:solidFill>
                  <a:schemeClr val="tx1"/>
                </a:solidFill>
                <a:latin typeface="Arial" panose="020B0604020202020204" pitchFamily="34" charset="0"/>
                <a:cs typeface="Arial" panose="020B0604020202020204" pitchFamily="34" charset="0"/>
              </a:rPr>
              <a:t>Now let’s explore other therapies that influence cGMP </a:t>
            </a:r>
            <a:r>
              <a:rPr lang="en-US" sz="900" b="0" u="none" noProof="0" dirty="0">
                <a:latin typeface="Arial" panose="020B0604020202020204" pitchFamily="34" charset="0"/>
                <a:cs typeface="Arial" panose="020B0604020202020204" pitchFamily="34" charset="0"/>
              </a:rPr>
              <a:t>production in further detail</a:t>
            </a:r>
          </a:p>
          <a:p>
            <a:pPr marL="181240" indent="-181240" defTabSz="966612">
              <a:buFont typeface="Arial" panose="020B0604020202020204" pitchFamily="34" charset="0"/>
              <a:buChar char="•"/>
              <a:defRPr/>
            </a:pPr>
            <a:endParaRPr lang="en-US" sz="900" b="1" noProof="0" dirty="0"/>
          </a:p>
          <a:p>
            <a:r>
              <a:rPr lang="en-US" sz="900" b="1" noProof="0" dirty="0"/>
              <a:t>Slide abbreviations</a:t>
            </a:r>
            <a:br>
              <a:rPr lang="en-US" sz="900" noProof="0" dirty="0"/>
            </a:br>
            <a:r>
              <a:rPr lang="en-US" sz="900" b="0" u="none" noProof="0" dirty="0"/>
              <a:t>ACEi, angiotensin-converting enzyme inhibitor; ARB, angiotensin receptor blocker; ARNi, angiotensin receptor–neprilysin inhibitor; cGMP, cyclic guanosine monophosphate; HF, heart failure; MoA, mode of action; MRA, mineralocorticoid receptor antagonist; NO, nitric oxide; NPS, natriuretic peptide system; RAAS, renin–angiotensin–aldosterone system; sGC, soluble guanylate cyclase; SGLT2, sodium–glucose cotransporter 2; SGLT2i, sodium–glucose cotransporter 2 inhibitor; SNS, sympathetic nervous system.</a:t>
            </a:r>
          </a:p>
          <a:p>
            <a:endParaRPr lang="en-US" sz="900" noProof="0" dirty="0"/>
          </a:p>
          <a:p>
            <a:r>
              <a:rPr lang="en-US" sz="900" b="1" noProof="0" dirty="0"/>
              <a:t>Notes abbreviations</a:t>
            </a:r>
            <a:br>
              <a:rPr lang="en-US" sz="900" b="1" noProof="0" dirty="0"/>
            </a:br>
            <a:r>
              <a:rPr lang="en-US" sz="900" b="0" u="none" noProof="0" dirty="0"/>
              <a:t>cGMP, cyclic guanosine monophosphate; HF, heart failure; NO, nitric oxide; NPS, natriuretic peptide system; RAAS, renin–angiotensin–aldosterone system; sGC, soluble guanylate cyclase; SNS, sympathetic nervous system.</a:t>
            </a:r>
          </a:p>
          <a:p>
            <a:endParaRPr lang="en-US" sz="900" b="1" noProof="0" dirty="0"/>
          </a:p>
          <a:p>
            <a:r>
              <a:rPr lang="en-US" sz="900" b="1" noProof="0" dirty="0"/>
              <a:t>References</a:t>
            </a:r>
          </a:p>
          <a:p>
            <a:pPr marL="234361" indent="-234361">
              <a:buAutoNum type="arabicPeriod"/>
            </a:pPr>
            <a:r>
              <a:rPr lang="en-US" sz="900" b="0" u="none" spc="-21" noProof="0" dirty="0">
                <a:solidFill>
                  <a:prstClr val="black"/>
                </a:solidFill>
                <a:cs typeface="Calibri" panose="020F0502020204030204" pitchFamily="34" charset="0"/>
              </a:rPr>
              <a:t>Mann DL </a:t>
            </a:r>
            <a:r>
              <a:rPr lang="en-US" sz="900" b="0" i="1" u="none" spc="-21" noProof="0" dirty="0">
                <a:solidFill>
                  <a:prstClr val="black"/>
                </a:solidFill>
                <a:cs typeface="Calibri" panose="020F0502020204030204" pitchFamily="34" charset="0"/>
              </a:rPr>
              <a:t>et al. Braunwald’s Heart Disease: A Textbook of Cardiovascular Medicine.</a:t>
            </a:r>
            <a:r>
              <a:rPr lang="en-US" sz="900" b="0" u="none" spc="-21" noProof="0" dirty="0">
                <a:solidFill>
                  <a:prstClr val="black"/>
                </a:solidFill>
                <a:cs typeface="Calibri" panose="020F0502020204030204" pitchFamily="34" charset="0"/>
              </a:rPr>
              <a:t> 10th edn. Elsevier/Saunders; 2015.</a:t>
            </a:r>
          </a:p>
          <a:p>
            <a:pPr marL="234361" indent="-234361">
              <a:buAutoNum type="arabicPeriod"/>
            </a:pPr>
            <a:r>
              <a:rPr lang="en-US" sz="900" b="0" u="none" spc="-21" noProof="0" dirty="0">
                <a:solidFill>
                  <a:prstClr val="black"/>
                </a:solidFill>
                <a:cs typeface="Calibri" panose="020F0502020204030204" pitchFamily="34" charset="0"/>
              </a:rPr>
              <a:t>Yancy CW </a:t>
            </a:r>
            <a:r>
              <a:rPr lang="en-US" sz="900" b="0" i="1" u="none" spc="-21" noProof="0" dirty="0">
                <a:solidFill>
                  <a:prstClr val="black"/>
                </a:solidFill>
                <a:cs typeface="Calibri" panose="020F0502020204030204" pitchFamily="34" charset="0"/>
              </a:rPr>
              <a:t>et al. J Am Coll Cardiol </a:t>
            </a:r>
            <a:r>
              <a:rPr lang="en-US" sz="900" b="0" u="none" spc="-21" noProof="0" dirty="0">
                <a:solidFill>
                  <a:prstClr val="black"/>
                </a:solidFill>
                <a:cs typeface="Calibri" panose="020F0502020204030204" pitchFamily="34" charset="0"/>
              </a:rPr>
              <a:t>2017;70:776–803.</a:t>
            </a:r>
          </a:p>
          <a:p>
            <a:pPr marL="234361" indent="-234361">
              <a:buAutoNum type="arabicPeriod"/>
            </a:pPr>
            <a:r>
              <a:rPr lang="en-US" sz="900" b="0" u="none" spc="-21" noProof="0" dirty="0">
                <a:solidFill>
                  <a:prstClr val="black"/>
                </a:solidFill>
                <a:cs typeface="Calibri" panose="020F0502020204030204" pitchFamily="34" charset="0"/>
              </a:rPr>
              <a:t>Triposkiadis F </a:t>
            </a:r>
            <a:r>
              <a:rPr lang="en-US" sz="900" b="0" i="1" u="none" spc="-21" noProof="0" dirty="0">
                <a:solidFill>
                  <a:prstClr val="black"/>
                </a:solidFill>
                <a:cs typeface="Calibri" panose="020F0502020204030204" pitchFamily="34" charset="0"/>
              </a:rPr>
              <a:t>et al. J Am Coll Cardiol </a:t>
            </a:r>
            <a:r>
              <a:rPr lang="en-US" sz="900" b="0" u="none" spc="-21" noProof="0" dirty="0">
                <a:solidFill>
                  <a:prstClr val="black"/>
                </a:solidFill>
                <a:cs typeface="Calibri" panose="020F0502020204030204" pitchFamily="34" charset="0"/>
              </a:rPr>
              <a:t>2009;54:1747–1762.</a:t>
            </a:r>
          </a:p>
          <a:p>
            <a:pPr marL="234361" indent="-234361">
              <a:buAutoNum type="arabicPeriod"/>
            </a:pPr>
            <a:r>
              <a:rPr lang="en-US" sz="900" b="0" u="none" spc="-21" noProof="0" dirty="0">
                <a:solidFill>
                  <a:prstClr val="black"/>
                </a:solidFill>
                <a:cs typeface="Calibri" panose="020F0502020204030204" pitchFamily="34" charset="0"/>
              </a:rPr>
              <a:t>Ponikowski P </a:t>
            </a:r>
            <a:r>
              <a:rPr lang="en-US" sz="900" b="0" i="1" u="none" spc="-21" noProof="0" dirty="0">
                <a:solidFill>
                  <a:prstClr val="black"/>
                </a:solidFill>
                <a:cs typeface="Calibri" panose="020F0502020204030204" pitchFamily="34" charset="0"/>
              </a:rPr>
              <a:t>et al. Eur J Heart Fail </a:t>
            </a:r>
            <a:r>
              <a:rPr lang="en-US" sz="900" b="0" u="none" spc="-21" noProof="0" dirty="0">
                <a:solidFill>
                  <a:prstClr val="black"/>
                </a:solidFill>
                <a:cs typeface="Calibri" panose="020F0502020204030204" pitchFamily="34" charset="0"/>
              </a:rPr>
              <a:t>2016;18:891–975.</a:t>
            </a:r>
          </a:p>
          <a:p>
            <a:pPr marL="234361" indent="-234361">
              <a:buAutoNum type="arabicPeriod"/>
            </a:pPr>
            <a:r>
              <a:rPr lang="en-US" sz="900" b="0" u="none" spc="-21" noProof="0" dirty="0">
                <a:solidFill>
                  <a:prstClr val="black"/>
                </a:solidFill>
                <a:cs typeface="Calibri" panose="020F0502020204030204" pitchFamily="34" charset="0"/>
              </a:rPr>
              <a:t>Armstrong PW </a:t>
            </a:r>
            <a:r>
              <a:rPr lang="en-US" sz="900" b="0" i="1" u="none" spc="-21" noProof="0" dirty="0">
                <a:solidFill>
                  <a:prstClr val="black"/>
                </a:solidFill>
                <a:cs typeface="Calibri" panose="020F0502020204030204" pitchFamily="34" charset="0"/>
              </a:rPr>
              <a:t>et al. JACC Heart Fail </a:t>
            </a:r>
            <a:r>
              <a:rPr lang="en-US" sz="900" b="0" u="none" spc="-21" noProof="0" dirty="0">
                <a:solidFill>
                  <a:prstClr val="black"/>
                </a:solidFill>
                <a:cs typeface="Calibri" panose="020F0502020204030204" pitchFamily="34" charset="0"/>
              </a:rPr>
              <a:t>2018;6:96–104.</a:t>
            </a:r>
          </a:p>
          <a:p>
            <a:pPr marL="234361" indent="-234361">
              <a:buAutoNum type="arabicPeriod"/>
            </a:pPr>
            <a:r>
              <a:rPr lang="en-US" sz="900" b="0" u="none" spc="-21" noProof="0" dirty="0">
                <a:solidFill>
                  <a:prstClr val="black"/>
                </a:solidFill>
                <a:cs typeface="Calibri" panose="020F0502020204030204" pitchFamily="34" charset="0"/>
              </a:rPr>
              <a:t>Armstrong PW </a:t>
            </a:r>
            <a:r>
              <a:rPr lang="en-US" sz="900" b="0" i="1" u="none" spc="-21" noProof="0" dirty="0">
                <a:solidFill>
                  <a:prstClr val="black"/>
                </a:solidFill>
                <a:cs typeface="Calibri" panose="020F0502020204030204" pitchFamily="34" charset="0"/>
              </a:rPr>
              <a:t>et al. N Engl J Med </a:t>
            </a:r>
            <a:r>
              <a:rPr lang="en-US" sz="900" b="0" u="none" spc="-21" noProof="0" dirty="0">
                <a:solidFill>
                  <a:prstClr val="black"/>
                </a:solidFill>
                <a:cs typeface="Calibri" panose="020F0502020204030204" pitchFamily="34" charset="0"/>
              </a:rPr>
              <a:t>2020;382:1883–1893.</a:t>
            </a:r>
          </a:p>
          <a:p>
            <a:pPr marL="234361" indent="-234361">
              <a:buAutoNum type="arabicPeriod"/>
            </a:pPr>
            <a:r>
              <a:rPr lang="en-US" sz="900" b="0" u="none" spc="-21" noProof="0" dirty="0">
                <a:solidFill>
                  <a:prstClr val="black"/>
                </a:solidFill>
                <a:cs typeface="Calibri" panose="020F0502020204030204" pitchFamily="34" charset="0"/>
              </a:rPr>
              <a:t>Hulot J-S </a:t>
            </a:r>
            <a:r>
              <a:rPr lang="en-US" sz="900" b="0" i="1" u="none" spc="-21" noProof="0" dirty="0">
                <a:solidFill>
                  <a:prstClr val="black"/>
                </a:solidFill>
                <a:cs typeface="Calibri" panose="020F0502020204030204" pitchFamily="34" charset="0"/>
              </a:rPr>
              <a:t>et al. Expert Opin Pharmacother </a:t>
            </a:r>
            <a:r>
              <a:rPr lang="en-US" sz="900" b="0" u="none" spc="-21" noProof="0" dirty="0">
                <a:solidFill>
                  <a:prstClr val="black"/>
                </a:solidFill>
                <a:cs typeface="Calibri" panose="020F0502020204030204" pitchFamily="34" charset="0"/>
              </a:rPr>
              <a:t>2021;22:1847–1855.</a:t>
            </a:r>
            <a:endParaRPr lang="en-US" sz="900" b="0" u="none" noProof="0" dirty="0"/>
          </a:p>
          <a:p>
            <a:pPr lvl="0"/>
            <a:endParaRPr lang="en-GB" sz="9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6885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018C0B4A-BAD1-459C-9DAB-A7F998185C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5A14A54-B28E-461B-956C-58ABA1BA0E11}"/>
              </a:ext>
            </a:extLst>
          </p:cNvPr>
          <p:cNvSpPr>
            <a:spLocks noGrp="1"/>
          </p:cNvSpPr>
          <p:nvPr>
            <p:ph type="body" sz="quarter" idx="11" hasCustomPrompt="1"/>
          </p:nvPr>
        </p:nvSpPr>
        <p:spPr>
          <a:xfrm>
            <a:off x="601200" y="4214115"/>
            <a:ext cx="4162888" cy="1083600"/>
          </a:xfrm>
        </p:spPr>
        <p:txBody>
          <a:bodyPr wrap="square" anchor="b" anchorCtr="0">
            <a:noAutofit/>
          </a:bodyPr>
          <a:lstStyle>
            <a:lvl1pPr marL="0" indent="0">
              <a:spcBef>
                <a:spcPts val="0"/>
              </a:spcBef>
              <a:buNone/>
              <a:defRPr sz="3200">
                <a:solidFill>
                  <a:schemeClr val="bg1"/>
                </a:solidFill>
                <a:latin typeface="Arial Black" panose="020B0A04020102020204" pitchFamily="34" charset="0"/>
              </a:defRPr>
            </a:lvl1pPr>
          </a:lstStyle>
          <a:p>
            <a:pPr lvl="0"/>
            <a:r>
              <a:rPr lang="en-GB" dirty="0"/>
              <a:t>Click to edit Master title style</a:t>
            </a:r>
            <a:endParaRPr lang="en-US" dirty="0"/>
          </a:p>
        </p:txBody>
      </p:sp>
      <p:sp>
        <p:nvSpPr>
          <p:cNvPr id="12" name="Text Placeholder 11">
            <a:extLst>
              <a:ext uri="{FF2B5EF4-FFF2-40B4-BE49-F238E27FC236}">
                <a16:creationId xmlns:a16="http://schemas.microsoft.com/office/drawing/2014/main" id="{CE8BF08C-8075-4611-98FD-479FAE1F1C59}"/>
              </a:ext>
            </a:extLst>
          </p:cNvPr>
          <p:cNvSpPr>
            <a:spLocks noGrp="1"/>
          </p:cNvSpPr>
          <p:nvPr>
            <p:ph type="body" sz="quarter" idx="13"/>
          </p:nvPr>
        </p:nvSpPr>
        <p:spPr>
          <a:xfrm>
            <a:off x="601200" y="5988916"/>
            <a:ext cx="5494800" cy="284400"/>
          </a:xfrm>
        </p:spPr>
        <p:txBody>
          <a:bodyPr/>
          <a:lstStyle>
            <a:lvl1pPr marL="0" indent="0">
              <a:buNone/>
              <a:defRPr>
                <a:solidFill>
                  <a:schemeClr val="bg1">
                    <a:alpha val="50000"/>
                  </a:schemeClr>
                </a:solidFill>
              </a:defRPr>
            </a:lvl1pPr>
          </a:lstStyle>
          <a:p>
            <a:pPr lvl="0"/>
            <a:r>
              <a:rPr lang="en-US" dirty="0"/>
              <a:t>Click to edit Master text styles</a:t>
            </a:r>
          </a:p>
        </p:txBody>
      </p:sp>
      <p:sp>
        <p:nvSpPr>
          <p:cNvPr id="14" name="Text Placeholder 13">
            <a:extLst>
              <a:ext uri="{FF2B5EF4-FFF2-40B4-BE49-F238E27FC236}">
                <a16:creationId xmlns:a16="http://schemas.microsoft.com/office/drawing/2014/main" id="{BE102E39-8DD6-4D11-B0B7-DDF388BBDF2F}"/>
              </a:ext>
            </a:extLst>
          </p:cNvPr>
          <p:cNvSpPr>
            <a:spLocks noGrp="1"/>
          </p:cNvSpPr>
          <p:nvPr>
            <p:ph type="body" sz="quarter" idx="14"/>
          </p:nvPr>
        </p:nvSpPr>
        <p:spPr>
          <a:xfrm>
            <a:off x="601199" y="5387716"/>
            <a:ext cx="4882025" cy="471600"/>
          </a:xfrm>
        </p:spPr>
        <p:txBody>
          <a:bodyPr/>
          <a:lstStyle>
            <a:lvl1pPr marL="0" indent="0">
              <a:buNone/>
              <a:defRPr sz="1800" cap="all"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479705577"/>
      </p:ext>
    </p:extLst>
  </p:cSld>
  <p:clrMapOvr>
    <a:masterClrMapping/>
  </p:clrMapOvr>
  <p:extLst>
    <p:ext uri="{DCECCB84-F9BA-43D5-87BE-67443E8EF086}">
      <p15:sldGuideLst xmlns:p15="http://schemas.microsoft.com/office/powerpoint/2012/main">
        <p15:guide id="1" orient="horz" pos="3249">
          <p15:clr>
            <a:srgbClr val="FBAE40"/>
          </p15:clr>
        </p15:guide>
        <p15:guide id="3" pos="3001">
          <p15:clr>
            <a:srgbClr val="FBAE40"/>
          </p15:clr>
        </p15:guide>
        <p15:guide id="4" pos="3454">
          <p15:clr>
            <a:srgbClr val="FBAE40"/>
          </p15:clr>
        </p15:guide>
        <p15:guide id="5" pos="3840">
          <p15:clr>
            <a:srgbClr val="FBAE40"/>
          </p15:clr>
        </p15:guide>
        <p15:guide id="6" orient="horz" pos="3566">
          <p15:clr>
            <a:srgbClr val="FBAE40"/>
          </p15:clr>
        </p15:guide>
        <p15:guide id="7" orient="horz" pos="39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EAB4C390-AA58-4AA9-A7EB-247E0D9ECA69}"/>
              </a:ext>
            </a:extLst>
          </p:cNvPr>
          <p:cNvSpPr>
            <a:spLocks noGrp="1"/>
          </p:cNvSpPr>
          <p:nvPr>
            <p:ph type="title"/>
          </p:nvPr>
        </p:nvSpPr>
        <p:spPr/>
        <p:txBody>
          <a:bodyPr/>
          <a:lstStyle/>
          <a:p>
            <a:r>
              <a:rPr lang="en-US"/>
              <a:t>Click to edit Master title style</a:t>
            </a:r>
          </a:p>
        </p:txBody>
      </p:sp>
      <p:sp>
        <p:nvSpPr>
          <p:cNvPr id="10" name="Slide Number Placeholder 9">
            <a:extLst>
              <a:ext uri="{FF2B5EF4-FFF2-40B4-BE49-F238E27FC236}">
                <a16:creationId xmlns:a16="http://schemas.microsoft.com/office/drawing/2014/main" id="{6633179D-6D12-4062-BB48-F29004DCAD89}"/>
              </a:ext>
            </a:extLst>
          </p:cNvPr>
          <p:cNvSpPr>
            <a:spLocks noGrp="1"/>
          </p:cNvSpPr>
          <p:nvPr>
            <p:ph type="sldNum" sz="quarter" idx="14"/>
          </p:nvPr>
        </p:nvSpPr>
        <p:spPr/>
        <p:txBody>
          <a:bodyPr/>
          <a:lstStyle/>
          <a:p>
            <a:fld id="{7F2E7A9C-228B-4998-AC5D-8ECFE8FBAA55}" type="slidenum">
              <a:rPr lang="en-US" smtClean="0"/>
              <a:pPr/>
              <a:t>‹#›</a:t>
            </a:fld>
            <a:endParaRPr lang="en-US" dirty="0"/>
          </a:p>
        </p:txBody>
      </p:sp>
      <p:sp>
        <p:nvSpPr>
          <p:cNvPr id="3" name="Footer Placeholder 2">
            <a:extLst>
              <a:ext uri="{FF2B5EF4-FFF2-40B4-BE49-F238E27FC236}">
                <a16:creationId xmlns:a16="http://schemas.microsoft.com/office/drawing/2014/main" id="{AAF7AD63-9908-421D-9E88-7EB2EB330C35}"/>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28232602"/>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pos="37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Horizont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1684800"/>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8" name="Text Placeholder 19">
            <a:extLst>
              <a:ext uri="{FF2B5EF4-FFF2-40B4-BE49-F238E27FC236}">
                <a16:creationId xmlns:a16="http://schemas.microsoft.com/office/drawing/2014/main" id="{AC030042-D95C-4260-9689-22AF11A30881}"/>
              </a:ext>
            </a:extLst>
          </p:cNvPr>
          <p:cNvSpPr>
            <a:spLocks noGrp="1"/>
          </p:cNvSpPr>
          <p:nvPr>
            <p:ph type="body" sz="quarter" idx="16" hasCustomPrompt="1"/>
          </p:nvPr>
        </p:nvSpPr>
        <p:spPr>
          <a:xfrm>
            <a:off x="596709" y="3753036"/>
            <a:ext cx="9928416"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9" name="Content Placeholder 17">
            <a:extLst>
              <a:ext uri="{FF2B5EF4-FFF2-40B4-BE49-F238E27FC236}">
                <a16:creationId xmlns:a16="http://schemas.microsoft.com/office/drawing/2014/main" id="{69E2DD7D-5C8A-4B0E-BD41-3BBD13C00370}"/>
              </a:ext>
            </a:extLst>
          </p:cNvPr>
          <p:cNvSpPr>
            <a:spLocks noGrp="1"/>
          </p:cNvSpPr>
          <p:nvPr>
            <p:ph sz="quarter" idx="17" hasCustomPrompt="1"/>
          </p:nvPr>
        </p:nvSpPr>
        <p:spPr>
          <a:xfrm>
            <a:off x="596900" y="4155879"/>
            <a:ext cx="9928224" cy="1686121"/>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7" name="Title 6">
            <a:extLst>
              <a:ext uri="{FF2B5EF4-FFF2-40B4-BE49-F238E27FC236}">
                <a16:creationId xmlns:a16="http://schemas.microsoft.com/office/drawing/2014/main" id="{B97DC10B-1844-4E1B-A5A5-449C59A52E9A}"/>
              </a:ext>
            </a:extLst>
          </p:cNvPr>
          <p:cNvSpPr>
            <a:spLocks noGrp="1"/>
          </p:cNvSpPr>
          <p:nvPr>
            <p:ph type="title"/>
          </p:nvPr>
        </p:nvSpPr>
        <p:spPr/>
        <p:txBody>
          <a:bodyPr/>
          <a:lstStyle/>
          <a:p>
            <a:r>
              <a:rPr lang="en-US"/>
              <a:t>Click to edit Master title style</a:t>
            </a:r>
          </a:p>
        </p:txBody>
      </p:sp>
      <p:sp>
        <p:nvSpPr>
          <p:cNvPr id="12" name="Slide Number Placeholder 11">
            <a:extLst>
              <a:ext uri="{FF2B5EF4-FFF2-40B4-BE49-F238E27FC236}">
                <a16:creationId xmlns:a16="http://schemas.microsoft.com/office/drawing/2014/main" id="{8E3EAE0C-E906-4ABD-B1F9-F6D284AAB503}"/>
              </a:ext>
            </a:extLst>
          </p:cNvPr>
          <p:cNvSpPr>
            <a:spLocks noGrp="1"/>
          </p:cNvSpPr>
          <p:nvPr>
            <p:ph type="sldNum" sz="quarter" idx="19"/>
          </p:nvPr>
        </p:nvSpPr>
        <p:spPr/>
        <p:txBody>
          <a:bodyPr/>
          <a:lstStyle/>
          <a:p>
            <a:fld id="{7F2E7A9C-228B-4998-AC5D-8ECFE8FBAA55}" type="slidenum">
              <a:rPr lang="en-US" smtClean="0"/>
              <a:pPr/>
              <a:t>‹#›</a:t>
            </a:fld>
            <a:endParaRPr lang="en-US" dirty="0"/>
          </a:p>
        </p:txBody>
      </p:sp>
      <p:sp>
        <p:nvSpPr>
          <p:cNvPr id="10" name="Text Placeholder 19">
            <a:extLst>
              <a:ext uri="{FF2B5EF4-FFF2-40B4-BE49-F238E27FC236}">
                <a16:creationId xmlns:a16="http://schemas.microsoft.com/office/drawing/2014/main" id="{62215A1C-AB44-4B13-9DC6-36DE74364B60}"/>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53262727-107F-4AED-8B31-7FE3320FDB0C}"/>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2722423162"/>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8" orient="horz" pos="1049">
          <p15:clr>
            <a:srgbClr val="FBAE40"/>
          </p15:clr>
        </p15:guide>
        <p15:guide id="9" orient="horz" pos="2205">
          <p15:clr>
            <a:srgbClr val="FBAE40"/>
          </p15:clr>
        </p15:guide>
        <p15:guide id="10" orient="horz" pos="2614">
          <p15:clr>
            <a:srgbClr val="FBAE40"/>
          </p15:clr>
        </p15:guide>
        <p15:guide id="11" orient="horz" pos="252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Slide Number Placeholder 7">
            <a:extLst>
              <a:ext uri="{FF2B5EF4-FFF2-40B4-BE49-F238E27FC236}">
                <a16:creationId xmlns:a16="http://schemas.microsoft.com/office/drawing/2014/main" id="{EF246FF2-45D1-49F5-A37B-7537A9752FED}"/>
              </a:ext>
            </a:extLst>
          </p:cNvPr>
          <p:cNvSpPr>
            <a:spLocks noGrp="1"/>
          </p:cNvSpPr>
          <p:nvPr>
            <p:ph type="sldNum" sz="quarter" idx="11"/>
          </p:nvPr>
        </p:nvSpPr>
        <p:spPr/>
        <p:txBody>
          <a:bodyPr/>
          <a:lstStyle/>
          <a:p>
            <a:fld id="{7F2E7A9C-228B-4998-AC5D-8ECFE8FBAA55}" type="slidenum">
              <a:rPr lang="en-US" smtClean="0"/>
              <a:pPr/>
              <a:t>‹#›</a:t>
            </a:fld>
            <a:endParaRPr lang="en-US" dirty="0"/>
          </a:p>
        </p:txBody>
      </p:sp>
    </p:spTree>
    <p:extLst>
      <p:ext uri="{BB962C8B-B14F-4D97-AF65-F5344CB8AC3E}">
        <p14:creationId xmlns:p14="http://schemas.microsoft.com/office/powerpoint/2010/main" val="1576631533"/>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pos="37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5" name="Kép 2">
            <a:extLst>
              <a:ext uri="{FF2B5EF4-FFF2-40B4-BE49-F238E27FC236}">
                <a16:creationId xmlns:a16="http://schemas.microsoft.com/office/drawing/2014/main" id="{5C4404F7-A10D-4CFA-B411-13D8456094A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Title 1">
            <a:extLst>
              <a:ext uri="{FF2B5EF4-FFF2-40B4-BE49-F238E27FC236}">
                <a16:creationId xmlns:a16="http://schemas.microsoft.com/office/drawing/2014/main" id="{5E4851AF-5263-418F-AD0F-2929DD5434FD}"/>
              </a:ext>
            </a:extLst>
          </p:cNvPr>
          <p:cNvSpPr>
            <a:spLocks noGrp="1"/>
          </p:cNvSpPr>
          <p:nvPr>
            <p:ph type="title"/>
          </p:nvPr>
        </p:nvSpPr>
        <p:spPr>
          <a:xfrm>
            <a:off x="600074" y="3980120"/>
            <a:ext cx="5122769" cy="941504"/>
          </a:xfrm>
        </p:spPr>
        <p:txBody>
          <a:bodyPr anchor="b">
            <a:noAutofit/>
          </a:bodyPr>
          <a:lstStyle>
            <a:lvl1pPr marL="0" algn="l" defTabSz="914400" rtl="0" eaLnBrk="1" latinLnBrk="0" hangingPunct="1">
              <a:lnSpc>
                <a:spcPct val="100000"/>
              </a:lnSpc>
              <a:spcBef>
                <a:spcPct val="0"/>
              </a:spcBef>
              <a:buNone/>
              <a:defRPr lang="en-US" sz="2800" kern="1200" dirty="0">
                <a:solidFill>
                  <a:schemeClr val="accent4">
                    <a:alpha val="80000"/>
                  </a:schemeClr>
                </a:solidFill>
                <a:latin typeface="Arial Black" panose="020B0A04020102020204" pitchFamily="34" charset="0"/>
                <a:ea typeface="+mj-ea"/>
                <a:cs typeface="+mj-cs"/>
              </a:defRPr>
            </a:lvl1pPr>
          </a:lstStyle>
          <a:p>
            <a:r>
              <a:rPr lang="en-US" noProof="0" dirty="0"/>
              <a:t>Click to edit Master title style</a:t>
            </a:r>
          </a:p>
        </p:txBody>
      </p:sp>
    </p:spTree>
    <p:extLst>
      <p:ext uri="{BB962C8B-B14F-4D97-AF65-F5344CB8AC3E}">
        <p14:creationId xmlns:p14="http://schemas.microsoft.com/office/powerpoint/2010/main" val="9152717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alternative">
    <p:spTree>
      <p:nvGrpSpPr>
        <p:cNvPr id="1" name=""/>
        <p:cNvGrpSpPr/>
        <p:nvPr/>
      </p:nvGrpSpPr>
      <p:grpSpPr>
        <a:xfrm>
          <a:off x="0" y="0"/>
          <a:ext cx="0" cy="0"/>
          <a:chOff x="0" y="0"/>
          <a:chExt cx="0" cy="0"/>
        </a:xfrm>
      </p:grpSpPr>
      <p:pic>
        <p:nvPicPr>
          <p:cNvPr id="17" name="Kép 5">
            <a:extLst>
              <a:ext uri="{FF2B5EF4-FFF2-40B4-BE49-F238E27FC236}">
                <a16:creationId xmlns:a16="http://schemas.microsoft.com/office/drawing/2014/main" id="{F5BEEA31-9A15-448E-95A3-60C81860573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362124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5">
            <a:extLst>
              <a:ext uri="{FF2B5EF4-FFF2-40B4-BE49-F238E27FC236}">
                <a16:creationId xmlns:a16="http://schemas.microsoft.com/office/drawing/2014/main" id="{0C71781B-C1DC-41CE-9D32-78EEC86DECB2}"/>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7812CDCD-5E3A-43FA-8E57-8EEA473C8204}"/>
              </a:ext>
            </a:extLst>
          </p:cNvPr>
          <p:cNvSpPr>
            <a:spLocks noGrp="1"/>
          </p:cNvSpPr>
          <p:nvPr>
            <p:ph type="sldNum" sz="quarter" idx="16"/>
          </p:nvPr>
        </p:nvSpPr>
        <p:spPr/>
        <p:txBody>
          <a:bodyPr/>
          <a:lstStyle/>
          <a:p>
            <a:fld id="{7F2E7A9C-228B-4998-AC5D-8ECFE8FBAA55}" type="slidenum">
              <a:rPr lang="en-US" smtClean="0"/>
              <a:pPr/>
              <a:t>‹#›</a:t>
            </a:fld>
            <a:endParaRPr lang="en-US" dirty="0"/>
          </a:p>
        </p:txBody>
      </p:sp>
      <p:sp>
        <p:nvSpPr>
          <p:cNvPr id="8" name="Text Placeholder 19">
            <a:extLst>
              <a:ext uri="{FF2B5EF4-FFF2-40B4-BE49-F238E27FC236}">
                <a16:creationId xmlns:a16="http://schemas.microsoft.com/office/drawing/2014/main" id="{B3563CD5-0031-4E7F-B231-41D968C98DB7}"/>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BE2194DD-0C1C-45A4-825B-88E2CD4BE1B3}"/>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039100550"/>
      </p:ext>
    </p:extLst>
  </p:cSld>
  <p:clrMapOvr>
    <a:masterClrMapping/>
  </p:clrMapOvr>
  <p:extLst>
    <p:ext uri="{DCECCB84-F9BA-43D5-87BE-67443E8EF086}">
      <p15:sldGuideLst xmlns:p15="http://schemas.microsoft.com/office/powerpoint/2012/main">
        <p15:guide id="2" pos="438">
          <p15:clr>
            <a:srgbClr val="FBAE40"/>
          </p15:clr>
        </p15:guide>
        <p15:guide id="4" pos="7423">
          <p15:clr>
            <a:srgbClr val="FBAE40"/>
          </p15:clr>
        </p15:guide>
        <p15:guide id="5" orient="horz" pos="618">
          <p15:clr>
            <a:srgbClr val="FBAE40"/>
          </p15:clr>
        </p15:guide>
        <p15:guide id="7" orient="horz" pos="1071">
          <p15:clr>
            <a:srgbClr val="FBAE40"/>
          </p15:clr>
        </p15:guide>
        <p15:guide id="8" orient="horz" pos="343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851" y="558698"/>
            <a:ext cx="10479314" cy="415498"/>
          </a:xfrm>
        </p:spPr>
        <p:txBody>
          <a:bodyPr/>
          <a:lstStyle/>
          <a:p>
            <a:r>
              <a:rPr lang="en-US"/>
              <a:t>Click to edit Master title style</a:t>
            </a:r>
          </a:p>
        </p:txBody>
      </p:sp>
      <p:sp>
        <p:nvSpPr>
          <p:cNvPr id="3" name="Content Placeholder 2"/>
          <p:cNvSpPr>
            <a:spLocks noGrp="1"/>
          </p:cNvSpPr>
          <p:nvPr>
            <p:ph sz="half" idx="1"/>
          </p:nvPr>
        </p:nvSpPr>
        <p:spPr>
          <a:xfrm>
            <a:off x="482851"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0212421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749" cy="978650"/>
          </a:xfrm>
        </p:spPr>
        <p:txBody>
          <a:bodyPr>
            <a:normAutofit/>
          </a:bodyPr>
          <a:lstStyle>
            <a:lvl1pPr>
              <a:defRPr sz="3200"/>
            </a:lvl1pPr>
          </a:lstStyle>
          <a:p>
            <a:r>
              <a:rPr lang="en-US"/>
              <a:t>Click to edit Master title style</a:t>
            </a:r>
            <a:br>
              <a:rPr lang="en-US"/>
            </a:br>
            <a:endParaRPr lang="en-US"/>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6" y="6233823"/>
            <a:ext cx="8466991" cy="365125"/>
          </a:xfrm>
        </p:spPr>
        <p:txBody>
          <a:bodyPr/>
          <a:lstStyle/>
          <a:p>
            <a:endParaRPr lang="en-US"/>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US" smtClean="0"/>
              <a:t>‹#›</a:t>
            </a:fld>
            <a:endParaRPr lang="en-US"/>
          </a:p>
        </p:txBody>
      </p:sp>
      <p:sp>
        <p:nvSpPr>
          <p:cNvPr id="7" name="Content Placeholder 2">
            <a:extLst>
              <a:ext uri="{FF2B5EF4-FFF2-40B4-BE49-F238E27FC236}">
                <a16:creationId xmlns:a16="http://schemas.microsoft.com/office/drawing/2014/main" id="{50970C57-D819-471C-ADEC-12EA7B60D645}"/>
              </a:ext>
            </a:extLst>
          </p:cNvPr>
          <p:cNvSpPr>
            <a:spLocks noGrp="1"/>
          </p:cNvSpPr>
          <p:nvPr>
            <p:ph idx="1" hasCustomPrompt="1"/>
          </p:nvPr>
        </p:nvSpPr>
        <p:spPr>
          <a:xfrm>
            <a:off x="650239" y="1437827"/>
            <a:ext cx="10882949" cy="4637854"/>
          </a:xfr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2000" indent="-284400">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1"/>
            <a:endParaRPr lang="en-US"/>
          </a:p>
        </p:txBody>
      </p:sp>
    </p:spTree>
    <p:extLst>
      <p:ext uri="{BB962C8B-B14F-4D97-AF65-F5344CB8AC3E}">
        <p14:creationId xmlns:p14="http://schemas.microsoft.com/office/powerpoint/2010/main" val="1363785719"/>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822">
          <p15:clr>
            <a:srgbClr val="FBAE40"/>
          </p15:clr>
        </p15:guide>
        <p15:guide id="5" pos="60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967EF7-BE18-4BEB-AA65-26E89989C48B}" type="datetime1">
              <a:rPr kumimoji="0" lang="en-US" sz="1900" b="0" i="0" u="none" strike="noStrike" kern="1200" cap="none" spc="0" normalizeH="0" baseline="0" noProof="0" smtClean="0">
                <a:ln>
                  <a:noFill/>
                </a:ln>
                <a:solidFill>
                  <a:srgbClr val="53585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3/2023</a:t>
            </a:fld>
            <a:endParaRPr kumimoji="0" lang="en-US" sz="1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Darolutamide in mHSPC /// SAWP Discussion Meeting /// 01 Sep 2020</a:t>
            </a:r>
            <a:endParaRPr kumimoji="0" lang="en-US"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bwMode="gray"/>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900" b="0" i="0" u="none" strike="noStrike" kern="1200" cap="none" spc="0" normalizeH="0" baseline="0" noProof="0" smtClean="0">
                <a:ln>
                  <a:noFill/>
                </a:ln>
                <a:solidFill>
                  <a:srgbClr val="53585A"/>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53585A"/>
                </a:solidFill>
                <a:effectLst/>
                <a:uLnTx/>
                <a:uFillTx/>
                <a:latin typeface="Arial" panose="020B0604020202020204"/>
                <a:ea typeface="+mn-ea"/>
                <a:cs typeface="+mn-cs"/>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53585A"/>
                </a:solidFill>
                <a:effectLst/>
                <a:uLnTx/>
                <a:uFillTx/>
                <a:latin typeface="Arial" panose="020B0604020202020204"/>
                <a:ea typeface="+mn-ea"/>
                <a:cs typeface="+mn-cs"/>
              </a:rPr>
              <a:t>Schutz</a:t>
            </a:r>
          </a:p>
        </p:txBody>
      </p:sp>
    </p:spTree>
    <p:extLst>
      <p:ext uri="{BB962C8B-B14F-4D97-AF65-F5344CB8AC3E}">
        <p14:creationId xmlns:p14="http://schemas.microsoft.com/office/powerpoint/2010/main" val="92698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Section Divider">
    <p:spTree>
      <p:nvGrpSpPr>
        <p:cNvPr id="1" name=""/>
        <p:cNvGrpSpPr/>
        <p:nvPr/>
      </p:nvGrpSpPr>
      <p:grpSpPr>
        <a:xfrm>
          <a:off x="0" y="0"/>
          <a:ext cx="0" cy="0"/>
          <a:chOff x="0" y="0"/>
          <a:chExt cx="0" cy="0"/>
        </a:xfrm>
      </p:grpSpPr>
      <p:pic>
        <p:nvPicPr>
          <p:cNvPr id="8" name="Kép 5">
            <a:extLst>
              <a:ext uri="{FF2B5EF4-FFF2-40B4-BE49-F238E27FC236}">
                <a16:creationId xmlns:a16="http://schemas.microsoft.com/office/drawing/2014/main" id="{38B82ADD-B2FD-4579-B3CB-E091186F76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9EA5F40-31A8-449C-8430-739BE2FFDB7B}"/>
              </a:ext>
            </a:extLst>
          </p:cNvPr>
          <p:cNvSpPr>
            <a:spLocks noGrp="1"/>
          </p:cNvSpPr>
          <p:nvPr>
            <p:ph type="title" hasCustomPrompt="1"/>
          </p:nvPr>
        </p:nvSpPr>
        <p:spPr>
          <a:xfrm>
            <a:off x="600074" y="3920456"/>
            <a:ext cx="5122769" cy="1001168"/>
          </a:xfrm>
        </p:spPr>
        <p:txBody>
          <a:bodyPr anchor="t">
            <a:noAutofit/>
          </a:bodyPr>
          <a:lstStyle>
            <a:lvl1pPr marL="0" algn="l" defTabSz="914400" rtl="0" eaLnBrk="1" latinLnBrk="0" hangingPunct="1">
              <a:lnSpc>
                <a:spcPct val="100000"/>
              </a:lnSpc>
              <a:spcBef>
                <a:spcPct val="0"/>
              </a:spcBef>
              <a:buNone/>
              <a:defRPr lang="en-US" sz="2800" kern="1200" dirty="0">
                <a:solidFill>
                  <a:srgbClr val="4F256F">
                    <a:alpha val="80000"/>
                  </a:srgbClr>
                </a:solidFill>
                <a:latin typeface="Arial Black" panose="020B0A04020102020204" pitchFamily="34" charset="0"/>
                <a:ea typeface="+mj-ea"/>
                <a:cs typeface="+mj-cs"/>
              </a:defRPr>
            </a:lvl1pPr>
          </a:lstStyle>
          <a:p>
            <a:r>
              <a:rPr lang="en-US" noProof="0"/>
              <a:t>Section Divider</a:t>
            </a:r>
          </a:p>
        </p:txBody>
      </p:sp>
      <p:sp>
        <p:nvSpPr>
          <p:cNvPr id="5" name="Slide Number Placeholder 4">
            <a:extLst>
              <a:ext uri="{FF2B5EF4-FFF2-40B4-BE49-F238E27FC236}">
                <a16:creationId xmlns:a16="http://schemas.microsoft.com/office/drawing/2014/main" id="{125BE810-4726-462C-8589-52189C629A72}"/>
              </a:ext>
            </a:extLst>
          </p:cNvPr>
          <p:cNvSpPr>
            <a:spLocks noGrp="1"/>
          </p:cNvSpPr>
          <p:nvPr>
            <p:ph type="sldNum" sz="quarter" idx="12"/>
          </p:nvPr>
        </p:nvSpPr>
        <p:spPr/>
        <p:txBody>
          <a:bodyPr/>
          <a:lstStyle/>
          <a:p>
            <a:fld id="{34F3E8DA-EFA8-4AF6-91A7-62A147E0F12C}" type="slidenum">
              <a:rPr lang="en-US" smtClean="0"/>
              <a:pPr/>
              <a:t>‹#›</a:t>
            </a:fld>
            <a:endParaRPr lang="en-US"/>
          </a:p>
        </p:txBody>
      </p:sp>
    </p:spTree>
    <p:extLst>
      <p:ext uri="{BB962C8B-B14F-4D97-AF65-F5344CB8AC3E}">
        <p14:creationId xmlns:p14="http://schemas.microsoft.com/office/powerpoint/2010/main" val="3855566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lide - alternative">
    <p:spTree>
      <p:nvGrpSpPr>
        <p:cNvPr id="1" name=""/>
        <p:cNvGrpSpPr/>
        <p:nvPr/>
      </p:nvGrpSpPr>
      <p:grpSpPr>
        <a:xfrm>
          <a:off x="0" y="0"/>
          <a:ext cx="0" cy="0"/>
          <a:chOff x="0" y="0"/>
          <a:chExt cx="0" cy="0"/>
        </a:xfrm>
      </p:grpSpPr>
      <p:pic>
        <p:nvPicPr>
          <p:cNvPr id="17" name="Kép 5">
            <a:extLst>
              <a:ext uri="{FF2B5EF4-FFF2-40B4-BE49-F238E27FC236}">
                <a16:creationId xmlns:a16="http://schemas.microsoft.com/office/drawing/2014/main" id="{F5BEEA31-9A15-448E-95A3-60C81860573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2" name="Title 1">
            <a:extLst>
              <a:ext uri="{FF2B5EF4-FFF2-40B4-BE49-F238E27FC236}">
                <a16:creationId xmlns:a16="http://schemas.microsoft.com/office/drawing/2014/main" id="{401ECA75-DCFC-4C81-8F4D-C03D90547459}"/>
              </a:ext>
            </a:extLst>
          </p:cNvPr>
          <p:cNvSpPr>
            <a:spLocks noGrp="1"/>
          </p:cNvSpPr>
          <p:nvPr>
            <p:ph type="title" hasCustomPrompt="1"/>
          </p:nvPr>
        </p:nvSpPr>
        <p:spPr>
          <a:xfrm>
            <a:off x="596710" y="164567"/>
            <a:ext cx="9777970" cy="929127"/>
          </a:xfrm>
        </p:spPr>
        <p:txBody>
          <a:bodyPr/>
          <a:lstStyle>
            <a:lvl1pPr>
              <a:defRPr/>
            </a:lvl1pPr>
          </a:lstStyle>
          <a:p>
            <a:r>
              <a:rPr lang="en-US"/>
              <a:t>Headline</a:t>
            </a:r>
          </a:p>
        </p:txBody>
      </p:sp>
      <p:sp>
        <p:nvSpPr>
          <p:cNvPr id="5" name="Slide Number Placeholder 4">
            <a:extLst>
              <a:ext uri="{FF2B5EF4-FFF2-40B4-BE49-F238E27FC236}">
                <a16:creationId xmlns:a16="http://schemas.microsoft.com/office/drawing/2014/main" id="{B15870DD-927B-46DE-B012-1BED632E3027}"/>
              </a:ext>
            </a:extLst>
          </p:cNvPr>
          <p:cNvSpPr>
            <a:spLocks noGrp="1"/>
          </p:cNvSpPr>
          <p:nvPr>
            <p:ph type="sldNum" sz="quarter" idx="12"/>
          </p:nvPr>
        </p:nvSpPr>
        <p:spPr/>
        <p:txBody>
          <a:bodyPr/>
          <a:lstStyle/>
          <a:p>
            <a:fld id="{34F3E8DA-EFA8-4AF6-91A7-62A147E0F12C}" type="slidenum">
              <a:rPr lang="en-US" smtClean="0"/>
              <a:pPr/>
              <a:t>‹#›</a:t>
            </a:fld>
            <a:endParaRPr lang="en-US"/>
          </a:p>
        </p:txBody>
      </p:sp>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900" y="1717439"/>
            <a:ext cx="9774040" cy="3711971"/>
          </a:xfrm>
        </p:spPr>
        <p:txBody>
          <a:bodyPr/>
          <a:lstStyle>
            <a:lvl1pPr>
              <a:defRPr/>
            </a:lvl1pPr>
          </a:lstStyle>
          <a:p>
            <a:pPr lvl="0"/>
            <a:r>
              <a:rPr lang="en-US"/>
              <a:t>First level</a:t>
            </a:r>
          </a:p>
          <a:p>
            <a:pPr lvl="1"/>
            <a:r>
              <a:rPr lang="en-US"/>
              <a:t>Second level</a:t>
            </a:r>
          </a:p>
          <a:p>
            <a:pPr lvl="2"/>
            <a:r>
              <a:rPr lang="en-US"/>
              <a:t>Third level</a:t>
            </a:r>
          </a:p>
        </p:txBody>
      </p:sp>
      <p:sp>
        <p:nvSpPr>
          <p:cNvPr id="20" name="Text Placeholder 19">
            <a:extLst>
              <a:ext uri="{FF2B5EF4-FFF2-40B4-BE49-F238E27FC236}">
                <a16:creationId xmlns:a16="http://schemas.microsoft.com/office/drawing/2014/main" id="{1BB0C874-97AC-4E09-ACCF-CB5A0D2FDA37}"/>
              </a:ext>
            </a:extLst>
          </p:cNvPr>
          <p:cNvSpPr>
            <a:spLocks noGrp="1"/>
          </p:cNvSpPr>
          <p:nvPr>
            <p:ph type="body" sz="quarter" idx="14" hasCustomPrompt="1"/>
          </p:nvPr>
        </p:nvSpPr>
        <p:spPr>
          <a:xfrm>
            <a:off x="596710" y="1235237"/>
            <a:ext cx="9777970" cy="317635"/>
          </a:xfrm>
        </p:spPr>
        <p:txBody>
          <a:bodyPr/>
          <a:lstStyle>
            <a:lvl1pPr marL="0" indent="0">
              <a:buNone/>
              <a:defRPr b="1">
                <a:solidFill>
                  <a:srgbClr val="72518C"/>
                </a:solidFill>
              </a:defRPr>
            </a:lvl1pPr>
          </a:lstStyle>
          <a:p>
            <a:pPr lvl="0"/>
            <a:r>
              <a:rPr lang="de-DE"/>
              <a:t>Sub-Headline</a:t>
            </a:r>
            <a:endParaRPr lang="en-US"/>
          </a:p>
        </p:txBody>
      </p:sp>
      <p:sp>
        <p:nvSpPr>
          <p:cNvPr id="22" name="Text Placeholder 21">
            <a:extLst>
              <a:ext uri="{FF2B5EF4-FFF2-40B4-BE49-F238E27FC236}">
                <a16:creationId xmlns:a16="http://schemas.microsoft.com/office/drawing/2014/main" id="{3E08F515-AB1C-4197-AD5D-1AD727844780}"/>
              </a:ext>
            </a:extLst>
          </p:cNvPr>
          <p:cNvSpPr>
            <a:spLocks noGrp="1"/>
          </p:cNvSpPr>
          <p:nvPr>
            <p:ph type="body" sz="quarter" idx="15" hasCustomPrompt="1"/>
          </p:nvPr>
        </p:nvSpPr>
        <p:spPr>
          <a:xfrm>
            <a:off x="596710" y="5593977"/>
            <a:ext cx="9774040" cy="574526"/>
          </a:xfrm>
        </p:spPr>
        <p:txBody>
          <a:bodyPr anchor="b">
            <a:noAutofit/>
          </a:bodyPr>
          <a:lstStyle>
            <a:lvl1pPr marL="0" indent="0">
              <a:spcBef>
                <a:spcPts val="0"/>
              </a:spcBef>
              <a:buNone/>
              <a:defRPr sz="800">
                <a:solidFill>
                  <a:srgbClr val="929292"/>
                </a:solidFill>
              </a:defRPr>
            </a:lvl1pPr>
          </a:lstStyle>
          <a:p>
            <a:pPr lvl="0"/>
            <a:r>
              <a:rPr lang="de-DE" sz="800"/>
              <a:t>Footnotes &amp; References</a:t>
            </a:r>
            <a:endParaRPr lang="en-US"/>
          </a:p>
        </p:txBody>
      </p:sp>
    </p:spTree>
    <p:extLst>
      <p:ext uri="{BB962C8B-B14F-4D97-AF65-F5344CB8AC3E}">
        <p14:creationId xmlns:p14="http://schemas.microsoft.com/office/powerpoint/2010/main" val="61127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8" name="Kép 5">
            <a:extLst>
              <a:ext uri="{FF2B5EF4-FFF2-40B4-BE49-F238E27FC236}">
                <a16:creationId xmlns:a16="http://schemas.microsoft.com/office/drawing/2014/main" id="{38B82ADD-B2FD-4579-B3CB-E091186F76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9EA5F40-31A8-449C-8430-739BE2FFDB7B}"/>
              </a:ext>
            </a:extLst>
          </p:cNvPr>
          <p:cNvSpPr>
            <a:spLocks noGrp="1"/>
          </p:cNvSpPr>
          <p:nvPr>
            <p:ph type="title"/>
          </p:nvPr>
        </p:nvSpPr>
        <p:spPr>
          <a:xfrm>
            <a:off x="600074" y="3920456"/>
            <a:ext cx="5122769" cy="1001168"/>
          </a:xfrm>
        </p:spPr>
        <p:txBody>
          <a:bodyPr anchor="b">
            <a:noAutofit/>
          </a:bodyPr>
          <a:lstStyle>
            <a:lvl1pPr marL="0" algn="l" defTabSz="914400" rtl="0" eaLnBrk="1" latinLnBrk="0" hangingPunct="1">
              <a:lnSpc>
                <a:spcPct val="100000"/>
              </a:lnSpc>
              <a:spcBef>
                <a:spcPct val="0"/>
              </a:spcBef>
              <a:buNone/>
              <a:defRPr lang="en-US" sz="2800" kern="1200" dirty="0">
                <a:solidFill>
                  <a:schemeClr val="accent4">
                    <a:alpha val="80000"/>
                  </a:schemeClr>
                </a:solidFill>
                <a:latin typeface="Arial Black" panose="020B0A04020102020204" pitchFamily="34" charset="0"/>
                <a:ea typeface="+mj-ea"/>
                <a:cs typeface="+mj-cs"/>
              </a:defRPr>
            </a:lvl1pPr>
          </a:lstStyle>
          <a:p>
            <a:r>
              <a:rPr lang="en-GB" noProof="0" dirty="0"/>
              <a:t>C</a:t>
            </a:r>
            <a:r>
              <a:rPr lang="en-US" noProof="0" dirty="0"/>
              <a:t>lick to edit Master title style</a:t>
            </a:r>
          </a:p>
        </p:txBody>
      </p:sp>
    </p:spTree>
    <p:extLst>
      <p:ext uri="{BB962C8B-B14F-4D97-AF65-F5344CB8AC3E}">
        <p14:creationId xmlns:p14="http://schemas.microsoft.com/office/powerpoint/2010/main" val="1768953873"/>
      </p:ext>
    </p:extLst>
  </p:cSld>
  <p:clrMapOvr>
    <a:masterClrMapping/>
  </p:clrMapOvr>
  <p:extLst>
    <p:ext uri="{DCECCB84-F9BA-43D5-87BE-67443E8EF086}">
      <p15:sldGuideLst xmlns:p15="http://schemas.microsoft.com/office/powerpoint/2012/main">
        <p15:guide id="1" pos="3613">
          <p15:clr>
            <a:srgbClr val="FBAE40"/>
          </p15:clr>
        </p15:guide>
        <p15:guide id="3" orient="horz" pos="302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134246CB-B5DE-477D-AC1C-F9434085CAA9}" type="datetime1">
              <a:rPr lang="en-US" smtClean="0"/>
              <a:t>23/03/2023</a:t>
            </a:fld>
            <a:endParaRPr lang="en-US" dirty="0"/>
          </a:p>
        </p:txBody>
      </p:sp>
      <p:sp>
        <p:nvSpPr>
          <p:cNvPr id="5" name="Footer Placeholder 4"/>
          <p:cNvSpPr>
            <a:spLocks noGrp="1"/>
          </p:cNvSpPr>
          <p:nvPr>
            <p:ph type="ftr" sz="quarter" idx="11"/>
          </p:nvPr>
        </p:nvSpPr>
        <p:spPr bwMode="gray"/>
        <p:txBody>
          <a:bodyPr/>
          <a:lstStyle/>
          <a:p>
            <a:r>
              <a:rPr lang="en-US"/>
              <a:t>/// Bayer 16:9 Template Chart Pool /// December 2017</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a:hlinkClick r:id="" action="ppaction://noaction"/>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196045"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8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401ECA75-DCFC-4C81-8F4D-C03D90547459}"/>
              </a:ext>
            </a:extLst>
          </p:cNvPr>
          <p:cNvSpPr>
            <a:spLocks noGrp="1"/>
          </p:cNvSpPr>
          <p:nvPr>
            <p:ph type="title" hasCustomPrompt="1"/>
          </p:nvPr>
        </p:nvSpPr>
        <p:spPr>
          <a:xfrm>
            <a:off x="596710" y="164567"/>
            <a:ext cx="9777970" cy="929127"/>
          </a:xfrm>
        </p:spPr>
        <p:txBody>
          <a:bodyPr/>
          <a:lstStyle>
            <a:lvl1pPr>
              <a:defRPr/>
            </a:lvl1pPr>
          </a:lstStyle>
          <a:p>
            <a:r>
              <a:rPr lang="en-US"/>
              <a:t>Headline</a:t>
            </a:r>
          </a:p>
        </p:txBody>
      </p:sp>
      <p:sp>
        <p:nvSpPr>
          <p:cNvPr id="5" name="Slide Number Placeholder 4">
            <a:extLst>
              <a:ext uri="{FF2B5EF4-FFF2-40B4-BE49-F238E27FC236}">
                <a16:creationId xmlns:a16="http://schemas.microsoft.com/office/drawing/2014/main" id="{B15870DD-927B-46DE-B012-1BED632E3027}"/>
              </a:ext>
            </a:extLst>
          </p:cNvPr>
          <p:cNvSpPr>
            <a:spLocks noGrp="1"/>
          </p:cNvSpPr>
          <p:nvPr>
            <p:ph type="sldNum" sz="quarter" idx="12"/>
          </p:nvPr>
        </p:nvSpPr>
        <p:spPr/>
        <p:txBody>
          <a:bodyPr/>
          <a:lstStyle/>
          <a:p>
            <a:fld id="{34F3E8DA-EFA8-4AF6-91A7-62A147E0F12C}" type="slidenum">
              <a:rPr lang="en-US" smtClean="0"/>
              <a:pPr/>
              <a:t>‹#›</a:t>
            </a:fld>
            <a:endParaRPr lang="en-US"/>
          </a:p>
        </p:txBody>
      </p:sp>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900" y="1717439"/>
            <a:ext cx="9774040" cy="3711971"/>
          </a:xfrm>
        </p:spPr>
        <p:txBody>
          <a:bodyPr/>
          <a:lstStyle>
            <a:lvl1pPr>
              <a:defRPr/>
            </a:lvl1pPr>
          </a:lstStyle>
          <a:p>
            <a:pPr lvl="0"/>
            <a:r>
              <a:rPr lang="en-US"/>
              <a:t>First level</a:t>
            </a:r>
          </a:p>
          <a:p>
            <a:pPr lvl="1"/>
            <a:r>
              <a:rPr lang="en-US"/>
              <a:t>Second level</a:t>
            </a:r>
          </a:p>
          <a:p>
            <a:pPr lvl="2"/>
            <a:r>
              <a:rPr lang="en-US"/>
              <a:t>Third level</a:t>
            </a:r>
          </a:p>
        </p:txBody>
      </p:sp>
      <p:sp>
        <p:nvSpPr>
          <p:cNvPr id="20" name="Text Placeholder 19">
            <a:extLst>
              <a:ext uri="{FF2B5EF4-FFF2-40B4-BE49-F238E27FC236}">
                <a16:creationId xmlns:a16="http://schemas.microsoft.com/office/drawing/2014/main" id="{1BB0C874-97AC-4E09-ACCF-CB5A0D2FDA37}"/>
              </a:ext>
            </a:extLst>
          </p:cNvPr>
          <p:cNvSpPr>
            <a:spLocks noGrp="1"/>
          </p:cNvSpPr>
          <p:nvPr>
            <p:ph type="body" sz="quarter" idx="14" hasCustomPrompt="1"/>
          </p:nvPr>
        </p:nvSpPr>
        <p:spPr>
          <a:xfrm>
            <a:off x="596710" y="1235237"/>
            <a:ext cx="9777970" cy="317635"/>
          </a:xfrm>
        </p:spPr>
        <p:txBody>
          <a:bodyPr/>
          <a:lstStyle>
            <a:lvl1pPr marL="0" indent="0">
              <a:buNone/>
              <a:defRPr b="1">
                <a:solidFill>
                  <a:srgbClr val="72518C"/>
                </a:solidFill>
              </a:defRPr>
            </a:lvl1pPr>
          </a:lstStyle>
          <a:p>
            <a:pPr lvl="0"/>
            <a:r>
              <a:rPr lang="de-DE"/>
              <a:t>Sub-Headline</a:t>
            </a:r>
            <a:endParaRPr lang="en-US"/>
          </a:p>
        </p:txBody>
      </p:sp>
      <p:sp>
        <p:nvSpPr>
          <p:cNvPr id="22" name="Text Placeholder 21">
            <a:extLst>
              <a:ext uri="{FF2B5EF4-FFF2-40B4-BE49-F238E27FC236}">
                <a16:creationId xmlns:a16="http://schemas.microsoft.com/office/drawing/2014/main" id="{3E08F515-AB1C-4197-AD5D-1AD727844780}"/>
              </a:ext>
            </a:extLst>
          </p:cNvPr>
          <p:cNvSpPr>
            <a:spLocks noGrp="1"/>
          </p:cNvSpPr>
          <p:nvPr>
            <p:ph type="body" sz="quarter" idx="15" hasCustomPrompt="1"/>
          </p:nvPr>
        </p:nvSpPr>
        <p:spPr>
          <a:xfrm>
            <a:off x="596710" y="5593977"/>
            <a:ext cx="9774040" cy="574526"/>
          </a:xfrm>
        </p:spPr>
        <p:txBody>
          <a:bodyPr anchor="b">
            <a:noAutofit/>
          </a:bodyPr>
          <a:lstStyle>
            <a:lvl1pPr marL="0" indent="0">
              <a:spcBef>
                <a:spcPts val="0"/>
              </a:spcBef>
              <a:buNone/>
              <a:defRPr sz="800">
                <a:solidFill>
                  <a:srgbClr val="929292"/>
                </a:solidFill>
              </a:defRPr>
            </a:lvl1pPr>
          </a:lstStyle>
          <a:p>
            <a:pPr lvl="0"/>
            <a:r>
              <a:rPr lang="de-DE" sz="800"/>
              <a:t>Footnotes &amp; References</a:t>
            </a:r>
            <a:endParaRPr lang="en-US"/>
          </a:p>
        </p:txBody>
      </p:sp>
    </p:spTree>
    <p:extLst>
      <p:ext uri="{BB962C8B-B14F-4D97-AF65-F5344CB8AC3E}">
        <p14:creationId xmlns:p14="http://schemas.microsoft.com/office/powerpoint/2010/main" val="2211761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018C0B4A-BAD1-459C-9DAB-A7F998185C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5A14A54-B28E-461B-956C-58ABA1BA0E11}"/>
              </a:ext>
            </a:extLst>
          </p:cNvPr>
          <p:cNvSpPr>
            <a:spLocks noGrp="1"/>
          </p:cNvSpPr>
          <p:nvPr>
            <p:ph type="body" sz="quarter" idx="11" hasCustomPrompt="1"/>
          </p:nvPr>
        </p:nvSpPr>
        <p:spPr>
          <a:xfrm>
            <a:off x="601200" y="4214115"/>
            <a:ext cx="4162888" cy="1083600"/>
          </a:xfrm>
        </p:spPr>
        <p:txBody>
          <a:bodyPr wrap="square" anchor="b" anchorCtr="0">
            <a:noAutofit/>
          </a:bodyPr>
          <a:lstStyle>
            <a:lvl1pPr marL="0" indent="0">
              <a:spcBef>
                <a:spcPts val="0"/>
              </a:spcBef>
              <a:buNone/>
              <a:defRPr sz="3200">
                <a:solidFill>
                  <a:schemeClr val="bg1"/>
                </a:solidFill>
                <a:latin typeface="Arial Black" panose="020B0A04020102020204" pitchFamily="34" charset="0"/>
              </a:defRPr>
            </a:lvl1pPr>
          </a:lstStyle>
          <a:p>
            <a:pPr lvl="0"/>
            <a:r>
              <a:rPr lang="en-GB" dirty="0"/>
              <a:t>Click to edit Master title style</a:t>
            </a:r>
            <a:endParaRPr lang="en-US" dirty="0"/>
          </a:p>
        </p:txBody>
      </p:sp>
      <p:sp>
        <p:nvSpPr>
          <p:cNvPr id="12" name="Text Placeholder 11">
            <a:extLst>
              <a:ext uri="{FF2B5EF4-FFF2-40B4-BE49-F238E27FC236}">
                <a16:creationId xmlns:a16="http://schemas.microsoft.com/office/drawing/2014/main" id="{CE8BF08C-8075-4611-98FD-479FAE1F1C59}"/>
              </a:ext>
            </a:extLst>
          </p:cNvPr>
          <p:cNvSpPr>
            <a:spLocks noGrp="1"/>
          </p:cNvSpPr>
          <p:nvPr>
            <p:ph type="body" sz="quarter" idx="13"/>
          </p:nvPr>
        </p:nvSpPr>
        <p:spPr>
          <a:xfrm>
            <a:off x="601200" y="5988916"/>
            <a:ext cx="5494800" cy="284400"/>
          </a:xfrm>
        </p:spPr>
        <p:txBody>
          <a:bodyPr/>
          <a:lstStyle>
            <a:lvl1pPr marL="0" indent="0">
              <a:buNone/>
              <a:defRPr>
                <a:solidFill>
                  <a:schemeClr val="bg1">
                    <a:alpha val="50000"/>
                  </a:schemeClr>
                </a:solidFill>
              </a:defRPr>
            </a:lvl1pPr>
          </a:lstStyle>
          <a:p>
            <a:pPr lvl="0"/>
            <a:r>
              <a:rPr lang="en-US" dirty="0"/>
              <a:t>Click to edit Master text styles</a:t>
            </a:r>
          </a:p>
        </p:txBody>
      </p:sp>
      <p:sp>
        <p:nvSpPr>
          <p:cNvPr id="14" name="Text Placeholder 13">
            <a:extLst>
              <a:ext uri="{FF2B5EF4-FFF2-40B4-BE49-F238E27FC236}">
                <a16:creationId xmlns:a16="http://schemas.microsoft.com/office/drawing/2014/main" id="{BE102E39-8DD6-4D11-B0B7-DDF388BBDF2F}"/>
              </a:ext>
            </a:extLst>
          </p:cNvPr>
          <p:cNvSpPr>
            <a:spLocks noGrp="1"/>
          </p:cNvSpPr>
          <p:nvPr>
            <p:ph type="body" sz="quarter" idx="14"/>
          </p:nvPr>
        </p:nvSpPr>
        <p:spPr>
          <a:xfrm>
            <a:off x="601199" y="5387716"/>
            <a:ext cx="4882025" cy="471600"/>
          </a:xfrm>
        </p:spPr>
        <p:txBody>
          <a:bodyPr/>
          <a:lstStyle>
            <a:lvl1pPr marL="0" indent="0">
              <a:buNone/>
              <a:defRPr sz="1800" cap="all"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438317369"/>
      </p:ext>
    </p:extLst>
  </p:cSld>
  <p:clrMapOvr>
    <a:masterClrMapping/>
  </p:clrMapOvr>
  <p:extLst>
    <p:ext uri="{DCECCB84-F9BA-43D5-87BE-67443E8EF086}">
      <p15:sldGuideLst xmlns:p15="http://schemas.microsoft.com/office/powerpoint/2012/main">
        <p15:guide id="1" orient="horz" pos="3249">
          <p15:clr>
            <a:srgbClr val="FBAE40"/>
          </p15:clr>
        </p15:guide>
        <p15:guide id="3" pos="3001">
          <p15:clr>
            <a:srgbClr val="FBAE40"/>
          </p15:clr>
        </p15:guide>
        <p15:guide id="4" pos="3454">
          <p15:clr>
            <a:srgbClr val="FBAE40"/>
          </p15:clr>
        </p15:guide>
        <p15:guide id="5" pos="3840">
          <p15:clr>
            <a:srgbClr val="FBAE40"/>
          </p15:clr>
        </p15:guide>
        <p15:guide id="6" orient="horz" pos="3566">
          <p15:clr>
            <a:srgbClr val="FBAE40"/>
          </p15:clr>
        </p15:guide>
        <p15:guide id="7" orient="horz" pos="39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8" name="Kép 5">
            <a:extLst>
              <a:ext uri="{FF2B5EF4-FFF2-40B4-BE49-F238E27FC236}">
                <a16:creationId xmlns:a16="http://schemas.microsoft.com/office/drawing/2014/main" id="{38B82ADD-B2FD-4579-B3CB-E091186F76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9EA5F40-31A8-449C-8430-739BE2FFDB7B}"/>
              </a:ext>
            </a:extLst>
          </p:cNvPr>
          <p:cNvSpPr>
            <a:spLocks noGrp="1"/>
          </p:cNvSpPr>
          <p:nvPr>
            <p:ph type="title"/>
          </p:nvPr>
        </p:nvSpPr>
        <p:spPr>
          <a:xfrm>
            <a:off x="600074" y="3920456"/>
            <a:ext cx="5122769" cy="1001168"/>
          </a:xfrm>
        </p:spPr>
        <p:txBody>
          <a:bodyPr anchor="b">
            <a:noAutofit/>
          </a:bodyPr>
          <a:lstStyle>
            <a:lvl1pPr marL="0" algn="l" defTabSz="914400" rtl="0" eaLnBrk="1" latinLnBrk="0" hangingPunct="1">
              <a:lnSpc>
                <a:spcPct val="100000"/>
              </a:lnSpc>
              <a:spcBef>
                <a:spcPct val="0"/>
              </a:spcBef>
              <a:buNone/>
              <a:defRPr lang="en-US" sz="2800" kern="1200" dirty="0">
                <a:solidFill>
                  <a:schemeClr val="accent4">
                    <a:alpha val="80000"/>
                  </a:schemeClr>
                </a:solidFill>
                <a:latin typeface="Arial Black" panose="020B0A04020102020204" pitchFamily="34" charset="0"/>
                <a:ea typeface="+mj-ea"/>
                <a:cs typeface="+mj-cs"/>
              </a:defRPr>
            </a:lvl1pPr>
          </a:lstStyle>
          <a:p>
            <a:r>
              <a:rPr lang="en-GB" noProof="0" dirty="0"/>
              <a:t>C</a:t>
            </a:r>
            <a:r>
              <a:rPr lang="en-US" noProof="0" dirty="0"/>
              <a:t>lick to edit Master title style</a:t>
            </a:r>
          </a:p>
        </p:txBody>
      </p:sp>
    </p:spTree>
    <p:extLst>
      <p:ext uri="{BB962C8B-B14F-4D97-AF65-F5344CB8AC3E}">
        <p14:creationId xmlns:p14="http://schemas.microsoft.com/office/powerpoint/2010/main" val="556318569"/>
      </p:ext>
    </p:extLst>
  </p:cSld>
  <p:clrMapOvr>
    <a:masterClrMapping/>
  </p:clrMapOvr>
  <p:extLst>
    <p:ext uri="{DCECCB84-F9BA-43D5-87BE-67443E8EF086}">
      <p15:sldGuideLst xmlns:p15="http://schemas.microsoft.com/office/powerpoint/2012/main">
        <p15:guide id="1" pos="3613">
          <p15:clr>
            <a:srgbClr val="FBAE40"/>
          </p15:clr>
        </p15:guide>
        <p15:guide id="3" orient="horz" pos="302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20" name="Text Placeholder 19">
            <a:extLst>
              <a:ext uri="{FF2B5EF4-FFF2-40B4-BE49-F238E27FC236}">
                <a16:creationId xmlns:a16="http://schemas.microsoft.com/office/drawing/2014/main" id="{1BB0C874-97AC-4E09-ACCF-CB5A0D2FDA37}"/>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13" name="Slide Number Placeholder 12">
            <a:extLst>
              <a:ext uri="{FF2B5EF4-FFF2-40B4-BE49-F238E27FC236}">
                <a16:creationId xmlns:a16="http://schemas.microsoft.com/office/drawing/2014/main" id="{16C98B2A-AB53-4F81-8366-418BC015BCF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2E8C5CC-B1AB-4E03-BCA5-A9D92B0B5C8E}"/>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D5A48A5-8947-4B05-BAFC-38BC32B1006D}"/>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823394"/>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7" orient="horz" pos="1049">
          <p15:clr>
            <a:srgbClr val="FBAE40"/>
          </p15:clr>
        </p15:guide>
        <p15:guide id="8" orient="horz" pos="11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o 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09" y="1412875"/>
            <a:ext cx="9928415"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9" name="Title 8">
            <a:extLst>
              <a:ext uri="{FF2B5EF4-FFF2-40B4-BE49-F238E27FC236}">
                <a16:creationId xmlns:a16="http://schemas.microsoft.com/office/drawing/2014/main" id="{5F780C52-01CB-46FC-A4C3-94F0AB7E2008}"/>
              </a:ext>
            </a:extLst>
          </p:cNvPr>
          <p:cNvSpPr>
            <a:spLocks noGrp="1"/>
          </p:cNvSpPr>
          <p:nvPr>
            <p:ph type="title"/>
          </p:nvPr>
        </p:nvSpPr>
        <p:spPr/>
        <p:txBody>
          <a:bodyPr/>
          <a:lstStyle/>
          <a:p>
            <a:r>
              <a:rPr lang="en-US"/>
              <a:t>Click to edit Master title style</a:t>
            </a:r>
          </a:p>
        </p:txBody>
      </p:sp>
      <p:sp>
        <p:nvSpPr>
          <p:cNvPr id="12" name="Slide Number Placeholder 11">
            <a:extLst>
              <a:ext uri="{FF2B5EF4-FFF2-40B4-BE49-F238E27FC236}">
                <a16:creationId xmlns:a16="http://schemas.microsoft.com/office/drawing/2014/main" id="{632DFEF2-47D2-4AF8-B91F-4290D84E0F92}"/>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E8BC7557-6A52-44A7-9D82-CB92AD1F07B4}"/>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5853445"/>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412875"/>
            <a:ext cx="4824000"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7" name="Content Placeholder 17">
            <a:extLst>
              <a:ext uri="{FF2B5EF4-FFF2-40B4-BE49-F238E27FC236}">
                <a16:creationId xmlns:a16="http://schemas.microsoft.com/office/drawing/2014/main" id="{12DA11BE-FC38-4FF1-8A43-65823F17EE84}"/>
              </a:ext>
            </a:extLst>
          </p:cNvPr>
          <p:cNvSpPr>
            <a:spLocks noGrp="1"/>
          </p:cNvSpPr>
          <p:nvPr>
            <p:ph sz="quarter" idx="16" hasCustomPrompt="1"/>
          </p:nvPr>
        </p:nvSpPr>
        <p:spPr>
          <a:xfrm>
            <a:off x="5701124" y="1412873"/>
            <a:ext cx="4824000" cy="442912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0" name="Title 9">
            <a:extLst>
              <a:ext uri="{FF2B5EF4-FFF2-40B4-BE49-F238E27FC236}">
                <a16:creationId xmlns:a16="http://schemas.microsoft.com/office/drawing/2014/main" id="{2D626EA1-2F52-49B4-B7BA-20CBCA18FC1A}"/>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2595304A-F884-4A9C-93C0-C9A9A775CB71}"/>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D1CDB944-5AAE-4FB2-8278-CB81A13CD25A}"/>
              </a:ext>
            </a:extLst>
          </p:cNvPr>
          <p:cNvSpPr>
            <a:spLocks noGrp="1"/>
          </p:cNvSpPr>
          <p:nvPr>
            <p:ph type="ftr"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32175000"/>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7" pos="3591">
          <p15:clr>
            <a:srgbClr val="FBAE40"/>
          </p15:clr>
        </p15:guide>
        <p15:guide id="8" pos="340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ith Subhead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900" y="1808163"/>
            <a:ext cx="4824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8" name="Text Placeholder 19">
            <a:extLst>
              <a:ext uri="{FF2B5EF4-FFF2-40B4-BE49-F238E27FC236}">
                <a16:creationId xmlns:a16="http://schemas.microsoft.com/office/drawing/2014/main" id="{A3E5FC5F-EB01-405F-B50D-8FFDAE6E5901}"/>
              </a:ext>
            </a:extLst>
          </p:cNvPr>
          <p:cNvSpPr>
            <a:spLocks noGrp="1"/>
          </p:cNvSpPr>
          <p:nvPr>
            <p:ph type="body" sz="quarter" idx="16" hasCustomPrompt="1"/>
          </p:nvPr>
        </p:nvSpPr>
        <p:spPr>
          <a:xfrm>
            <a:off x="5700713" y="1419177"/>
            <a:ext cx="4824411"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9" name="Content Placeholder 17">
            <a:extLst>
              <a:ext uri="{FF2B5EF4-FFF2-40B4-BE49-F238E27FC236}">
                <a16:creationId xmlns:a16="http://schemas.microsoft.com/office/drawing/2014/main" id="{B26795D8-6C69-4A04-BEA2-A8599E13F7CF}"/>
              </a:ext>
            </a:extLst>
          </p:cNvPr>
          <p:cNvSpPr>
            <a:spLocks noGrp="1"/>
          </p:cNvSpPr>
          <p:nvPr>
            <p:ph sz="quarter" idx="17" hasCustomPrompt="1"/>
          </p:nvPr>
        </p:nvSpPr>
        <p:spPr>
          <a:xfrm>
            <a:off x="5701125" y="1808163"/>
            <a:ext cx="4824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3" name="Slide Number Placeholder 12">
            <a:extLst>
              <a:ext uri="{FF2B5EF4-FFF2-40B4-BE49-F238E27FC236}">
                <a16:creationId xmlns:a16="http://schemas.microsoft.com/office/drawing/2014/main" id="{D7100246-92CC-4D95-B3B3-72AEF9823D04}"/>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11" name="Text Placeholder 19">
            <a:extLst>
              <a:ext uri="{FF2B5EF4-FFF2-40B4-BE49-F238E27FC236}">
                <a16:creationId xmlns:a16="http://schemas.microsoft.com/office/drawing/2014/main" id="{384D9D1A-A867-43CA-BE3A-F5C38A69C101}"/>
              </a:ext>
            </a:extLst>
          </p:cNvPr>
          <p:cNvSpPr>
            <a:spLocks noGrp="1"/>
          </p:cNvSpPr>
          <p:nvPr>
            <p:ph type="body" sz="quarter" idx="14" hasCustomPrompt="1"/>
          </p:nvPr>
        </p:nvSpPr>
        <p:spPr>
          <a:xfrm>
            <a:off x="596709" y="1419177"/>
            <a:ext cx="4824001"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2" name="Title 1">
            <a:extLst>
              <a:ext uri="{FF2B5EF4-FFF2-40B4-BE49-F238E27FC236}">
                <a16:creationId xmlns:a16="http://schemas.microsoft.com/office/drawing/2014/main" id="{05A8FA5C-284D-486F-B9A7-C88EDEAF4DD8}"/>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5036C7FB-2199-460D-B4CE-6A76181E9F9D}"/>
              </a:ext>
            </a:extLst>
          </p:cNvPr>
          <p:cNvSpPr>
            <a:spLocks noGrp="1"/>
          </p:cNvSpPr>
          <p:nvPr>
            <p:ph type="ftr"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6588282"/>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8" orient="horz" pos="1049">
          <p15:clr>
            <a:srgbClr val="FBAE40"/>
          </p15:clr>
        </p15:guide>
        <p15:guide id="9" pos="3591">
          <p15:clr>
            <a:srgbClr val="FBAE40"/>
          </p15:clr>
        </p15:guide>
        <p15:guide id="10" pos="340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412875"/>
            <a:ext cx="3132000"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0" name="Content Placeholder 17">
            <a:extLst>
              <a:ext uri="{FF2B5EF4-FFF2-40B4-BE49-F238E27FC236}">
                <a16:creationId xmlns:a16="http://schemas.microsoft.com/office/drawing/2014/main" id="{42FA6C41-BD36-429A-BA1F-330AE956B6FA}"/>
              </a:ext>
            </a:extLst>
          </p:cNvPr>
          <p:cNvSpPr>
            <a:spLocks noGrp="1"/>
          </p:cNvSpPr>
          <p:nvPr>
            <p:ph sz="quarter" idx="18" hasCustomPrompt="1"/>
          </p:nvPr>
        </p:nvSpPr>
        <p:spPr>
          <a:xfrm>
            <a:off x="7393124" y="1412875"/>
            <a:ext cx="3132000" cy="4429125"/>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1" name="Content Placeholder 17">
            <a:extLst>
              <a:ext uri="{FF2B5EF4-FFF2-40B4-BE49-F238E27FC236}">
                <a16:creationId xmlns:a16="http://schemas.microsoft.com/office/drawing/2014/main" id="{FBA303FF-50E0-4096-9FA5-02BF67E640F8}"/>
              </a:ext>
            </a:extLst>
          </p:cNvPr>
          <p:cNvSpPr>
            <a:spLocks noGrp="1"/>
          </p:cNvSpPr>
          <p:nvPr>
            <p:ph sz="quarter" idx="19" hasCustomPrompt="1"/>
          </p:nvPr>
        </p:nvSpPr>
        <p:spPr>
          <a:xfrm>
            <a:off x="3994917" y="1412875"/>
            <a:ext cx="3132000"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8" name="Title 7">
            <a:extLst>
              <a:ext uri="{FF2B5EF4-FFF2-40B4-BE49-F238E27FC236}">
                <a16:creationId xmlns:a16="http://schemas.microsoft.com/office/drawing/2014/main" id="{372D9CE4-C2C8-4635-A8B9-AA1E3014C9C0}"/>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839F4558-9C7A-4D29-B3BA-8FD200B39707}"/>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AA41D322-A547-413B-9E96-49F3EAEA3507}"/>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49091288"/>
      </p:ext>
    </p:extLst>
  </p:cSld>
  <p:clrMapOvr>
    <a:masterClrMapping/>
  </p:clrMapOvr>
  <p:extLst>
    <p:ext uri="{DCECCB84-F9BA-43D5-87BE-67443E8EF086}">
      <p15:sldGuideLst xmlns:p15="http://schemas.microsoft.com/office/powerpoint/2012/main">
        <p15:guide id="1" pos="438">
          <p15:clr>
            <a:srgbClr val="FBAE40"/>
          </p15:clr>
        </p15:guide>
        <p15:guide id="2" pos="4498">
          <p15:clr>
            <a:srgbClr val="FBAE40"/>
          </p15:clr>
        </p15:guide>
        <p15:guide id="3" orient="horz" pos="618">
          <p15:clr>
            <a:srgbClr val="FBAE40"/>
          </p15:clr>
        </p15:guide>
        <p15:guide id="5" pos="4656">
          <p15:clr>
            <a:srgbClr val="FBAE40"/>
          </p15:clr>
        </p15:guide>
        <p15:guide id="7" pos="2502">
          <p15:clr>
            <a:srgbClr val="FBAE40"/>
          </p15:clr>
        </p15:guide>
        <p15:guide id="8" pos="234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with Subhead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808162"/>
            <a:ext cx="3132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0" name="Content Placeholder 17">
            <a:extLst>
              <a:ext uri="{FF2B5EF4-FFF2-40B4-BE49-F238E27FC236}">
                <a16:creationId xmlns:a16="http://schemas.microsoft.com/office/drawing/2014/main" id="{42FA6C41-BD36-429A-BA1F-330AE956B6FA}"/>
              </a:ext>
            </a:extLst>
          </p:cNvPr>
          <p:cNvSpPr>
            <a:spLocks noGrp="1"/>
          </p:cNvSpPr>
          <p:nvPr>
            <p:ph sz="quarter" idx="18" hasCustomPrompt="1"/>
          </p:nvPr>
        </p:nvSpPr>
        <p:spPr>
          <a:xfrm>
            <a:off x="7393124" y="1808162"/>
            <a:ext cx="3132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1" name="Content Placeholder 17">
            <a:extLst>
              <a:ext uri="{FF2B5EF4-FFF2-40B4-BE49-F238E27FC236}">
                <a16:creationId xmlns:a16="http://schemas.microsoft.com/office/drawing/2014/main" id="{FBA303FF-50E0-4096-9FA5-02BF67E640F8}"/>
              </a:ext>
            </a:extLst>
          </p:cNvPr>
          <p:cNvSpPr>
            <a:spLocks noGrp="1"/>
          </p:cNvSpPr>
          <p:nvPr>
            <p:ph sz="quarter" idx="19" hasCustomPrompt="1"/>
          </p:nvPr>
        </p:nvSpPr>
        <p:spPr>
          <a:xfrm>
            <a:off x="3994917" y="1808162"/>
            <a:ext cx="3132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2" name="Text Placeholder 19">
            <a:extLst>
              <a:ext uri="{FF2B5EF4-FFF2-40B4-BE49-F238E27FC236}">
                <a16:creationId xmlns:a16="http://schemas.microsoft.com/office/drawing/2014/main" id="{6C0458CF-418C-4FF7-855D-A52E0C243B7C}"/>
              </a:ext>
            </a:extLst>
          </p:cNvPr>
          <p:cNvSpPr>
            <a:spLocks noGrp="1"/>
          </p:cNvSpPr>
          <p:nvPr>
            <p:ph type="body" sz="quarter" idx="16" hasCustomPrompt="1"/>
          </p:nvPr>
        </p:nvSpPr>
        <p:spPr>
          <a:xfrm>
            <a:off x="3994917" y="1419177"/>
            <a:ext cx="3132000"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13" name="Text Placeholder 19">
            <a:extLst>
              <a:ext uri="{FF2B5EF4-FFF2-40B4-BE49-F238E27FC236}">
                <a16:creationId xmlns:a16="http://schemas.microsoft.com/office/drawing/2014/main" id="{7DB1950E-05E3-4743-B432-4655618353B3}"/>
              </a:ext>
            </a:extLst>
          </p:cNvPr>
          <p:cNvSpPr>
            <a:spLocks noGrp="1"/>
          </p:cNvSpPr>
          <p:nvPr>
            <p:ph type="body" sz="quarter" idx="20" hasCustomPrompt="1"/>
          </p:nvPr>
        </p:nvSpPr>
        <p:spPr>
          <a:xfrm>
            <a:off x="7398829" y="1419177"/>
            <a:ext cx="3132000"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8" name="Title 7">
            <a:extLst>
              <a:ext uri="{FF2B5EF4-FFF2-40B4-BE49-F238E27FC236}">
                <a16:creationId xmlns:a16="http://schemas.microsoft.com/office/drawing/2014/main" id="{1856CEF0-5B19-4934-A512-FDF48F34EA47}"/>
              </a:ext>
            </a:extLst>
          </p:cNvPr>
          <p:cNvSpPr>
            <a:spLocks noGrp="1"/>
          </p:cNvSpPr>
          <p:nvPr>
            <p:ph type="title"/>
          </p:nvPr>
        </p:nvSpPr>
        <p:spPr/>
        <p:txBody>
          <a:bodyPr/>
          <a:lstStyle/>
          <a:p>
            <a:r>
              <a:rPr lang="en-US"/>
              <a:t>Click to edit Master title style</a:t>
            </a:r>
          </a:p>
        </p:txBody>
      </p:sp>
      <p:sp>
        <p:nvSpPr>
          <p:cNvPr id="16" name="Slide Number Placeholder 15">
            <a:extLst>
              <a:ext uri="{FF2B5EF4-FFF2-40B4-BE49-F238E27FC236}">
                <a16:creationId xmlns:a16="http://schemas.microsoft.com/office/drawing/2014/main" id="{ACCE6036-6588-4854-9686-E8AD5F232130}"/>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14" name="Text Placeholder 19">
            <a:extLst>
              <a:ext uri="{FF2B5EF4-FFF2-40B4-BE49-F238E27FC236}">
                <a16:creationId xmlns:a16="http://schemas.microsoft.com/office/drawing/2014/main" id="{537E4767-7F3C-4EBC-AD6B-F959FBD92B66}"/>
              </a:ext>
            </a:extLst>
          </p:cNvPr>
          <p:cNvSpPr>
            <a:spLocks noGrp="1"/>
          </p:cNvSpPr>
          <p:nvPr>
            <p:ph type="body" sz="quarter" idx="14" hasCustomPrompt="1"/>
          </p:nvPr>
        </p:nvSpPr>
        <p:spPr>
          <a:xfrm>
            <a:off x="596710" y="1419177"/>
            <a:ext cx="3122804"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E126D5EE-2462-40DB-B179-889DBE1DC2DC}"/>
              </a:ext>
            </a:extLst>
          </p:cNvPr>
          <p:cNvSpPr>
            <a:spLocks noGrp="1"/>
          </p:cNvSpPr>
          <p:nvPr>
            <p:ph type="ftr" sz="quarter" idx="2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67698369"/>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orient="horz" pos="777">
          <p15:clr>
            <a:srgbClr val="FBAE40"/>
          </p15:clr>
        </p15:guide>
        <p15:guide id="7" pos="2525">
          <p15:clr>
            <a:srgbClr val="FBAE40"/>
          </p15:clr>
        </p15:guide>
        <p15:guide id="8" pos="2343">
          <p15:clr>
            <a:srgbClr val="FBAE40"/>
          </p15:clr>
        </p15:guide>
        <p15:guide id="9" pos="4656">
          <p15:clr>
            <a:srgbClr val="FBAE40"/>
          </p15:clr>
        </p15:guide>
        <p15:guide id="10" pos="44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20" name="Text Placeholder 19">
            <a:extLst>
              <a:ext uri="{FF2B5EF4-FFF2-40B4-BE49-F238E27FC236}">
                <a16:creationId xmlns:a16="http://schemas.microsoft.com/office/drawing/2014/main" id="{1BB0C874-97AC-4E09-ACCF-CB5A0D2FDA37}"/>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13" name="Slide Number Placeholder 12">
            <a:extLst>
              <a:ext uri="{FF2B5EF4-FFF2-40B4-BE49-F238E27FC236}">
                <a16:creationId xmlns:a16="http://schemas.microsoft.com/office/drawing/2014/main" id="{16C98B2A-AB53-4F81-8366-418BC015BCF0}"/>
              </a:ext>
            </a:extLst>
          </p:cNvPr>
          <p:cNvSpPr>
            <a:spLocks noGrp="1"/>
          </p:cNvSpPr>
          <p:nvPr>
            <p:ph type="sldNum" sz="quarter" idx="16"/>
          </p:nvPr>
        </p:nvSpPr>
        <p:spPr/>
        <p:txBody>
          <a:bodyPr/>
          <a:lstStyle/>
          <a:p>
            <a:fld id="{7F2E7A9C-228B-4998-AC5D-8ECFE8FBAA55}" type="slidenum">
              <a:rPr lang="en-US" smtClean="0"/>
              <a:pPr/>
              <a:t>‹#›</a:t>
            </a:fld>
            <a:endParaRPr lang="en-US" dirty="0"/>
          </a:p>
        </p:txBody>
      </p:sp>
      <p:sp>
        <p:nvSpPr>
          <p:cNvPr id="2" name="Title 1">
            <a:extLst>
              <a:ext uri="{FF2B5EF4-FFF2-40B4-BE49-F238E27FC236}">
                <a16:creationId xmlns:a16="http://schemas.microsoft.com/office/drawing/2014/main" id="{B2E8C5CC-B1AB-4E03-BCA5-A9D92B0B5C8E}"/>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D5A48A5-8947-4B05-BAFC-38BC32B1006D}"/>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679004588"/>
      </p:ext>
    </p:extLst>
  </p:cSld>
  <p:clrMapOvr>
    <a:masterClrMapping/>
  </p:clrMapOvr>
  <p:hf hdr="0" dt="0"/>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7" orient="horz" pos="1049">
          <p15:clr>
            <a:srgbClr val="FBAE40"/>
          </p15:clr>
        </p15:guide>
        <p15:guide id="8" orient="horz" pos="113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Title 7">
            <a:extLst>
              <a:ext uri="{FF2B5EF4-FFF2-40B4-BE49-F238E27FC236}">
                <a16:creationId xmlns:a16="http://schemas.microsoft.com/office/drawing/2014/main" id="{2473B35B-C9D2-4FAF-871B-85C62A613D65}"/>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8E9FCD9A-8565-4AAC-A671-3D385287FD82}"/>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7" name="Text Placeholder 19">
            <a:extLst>
              <a:ext uri="{FF2B5EF4-FFF2-40B4-BE49-F238E27FC236}">
                <a16:creationId xmlns:a16="http://schemas.microsoft.com/office/drawing/2014/main" id="{D36DBB6A-105A-43EF-81FB-A5FF100F42C7}"/>
              </a:ext>
            </a:extLst>
          </p:cNvPr>
          <p:cNvSpPr>
            <a:spLocks noGrp="1"/>
          </p:cNvSpPr>
          <p:nvPr>
            <p:ph type="body" sz="quarter" idx="14" hasCustomPrompt="1"/>
          </p:nvPr>
        </p:nvSpPr>
        <p:spPr>
          <a:xfrm>
            <a:off x="596709" y="1419177"/>
            <a:ext cx="9928415" cy="317635"/>
          </a:xfrm>
        </p:spPr>
        <p:txBody>
          <a:bodyPr/>
          <a:lstStyle>
            <a:lvl1pPr marL="0" indent="0">
              <a:buNone/>
              <a:defRPr b="1">
                <a:solidFill>
                  <a:srgbClr val="72518C"/>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08693709-1588-45DD-8AE3-82E56B928847}"/>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609532"/>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7" orient="horz" pos="935">
          <p15:clr>
            <a:srgbClr val="FBAE40"/>
          </p15:clr>
        </p15:guide>
        <p15:guide id="8" orient="horz" pos="107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EAB4C390-AA58-4AA9-A7EB-247E0D9ECA69}"/>
              </a:ext>
            </a:extLst>
          </p:cNvPr>
          <p:cNvSpPr>
            <a:spLocks noGrp="1"/>
          </p:cNvSpPr>
          <p:nvPr>
            <p:ph type="title"/>
          </p:nvPr>
        </p:nvSpPr>
        <p:spPr/>
        <p:txBody>
          <a:bodyPr/>
          <a:lstStyle/>
          <a:p>
            <a:r>
              <a:rPr lang="en-US"/>
              <a:t>Click to edit Master title style</a:t>
            </a:r>
          </a:p>
        </p:txBody>
      </p:sp>
      <p:sp>
        <p:nvSpPr>
          <p:cNvPr id="10" name="Slide Number Placeholder 9">
            <a:extLst>
              <a:ext uri="{FF2B5EF4-FFF2-40B4-BE49-F238E27FC236}">
                <a16:creationId xmlns:a16="http://schemas.microsoft.com/office/drawing/2014/main" id="{6633179D-6D12-4062-BB48-F29004DCAD8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AAF7AD63-9908-421D-9E88-7EB2EB330C35}"/>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59522256"/>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pos="37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 Horizont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1684800"/>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8" name="Text Placeholder 19">
            <a:extLst>
              <a:ext uri="{FF2B5EF4-FFF2-40B4-BE49-F238E27FC236}">
                <a16:creationId xmlns:a16="http://schemas.microsoft.com/office/drawing/2014/main" id="{AC030042-D95C-4260-9689-22AF11A30881}"/>
              </a:ext>
            </a:extLst>
          </p:cNvPr>
          <p:cNvSpPr>
            <a:spLocks noGrp="1"/>
          </p:cNvSpPr>
          <p:nvPr>
            <p:ph type="body" sz="quarter" idx="16" hasCustomPrompt="1"/>
          </p:nvPr>
        </p:nvSpPr>
        <p:spPr>
          <a:xfrm>
            <a:off x="596709" y="3753036"/>
            <a:ext cx="9928416"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9" name="Content Placeholder 17">
            <a:extLst>
              <a:ext uri="{FF2B5EF4-FFF2-40B4-BE49-F238E27FC236}">
                <a16:creationId xmlns:a16="http://schemas.microsoft.com/office/drawing/2014/main" id="{69E2DD7D-5C8A-4B0E-BD41-3BBD13C00370}"/>
              </a:ext>
            </a:extLst>
          </p:cNvPr>
          <p:cNvSpPr>
            <a:spLocks noGrp="1"/>
          </p:cNvSpPr>
          <p:nvPr>
            <p:ph sz="quarter" idx="17" hasCustomPrompt="1"/>
          </p:nvPr>
        </p:nvSpPr>
        <p:spPr>
          <a:xfrm>
            <a:off x="596900" y="4155879"/>
            <a:ext cx="9928224" cy="1686121"/>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7" name="Title 6">
            <a:extLst>
              <a:ext uri="{FF2B5EF4-FFF2-40B4-BE49-F238E27FC236}">
                <a16:creationId xmlns:a16="http://schemas.microsoft.com/office/drawing/2014/main" id="{B97DC10B-1844-4E1B-A5A5-449C59A52E9A}"/>
              </a:ext>
            </a:extLst>
          </p:cNvPr>
          <p:cNvSpPr>
            <a:spLocks noGrp="1"/>
          </p:cNvSpPr>
          <p:nvPr>
            <p:ph type="title"/>
          </p:nvPr>
        </p:nvSpPr>
        <p:spPr/>
        <p:txBody>
          <a:bodyPr/>
          <a:lstStyle/>
          <a:p>
            <a:r>
              <a:rPr lang="en-US"/>
              <a:t>Click to edit Master title style</a:t>
            </a:r>
          </a:p>
        </p:txBody>
      </p:sp>
      <p:sp>
        <p:nvSpPr>
          <p:cNvPr id="12" name="Slide Number Placeholder 11">
            <a:extLst>
              <a:ext uri="{FF2B5EF4-FFF2-40B4-BE49-F238E27FC236}">
                <a16:creationId xmlns:a16="http://schemas.microsoft.com/office/drawing/2014/main" id="{8E3EAE0C-E906-4ABD-B1F9-F6D284AAB503}"/>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10" name="Text Placeholder 19">
            <a:extLst>
              <a:ext uri="{FF2B5EF4-FFF2-40B4-BE49-F238E27FC236}">
                <a16:creationId xmlns:a16="http://schemas.microsoft.com/office/drawing/2014/main" id="{62215A1C-AB44-4B13-9DC6-36DE74364B60}"/>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53262727-107F-4AED-8B31-7FE3320FDB0C}"/>
              </a:ext>
            </a:extLst>
          </p:cNvPr>
          <p:cNvSpPr>
            <a:spLocks noGrp="1"/>
          </p:cNvSpPr>
          <p:nvPr>
            <p:ph type="ftr"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01281564"/>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8" orient="horz" pos="1049">
          <p15:clr>
            <a:srgbClr val="FBAE40"/>
          </p15:clr>
        </p15:guide>
        <p15:guide id="9" orient="horz" pos="2205">
          <p15:clr>
            <a:srgbClr val="FBAE40"/>
          </p15:clr>
        </p15:guide>
        <p15:guide id="10" orient="horz" pos="2614">
          <p15:clr>
            <a:srgbClr val="FBAE40"/>
          </p15:clr>
        </p15:guide>
        <p15:guide id="11" orient="horz" pos="252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Slide Number Placeholder 7">
            <a:extLst>
              <a:ext uri="{FF2B5EF4-FFF2-40B4-BE49-F238E27FC236}">
                <a16:creationId xmlns:a16="http://schemas.microsoft.com/office/drawing/2014/main" id="{EF246FF2-45D1-49F5-A37B-7537A9752FE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37986063"/>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pos="37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5" name="Kép 2">
            <a:extLst>
              <a:ext uri="{FF2B5EF4-FFF2-40B4-BE49-F238E27FC236}">
                <a16:creationId xmlns:a16="http://schemas.microsoft.com/office/drawing/2014/main" id="{5C4404F7-A10D-4CFA-B411-13D8456094A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Title 1">
            <a:extLst>
              <a:ext uri="{FF2B5EF4-FFF2-40B4-BE49-F238E27FC236}">
                <a16:creationId xmlns:a16="http://schemas.microsoft.com/office/drawing/2014/main" id="{5E4851AF-5263-418F-AD0F-2929DD5434FD}"/>
              </a:ext>
            </a:extLst>
          </p:cNvPr>
          <p:cNvSpPr>
            <a:spLocks noGrp="1"/>
          </p:cNvSpPr>
          <p:nvPr>
            <p:ph type="title"/>
          </p:nvPr>
        </p:nvSpPr>
        <p:spPr>
          <a:xfrm>
            <a:off x="600074" y="3980120"/>
            <a:ext cx="5122769" cy="941504"/>
          </a:xfrm>
        </p:spPr>
        <p:txBody>
          <a:bodyPr anchor="b">
            <a:noAutofit/>
          </a:bodyPr>
          <a:lstStyle>
            <a:lvl1pPr marL="0" algn="l" defTabSz="914400" rtl="0" eaLnBrk="1" latinLnBrk="0" hangingPunct="1">
              <a:lnSpc>
                <a:spcPct val="100000"/>
              </a:lnSpc>
              <a:spcBef>
                <a:spcPct val="0"/>
              </a:spcBef>
              <a:buNone/>
              <a:defRPr lang="en-US" sz="2800" kern="1200" dirty="0">
                <a:solidFill>
                  <a:schemeClr val="accent4">
                    <a:alpha val="80000"/>
                  </a:schemeClr>
                </a:solidFill>
                <a:latin typeface="Arial Black" panose="020B0A04020102020204" pitchFamily="34" charset="0"/>
                <a:ea typeface="+mj-ea"/>
                <a:cs typeface="+mj-cs"/>
              </a:defRPr>
            </a:lvl1pPr>
          </a:lstStyle>
          <a:p>
            <a:r>
              <a:rPr lang="en-US" noProof="0" dirty="0"/>
              <a:t>Click to edit Master title style</a:t>
            </a:r>
          </a:p>
        </p:txBody>
      </p:sp>
    </p:spTree>
    <p:extLst>
      <p:ext uri="{BB962C8B-B14F-4D97-AF65-F5344CB8AC3E}">
        <p14:creationId xmlns:p14="http://schemas.microsoft.com/office/powerpoint/2010/main" val="26215522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 alternative">
    <p:spTree>
      <p:nvGrpSpPr>
        <p:cNvPr id="1" name=""/>
        <p:cNvGrpSpPr/>
        <p:nvPr/>
      </p:nvGrpSpPr>
      <p:grpSpPr>
        <a:xfrm>
          <a:off x="0" y="0"/>
          <a:ext cx="0" cy="0"/>
          <a:chOff x="0" y="0"/>
          <a:chExt cx="0" cy="0"/>
        </a:xfrm>
      </p:grpSpPr>
      <p:pic>
        <p:nvPicPr>
          <p:cNvPr id="17" name="Kép 5">
            <a:extLst>
              <a:ext uri="{FF2B5EF4-FFF2-40B4-BE49-F238E27FC236}">
                <a16:creationId xmlns:a16="http://schemas.microsoft.com/office/drawing/2014/main" id="{F5BEEA31-9A15-448E-95A3-60C81860573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362124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5">
            <a:extLst>
              <a:ext uri="{FF2B5EF4-FFF2-40B4-BE49-F238E27FC236}">
                <a16:creationId xmlns:a16="http://schemas.microsoft.com/office/drawing/2014/main" id="{0C71781B-C1DC-41CE-9D32-78EEC86DECB2}"/>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7812CDCD-5E3A-43FA-8E57-8EEA473C820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8" name="Text Placeholder 19">
            <a:extLst>
              <a:ext uri="{FF2B5EF4-FFF2-40B4-BE49-F238E27FC236}">
                <a16:creationId xmlns:a16="http://schemas.microsoft.com/office/drawing/2014/main" id="{B3563CD5-0031-4E7F-B231-41D968C98DB7}"/>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BE2194DD-0C1C-45A4-825B-88E2CD4BE1B3}"/>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3813743"/>
      </p:ext>
    </p:extLst>
  </p:cSld>
  <p:clrMapOvr>
    <a:masterClrMapping/>
  </p:clrMapOvr>
  <p:extLst>
    <p:ext uri="{DCECCB84-F9BA-43D5-87BE-67443E8EF086}">
      <p15:sldGuideLst xmlns:p15="http://schemas.microsoft.com/office/powerpoint/2012/main">
        <p15:guide id="2" pos="438">
          <p15:clr>
            <a:srgbClr val="FBAE40"/>
          </p15:clr>
        </p15:guide>
        <p15:guide id="4" pos="7423">
          <p15:clr>
            <a:srgbClr val="FBAE40"/>
          </p15:clr>
        </p15:guide>
        <p15:guide id="5" orient="horz" pos="618">
          <p15:clr>
            <a:srgbClr val="FBAE40"/>
          </p15:clr>
        </p15:guide>
        <p15:guide id="7" orient="horz" pos="1071">
          <p15:clr>
            <a:srgbClr val="FBAE40"/>
          </p15:clr>
        </p15:guide>
        <p15:guide id="8" orient="horz" pos="343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4228961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851" y="558698"/>
            <a:ext cx="10479314" cy="415498"/>
          </a:xfrm>
        </p:spPr>
        <p:txBody>
          <a:bodyPr/>
          <a:lstStyle/>
          <a:p>
            <a:r>
              <a:rPr lang="en-US"/>
              <a:t>Click to edit Master title style</a:t>
            </a:r>
          </a:p>
        </p:txBody>
      </p:sp>
      <p:sp>
        <p:nvSpPr>
          <p:cNvPr id="3" name="Content Placeholder 2"/>
          <p:cNvSpPr>
            <a:spLocks noGrp="1"/>
          </p:cNvSpPr>
          <p:nvPr>
            <p:ph sz="half" idx="1"/>
          </p:nvPr>
        </p:nvSpPr>
        <p:spPr>
          <a:xfrm>
            <a:off x="482851"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710085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id="{018C0B4A-BAD1-459C-9DAB-A7F998185C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 Placeholder 7">
            <a:extLst>
              <a:ext uri="{FF2B5EF4-FFF2-40B4-BE49-F238E27FC236}">
                <a16:creationId xmlns:a16="http://schemas.microsoft.com/office/drawing/2014/main" id="{F5A14A54-B28E-461B-956C-58ABA1BA0E11}"/>
              </a:ext>
            </a:extLst>
          </p:cNvPr>
          <p:cNvSpPr>
            <a:spLocks noGrp="1"/>
          </p:cNvSpPr>
          <p:nvPr>
            <p:ph type="body" sz="quarter" idx="11" hasCustomPrompt="1"/>
          </p:nvPr>
        </p:nvSpPr>
        <p:spPr>
          <a:xfrm>
            <a:off x="601200" y="4214115"/>
            <a:ext cx="4162888" cy="1083600"/>
          </a:xfrm>
        </p:spPr>
        <p:txBody>
          <a:bodyPr wrap="square" anchor="b" anchorCtr="0">
            <a:noAutofit/>
          </a:bodyPr>
          <a:lstStyle>
            <a:lvl1pPr marL="0" indent="0">
              <a:spcBef>
                <a:spcPts val="0"/>
              </a:spcBef>
              <a:buNone/>
              <a:defRPr sz="3200">
                <a:solidFill>
                  <a:schemeClr val="bg1"/>
                </a:solidFill>
                <a:latin typeface="Arial Black" panose="020B0A04020102020204" pitchFamily="34" charset="0"/>
              </a:defRPr>
            </a:lvl1pPr>
          </a:lstStyle>
          <a:p>
            <a:pPr lvl="0"/>
            <a:r>
              <a:rPr lang="en-GB"/>
              <a:t>Click to edit Master title style</a:t>
            </a:r>
            <a:endParaRPr lang="en-US"/>
          </a:p>
        </p:txBody>
      </p:sp>
      <p:sp>
        <p:nvSpPr>
          <p:cNvPr id="12" name="Text Placeholder 11">
            <a:extLst>
              <a:ext uri="{FF2B5EF4-FFF2-40B4-BE49-F238E27FC236}">
                <a16:creationId xmlns:a16="http://schemas.microsoft.com/office/drawing/2014/main" id="{CE8BF08C-8075-4611-98FD-479FAE1F1C59}"/>
              </a:ext>
            </a:extLst>
          </p:cNvPr>
          <p:cNvSpPr>
            <a:spLocks noGrp="1"/>
          </p:cNvSpPr>
          <p:nvPr>
            <p:ph type="body" sz="quarter" idx="13"/>
          </p:nvPr>
        </p:nvSpPr>
        <p:spPr>
          <a:xfrm>
            <a:off x="601200" y="5988916"/>
            <a:ext cx="5494800" cy="284400"/>
          </a:xfrm>
        </p:spPr>
        <p:txBody>
          <a:bodyPr/>
          <a:lstStyle>
            <a:lvl1pPr marL="0" indent="0">
              <a:buNone/>
              <a:defRPr>
                <a:solidFill>
                  <a:schemeClr val="bg1">
                    <a:alpha val="50000"/>
                  </a:schemeClr>
                </a:solidFill>
              </a:defRPr>
            </a:lvl1pPr>
          </a:lstStyle>
          <a:p>
            <a:pPr lvl="0"/>
            <a:r>
              <a:rPr lang="en-US"/>
              <a:t>Click to edit Master text styles</a:t>
            </a:r>
          </a:p>
        </p:txBody>
      </p:sp>
      <p:sp>
        <p:nvSpPr>
          <p:cNvPr id="14" name="Text Placeholder 13">
            <a:extLst>
              <a:ext uri="{FF2B5EF4-FFF2-40B4-BE49-F238E27FC236}">
                <a16:creationId xmlns:a16="http://schemas.microsoft.com/office/drawing/2014/main" id="{BE102E39-8DD6-4D11-B0B7-DDF388BBDF2F}"/>
              </a:ext>
            </a:extLst>
          </p:cNvPr>
          <p:cNvSpPr>
            <a:spLocks noGrp="1"/>
          </p:cNvSpPr>
          <p:nvPr>
            <p:ph type="body" sz="quarter" idx="14"/>
          </p:nvPr>
        </p:nvSpPr>
        <p:spPr>
          <a:xfrm>
            <a:off x="601199" y="5387716"/>
            <a:ext cx="4882025" cy="471600"/>
          </a:xfrm>
        </p:spPr>
        <p:txBody>
          <a:bodyPr/>
          <a:lstStyle>
            <a:lvl1pPr marL="0" indent="0">
              <a:buNone/>
              <a:defRPr sz="1800"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13908762"/>
      </p:ext>
    </p:extLst>
  </p:cSld>
  <p:clrMapOvr>
    <a:masterClrMapping/>
  </p:clrMapOvr>
  <p:extLst>
    <p:ext uri="{DCECCB84-F9BA-43D5-87BE-67443E8EF086}">
      <p15:sldGuideLst xmlns:p15="http://schemas.microsoft.com/office/powerpoint/2012/main">
        <p15:guide id="1" orient="horz" pos="3249">
          <p15:clr>
            <a:srgbClr val="FBAE40"/>
          </p15:clr>
        </p15:guide>
        <p15:guide id="3" pos="3001">
          <p15:clr>
            <a:srgbClr val="FBAE40"/>
          </p15:clr>
        </p15:guide>
        <p15:guide id="4" pos="3454">
          <p15:clr>
            <a:srgbClr val="FBAE40"/>
          </p15:clr>
        </p15:guide>
        <p15:guide id="5" pos="3840">
          <p15:clr>
            <a:srgbClr val="FBAE40"/>
          </p15:clr>
        </p15:guide>
        <p15:guide id="6" orient="horz" pos="3566">
          <p15:clr>
            <a:srgbClr val="FBAE40"/>
          </p15:clr>
        </p15:guide>
        <p15:guide id="7" orient="horz" pos="392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8" name="Kép 5">
            <a:extLst>
              <a:ext uri="{FF2B5EF4-FFF2-40B4-BE49-F238E27FC236}">
                <a16:creationId xmlns:a16="http://schemas.microsoft.com/office/drawing/2014/main" id="{38B82ADD-B2FD-4579-B3CB-E091186F76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9EA5F40-31A8-449C-8430-739BE2FFDB7B}"/>
              </a:ext>
            </a:extLst>
          </p:cNvPr>
          <p:cNvSpPr>
            <a:spLocks noGrp="1"/>
          </p:cNvSpPr>
          <p:nvPr>
            <p:ph type="title"/>
          </p:nvPr>
        </p:nvSpPr>
        <p:spPr>
          <a:xfrm>
            <a:off x="600074" y="3920456"/>
            <a:ext cx="5122769" cy="1001168"/>
          </a:xfrm>
        </p:spPr>
        <p:txBody>
          <a:bodyPr anchor="b">
            <a:noAutofit/>
          </a:bodyPr>
          <a:lstStyle>
            <a:lvl1pPr marL="0" algn="l" defTabSz="914400" rtl="0" eaLnBrk="1" latinLnBrk="0" hangingPunct="1">
              <a:lnSpc>
                <a:spcPct val="100000"/>
              </a:lnSpc>
              <a:spcBef>
                <a:spcPct val="0"/>
              </a:spcBef>
              <a:buNone/>
              <a:defRPr lang="en-US" sz="2800" kern="1200" dirty="0">
                <a:solidFill>
                  <a:schemeClr val="accent4">
                    <a:alpha val="80000"/>
                  </a:schemeClr>
                </a:solidFill>
                <a:latin typeface="Arial Black" panose="020B0A04020102020204" pitchFamily="34" charset="0"/>
                <a:ea typeface="+mj-ea"/>
                <a:cs typeface="+mj-cs"/>
              </a:defRPr>
            </a:lvl1pPr>
          </a:lstStyle>
          <a:p>
            <a:r>
              <a:rPr lang="en-GB" noProof="0"/>
              <a:t>C</a:t>
            </a:r>
            <a:r>
              <a:rPr lang="en-US" noProof="0"/>
              <a:t>lick to edit Master title style</a:t>
            </a:r>
          </a:p>
        </p:txBody>
      </p:sp>
    </p:spTree>
    <p:extLst>
      <p:ext uri="{BB962C8B-B14F-4D97-AF65-F5344CB8AC3E}">
        <p14:creationId xmlns:p14="http://schemas.microsoft.com/office/powerpoint/2010/main" val="3928403486"/>
      </p:ext>
    </p:extLst>
  </p:cSld>
  <p:clrMapOvr>
    <a:masterClrMapping/>
  </p:clrMapOvr>
  <p:extLst>
    <p:ext uri="{DCECCB84-F9BA-43D5-87BE-67443E8EF086}">
      <p15:sldGuideLst xmlns:p15="http://schemas.microsoft.com/office/powerpoint/2012/main">
        <p15:guide id="1" pos="3613">
          <p15:clr>
            <a:srgbClr val="FBAE40"/>
          </p15:clr>
        </p15:guide>
        <p15:guide id="3" orient="horz" pos="302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o 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09" y="1412875"/>
            <a:ext cx="9928415"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9" name="Title 8">
            <a:extLst>
              <a:ext uri="{FF2B5EF4-FFF2-40B4-BE49-F238E27FC236}">
                <a16:creationId xmlns:a16="http://schemas.microsoft.com/office/drawing/2014/main" id="{5F780C52-01CB-46FC-A4C3-94F0AB7E2008}"/>
              </a:ext>
            </a:extLst>
          </p:cNvPr>
          <p:cNvSpPr>
            <a:spLocks noGrp="1"/>
          </p:cNvSpPr>
          <p:nvPr>
            <p:ph type="title"/>
          </p:nvPr>
        </p:nvSpPr>
        <p:spPr/>
        <p:txBody>
          <a:bodyPr/>
          <a:lstStyle/>
          <a:p>
            <a:r>
              <a:rPr lang="en-US"/>
              <a:t>Click to edit Master title style</a:t>
            </a:r>
          </a:p>
        </p:txBody>
      </p:sp>
      <p:sp>
        <p:nvSpPr>
          <p:cNvPr id="12" name="Slide Number Placeholder 11">
            <a:extLst>
              <a:ext uri="{FF2B5EF4-FFF2-40B4-BE49-F238E27FC236}">
                <a16:creationId xmlns:a16="http://schemas.microsoft.com/office/drawing/2014/main" id="{632DFEF2-47D2-4AF8-B91F-4290D84E0F92}"/>
              </a:ext>
            </a:extLst>
          </p:cNvPr>
          <p:cNvSpPr>
            <a:spLocks noGrp="1"/>
          </p:cNvSpPr>
          <p:nvPr>
            <p:ph type="sldNum" sz="quarter" idx="15"/>
          </p:nvPr>
        </p:nvSpPr>
        <p:spPr/>
        <p:txBody>
          <a:bodyPr/>
          <a:lstStyle/>
          <a:p>
            <a:fld id="{7F2E7A9C-228B-4998-AC5D-8ECFE8FBAA55}" type="slidenum">
              <a:rPr lang="en-US" smtClean="0"/>
              <a:pPr/>
              <a:t>‹#›</a:t>
            </a:fld>
            <a:endParaRPr lang="en-US" dirty="0"/>
          </a:p>
        </p:txBody>
      </p:sp>
      <p:sp>
        <p:nvSpPr>
          <p:cNvPr id="4" name="Footer Placeholder 3">
            <a:extLst>
              <a:ext uri="{FF2B5EF4-FFF2-40B4-BE49-F238E27FC236}">
                <a16:creationId xmlns:a16="http://schemas.microsoft.com/office/drawing/2014/main" id="{E8BC7557-6A52-44A7-9D82-CB92AD1F07B4}"/>
              </a:ext>
            </a:extLst>
          </p:cNvPr>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357690919"/>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403383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20" name="Text Placeholder 19">
            <a:extLst>
              <a:ext uri="{FF2B5EF4-FFF2-40B4-BE49-F238E27FC236}">
                <a16:creationId xmlns:a16="http://schemas.microsoft.com/office/drawing/2014/main" id="{1BB0C874-97AC-4E09-ACCF-CB5A0D2FDA37}"/>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a:t>Click to edit Master title style</a:t>
            </a:r>
          </a:p>
        </p:txBody>
      </p:sp>
      <p:sp>
        <p:nvSpPr>
          <p:cNvPr id="13" name="Slide Number Placeholder 12">
            <a:extLst>
              <a:ext uri="{FF2B5EF4-FFF2-40B4-BE49-F238E27FC236}">
                <a16:creationId xmlns:a16="http://schemas.microsoft.com/office/drawing/2014/main" id="{16C98B2A-AB53-4F81-8366-418BC015BCF0}"/>
              </a:ext>
            </a:extLst>
          </p:cNvPr>
          <p:cNvSpPr>
            <a:spLocks noGrp="1"/>
          </p:cNvSpPr>
          <p:nvPr>
            <p:ph type="sldNum" sz="quarter" idx="16"/>
          </p:nvPr>
        </p:nvSpPr>
        <p:spPr/>
        <p:txBody>
          <a:bodyPr/>
          <a:lstStyle/>
          <a:p>
            <a:fld id="{7F2E7A9C-228B-4998-AC5D-8ECFE8FBAA55}" type="slidenum">
              <a:rPr lang="en-US" smtClean="0"/>
              <a:pPr/>
              <a:t>‹#›</a:t>
            </a:fld>
            <a:endParaRPr lang="en-US"/>
          </a:p>
        </p:txBody>
      </p:sp>
      <p:sp>
        <p:nvSpPr>
          <p:cNvPr id="2" name="Title 1">
            <a:extLst>
              <a:ext uri="{FF2B5EF4-FFF2-40B4-BE49-F238E27FC236}">
                <a16:creationId xmlns:a16="http://schemas.microsoft.com/office/drawing/2014/main" id="{B2E8C5CC-B1AB-4E03-BCA5-A9D92B0B5C8E}"/>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D5A48A5-8947-4B05-BAFC-38BC32B1006D}"/>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779779634"/>
      </p:ext>
    </p:extLst>
  </p:cSld>
  <p:clrMapOvr>
    <a:masterClrMapping/>
  </p:clrMapOvr>
  <p:hf hdr="0" dt="0"/>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7" orient="horz" pos="1049">
          <p15:clr>
            <a:srgbClr val="FBAE40"/>
          </p15:clr>
        </p15:guide>
        <p15:guide id="8" orient="horz" pos="11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w/o 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09" y="1412875"/>
            <a:ext cx="9928415" cy="4429126"/>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9" name="Title 8">
            <a:extLst>
              <a:ext uri="{FF2B5EF4-FFF2-40B4-BE49-F238E27FC236}">
                <a16:creationId xmlns:a16="http://schemas.microsoft.com/office/drawing/2014/main" id="{5F780C52-01CB-46FC-A4C3-94F0AB7E2008}"/>
              </a:ext>
            </a:extLst>
          </p:cNvPr>
          <p:cNvSpPr>
            <a:spLocks noGrp="1"/>
          </p:cNvSpPr>
          <p:nvPr>
            <p:ph type="title"/>
          </p:nvPr>
        </p:nvSpPr>
        <p:spPr/>
        <p:txBody>
          <a:bodyPr/>
          <a:lstStyle/>
          <a:p>
            <a:r>
              <a:rPr lang="en-US"/>
              <a:t>Click to edit Master title style</a:t>
            </a:r>
          </a:p>
        </p:txBody>
      </p:sp>
      <p:sp>
        <p:nvSpPr>
          <p:cNvPr id="12" name="Slide Number Placeholder 11">
            <a:extLst>
              <a:ext uri="{FF2B5EF4-FFF2-40B4-BE49-F238E27FC236}">
                <a16:creationId xmlns:a16="http://schemas.microsoft.com/office/drawing/2014/main" id="{632DFEF2-47D2-4AF8-B91F-4290D84E0F92}"/>
              </a:ext>
            </a:extLst>
          </p:cNvPr>
          <p:cNvSpPr>
            <a:spLocks noGrp="1"/>
          </p:cNvSpPr>
          <p:nvPr>
            <p:ph type="sldNum" sz="quarter" idx="15"/>
          </p:nvPr>
        </p:nvSpPr>
        <p:spPr/>
        <p:txBody>
          <a:bodyPr/>
          <a:lstStyle/>
          <a:p>
            <a:fld id="{7F2E7A9C-228B-4998-AC5D-8ECFE8FBAA55}" type="slidenum">
              <a:rPr lang="en-US" smtClean="0"/>
              <a:pPr/>
              <a:t>‹#›</a:t>
            </a:fld>
            <a:endParaRPr lang="en-US"/>
          </a:p>
        </p:txBody>
      </p:sp>
      <p:sp>
        <p:nvSpPr>
          <p:cNvPr id="4" name="Footer Placeholder 3">
            <a:extLst>
              <a:ext uri="{FF2B5EF4-FFF2-40B4-BE49-F238E27FC236}">
                <a16:creationId xmlns:a16="http://schemas.microsoft.com/office/drawing/2014/main" id="{E8BC7557-6A52-44A7-9D82-CB92AD1F07B4}"/>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487221839"/>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412875"/>
            <a:ext cx="4824000" cy="4429126"/>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7" name="Content Placeholder 17">
            <a:extLst>
              <a:ext uri="{FF2B5EF4-FFF2-40B4-BE49-F238E27FC236}">
                <a16:creationId xmlns:a16="http://schemas.microsoft.com/office/drawing/2014/main" id="{12DA11BE-FC38-4FF1-8A43-65823F17EE84}"/>
              </a:ext>
            </a:extLst>
          </p:cNvPr>
          <p:cNvSpPr>
            <a:spLocks noGrp="1"/>
          </p:cNvSpPr>
          <p:nvPr>
            <p:ph sz="quarter" idx="16" hasCustomPrompt="1"/>
          </p:nvPr>
        </p:nvSpPr>
        <p:spPr>
          <a:xfrm>
            <a:off x="5701124" y="1412873"/>
            <a:ext cx="4824000" cy="442912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0" name="Title 9">
            <a:extLst>
              <a:ext uri="{FF2B5EF4-FFF2-40B4-BE49-F238E27FC236}">
                <a16:creationId xmlns:a16="http://schemas.microsoft.com/office/drawing/2014/main" id="{2D626EA1-2F52-49B4-B7BA-20CBCA18FC1A}"/>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2595304A-F884-4A9C-93C0-C9A9A775CB71}"/>
              </a:ext>
            </a:extLst>
          </p:cNvPr>
          <p:cNvSpPr>
            <a:spLocks noGrp="1"/>
          </p:cNvSpPr>
          <p:nvPr>
            <p:ph type="sldNum" sz="quarter" idx="18"/>
          </p:nvPr>
        </p:nvSpPr>
        <p:spPr/>
        <p:txBody>
          <a:bodyPr/>
          <a:lstStyle/>
          <a:p>
            <a:fld id="{7F2E7A9C-228B-4998-AC5D-8ECFE8FBAA55}" type="slidenum">
              <a:rPr lang="en-US" smtClean="0"/>
              <a:pPr/>
              <a:t>‹#›</a:t>
            </a:fld>
            <a:endParaRPr lang="en-US"/>
          </a:p>
        </p:txBody>
      </p:sp>
      <p:sp>
        <p:nvSpPr>
          <p:cNvPr id="4" name="Footer Placeholder 3">
            <a:extLst>
              <a:ext uri="{FF2B5EF4-FFF2-40B4-BE49-F238E27FC236}">
                <a16:creationId xmlns:a16="http://schemas.microsoft.com/office/drawing/2014/main" id="{D1CDB944-5AAE-4FB2-8278-CB81A13CD25A}"/>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3076454114"/>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7" pos="3591">
          <p15:clr>
            <a:srgbClr val="FBAE40"/>
          </p15:clr>
        </p15:guide>
        <p15:guide id="8" pos="340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with Subhead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900" y="1808163"/>
            <a:ext cx="4824000" cy="403383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8" name="Text Placeholder 19">
            <a:extLst>
              <a:ext uri="{FF2B5EF4-FFF2-40B4-BE49-F238E27FC236}">
                <a16:creationId xmlns:a16="http://schemas.microsoft.com/office/drawing/2014/main" id="{A3E5FC5F-EB01-405F-B50D-8FFDAE6E5901}"/>
              </a:ext>
            </a:extLst>
          </p:cNvPr>
          <p:cNvSpPr>
            <a:spLocks noGrp="1"/>
          </p:cNvSpPr>
          <p:nvPr>
            <p:ph type="body" sz="quarter" idx="16" hasCustomPrompt="1"/>
          </p:nvPr>
        </p:nvSpPr>
        <p:spPr>
          <a:xfrm>
            <a:off x="5700713" y="1419177"/>
            <a:ext cx="4824411" cy="317635"/>
          </a:xfrm>
        </p:spPr>
        <p:txBody>
          <a:bodyPr/>
          <a:lstStyle>
            <a:lvl1pPr marL="0" indent="0">
              <a:buNone/>
              <a:defRPr b="1">
                <a:solidFill>
                  <a:schemeClr val="accent5"/>
                </a:solidFill>
              </a:defRPr>
            </a:lvl1pPr>
          </a:lstStyle>
          <a:p>
            <a:pPr lvl="0"/>
            <a:r>
              <a:rPr lang="en-US" noProof="0"/>
              <a:t>Click to edit Master title style</a:t>
            </a:r>
          </a:p>
        </p:txBody>
      </p:sp>
      <p:sp>
        <p:nvSpPr>
          <p:cNvPr id="9" name="Content Placeholder 17">
            <a:extLst>
              <a:ext uri="{FF2B5EF4-FFF2-40B4-BE49-F238E27FC236}">
                <a16:creationId xmlns:a16="http://schemas.microsoft.com/office/drawing/2014/main" id="{B26795D8-6C69-4A04-BEA2-A8599E13F7CF}"/>
              </a:ext>
            </a:extLst>
          </p:cNvPr>
          <p:cNvSpPr>
            <a:spLocks noGrp="1"/>
          </p:cNvSpPr>
          <p:nvPr>
            <p:ph sz="quarter" idx="17" hasCustomPrompt="1"/>
          </p:nvPr>
        </p:nvSpPr>
        <p:spPr>
          <a:xfrm>
            <a:off x="5701125" y="1808163"/>
            <a:ext cx="4824000" cy="403383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3" name="Slide Number Placeholder 12">
            <a:extLst>
              <a:ext uri="{FF2B5EF4-FFF2-40B4-BE49-F238E27FC236}">
                <a16:creationId xmlns:a16="http://schemas.microsoft.com/office/drawing/2014/main" id="{D7100246-92CC-4D95-B3B3-72AEF9823D04}"/>
              </a:ext>
            </a:extLst>
          </p:cNvPr>
          <p:cNvSpPr>
            <a:spLocks noGrp="1"/>
          </p:cNvSpPr>
          <p:nvPr>
            <p:ph type="sldNum" sz="quarter" idx="19"/>
          </p:nvPr>
        </p:nvSpPr>
        <p:spPr/>
        <p:txBody>
          <a:bodyPr/>
          <a:lstStyle/>
          <a:p>
            <a:fld id="{7F2E7A9C-228B-4998-AC5D-8ECFE8FBAA55}" type="slidenum">
              <a:rPr lang="en-US" smtClean="0"/>
              <a:pPr/>
              <a:t>‹#›</a:t>
            </a:fld>
            <a:endParaRPr lang="en-US"/>
          </a:p>
        </p:txBody>
      </p:sp>
      <p:sp>
        <p:nvSpPr>
          <p:cNvPr id="11" name="Text Placeholder 19">
            <a:extLst>
              <a:ext uri="{FF2B5EF4-FFF2-40B4-BE49-F238E27FC236}">
                <a16:creationId xmlns:a16="http://schemas.microsoft.com/office/drawing/2014/main" id="{384D9D1A-A867-43CA-BE3A-F5C38A69C101}"/>
              </a:ext>
            </a:extLst>
          </p:cNvPr>
          <p:cNvSpPr>
            <a:spLocks noGrp="1"/>
          </p:cNvSpPr>
          <p:nvPr>
            <p:ph type="body" sz="quarter" idx="14" hasCustomPrompt="1"/>
          </p:nvPr>
        </p:nvSpPr>
        <p:spPr>
          <a:xfrm>
            <a:off x="596709" y="1419177"/>
            <a:ext cx="4824001" cy="317635"/>
          </a:xfrm>
        </p:spPr>
        <p:txBody>
          <a:bodyPr/>
          <a:lstStyle>
            <a:lvl1pPr marL="0" indent="0">
              <a:buNone/>
              <a:defRPr b="1">
                <a:solidFill>
                  <a:schemeClr val="accent5"/>
                </a:solidFill>
              </a:defRPr>
            </a:lvl1pPr>
          </a:lstStyle>
          <a:p>
            <a:pPr lvl="0"/>
            <a:r>
              <a:rPr lang="en-US" noProof="0"/>
              <a:t>Click to edit Master title style</a:t>
            </a:r>
          </a:p>
        </p:txBody>
      </p:sp>
      <p:sp>
        <p:nvSpPr>
          <p:cNvPr id="2" name="Title 1">
            <a:extLst>
              <a:ext uri="{FF2B5EF4-FFF2-40B4-BE49-F238E27FC236}">
                <a16:creationId xmlns:a16="http://schemas.microsoft.com/office/drawing/2014/main" id="{05A8FA5C-284D-486F-B9A7-C88EDEAF4DD8}"/>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5036C7FB-2199-460D-B4CE-6A76181E9F9D}"/>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2056908986"/>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8" orient="horz" pos="1049">
          <p15:clr>
            <a:srgbClr val="FBAE40"/>
          </p15:clr>
        </p15:guide>
        <p15:guide id="9" pos="3591">
          <p15:clr>
            <a:srgbClr val="FBAE40"/>
          </p15:clr>
        </p15:guide>
        <p15:guide id="10" pos="340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412875"/>
            <a:ext cx="3132000" cy="4429126"/>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0" name="Content Placeholder 17">
            <a:extLst>
              <a:ext uri="{FF2B5EF4-FFF2-40B4-BE49-F238E27FC236}">
                <a16:creationId xmlns:a16="http://schemas.microsoft.com/office/drawing/2014/main" id="{42FA6C41-BD36-429A-BA1F-330AE956B6FA}"/>
              </a:ext>
            </a:extLst>
          </p:cNvPr>
          <p:cNvSpPr>
            <a:spLocks noGrp="1"/>
          </p:cNvSpPr>
          <p:nvPr>
            <p:ph sz="quarter" idx="18" hasCustomPrompt="1"/>
          </p:nvPr>
        </p:nvSpPr>
        <p:spPr>
          <a:xfrm>
            <a:off x="7393124" y="1412875"/>
            <a:ext cx="3132000" cy="4429125"/>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1" name="Content Placeholder 17">
            <a:extLst>
              <a:ext uri="{FF2B5EF4-FFF2-40B4-BE49-F238E27FC236}">
                <a16:creationId xmlns:a16="http://schemas.microsoft.com/office/drawing/2014/main" id="{FBA303FF-50E0-4096-9FA5-02BF67E640F8}"/>
              </a:ext>
            </a:extLst>
          </p:cNvPr>
          <p:cNvSpPr>
            <a:spLocks noGrp="1"/>
          </p:cNvSpPr>
          <p:nvPr>
            <p:ph sz="quarter" idx="19" hasCustomPrompt="1"/>
          </p:nvPr>
        </p:nvSpPr>
        <p:spPr>
          <a:xfrm>
            <a:off x="3994917" y="1412875"/>
            <a:ext cx="3132000" cy="4429126"/>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8" name="Title 7">
            <a:extLst>
              <a:ext uri="{FF2B5EF4-FFF2-40B4-BE49-F238E27FC236}">
                <a16:creationId xmlns:a16="http://schemas.microsoft.com/office/drawing/2014/main" id="{372D9CE4-C2C8-4635-A8B9-AA1E3014C9C0}"/>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839F4558-9C7A-4D29-B3BA-8FD200B39707}"/>
              </a:ext>
            </a:extLst>
          </p:cNvPr>
          <p:cNvSpPr>
            <a:spLocks noGrp="1"/>
          </p:cNvSpPr>
          <p:nvPr>
            <p:ph type="sldNum" sz="quarter" idx="20"/>
          </p:nvPr>
        </p:nvSpPr>
        <p:spPr/>
        <p:txBody>
          <a:bodyPr/>
          <a:lstStyle/>
          <a:p>
            <a:fld id="{7F2E7A9C-228B-4998-AC5D-8ECFE8FBAA55}" type="slidenum">
              <a:rPr lang="en-US" smtClean="0"/>
              <a:pPr/>
              <a:t>‹#›</a:t>
            </a:fld>
            <a:endParaRPr lang="en-US"/>
          </a:p>
        </p:txBody>
      </p:sp>
      <p:sp>
        <p:nvSpPr>
          <p:cNvPr id="3" name="Footer Placeholder 2">
            <a:extLst>
              <a:ext uri="{FF2B5EF4-FFF2-40B4-BE49-F238E27FC236}">
                <a16:creationId xmlns:a16="http://schemas.microsoft.com/office/drawing/2014/main" id="{AA41D322-A547-413B-9E96-49F3EAEA3507}"/>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3464447480"/>
      </p:ext>
    </p:extLst>
  </p:cSld>
  <p:clrMapOvr>
    <a:masterClrMapping/>
  </p:clrMapOvr>
  <p:extLst>
    <p:ext uri="{DCECCB84-F9BA-43D5-87BE-67443E8EF086}">
      <p15:sldGuideLst xmlns:p15="http://schemas.microsoft.com/office/powerpoint/2012/main">
        <p15:guide id="1" pos="438">
          <p15:clr>
            <a:srgbClr val="FBAE40"/>
          </p15:clr>
        </p15:guide>
        <p15:guide id="2" pos="4498">
          <p15:clr>
            <a:srgbClr val="FBAE40"/>
          </p15:clr>
        </p15:guide>
        <p15:guide id="3" orient="horz" pos="618">
          <p15:clr>
            <a:srgbClr val="FBAE40"/>
          </p15:clr>
        </p15:guide>
        <p15:guide id="5" pos="4656">
          <p15:clr>
            <a:srgbClr val="FBAE40"/>
          </p15:clr>
        </p15:guide>
        <p15:guide id="7" pos="2502">
          <p15:clr>
            <a:srgbClr val="FBAE40"/>
          </p15:clr>
        </p15:guide>
        <p15:guide id="8" pos="234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with Subhead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808162"/>
            <a:ext cx="3132000" cy="403383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0" name="Content Placeholder 17">
            <a:extLst>
              <a:ext uri="{FF2B5EF4-FFF2-40B4-BE49-F238E27FC236}">
                <a16:creationId xmlns:a16="http://schemas.microsoft.com/office/drawing/2014/main" id="{42FA6C41-BD36-429A-BA1F-330AE956B6FA}"/>
              </a:ext>
            </a:extLst>
          </p:cNvPr>
          <p:cNvSpPr>
            <a:spLocks noGrp="1"/>
          </p:cNvSpPr>
          <p:nvPr>
            <p:ph sz="quarter" idx="18" hasCustomPrompt="1"/>
          </p:nvPr>
        </p:nvSpPr>
        <p:spPr>
          <a:xfrm>
            <a:off x="7393124" y="1808162"/>
            <a:ext cx="3132000" cy="403383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1" name="Content Placeholder 17">
            <a:extLst>
              <a:ext uri="{FF2B5EF4-FFF2-40B4-BE49-F238E27FC236}">
                <a16:creationId xmlns:a16="http://schemas.microsoft.com/office/drawing/2014/main" id="{FBA303FF-50E0-4096-9FA5-02BF67E640F8}"/>
              </a:ext>
            </a:extLst>
          </p:cNvPr>
          <p:cNvSpPr>
            <a:spLocks noGrp="1"/>
          </p:cNvSpPr>
          <p:nvPr>
            <p:ph sz="quarter" idx="19" hasCustomPrompt="1"/>
          </p:nvPr>
        </p:nvSpPr>
        <p:spPr>
          <a:xfrm>
            <a:off x="3994917" y="1808162"/>
            <a:ext cx="3132000" cy="403383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2" name="Text Placeholder 19">
            <a:extLst>
              <a:ext uri="{FF2B5EF4-FFF2-40B4-BE49-F238E27FC236}">
                <a16:creationId xmlns:a16="http://schemas.microsoft.com/office/drawing/2014/main" id="{6C0458CF-418C-4FF7-855D-A52E0C243B7C}"/>
              </a:ext>
            </a:extLst>
          </p:cNvPr>
          <p:cNvSpPr>
            <a:spLocks noGrp="1"/>
          </p:cNvSpPr>
          <p:nvPr>
            <p:ph type="body" sz="quarter" idx="16" hasCustomPrompt="1"/>
          </p:nvPr>
        </p:nvSpPr>
        <p:spPr>
          <a:xfrm>
            <a:off x="3994917" y="1419177"/>
            <a:ext cx="3132000" cy="317635"/>
          </a:xfrm>
        </p:spPr>
        <p:txBody>
          <a:bodyPr/>
          <a:lstStyle>
            <a:lvl1pPr marL="0" indent="0">
              <a:buNone/>
              <a:defRPr b="1">
                <a:solidFill>
                  <a:schemeClr val="accent5"/>
                </a:solidFill>
              </a:defRPr>
            </a:lvl1pPr>
          </a:lstStyle>
          <a:p>
            <a:pPr lvl="0"/>
            <a:r>
              <a:rPr lang="en-US" noProof="0"/>
              <a:t>Click to edit Master title style</a:t>
            </a:r>
          </a:p>
        </p:txBody>
      </p:sp>
      <p:sp>
        <p:nvSpPr>
          <p:cNvPr id="13" name="Text Placeholder 19">
            <a:extLst>
              <a:ext uri="{FF2B5EF4-FFF2-40B4-BE49-F238E27FC236}">
                <a16:creationId xmlns:a16="http://schemas.microsoft.com/office/drawing/2014/main" id="{7DB1950E-05E3-4743-B432-4655618353B3}"/>
              </a:ext>
            </a:extLst>
          </p:cNvPr>
          <p:cNvSpPr>
            <a:spLocks noGrp="1"/>
          </p:cNvSpPr>
          <p:nvPr>
            <p:ph type="body" sz="quarter" idx="20" hasCustomPrompt="1"/>
          </p:nvPr>
        </p:nvSpPr>
        <p:spPr>
          <a:xfrm>
            <a:off x="7398829" y="1419177"/>
            <a:ext cx="3132000" cy="317635"/>
          </a:xfrm>
        </p:spPr>
        <p:txBody>
          <a:bodyPr/>
          <a:lstStyle>
            <a:lvl1pPr marL="0" indent="0">
              <a:buNone/>
              <a:defRPr b="1">
                <a:solidFill>
                  <a:schemeClr val="accent5"/>
                </a:solidFill>
              </a:defRPr>
            </a:lvl1pPr>
          </a:lstStyle>
          <a:p>
            <a:pPr lvl="0"/>
            <a:r>
              <a:rPr lang="en-US" noProof="0"/>
              <a:t>Click to edit Master title style</a:t>
            </a:r>
          </a:p>
        </p:txBody>
      </p:sp>
      <p:sp>
        <p:nvSpPr>
          <p:cNvPr id="8" name="Title 7">
            <a:extLst>
              <a:ext uri="{FF2B5EF4-FFF2-40B4-BE49-F238E27FC236}">
                <a16:creationId xmlns:a16="http://schemas.microsoft.com/office/drawing/2014/main" id="{1856CEF0-5B19-4934-A512-FDF48F34EA47}"/>
              </a:ext>
            </a:extLst>
          </p:cNvPr>
          <p:cNvSpPr>
            <a:spLocks noGrp="1"/>
          </p:cNvSpPr>
          <p:nvPr>
            <p:ph type="title"/>
          </p:nvPr>
        </p:nvSpPr>
        <p:spPr/>
        <p:txBody>
          <a:bodyPr/>
          <a:lstStyle/>
          <a:p>
            <a:r>
              <a:rPr lang="en-US"/>
              <a:t>Click to edit Master title style</a:t>
            </a:r>
          </a:p>
        </p:txBody>
      </p:sp>
      <p:sp>
        <p:nvSpPr>
          <p:cNvPr id="16" name="Slide Number Placeholder 15">
            <a:extLst>
              <a:ext uri="{FF2B5EF4-FFF2-40B4-BE49-F238E27FC236}">
                <a16:creationId xmlns:a16="http://schemas.microsoft.com/office/drawing/2014/main" id="{ACCE6036-6588-4854-9686-E8AD5F232130}"/>
              </a:ext>
            </a:extLst>
          </p:cNvPr>
          <p:cNvSpPr>
            <a:spLocks noGrp="1"/>
          </p:cNvSpPr>
          <p:nvPr>
            <p:ph type="sldNum" sz="quarter" idx="21"/>
          </p:nvPr>
        </p:nvSpPr>
        <p:spPr/>
        <p:txBody>
          <a:bodyPr/>
          <a:lstStyle/>
          <a:p>
            <a:fld id="{7F2E7A9C-228B-4998-AC5D-8ECFE8FBAA55}" type="slidenum">
              <a:rPr lang="en-US" smtClean="0"/>
              <a:pPr/>
              <a:t>‹#›</a:t>
            </a:fld>
            <a:endParaRPr lang="en-US"/>
          </a:p>
        </p:txBody>
      </p:sp>
      <p:sp>
        <p:nvSpPr>
          <p:cNvPr id="14" name="Text Placeholder 19">
            <a:extLst>
              <a:ext uri="{FF2B5EF4-FFF2-40B4-BE49-F238E27FC236}">
                <a16:creationId xmlns:a16="http://schemas.microsoft.com/office/drawing/2014/main" id="{537E4767-7F3C-4EBC-AD6B-F959FBD92B66}"/>
              </a:ext>
            </a:extLst>
          </p:cNvPr>
          <p:cNvSpPr>
            <a:spLocks noGrp="1"/>
          </p:cNvSpPr>
          <p:nvPr>
            <p:ph type="body" sz="quarter" idx="14" hasCustomPrompt="1"/>
          </p:nvPr>
        </p:nvSpPr>
        <p:spPr>
          <a:xfrm>
            <a:off x="596710" y="1419177"/>
            <a:ext cx="3122804" cy="317635"/>
          </a:xfrm>
        </p:spPr>
        <p:txBody>
          <a:bodyPr/>
          <a:lstStyle>
            <a:lvl1pPr marL="0" indent="0">
              <a:buNone/>
              <a:defRPr b="1">
                <a:solidFill>
                  <a:schemeClr val="accent5"/>
                </a:solidFill>
              </a:defRPr>
            </a:lvl1pPr>
          </a:lstStyle>
          <a:p>
            <a:pPr lvl="0"/>
            <a:r>
              <a:rPr lang="en-US" noProof="0"/>
              <a:t>Click to edit Master title style</a:t>
            </a:r>
          </a:p>
        </p:txBody>
      </p:sp>
      <p:sp>
        <p:nvSpPr>
          <p:cNvPr id="3" name="Footer Placeholder 2">
            <a:extLst>
              <a:ext uri="{FF2B5EF4-FFF2-40B4-BE49-F238E27FC236}">
                <a16:creationId xmlns:a16="http://schemas.microsoft.com/office/drawing/2014/main" id="{E126D5EE-2462-40DB-B179-889DBE1DC2DC}"/>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4051274678"/>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orient="horz" pos="777">
          <p15:clr>
            <a:srgbClr val="FBAE40"/>
          </p15:clr>
        </p15:guide>
        <p15:guide id="7" pos="2525">
          <p15:clr>
            <a:srgbClr val="FBAE40"/>
          </p15:clr>
        </p15:guide>
        <p15:guide id="8" pos="2343">
          <p15:clr>
            <a:srgbClr val="FBAE40"/>
          </p15:clr>
        </p15:guide>
        <p15:guide id="9" pos="4656">
          <p15:clr>
            <a:srgbClr val="FBAE40"/>
          </p15:clr>
        </p15:guide>
        <p15:guide id="10" pos="449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Title 7">
            <a:extLst>
              <a:ext uri="{FF2B5EF4-FFF2-40B4-BE49-F238E27FC236}">
                <a16:creationId xmlns:a16="http://schemas.microsoft.com/office/drawing/2014/main" id="{2473B35B-C9D2-4FAF-871B-85C62A613D65}"/>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8E9FCD9A-8565-4AAC-A671-3D385287FD82}"/>
              </a:ext>
            </a:extLst>
          </p:cNvPr>
          <p:cNvSpPr>
            <a:spLocks noGrp="1"/>
          </p:cNvSpPr>
          <p:nvPr>
            <p:ph type="sldNum" sz="quarter" idx="16"/>
          </p:nvPr>
        </p:nvSpPr>
        <p:spPr/>
        <p:txBody>
          <a:bodyPr/>
          <a:lstStyle/>
          <a:p>
            <a:fld id="{7F2E7A9C-228B-4998-AC5D-8ECFE8FBAA55}" type="slidenum">
              <a:rPr lang="en-US" smtClean="0"/>
              <a:pPr/>
              <a:t>‹#›</a:t>
            </a:fld>
            <a:endParaRPr lang="en-US"/>
          </a:p>
        </p:txBody>
      </p:sp>
      <p:sp>
        <p:nvSpPr>
          <p:cNvPr id="7" name="Text Placeholder 19">
            <a:extLst>
              <a:ext uri="{FF2B5EF4-FFF2-40B4-BE49-F238E27FC236}">
                <a16:creationId xmlns:a16="http://schemas.microsoft.com/office/drawing/2014/main" id="{D36DBB6A-105A-43EF-81FB-A5FF100F42C7}"/>
              </a:ext>
            </a:extLst>
          </p:cNvPr>
          <p:cNvSpPr>
            <a:spLocks noGrp="1"/>
          </p:cNvSpPr>
          <p:nvPr>
            <p:ph type="body" sz="quarter" idx="14" hasCustomPrompt="1"/>
          </p:nvPr>
        </p:nvSpPr>
        <p:spPr>
          <a:xfrm>
            <a:off x="596709" y="1419177"/>
            <a:ext cx="9928415" cy="317635"/>
          </a:xfrm>
        </p:spPr>
        <p:txBody>
          <a:bodyPr/>
          <a:lstStyle>
            <a:lvl1pPr marL="0" indent="0">
              <a:buNone/>
              <a:defRPr b="1">
                <a:solidFill>
                  <a:srgbClr val="72518C"/>
                </a:solidFill>
              </a:defRPr>
            </a:lvl1pPr>
          </a:lstStyle>
          <a:p>
            <a:pPr lvl="0"/>
            <a:r>
              <a:rPr lang="en-US" noProof="0"/>
              <a:t>Click to edit Master title style</a:t>
            </a:r>
          </a:p>
        </p:txBody>
      </p:sp>
      <p:sp>
        <p:nvSpPr>
          <p:cNvPr id="3" name="Footer Placeholder 2">
            <a:extLst>
              <a:ext uri="{FF2B5EF4-FFF2-40B4-BE49-F238E27FC236}">
                <a16:creationId xmlns:a16="http://schemas.microsoft.com/office/drawing/2014/main" id="{08693709-1588-45DD-8AE3-82E56B928847}"/>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500323574"/>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7" orient="horz" pos="935">
          <p15:clr>
            <a:srgbClr val="FBAE40"/>
          </p15:clr>
        </p15:guide>
        <p15:guide id="8" orient="horz" pos="107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EAB4C390-AA58-4AA9-A7EB-247E0D9ECA69}"/>
              </a:ext>
            </a:extLst>
          </p:cNvPr>
          <p:cNvSpPr>
            <a:spLocks noGrp="1"/>
          </p:cNvSpPr>
          <p:nvPr>
            <p:ph type="title"/>
          </p:nvPr>
        </p:nvSpPr>
        <p:spPr/>
        <p:txBody>
          <a:bodyPr/>
          <a:lstStyle/>
          <a:p>
            <a:r>
              <a:rPr lang="en-US"/>
              <a:t>Click to edit Master title style</a:t>
            </a:r>
          </a:p>
        </p:txBody>
      </p:sp>
      <p:sp>
        <p:nvSpPr>
          <p:cNvPr id="10" name="Slide Number Placeholder 9">
            <a:extLst>
              <a:ext uri="{FF2B5EF4-FFF2-40B4-BE49-F238E27FC236}">
                <a16:creationId xmlns:a16="http://schemas.microsoft.com/office/drawing/2014/main" id="{6633179D-6D12-4062-BB48-F29004DCAD89}"/>
              </a:ext>
            </a:extLst>
          </p:cNvPr>
          <p:cNvSpPr>
            <a:spLocks noGrp="1"/>
          </p:cNvSpPr>
          <p:nvPr>
            <p:ph type="sldNum" sz="quarter" idx="14"/>
          </p:nvPr>
        </p:nvSpPr>
        <p:spPr/>
        <p:txBody>
          <a:bodyPr/>
          <a:lstStyle/>
          <a:p>
            <a:fld id="{7F2E7A9C-228B-4998-AC5D-8ECFE8FBAA55}" type="slidenum">
              <a:rPr lang="en-US" smtClean="0"/>
              <a:pPr/>
              <a:t>‹#›</a:t>
            </a:fld>
            <a:endParaRPr lang="en-US"/>
          </a:p>
        </p:txBody>
      </p:sp>
      <p:sp>
        <p:nvSpPr>
          <p:cNvPr id="3" name="Footer Placeholder 2">
            <a:extLst>
              <a:ext uri="{FF2B5EF4-FFF2-40B4-BE49-F238E27FC236}">
                <a16:creationId xmlns:a16="http://schemas.microsoft.com/office/drawing/2014/main" id="{AAF7AD63-9908-421D-9E88-7EB2EB330C35}"/>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756384859"/>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pos="37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 Horizont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1684800"/>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8" name="Text Placeholder 19">
            <a:extLst>
              <a:ext uri="{FF2B5EF4-FFF2-40B4-BE49-F238E27FC236}">
                <a16:creationId xmlns:a16="http://schemas.microsoft.com/office/drawing/2014/main" id="{AC030042-D95C-4260-9689-22AF11A30881}"/>
              </a:ext>
            </a:extLst>
          </p:cNvPr>
          <p:cNvSpPr>
            <a:spLocks noGrp="1"/>
          </p:cNvSpPr>
          <p:nvPr>
            <p:ph type="body" sz="quarter" idx="16" hasCustomPrompt="1"/>
          </p:nvPr>
        </p:nvSpPr>
        <p:spPr>
          <a:xfrm>
            <a:off x="596709" y="3753036"/>
            <a:ext cx="9928416" cy="317635"/>
          </a:xfrm>
        </p:spPr>
        <p:txBody>
          <a:bodyPr/>
          <a:lstStyle>
            <a:lvl1pPr marL="0" indent="0">
              <a:buNone/>
              <a:defRPr b="1">
                <a:solidFill>
                  <a:schemeClr val="accent5"/>
                </a:solidFill>
              </a:defRPr>
            </a:lvl1pPr>
          </a:lstStyle>
          <a:p>
            <a:pPr lvl="0"/>
            <a:r>
              <a:rPr lang="en-US" noProof="0"/>
              <a:t>Click to edit Master title style</a:t>
            </a:r>
          </a:p>
        </p:txBody>
      </p:sp>
      <p:sp>
        <p:nvSpPr>
          <p:cNvPr id="9" name="Content Placeholder 17">
            <a:extLst>
              <a:ext uri="{FF2B5EF4-FFF2-40B4-BE49-F238E27FC236}">
                <a16:creationId xmlns:a16="http://schemas.microsoft.com/office/drawing/2014/main" id="{69E2DD7D-5C8A-4B0E-BD41-3BBD13C00370}"/>
              </a:ext>
            </a:extLst>
          </p:cNvPr>
          <p:cNvSpPr>
            <a:spLocks noGrp="1"/>
          </p:cNvSpPr>
          <p:nvPr>
            <p:ph sz="quarter" idx="17" hasCustomPrompt="1"/>
          </p:nvPr>
        </p:nvSpPr>
        <p:spPr>
          <a:xfrm>
            <a:off x="596900" y="4155879"/>
            <a:ext cx="9928224" cy="1686121"/>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7" name="Title 6">
            <a:extLst>
              <a:ext uri="{FF2B5EF4-FFF2-40B4-BE49-F238E27FC236}">
                <a16:creationId xmlns:a16="http://schemas.microsoft.com/office/drawing/2014/main" id="{B97DC10B-1844-4E1B-A5A5-449C59A52E9A}"/>
              </a:ext>
            </a:extLst>
          </p:cNvPr>
          <p:cNvSpPr>
            <a:spLocks noGrp="1"/>
          </p:cNvSpPr>
          <p:nvPr>
            <p:ph type="title"/>
          </p:nvPr>
        </p:nvSpPr>
        <p:spPr/>
        <p:txBody>
          <a:bodyPr/>
          <a:lstStyle/>
          <a:p>
            <a:r>
              <a:rPr lang="en-US"/>
              <a:t>Click to edit Master title style</a:t>
            </a:r>
          </a:p>
        </p:txBody>
      </p:sp>
      <p:sp>
        <p:nvSpPr>
          <p:cNvPr id="12" name="Slide Number Placeholder 11">
            <a:extLst>
              <a:ext uri="{FF2B5EF4-FFF2-40B4-BE49-F238E27FC236}">
                <a16:creationId xmlns:a16="http://schemas.microsoft.com/office/drawing/2014/main" id="{8E3EAE0C-E906-4ABD-B1F9-F6D284AAB503}"/>
              </a:ext>
            </a:extLst>
          </p:cNvPr>
          <p:cNvSpPr>
            <a:spLocks noGrp="1"/>
          </p:cNvSpPr>
          <p:nvPr>
            <p:ph type="sldNum" sz="quarter" idx="19"/>
          </p:nvPr>
        </p:nvSpPr>
        <p:spPr/>
        <p:txBody>
          <a:bodyPr/>
          <a:lstStyle/>
          <a:p>
            <a:fld id="{7F2E7A9C-228B-4998-AC5D-8ECFE8FBAA55}" type="slidenum">
              <a:rPr lang="en-US" smtClean="0"/>
              <a:pPr/>
              <a:t>‹#›</a:t>
            </a:fld>
            <a:endParaRPr lang="en-US"/>
          </a:p>
        </p:txBody>
      </p:sp>
      <p:sp>
        <p:nvSpPr>
          <p:cNvPr id="10" name="Text Placeholder 19">
            <a:extLst>
              <a:ext uri="{FF2B5EF4-FFF2-40B4-BE49-F238E27FC236}">
                <a16:creationId xmlns:a16="http://schemas.microsoft.com/office/drawing/2014/main" id="{62215A1C-AB44-4B13-9DC6-36DE74364B60}"/>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a:t>Click to edit Master title style</a:t>
            </a:r>
          </a:p>
        </p:txBody>
      </p:sp>
      <p:sp>
        <p:nvSpPr>
          <p:cNvPr id="3" name="Footer Placeholder 2">
            <a:extLst>
              <a:ext uri="{FF2B5EF4-FFF2-40B4-BE49-F238E27FC236}">
                <a16:creationId xmlns:a16="http://schemas.microsoft.com/office/drawing/2014/main" id="{53262727-107F-4AED-8B31-7FE3320FDB0C}"/>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1741762974"/>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8" orient="horz" pos="1049">
          <p15:clr>
            <a:srgbClr val="FBAE40"/>
          </p15:clr>
        </p15:guide>
        <p15:guide id="9" orient="horz" pos="2205">
          <p15:clr>
            <a:srgbClr val="FBAE40"/>
          </p15:clr>
        </p15:guide>
        <p15:guide id="10" orient="horz" pos="2614">
          <p15:clr>
            <a:srgbClr val="FBAE40"/>
          </p15:clr>
        </p15:guide>
        <p15:guide id="11" orient="horz" pos="252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Slide Number Placeholder 7">
            <a:extLst>
              <a:ext uri="{FF2B5EF4-FFF2-40B4-BE49-F238E27FC236}">
                <a16:creationId xmlns:a16="http://schemas.microsoft.com/office/drawing/2014/main" id="{EF246FF2-45D1-49F5-A37B-7537A9752FED}"/>
              </a:ext>
            </a:extLst>
          </p:cNvPr>
          <p:cNvSpPr>
            <a:spLocks noGrp="1"/>
          </p:cNvSpPr>
          <p:nvPr>
            <p:ph type="sldNum" sz="quarter" idx="11"/>
          </p:nvPr>
        </p:nvSpPr>
        <p:spPr/>
        <p:txBody>
          <a:bodyPr/>
          <a:lstStyle/>
          <a:p>
            <a:fld id="{7F2E7A9C-228B-4998-AC5D-8ECFE8FBAA55}" type="slidenum">
              <a:rPr lang="en-US" smtClean="0"/>
              <a:pPr/>
              <a:t>‹#›</a:t>
            </a:fld>
            <a:endParaRPr lang="en-US"/>
          </a:p>
        </p:txBody>
      </p:sp>
    </p:spTree>
    <p:extLst>
      <p:ext uri="{BB962C8B-B14F-4D97-AF65-F5344CB8AC3E}">
        <p14:creationId xmlns:p14="http://schemas.microsoft.com/office/powerpoint/2010/main" val="4074427608"/>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pos="37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412875"/>
            <a:ext cx="4824000"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7" name="Content Placeholder 17">
            <a:extLst>
              <a:ext uri="{FF2B5EF4-FFF2-40B4-BE49-F238E27FC236}">
                <a16:creationId xmlns:a16="http://schemas.microsoft.com/office/drawing/2014/main" id="{12DA11BE-FC38-4FF1-8A43-65823F17EE84}"/>
              </a:ext>
            </a:extLst>
          </p:cNvPr>
          <p:cNvSpPr>
            <a:spLocks noGrp="1"/>
          </p:cNvSpPr>
          <p:nvPr>
            <p:ph sz="quarter" idx="16" hasCustomPrompt="1"/>
          </p:nvPr>
        </p:nvSpPr>
        <p:spPr>
          <a:xfrm>
            <a:off x="5701124" y="1412873"/>
            <a:ext cx="4824000" cy="442912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a:p>
            <a:pPr lvl="2"/>
            <a:endParaRPr lang="en-US" noProof="0"/>
          </a:p>
        </p:txBody>
      </p:sp>
      <p:sp>
        <p:nvSpPr>
          <p:cNvPr id="10" name="Title 9">
            <a:extLst>
              <a:ext uri="{FF2B5EF4-FFF2-40B4-BE49-F238E27FC236}">
                <a16:creationId xmlns:a16="http://schemas.microsoft.com/office/drawing/2014/main" id="{2D626EA1-2F52-49B4-B7BA-20CBCA18FC1A}"/>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2595304A-F884-4A9C-93C0-C9A9A775CB71}"/>
              </a:ext>
            </a:extLst>
          </p:cNvPr>
          <p:cNvSpPr>
            <a:spLocks noGrp="1"/>
          </p:cNvSpPr>
          <p:nvPr>
            <p:ph type="sldNum" sz="quarter" idx="18"/>
          </p:nvPr>
        </p:nvSpPr>
        <p:spPr/>
        <p:txBody>
          <a:bodyPr/>
          <a:lstStyle/>
          <a:p>
            <a:fld id="{7F2E7A9C-228B-4998-AC5D-8ECFE8FBAA55}" type="slidenum">
              <a:rPr lang="en-US" smtClean="0"/>
              <a:pPr/>
              <a:t>‹#›</a:t>
            </a:fld>
            <a:endParaRPr lang="en-US" dirty="0"/>
          </a:p>
        </p:txBody>
      </p:sp>
      <p:sp>
        <p:nvSpPr>
          <p:cNvPr id="4" name="Footer Placeholder 3">
            <a:extLst>
              <a:ext uri="{FF2B5EF4-FFF2-40B4-BE49-F238E27FC236}">
                <a16:creationId xmlns:a16="http://schemas.microsoft.com/office/drawing/2014/main" id="{D1CDB944-5AAE-4FB2-8278-CB81A13CD25A}"/>
              </a:ext>
            </a:extLst>
          </p:cNvPr>
          <p:cNvSpPr>
            <a:spLocks noGrp="1"/>
          </p:cNvSpPr>
          <p:nvPr>
            <p:ph type="ftr" sz="quarter" idx="19"/>
          </p:nvPr>
        </p:nvSpPr>
        <p:spPr/>
        <p:txBody>
          <a:bodyPr/>
          <a:lstStyle/>
          <a:p>
            <a:endParaRPr lang="en-US" dirty="0"/>
          </a:p>
        </p:txBody>
      </p:sp>
    </p:spTree>
    <p:extLst>
      <p:ext uri="{BB962C8B-B14F-4D97-AF65-F5344CB8AC3E}">
        <p14:creationId xmlns:p14="http://schemas.microsoft.com/office/powerpoint/2010/main" val="1004536108"/>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7" pos="3591">
          <p15:clr>
            <a:srgbClr val="FBAE40"/>
          </p15:clr>
        </p15:guide>
        <p15:guide id="8" pos="340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5" name="Kép 2">
            <a:extLst>
              <a:ext uri="{FF2B5EF4-FFF2-40B4-BE49-F238E27FC236}">
                <a16:creationId xmlns:a16="http://schemas.microsoft.com/office/drawing/2014/main" id="{5C4404F7-A10D-4CFA-B411-13D8456094A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Title 1">
            <a:extLst>
              <a:ext uri="{FF2B5EF4-FFF2-40B4-BE49-F238E27FC236}">
                <a16:creationId xmlns:a16="http://schemas.microsoft.com/office/drawing/2014/main" id="{5E4851AF-5263-418F-AD0F-2929DD5434FD}"/>
              </a:ext>
            </a:extLst>
          </p:cNvPr>
          <p:cNvSpPr>
            <a:spLocks noGrp="1"/>
          </p:cNvSpPr>
          <p:nvPr>
            <p:ph type="title"/>
          </p:nvPr>
        </p:nvSpPr>
        <p:spPr>
          <a:xfrm>
            <a:off x="600074" y="3980120"/>
            <a:ext cx="5122769" cy="941504"/>
          </a:xfrm>
        </p:spPr>
        <p:txBody>
          <a:bodyPr anchor="b">
            <a:noAutofit/>
          </a:bodyPr>
          <a:lstStyle>
            <a:lvl1pPr marL="0" algn="l" defTabSz="914400" rtl="0" eaLnBrk="1" latinLnBrk="0" hangingPunct="1">
              <a:lnSpc>
                <a:spcPct val="100000"/>
              </a:lnSpc>
              <a:spcBef>
                <a:spcPct val="0"/>
              </a:spcBef>
              <a:buNone/>
              <a:defRPr lang="en-US" sz="2800" kern="1200" dirty="0">
                <a:solidFill>
                  <a:schemeClr val="accent4">
                    <a:alpha val="80000"/>
                  </a:schemeClr>
                </a:solidFill>
                <a:latin typeface="Arial Black" panose="020B0A04020102020204" pitchFamily="34" charset="0"/>
                <a:ea typeface="+mj-ea"/>
                <a:cs typeface="+mj-cs"/>
              </a:defRPr>
            </a:lvl1pPr>
          </a:lstStyle>
          <a:p>
            <a:r>
              <a:rPr lang="en-US" noProof="0"/>
              <a:t>Click to edit Master title style</a:t>
            </a:r>
          </a:p>
        </p:txBody>
      </p:sp>
    </p:spTree>
    <p:extLst>
      <p:ext uri="{BB962C8B-B14F-4D97-AF65-F5344CB8AC3E}">
        <p14:creationId xmlns:p14="http://schemas.microsoft.com/office/powerpoint/2010/main" val="12015829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 alternative">
    <p:spTree>
      <p:nvGrpSpPr>
        <p:cNvPr id="1" name=""/>
        <p:cNvGrpSpPr/>
        <p:nvPr/>
      </p:nvGrpSpPr>
      <p:grpSpPr>
        <a:xfrm>
          <a:off x="0" y="0"/>
          <a:ext cx="0" cy="0"/>
          <a:chOff x="0" y="0"/>
          <a:chExt cx="0" cy="0"/>
        </a:xfrm>
      </p:grpSpPr>
      <p:pic>
        <p:nvPicPr>
          <p:cNvPr id="17" name="Kép 5">
            <a:extLst>
              <a:ext uri="{FF2B5EF4-FFF2-40B4-BE49-F238E27FC236}">
                <a16:creationId xmlns:a16="http://schemas.microsoft.com/office/drawing/2014/main" id="{F5BEEA31-9A15-448E-95A3-60C81860573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899" y="1808163"/>
            <a:ext cx="9928225" cy="3621247"/>
          </a:xfrm>
        </p:spPr>
        <p:txBody>
          <a:bodyPr/>
          <a:lstStyle>
            <a:lvl1pPr>
              <a:defRPr/>
            </a:lvl1pPr>
            <a:lvl3pPr>
              <a:defRPr/>
            </a:lvl3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5">
            <a:extLst>
              <a:ext uri="{FF2B5EF4-FFF2-40B4-BE49-F238E27FC236}">
                <a16:creationId xmlns:a16="http://schemas.microsoft.com/office/drawing/2014/main" id="{0C71781B-C1DC-41CE-9D32-78EEC86DECB2}"/>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7812CDCD-5E3A-43FA-8E57-8EEA473C8204}"/>
              </a:ext>
            </a:extLst>
          </p:cNvPr>
          <p:cNvSpPr>
            <a:spLocks noGrp="1"/>
          </p:cNvSpPr>
          <p:nvPr>
            <p:ph type="sldNum" sz="quarter" idx="16"/>
          </p:nvPr>
        </p:nvSpPr>
        <p:spPr/>
        <p:txBody>
          <a:bodyPr/>
          <a:lstStyle/>
          <a:p>
            <a:fld id="{7F2E7A9C-228B-4998-AC5D-8ECFE8FBAA55}" type="slidenum">
              <a:rPr lang="en-US" smtClean="0"/>
              <a:pPr/>
              <a:t>‹#›</a:t>
            </a:fld>
            <a:endParaRPr lang="en-US"/>
          </a:p>
        </p:txBody>
      </p:sp>
      <p:sp>
        <p:nvSpPr>
          <p:cNvPr id="8" name="Text Placeholder 19">
            <a:extLst>
              <a:ext uri="{FF2B5EF4-FFF2-40B4-BE49-F238E27FC236}">
                <a16:creationId xmlns:a16="http://schemas.microsoft.com/office/drawing/2014/main" id="{B3563CD5-0031-4E7F-B231-41D968C98DB7}"/>
              </a:ext>
            </a:extLst>
          </p:cNvPr>
          <p:cNvSpPr>
            <a:spLocks noGrp="1"/>
          </p:cNvSpPr>
          <p:nvPr>
            <p:ph type="body" sz="quarter" idx="14" hasCustomPrompt="1"/>
          </p:nvPr>
        </p:nvSpPr>
        <p:spPr>
          <a:xfrm>
            <a:off x="596709" y="1419177"/>
            <a:ext cx="9928415" cy="317635"/>
          </a:xfrm>
        </p:spPr>
        <p:txBody>
          <a:bodyPr/>
          <a:lstStyle>
            <a:lvl1pPr marL="0" indent="0">
              <a:buNone/>
              <a:defRPr b="1">
                <a:solidFill>
                  <a:schemeClr val="accent5"/>
                </a:solidFill>
              </a:defRPr>
            </a:lvl1pPr>
          </a:lstStyle>
          <a:p>
            <a:pPr lvl="0"/>
            <a:r>
              <a:rPr lang="en-US" noProof="0"/>
              <a:t>Click to edit Master title style</a:t>
            </a:r>
          </a:p>
        </p:txBody>
      </p:sp>
      <p:sp>
        <p:nvSpPr>
          <p:cNvPr id="3" name="Footer Placeholder 2">
            <a:extLst>
              <a:ext uri="{FF2B5EF4-FFF2-40B4-BE49-F238E27FC236}">
                <a16:creationId xmlns:a16="http://schemas.microsoft.com/office/drawing/2014/main" id="{BE2194DD-0C1C-45A4-825B-88E2CD4BE1B3}"/>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875449686"/>
      </p:ext>
    </p:extLst>
  </p:cSld>
  <p:clrMapOvr>
    <a:masterClrMapping/>
  </p:clrMapOvr>
  <p:extLst>
    <p:ext uri="{DCECCB84-F9BA-43D5-87BE-67443E8EF086}">
      <p15:sldGuideLst xmlns:p15="http://schemas.microsoft.com/office/powerpoint/2012/main">
        <p15:guide id="2" pos="438">
          <p15:clr>
            <a:srgbClr val="FBAE40"/>
          </p15:clr>
        </p15:guide>
        <p15:guide id="4" pos="7423">
          <p15:clr>
            <a:srgbClr val="FBAE40"/>
          </p15:clr>
        </p15:guide>
        <p15:guide id="5" orient="horz" pos="618">
          <p15:clr>
            <a:srgbClr val="FBAE40"/>
          </p15:clr>
        </p15:guide>
        <p15:guide id="7" orient="horz" pos="1071">
          <p15:clr>
            <a:srgbClr val="FBAE40"/>
          </p15:clr>
        </p15:guide>
        <p15:guide id="8" orient="horz" pos="343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2546703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851" y="558698"/>
            <a:ext cx="10479314" cy="415498"/>
          </a:xfrm>
        </p:spPr>
        <p:txBody>
          <a:bodyPr/>
          <a:lstStyle/>
          <a:p>
            <a:r>
              <a:rPr lang="en-US"/>
              <a:t>Click to edit Master title style</a:t>
            </a:r>
          </a:p>
        </p:txBody>
      </p:sp>
      <p:sp>
        <p:nvSpPr>
          <p:cNvPr id="3" name="Content Placeholder 2"/>
          <p:cNvSpPr>
            <a:spLocks noGrp="1"/>
          </p:cNvSpPr>
          <p:nvPr>
            <p:ph sz="half" idx="1"/>
          </p:nvPr>
        </p:nvSpPr>
        <p:spPr>
          <a:xfrm>
            <a:off x="482851"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0422801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749" cy="978650"/>
          </a:xfrm>
        </p:spPr>
        <p:txBody>
          <a:bodyPr>
            <a:normAutofit/>
          </a:bodyPr>
          <a:lstStyle>
            <a:lvl1pPr>
              <a:defRPr sz="3200"/>
            </a:lvl1pPr>
          </a:lstStyle>
          <a:p>
            <a:r>
              <a:rPr lang="en-US"/>
              <a:t>Click to edit Master title style</a:t>
            </a:r>
            <a:br>
              <a:rPr lang="en-US"/>
            </a:br>
            <a:endParaRPr lang="en-US"/>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6" y="6233823"/>
            <a:ext cx="8466991" cy="365125"/>
          </a:xfrm>
        </p:spPr>
        <p:txBody>
          <a:bodyPr/>
          <a:lstStyle/>
          <a:p>
            <a:endParaRPr lang="en-US"/>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US" smtClean="0"/>
              <a:t>‹#›</a:t>
            </a:fld>
            <a:endParaRPr lang="en-US"/>
          </a:p>
        </p:txBody>
      </p:sp>
      <p:sp>
        <p:nvSpPr>
          <p:cNvPr id="7" name="Content Placeholder 2">
            <a:extLst>
              <a:ext uri="{FF2B5EF4-FFF2-40B4-BE49-F238E27FC236}">
                <a16:creationId xmlns:a16="http://schemas.microsoft.com/office/drawing/2014/main" id="{50970C57-D819-471C-ADEC-12EA7B60D645}"/>
              </a:ext>
            </a:extLst>
          </p:cNvPr>
          <p:cNvSpPr>
            <a:spLocks noGrp="1"/>
          </p:cNvSpPr>
          <p:nvPr>
            <p:ph idx="1" hasCustomPrompt="1"/>
          </p:nvPr>
        </p:nvSpPr>
        <p:spPr>
          <a:xfrm>
            <a:off x="650239" y="1437827"/>
            <a:ext cx="10882949" cy="4637854"/>
          </a:xfr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2000" indent="-284400">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1"/>
            <a:endParaRPr lang="en-US"/>
          </a:p>
        </p:txBody>
      </p:sp>
    </p:spTree>
    <p:extLst>
      <p:ext uri="{BB962C8B-B14F-4D97-AF65-F5344CB8AC3E}">
        <p14:creationId xmlns:p14="http://schemas.microsoft.com/office/powerpoint/2010/main" val="2463992769"/>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822">
          <p15:clr>
            <a:srgbClr val="FBAE40"/>
          </p15:clr>
        </p15:guide>
        <p15:guide id="5" pos="60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967EF7-BE18-4BEB-AA65-26E89989C48B}" type="datetime1">
              <a:rPr kumimoji="0" lang="en-US" sz="1900" b="0" i="0" u="none" strike="noStrike" kern="1200" cap="none" spc="0" normalizeH="0" baseline="0" noProof="0" smtClean="0">
                <a:ln>
                  <a:noFill/>
                </a:ln>
                <a:solidFill>
                  <a:srgbClr val="53585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3/2023</a:t>
            </a:fld>
            <a:endParaRPr kumimoji="0" lang="en-US" sz="1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53585A"/>
                </a:solidFill>
                <a:effectLst/>
                <a:uLnTx/>
                <a:uFillTx/>
                <a:latin typeface="Arial" panose="020B0604020202020204"/>
                <a:ea typeface="+mn-ea"/>
                <a:cs typeface="+mn-cs"/>
              </a:rPr>
              <a:t>Darolutamide in mHSPC /// SAWP Discussion Meeting /// 01 Sep 2020</a:t>
            </a:r>
            <a:endParaRPr kumimoji="0" lang="en-US"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bwMode="gray"/>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900" b="0" i="0" u="none" strike="noStrike" kern="1200" cap="none" spc="0" normalizeH="0" baseline="0" noProof="0" smtClean="0">
                <a:ln>
                  <a:noFill/>
                </a:ln>
                <a:solidFill>
                  <a:srgbClr val="53585A"/>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53585A"/>
                </a:solidFill>
                <a:effectLst/>
                <a:uLnTx/>
                <a:uFillTx/>
                <a:latin typeface="Arial" panose="020B0604020202020204"/>
                <a:ea typeface="+mn-ea"/>
                <a:cs typeface="+mn-cs"/>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53585A"/>
                </a:solidFill>
                <a:effectLst/>
                <a:uLnTx/>
                <a:uFillTx/>
                <a:latin typeface="Arial" panose="020B0604020202020204"/>
                <a:ea typeface="+mn-ea"/>
                <a:cs typeface="+mn-cs"/>
              </a:rPr>
              <a:t>Schutz</a:t>
            </a:r>
          </a:p>
        </p:txBody>
      </p:sp>
    </p:spTree>
    <p:extLst>
      <p:ext uri="{BB962C8B-B14F-4D97-AF65-F5344CB8AC3E}">
        <p14:creationId xmlns:p14="http://schemas.microsoft.com/office/powerpoint/2010/main" val="48913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0970C57-D819-471C-ADEC-12EA7B60D645}"/>
              </a:ext>
            </a:extLst>
          </p:cNvPr>
          <p:cNvSpPr>
            <a:spLocks noGrp="1"/>
          </p:cNvSpPr>
          <p:nvPr>
            <p:ph idx="1" hasCustomPrompt="1"/>
          </p:nvPr>
        </p:nvSpPr>
        <p:spPr>
          <a:xfrm>
            <a:off x="650239" y="1437827"/>
            <a:ext cx="10882949" cy="4637854"/>
          </a:xfr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2000" indent="-284400">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1"/>
            <a:endParaRPr lang="en-US"/>
          </a:p>
        </p:txBody>
      </p:sp>
      <p:sp>
        <p:nvSpPr>
          <p:cNvPr id="4" name="Title 3">
            <a:extLst>
              <a:ext uri="{FF2B5EF4-FFF2-40B4-BE49-F238E27FC236}">
                <a16:creationId xmlns:a16="http://schemas.microsoft.com/office/drawing/2014/main" id="{7CA056DC-2AAF-428C-8DB9-D8C51D029C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7156362"/>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822">
          <p15:clr>
            <a:srgbClr val="FBAE40"/>
          </p15:clr>
        </p15:guide>
        <p15:guide id="5" pos="60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0970C57-D819-471C-ADEC-12EA7B60D645}"/>
              </a:ext>
            </a:extLst>
          </p:cNvPr>
          <p:cNvSpPr>
            <a:spLocks noGrp="1"/>
          </p:cNvSpPr>
          <p:nvPr>
            <p:ph idx="1" hasCustomPrompt="1"/>
          </p:nvPr>
        </p:nvSpPr>
        <p:spPr>
          <a:xfrm>
            <a:off x="650239" y="1437827"/>
            <a:ext cx="10882949" cy="4637854"/>
          </a:xfr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2000" indent="-284400">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1"/>
            <a:endParaRPr lang="en-US"/>
          </a:p>
        </p:txBody>
      </p:sp>
      <p:sp>
        <p:nvSpPr>
          <p:cNvPr id="4" name="Title 3">
            <a:extLst>
              <a:ext uri="{FF2B5EF4-FFF2-40B4-BE49-F238E27FC236}">
                <a16:creationId xmlns:a16="http://schemas.microsoft.com/office/drawing/2014/main" id="{7CA056DC-2AAF-428C-8DB9-D8C51D029C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3383951"/>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822">
          <p15:clr>
            <a:srgbClr val="FBAE40"/>
          </p15:clr>
        </p15:guide>
        <p15:guide id="5" pos="60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9A6A857-751A-D641-8F86-65A3EDA57C53}"/>
              </a:ext>
            </a:extLst>
          </p:cNvPr>
          <p:cNvPicPr>
            <a:picLocks noChangeAspect="1"/>
          </p:cNvPicPr>
          <p:nvPr userDrawn="1"/>
        </p:nvPicPr>
        <p:blipFill>
          <a:blip r:embed="rId2"/>
          <a:stretch>
            <a:fillRect/>
          </a:stretch>
        </p:blipFill>
        <p:spPr>
          <a:xfrm>
            <a:off x="0" y="0"/>
            <a:ext cx="12192000" cy="6858000"/>
          </a:xfrm>
          <a:prstGeom prst="rect">
            <a:avLst/>
          </a:prstGeom>
          <a:solidFill>
            <a:schemeClr val="bg1"/>
          </a:solidFill>
        </p:spPr>
      </p:pic>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686499" y="1435418"/>
            <a:ext cx="7314501" cy="2852737"/>
          </a:xfrm>
        </p:spPr>
        <p:txBody>
          <a:bodyPr anchor="b">
            <a:normAutofit/>
          </a:bodyPr>
          <a:lstStyle>
            <a:lvl1pPr>
              <a:defRPr sz="54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p:nvPr>
        </p:nvSpPr>
        <p:spPr>
          <a:xfrm>
            <a:off x="686499" y="4528802"/>
            <a:ext cx="10515600" cy="1500187"/>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5" name="Rectangle 4">
            <a:extLst>
              <a:ext uri="{FF2B5EF4-FFF2-40B4-BE49-F238E27FC236}">
                <a16:creationId xmlns:a16="http://schemas.microsoft.com/office/drawing/2014/main" id="{F41AAAEC-F485-426C-97AE-CDE1EDC243C0}"/>
              </a:ext>
            </a:extLst>
          </p:cNvPr>
          <p:cNvSpPr/>
          <p:nvPr userDrawn="1"/>
        </p:nvSpPr>
        <p:spPr>
          <a:xfrm>
            <a:off x="10464102" y="6614656"/>
            <a:ext cx="1301959" cy="246221"/>
          </a:xfrm>
          <a:prstGeom prst="rect">
            <a:avLst/>
          </a:prstGeom>
        </p:spPr>
        <p:txBody>
          <a:bodyPr wrap="none">
            <a:spAutoFit/>
          </a:bodyPr>
          <a:lstStyle/>
          <a:p>
            <a:r>
              <a:rPr lang="en-US" sz="1000" b="1" dirty="0">
                <a:solidFill>
                  <a:srgbClr val="303030"/>
                </a:solidFill>
                <a:latin typeface="Arial" panose="020B0604020202020204" pitchFamily="34" charset="0"/>
              </a:rPr>
              <a:t>MA-VER-IN-0004-1</a:t>
            </a:r>
            <a:endParaRPr lang="en-US" sz="1000" b="1" dirty="0"/>
          </a:p>
        </p:txBody>
      </p:sp>
    </p:spTree>
    <p:extLst>
      <p:ext uri="{BB962C8B-B14F-4D97-AF65-F5344CB8AC3E}">
        <p14:creationId xmlns:p14="http://schemas.microsoft.com/office/powerpoint/2010/main" val="37591190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cSld name="Title silde">
    <p:spTree>
      <p:nvGrpSpPr>
        <p:cNvPr id="1" name=""/>
        <p:cNvGrpSpPr/>
        <p:nvPr/>
      </p:nvGrpSpPr>
      <p:grpSpPr>
        <a:xfrm>
          <a:off x="0" y="0"/>
          <a:ext cx="0" cy="0"/>
          <a:chOff x="0" y="0"/>
          <a:chExt cx="0" cy="0"/>
        </a:xfrm>
      </p:grpSpPr>
      <p:pic>
        <p:nvPicPr>
          <p:cNvPr id="9" name="Picture 8" descr="A picture containing table, game&#10;&#10;Description automatically generated">
            <a:extLst>
              <a:ext uri="{FF2B5EF4-FFF2-40B4-BE49-F238E27FC236}">
                <a16:creationId xmlns:a16="http://schemas.microsoft.com/office/drawing/2014/main" id="{CEFAEF1D-8AE8-4C29-910A-4BE199A6CD0A}"/>
              </a:ext>
            </a:extLst>
          </p:cNvPr>
          <p:cNvPicPr>
            <a:picLocks noChangeAspect="1"/>
          </p:cNvPicPr>
          <p:nvPr userDrawn="1"/>
        </p:nvPicPr>
        <p:blipFill>
          <a:blip r:embed="rId2"/>
          <a:stretch>
            <a:fillRect/>
          </a:stretch>
        </p:blipFill>
        <p:spPr>
          <a:xfrm>
            <a:off x="0" y="-1413"/>
            <a:ext cx="12192000" cy="6858000"/>
          </a:xfrm>
          <a:prstGeom prst="rect">
            <a:avLst/>
          </a:prstGeom>
        </p:spPr>
      </p:pic>
      <p:sp>
        <p:nvSpPr>
          <p:cNvPr id="2" name="Title 1">
            <a:extLst>
              <a:ext uri="{FF2B5EF4-FFF2-40B4-BE49-F238E27FC236}">
                <a16:creationId xmlns:a16="http://schemas.microsoft.com/office/drawing/2014/main" id="{BBA85A7B-BB12-4342-8E5C-FE180EFDDB16}"/>
              </a:ext>
            </a:extLst>
          </p:cNvPr>
          <p:cNvSpPr>
            <a:spLocks noGrp="1"/>
          </p:cNvSpPr>
          <p:nvPr>
            <p:ph type="ctrTitle"/>
          </p:nvPr>
        </p:nvSpPr>
        <p:spPr>
          <a:xfrm>
            <a:off x="626539" y="1497912"/>
            <a:ext cx="7183336" cy="2387600"/>
          </a:xfrm>
        </p:spPr>
        <p:txBody>
          <a:bodyPr anchor="b">
            <a:normAutofit/>
          </a:bodyPr>
          <a:lstStyle>
            <a:lvl1pPr algn="l">
              <a:lnSpc>
                <a:spcPct val="85000"/>
              </a:lnSpc>
              <a:defRPr sz="6000"/>
            </a:lvl1pPr>
          </a:lstStyle>
          <a:p>
            <a:r>
              <a:rPr lang="en-US"/>
              <a:t>Click to edit Master title style</a:t>
            </a:r>
          </a:p>
        </p:txBody>
      </p:sp>
      <p:sp>
        <p:nvSpPr>
          <p:cNvPr id="3" name="Subtitle 2">
            <a:extLst>
              <a:ext uri="{FF2B5EF4-FFF2-40B4-BE49-F238E27FC236}">
                <a16:creationId xmlns:a16="http://schemas.microsoft.com/office/drawing/2014/main" id="{373A1B13-7660-5747-A4E8-6DA61D79062C}"/>
              </a:ext>
            </a:extLst>
          </p:cNvPr>
          <p:cNvSpPr>
            <a:spLocks noGrp="1"/>
          </p:cNvSpPr>
          <p:nvPr>
            <p:ph type="subTitle" idx="1"/>
          </p:nvPr>
        </p:nvSpPr>
        <p:spPr>
          <a:xfrm>
            <a:off x="626539" y="4090392"/>
            <a:ext cx="7123376" cy="833877"/>
          </a:xfrm>
          <a:prstGeom prst="rect">
            <a:avLst/>
          </a:prstGeo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15">
            <a:extLst>
              <a:ext uri="{FF2B5EF4-FFF2-40B4-BE49-F238E27FC236}">
                <a16:creationId xmlns:a16="http://schemas.microsoft.com/office/drawing/2014/main" id="{CEFE9543-C559-44A7-A7F0-7789E9382B6D}"/>
              </a:ext>
            </a:extLst>
          </p:cNvPr>
          <p:cNvSpPr>
            <a:spLocks noGrp="1"/>
          </p:cNvSpPr>
          <p:nvPr>
            <p:ph type="dt" sz="half" idx="10"/>
          </p:nvPr>
        </p:nvSpPr>
        <p:spPr>
          <a:xfrm>
            <a:off x="626539" y="5120836"/>
            <a:ext cx="1281660" cy="365125"/>
          </a:xfrm>
        </p:spPr>
        <p:txBody>
          <a:bodyPr/>
          <a:lstStyle/>
          <a:p>
            <a:endParaRPr lang="en-US"/>
          </a:p>
        </p:txBody>
      </p:sp>
      <p:sp>
        <p:nvSpPr>
          <p:cNvPr id="6" name="Rectangle 5">
            <a:extLst>
              <a:ext uri="{FF2B5EF4-FFF2-40B4-BE49-F238E27FC236}">
                <a16:creationId xmlns:a16="http://schemas.microsoft.com/office/drawing/2014/main" id="{E4DD3322-CF75-4A54-8F47-D4BD0014DFCE}"/>
              </a:ext>
            </a:extLst>
          </p:cNvPr>
          <p:cNvSpPr/>
          <p:nvPr userDrawn="1"/>
        </p:nvSpPr>
        <p:spPr>
          <a:xfrm>
            <a:off x="10464102" y="6614656"/>
            <a:ext cx="1301959" cy="246221"/>
          </a:xfrm>
          <a:prstGeom prst="rect">
            <a:avLst/>
          </a:prstGeom>
        </p:spPr>
        <p:txBody>
          <a:bodyPr wrap="none">
            <a:spAutoFit/>
          </a:bodyPr>
          <a:lstStyle/>
          <a:p>
            <a:r>
              <a:rPr lang="en-US" sz="1000" b="1" dirty="0">
                <a:solidFill>
                  <a:srgbClr val="303030"/>
                </a:solidFill>
                <a:latin typeface="Arial" panose="020B0604020202020204" pitchFamily="34" charset="0"/>
              </a:rPr>
              <a:t>MA-VER-IN-0004-1</a:t>
            </a:r>
            <a:endParaRPr lang="en-US" sz="1000" b="1" dirty="0"/>
          </a:p>
        </p:txBody>
      </p:sp>
    </p:spTree>
    <p:extLst>
      <p:ext uri="{BB962C8B-B14F-4D97-AF65-F5344CB8AC3E}">
        <p14:creationId xmlns:p14="http://schemas.microsoft.com/office/powerpoint/2010/main" val="2033947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head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900" y="1808163"/>
            <a:ext cx="4824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8" name="Text Placeholder 19">
            <a:extLst>
              <a:ext uri="{FF2B5EF4-FFF2-40B4-BE49-F238E27FC236}">
                <a16:creationId xmlns:a16="http://schemas.microsoft.com/office/drawing/2014/main" id="{A3E5FC5F-EB01-405F-B50D-8FFDAE6E5901}"/>
              </a:ext>
            </a:extLst>
          </p:cNvPr>
          <p:cNvSpPr>
            <a:spLocks noGrp="1"/>
          </p:cNvSpPr>
          <p:nvPr>
            <p:ph type="body" sz="quarter" idx="16" hasCustomPrompt="1"/>
          </p:nvPr>
        </p:nvSpPr>
        <p:spPr>
          <a:xfrm>
            <a:off x="5700713" y="1419177"/>
            <a:ext cx="4824411"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9" name="Content Placeholder 17">
            <a:extLst>
              <a:ext uri="{FF2B5EF4-FFF2-40B4-BE49-F238E27FC236}">
                <a16:creationId xmlns:a16="http://schemas.microsoft.com/office/drawing/2014/main" id="{B26795D8-6C69-4A04-BEA2-A8599E13F7CF}"/>
              </a:ext>
            </a:extLst>
          </p:cNvPr>
          <p:cNvSpPr>
            <a:spLocks noGrp="1"/>
          </p:cNvSpPr>
          <p:nvPr>
            <p:ph sz="quarter" idx="17" hasCustomPrompt="1"/>
          </p:nvPr>
        </p:nvSpPr>
        <p:spPr>
          <a:xfrm>
            <a:off x="5701125" y="1808163"/>
            <a:ext cx="4824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3" name="Slide Number Placeholder 12">
            <a:extLst>
              <a:ext uri="{FF2B5EF4-FFF2-40B4-BE49-F238E27FC236}">
                <a16:creationId xmlns:a16="http://schemas.microsoft.com/office/drawing/2014/main" id="{D7100246-92CC-4D95-B3B3-72AEF9823D04}"/>
              </a:ext>
            </a:extLst>
          </p:cNvPr>
          <p:cNvSpPr>
            <a:spLocks noGrp="1"/>
          </p:cNvSpPr>
          <p:nvPr>
            <p:ph type="sldNum" sz="quarter" idx="19"/>
          </p:nvPr>
        </p:nvSpPr>
        <p:spPr/>
        <p:txBody>
          <a:bodyPr/>
          <a:lstStyle/>
          <a:p>
            <a:fld id="{7F2E7A9C-228B-4998-AC5D-8ECFE8FBAA55}" type="slidenum">
              <a:rPr lang="en-US" smtClean="0"/>
              <a:pPr/>
              <a:t>‹#›</a:t>
            </a:fld>
            <a:endParaRPr lang="en-US" dirty="0"/>
          </a:p>
        </p:txBody>
      </p:sp>
      <p:sp>
        <p:nvSpPr>
          <p:cNvPr id="11" name="Text Placeholder 19">
            <a:extLst>
              <a:ext uri="{FF2B5EF4-FFF2-40B4-BE49-F238E27FC236}">
                <a16:creationId xmlns:a16="http://schemas.microsoft.com/office/drawing/2014/main" id="{384D9D1A-A867-43CA-BE3A-F5C38A69C101}"/>
              </a:ext>
            </a:extLst>
          </p:cNvPr>
          <p:cNvSpPr>
            <a:spLocks noGrp="1"/>
          </p:cNvSpPr>
          <p:nvPr>
            <p:ph type="body" sz="quarter" idx="14" hasCustomPrompt="1"/>
          </p:nvPr>
        </p:nvSpPr>
        <p:spPr>
          <a:xfrm>
            <a:off x="596709" y="1419177"/>
            <a:ext cx="4824001"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2" name="Title 1">
            <a:extLst>
              <a:ext uri="{FF2B5EF4-FFF2-40B4-BE49-F238E27FC236}">
                <a16:creationId xmlns:a16="http://schemas.microsoft.com/office/drawing/2014/main" id="{05A8FA5C-284D-486F-B9A7-C88EDEAF4DD8}"/>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5036C7FB-2199-460D-B4CE-6A76181E9F9D}"/>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14791793"/>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8" orient="horz" pos="1049">
          <p15:clr>
            <a:srgbClr val="FBAE40"/>
          </p15:clr>
        </p15:guide>
        <p15:guide id="9" pos="3591">
          <p15:clr>
            <a:srgbClr val="FBAE40"/>
          </p15:clr>
        </p15:guide>
        <p15:guide id="10" pos="340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Only No Line">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42489" y="6130928"/>
            <a:ext cx="3454400"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95111" y="6076950"/>
            <a:ext cx="2658534" cy="47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806252" y="6016625"/>
            <a:ext cx="579496"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4" y="274639"/>
            <a:ext cx="11390489" cy="789436"/>
          </a:xfrm>
        </p:spPr>
        <p:txBody>
          <a:bodyPr rtlCol="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022531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412875"/>
            <a:ext cx="3132000"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0" name="Content Placeholder 17">
            <a:extLst>
              <a:ext uri="{FF2B5EF4-FFF2-40B4-BE49-F238E27FC236}">
                <a16:creationId xmlns:a16="http://schemas.microsoft.com/office/drawing/2014/main" id="{42FA6C41-BD36-429A-BA1F-330AE956B6FA}"/>
              </a:ext>
            </a:extLst>
          </p:cNvPr>
          <p:cNvSpPr>
            <a:spLocks noGrp="1"/>
          </p:cNvSpPr>
          <p:nvPr>
            <p:ph sz="quarter" idx="18" hasCustomPrompt="1"/>
          </p:nvPr>
        </p:nvSpPr>
        <p:spPr>
          <a:xfrm>
            <a:off x="7393124" y="1412875"/>
            <a:ext cx="3132000" cy="4429125"/>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1" name="Content Placeholder 17">
            <a:extLst>
              <a:ext uri="{FF2B5EF4-FFF2-40B4-BE49-F238E27FC236}">
                <a16:creationId xmlns:a16="http://schemas.microsoft.com/office/drawing/2014/main" id="{FBA303FF-50E0-4096-9FA5-02BF67E640F8}"/>
              </a:ext>
            </a:extLst>
          </p:cNvPr>
          <p:cNvSpPr>
            <a:spLocks noGrp="1"/>
          </p:cNvSpPr>
          <p:nvPr>
            <p:ph sz="quarter" idx="19" hasCustomPrompt="1"/>
          </p:nvPr>
        </p:nvSpPr>
        <p:spPr>
          <a:xfrm>
            <a:off x="3994917" y="1412875"/>
            <a:ext cx="3132000" cy="4429126"/>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8" name="Title 7">
            <a:extLst>
              <a:ext uri="{FF2B5EF4-FFF2-40B4-BE49-F238E27FC236}">
                <a16:creationId xmlns:a16="http://schemas.microsoft.com/office/drawing/2014/main" id="{372D9CE4-C2C8-4635-A8B9-AA1E3014C9C0}"/>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839F4558-9C7A-4D29-B3BA-8FD200B39707}"/>
              </a:ext>
            </a:extLst>
          </p:cNvPr>
          <p:cNvSpPr>
            <a:spLocks noGrp="1"/>
          </p:cNvSpPr>
          <p:nvPr>
            <p:ph type="sldNum" sz="quarter" idx="20"/>
          </p:nvPr>
        </p:nvSpPr>
        <p:spPr/>
        <p:txBody>
          <a:bodyPr/>
          <a:lstStyle/>
          <a:p>
            <a:fld id="{7F2E7A9C-228B-4998-AC5D-8ECFE8FBAA55}" type="slidenum">
              <a:rPr lang="en-US" smtClean="0"/>
              <a:pPr/>
              <a:t>‹#›</a:t>
            </a:fld>
            <a:endParaRPr lang="en-US" dirty="0"/>
          </a:p>
        </p:txBody>
      </p:sp>
      <p:sp>
        <p:nvSpPr>
          <p:cNvPr id="3" name="Footer Placeholder 2">
            <a:extLst>
              <a:ext uri="{FF2B5EF4-FFF2-40B4-BE49-F238E27FC236}">
                <a16:creationId xmlns:a16="http://schemas.microsoft.com/office/drawing/2014/main" id="{AA41D322-A547-413B-9E96-49F3EAEA3507}"/>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1781982966"/>
      </p:ext>
    </p:extLst>
  </p:cSld>
  <p:clrMapOvr>
    <a:masterClrMapping/>
  </p:clrMapOvr>
  <p:extLst>
    <p:ext uri="{DCECCB84-F9BA-43D5-87BE-67443E8EF086}">
      <p15:sldGuideLst xmlns:p15="http://schemas.microsoft.com/office/powerpoint/2012/main">
        <p15:guide id="1" pos="438">
          <p15:clr>
            <a:srgbClr val="FBAE40"/>
          </p15:clr>
        </p15:guide>
        <p15:guide id="2" pos="4498">
          <p15:clr>
            <a:srgbClr val="FBAE40"/>
          </p15:clr>
        </p15:guide>
        <p15:guide id="3" orient="horz" pos="618">
          <p15:clr>
            <a:srgbClr val="FBAE40"/>
          </p15:clr>
        </p15:guide>
        <p15:guide id="5" pos="4656">
          <p15:clr>
            <a:srgbClr val="FBAE40"/>
          </p15:clr>
        </p15:guide>
        <p15:guide id="7" pos="2502">
          <p15:clr>
            <a:srgbClr val="FBAE40"/>
          </p15:clr>
        </p15:guide>
        <p15:guide id="8" pos="234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with Subhead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8" name="Content Placeholder 17">
            <a:extLst>
              <a:ext uri="{FF2B5EF4-FFF2-40B4-BE49-F238E27FC236}">
                <a16:creationId xmlns:a16="http://schemas.microsoft.com/office/drawing/2014/main" id="{98514943-1C9D-447C-805A-E6B6ADF7527F}"/>
              </a:ext>
            </a:extLst>
          </p:cNvPr>
          <p:cNvSpPr>
            <a:spLocks noGrp="1"/>
          </p:cNvSpPr>
          <p:nvPr>
            <p:ph sz="quarter" idx="13" hasCustomPrompt="1"/>
          </p:nvPr>
        </p:nvSpPr>
        <p:spPr>
          <a:xfrm>
            <a:off x="596710" y="1808162"/>
            <a:ext cx="3132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0" name="Content Placeholder 17">
            <a:extLst>
              <a:ext uri="{FF2B5EF4-FFF2-40B4-BE49-F238E27FC236}">
                <a16:creationId xmlns:a16="http://schemas.microsoft.com/office/drawing/2014/main" id="{42FA6C41-BD36-429A-BA1F-330AE956B6FA}"/>
              </a:ext>
            </a:extLst>
          </p:cNvPr>
          <p:cNvSpPr>
            <a:spLocks noGrp="1"/>
          </p:cNvSpPr>
          <p:nvPr>
            <p:ph sz="quarter" idx="18" hasCustomPrompt="1"/>
          </p:nvPr>
        </p:nvSpPr>
        <p:spPr>
          <a:xfrm>
            <a:off x="7393124" y="1808162"/>
            <a:ext cx="3132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1" name="Content Placeholder 17">
            <a:extLst>
              <a:ext uri="{FF2B5EF4-FFF2-40B4-BE49-F238E27FC236}">
                <a16:creationId xmlns:a16="http://schemas.microsoft.com/office/drawing/2014/main" id="{FBA303FF-50E0-4096-9FA5-02BF67E640F8}"/>
              </a:ext>
            </a:extLst>
          </p:cNvPr>
          <p:cNvSpPr>
            <a:spLocks noGrp="1"/>
          </p:cNvSpPr>
          <p:nvPr>
            <p:ph sz="quarter" idx="19" hasCustomPrompt="1"/>
          </p:nvPr>
        </p:nvSpPr>
        <p:spPr>
          <a:xfrm>
            <a:off x="3994917" y="1808162"/>
            <a:ext cx="3132000" cy="4033837"/>
          </a:xfrm>
        </p:spPr>
        <p:txBody>
          <a:bodyPr/>
          <a:lstStyle>
            <a:lvl1pPr>
              <a:defRPr/>
            </a:lvl1pPr>
            <a:lvl3pPr>
              <a:defRPr/>
            </a:lvl3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2"/>
            <a:endParaRPr lang="en-US" noProof="0" dirty="0"/>
          </a:p>
        </p:txBody>
      </p:sp>
      <p:sp>
        <p:nvSpPr>
          <p:cNvPr id="12" name="Text Placeholder 19">
            <a:extLst>
              <a:ext uri="{FF2B5EF4-FFF2-40B4-BE49-F238E27FC236}">
                <a16:creationId xmlns:a16="http://schemas.microsoft.com/office/drawing/2014/main" id="{6C0458CF-418C-4FF7-855D-A52E0C243B7C}"/>
              </a:ext>
            </a:extLst>
          </p:cNvPr>
          <p:cNvSpPr>
            <a:spLocks noGrp="1"/>
          </p:cNvSpPr>
          <p:nvPr>
            <p:ph type="body" sz="quarter" idx="16" hasCustomPrompt="1"/>
          </p:nvPr>
        </p:nvSpPr>
        <p:spPr>
          <a:xfrm>
            <a:off x="3994917" y="1419177"/>
            <a:ext cx="3132000"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13" name="Text Placeholder 19">
            <a:extLst>
              <a:ext uri="{FF2B5EF4-FFF2-40B4-BE49-F238E27FC236}">
                <a16:creationId xmlns:a16="http://schemas.microsoft.com/office/drawing/2014/main" id="{7DB1950E-05E3-4743-B432-4655618353B3}"/>
              </a:ext>
            </a:extLst>
          </p:cNvPr>
          <p:cNvSpPr>
            <a:spLocks noGrp="1"/>
          </p:cNvSpPr>
          <p:nvPr>
            <p:ph type="body" sz="quarter" idx="20" hasCustomPrompt="1"/>
          </p:nvPr>
        </p:nvSpPr>
        <p:spPr>
          <a:xfrm>
            <a:off x="7398829" y="1419177"/>
            <a:ext cx="3132000"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8" name="Title 7">
            <a:extLst>
              <a:ext uri="{FF2B5EF4-FFF2-40B4-BE49-F238E27FC236}">
                <a16:creationId xmlns:a16="http://schemas.microsoft.com/office/drawing/2014/main" id="{1856CEF0-5B19-4934-A512-FDF48F34EA47}"/>
              </a:ext>
            </a:extLst>
          </p:cNvPr>
          <p:cNvSpPr>
            <a:spLocks noGrp="1"/>
          </p:cNvSpPr>
          <p:nvPr>
            <p:ph type="title"/>
          </p:nvPr>
        </p:nvSpPr>
        <p:spPr/>
        <p:txBody>
          <a:bodyPr/>
          <a:lstStyle/>
          <a:p>
            <a:r>
              <a:rPr lang="en-US"/>
              <a:t>Click to edit Master title style</a:t>
            </a:r>
          </a:p>
        </p:txBody>
      </p:sp>
      <p:sp>
        <p:nvSpPr>
          <p:cNvPr id="16" name="Slide Number Placeholder 15">
            <a:extLst>
              <a:ext uri="{FF2B5EF4-FFF2-40B4-BE49-F238E27FC236}">
                <a16:creationId xmlns:a16="http://schemas.microsoft.com/office/drawing/2014/main" id="{ACCE6036-6588-4854-9686-E8AD5F232130}"/>
              </a:ext>
            </a:extLst>
          </p:cNvPr>
          <p:cNvSpPr>
            <a:spLocks noGrp="1"/>
          </p:cNvSpPr>
          <p:nvPr>
            <p:ph type="sldNum" sz="quarter" idx="21"/>
          </p:nvPr>
        </p:nvSpPr>
        <p:spPr/>
        <p:txBody>
          <a:bodyPr/>
          <a:lstStyle/>
          <a:p>
            <a:fld id="{7F2E7A9C-228B-4998-AC5D-8ECFE8FBAA55}" type="slidenum">
              <a:rPr lang="en-US" smtClean="0"/>
              <a:pPr/>
              <a:t>‹#›</a:t>
            </a:fld>
            <a:endParaRPr lang="en-US" dirty="0"/>
          </a:p>
        </p:txBody>
      </p:sp>
      <p:sp>
        <p:nvSpPr>
          <p:cNvPr id="14" name="Text Placeholder 19">
            <a:extLst>
              <a:ext uri="{FF2B5EF4-FFF2-40B4-BE49-F238E27FC236}">
                <a16:creationId xmlns:a16="http://schemas.microsoft.com/office/drawing/2014/main" id="{537E4767-7F3C-4EBC-AD6B-F959FBD92B66}"/>
              </a:ext>
            </a:extLst>
          </p:cNvPr>
          <p:cNvSpPr>
            <a:spLocks noGrp="1"/>
          </p:cNvSpPr>
          <p:nvPr>
            <p:ph type="body" sz="quarter" idx="14" hasCustomPrompt="1"/>
          </p:nvPr>
        </p:nvSpPr>
        <p:spPr>
          <a:xfrm>
            <a:off x="596710" y="1419177"/>
            <a:ext cx="3122804" cy="317635"/>
          </a:xfrm>
        </p:spPr>
        <p:txBody>
          <a:bodyPr/>
          <a:lstStyle>
            <a:lvl1pPr marL="0" indent="0">
              <a:buNone/>
              <a:defRPr b="1">
                <a:solidFill>
                  <a:schemeClr val="accent5"/>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E126D5EE-2462-40DB-B179-889DBE1DC2DC}"/>
              </a:ext>
            </a:extLst>
          </p:cNvPr>
          <p:cNvSpPr>
            <a:spLocks noGrp="1"/>
          </p:cNvSpPr>
          <p:nvPr>
            <p:ph type="ftr" sz="quarter" idx="22"/>
          </p:nvPr>
        </p:nvSpPr>
        <p:spPr/>
        <p:txBody>
          <a:bodyPr/>
          <a:lstStyle/>
          <a:p>
            <a:endParaRPr lang="en-US" dirty="0"/>
          </a:p>
        </p:txBody>
      </p:sp>
    </p:spTree>
    <p:extLst>
      <p:ext uri="{BB962C8B-B14F-4D97-AF65-F5344CB8AC3E}">
        <p14:creationId xmlns:p14="http://schemas.microsoft.com/office/powerpoint/2010/main" val="133341624"/>
      </p:ext>
    </p:extLst>
  </p:cSld>
  <p:clrMapOvr>
    <a:masterClrMapping/>
  </p:clrMapOvr>
  <p:extLst>
    <p:ext uri="{DCECCB84-F9BA-43D5-87BE-67443E8EF086}">
      <p15:sldGuideLst xmlns:p15="http://schemas.microsoft.com/office/powerpoint/2012/main">
        <p15:guide id="1" pos="438">
          <p15:clr>
            <a:srgbClr val="FBAE40"/>
          </p15:clr>
        </p15:guide>
        <p15:guide id="3" orient="horz" pos="618">
          <p15:clr>
            <a:srgbClr val="FBAE40"/>
          </p15:clr>
        </p15:guide>
        <p15:guide id="4" orient="horz" pos="777">
          <p15:clr>
            <a:srgbClr val="FBAE40"/>
          </p15:clr>
        </p15:guide>
        <p15:guide id="7" pos="2525">
          <p15:clr>
            <a:srgbClr val="FBAE40"/>
          </p15:clr>
        </p15:guide>
        <p15:guide id="8" pos="2343">
          <p15:clr>
            <a:srgbClr val="FBAE40"/>
          </p15:clr>
        </p15:guide>
        <p15:guide id="9" pos="4656">
          <p15:clr>
            <a:srgbClr val="FBAE40"/>
          </p15:clr>
        </p15:guide>
        <p15:guide id="10" pos="449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990B7-5DE5-4FBE-BAA9-D686BEAB0C2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Title 7">
            <a:extLst>
              <a:ext uri="{FF2B5EF4-FFF2-40B4-BE49-F238E27FC236}">
                <a16:creationId xmlns:a16="http://schemas.microsoft.com/office/drawing/2014/main" id="{2473B35B-C9D2-4FAF-871B-85C62A613D65}"/>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8E9FCD9A-8565-4AAC-A671-3D385287FD82}"/>
              </a:ext>
            </a:extLst>
          </p:cNvPr>
          <p:cNvSpPr>
            <a:spLocks noGrp="1"/>
          </p:cNvSpPr>
          <p:nvPr>
            <p:ph type="sldNum" sz="quarter" idx="16"/>
          </p:nvPr>
        </p:nvSpPr>
        <p:spPr/>
        <p:txBody>
          <a:bodyPr/>
          <a:lstStyle/>
          <a:p>
            <a:fld id="{7F2E7A9C-228B-4998-AC5D-8ECFE8FBAA55}" type="slidenum">
              <a:rPr lang="en-US" smtClean="0"/>
              <a:pPr/>
              <a:t>‹#›</a:t>
            </a:fld>
            <a:endParaRPr lang="en-US" dirty="0"/>
          </a:p>
        </p:txBody>
      </p:sp>
      <p:sp>
        <p:nvSpPr>
          <p:cNvPr id="7" name="Text Placeholder 19">
            <a:extLst>
              <a:ext uri="{FF2B5EF4-FFF2-40B4-BE49-F238E27FC236}">
                <a16:creationId xmlns:a16="http://schemas.microsoft.com/office/drawing/2014/main" id="{D36DBB6A-105A-43EF-81FB-A5FF100F42C7}"/>
              </a:ext>
            </a:extLst>
          </p:cNvPr>
          <p:cNvSpPr>
            <a:spLocks noGrp="1"/>
          </p:cNvSpPr>
          <p:nvPr>
            <p:ph type="body" sz="quarter" idx="14" hasCustomPrompt="1"/>
          </p:nvPr>
        </p:nvSpPr>
        <p:spPr>
          <a:xfrm>
            <a:off x="596709" y="1419177"/>
            <a:ext cx="9928415" cy="317635"/>
          </a:xfrm>
        </p:spPr>
        <p:txBody>
          <a:bodyPr/>
          <a:lstStyle>
            <a:lvl1pPr marL="0" indent="0">
              <a:buNone/>
              <a:defRPr b="1">
                <a:solidFill>
                  <a:srgbClr val="72518C"/>
                </a:solidFill>
              </a:defRPr>
            </a:lvl1pPr>
          </a:lstStyle>
          <a:p>
            <a:pPr lvl="0"/>
            <a:r>
              <a:rPr lang="en-US" noProof="0" dirty="0"/>
              <a:t>Click to edit Master title style</a:t>
            </a:r>
          </a:p>
        </p:txBody>
      </p:sp>
      <p:sp>
        <p:nvSpPr>
          <p:cNvPr id="3" name="Footer Placeholder 2">
            <a:extLst>
              <a:ext uri="{FF2B5EF4-FFF2-40B4-BE49-F238E27FC236}">
                <a16:creationId xmlns:a16="http://schemas.microsoft.com/office/drawing/2014/main" id="{08693709-1588-45DD-8AE3-82E56B928847}"/>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453470554"/>
      </p:ext>
    </p:extLst>
  </p:cSld>
  <p:clrMapOvr>
    <a:masterClrMapping/>
  </p:clrMapOvr>
  <p:extLst>
    <p:ext uri="{DCECCB84-F9BA-43D5-87BE-67443E8EF086}">
      <p15:sldGuideLst xmlns:p15="http://schemas.microsoft.com/office/powerpoint/2012/main">
        <p15:guide id="2" pos="438">
          <p15:clr>
            <a:srgbClr val="FBAE40"/>
          </p15:clr>
        </p15:guide>
        <p15:guide id="3" orient="horz" pos="618">
          <p15:clr>
            <a:srgbClr val="FBAE40"/>
          </p15:clr>
        </p15:guide>
        <p15:guide id="4" pos="370">
          <p15:clr>
            <a:srgbClr val="FBAE40"/>
          </p15:clr>
        </p15:guide>
        <p15:guide id="7" orient="horz" pos="935">
          <p15:clr>
            <a:srgbClr val="FBAE40"/>
          </p15:clr>
        </p15:guide>
        <p15:guide id="8" orient="horz" pos="107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ím helye 1">
            <a:extLst>
              <a:ext uri="{FF2B5EF4-FFF2-40B4-BE49-F238E27FC236}">
                <a16:creationId xmlns:a16="http://schemas.microsoft.com/office/drawing/2014/main" id="{7EADE3A1-6389-4880-A823-79411F505670}"/>
              </a:ext>
            </a:extLst>
          </p:cNvPr>
          <p:cNvSpPr>
            <a:spLocks noGrp="1"/>
          </p:cNvSpPr>
          <p:nvPr>
            <p:ph type="title"/>
          </p:nvPr>
        </p:nvSpPr>
        <p:spPr>
          <a:xfrm>
            <a:off x="600074" y="164567"/>
            <a:ext cx="9925050" cy="929127"/>
          </a:xfrm>
          <a:prstGeom prst="rect">
            <a:avLst/>
          </a:prstGeom>
        </p:spPr>
        <p:txBody>
          <a:bodyPr vert="horz" lIns="91440" tIns="45720" rIns="91440" bIns="45720" rtlCol="0" anchor="b">
            <a:noAutofit/>
          </a:bodyPr>
          <a:lstStyle/>
          <a:p>
            <a:r>
              <a:rPr lang="en-US" noProof="0" dirty="0"/>
              <a:t>Click to edit Master title style</a:t>
            </a:r>
          </a:p>
        </p:txBody>
      </p:sp>
      <p:sp>
        <p:nvSpPr>
          <p:cNvPr id="3" name="Szöveg helye 2">
            <a:extLst>
              <a:ext uri="{FF2B5EF4-FFF2-40B4-BE49-F238E27FC236}">
                <a16:creationId xmlns:a16="http://schemas.microsoft.com/office/drawing/2014/main" id="{C6FCCC41-7BF6-454B-A599-2784C4AD2041}"/>
              </a:ext>
            </a:extLst>
          </p:cNvPr>
          <p:cNvSpPr>
            <a:spLocks noGrp="1"/>
          </p:cNvSpPr>
          <p:nvPr>
            <p:ph type="body" idx="1"/>
          </p:nvPr>
        </p:nvSpPr>
        <p:spPr>
          <a:xfrm>
            <a:off x="600073" y="1412875"/>
            <a:ext cx="9925051" cy="4429125"/>
          </a:xfrm>
          <a:prstGeom prst="rect">
            <a:avLst/>
          </a:prstGeom>
        </p:spPr>
        <p:txBody>
          <a:bodyPr vert="horz" lIns="91440" tIns="45720" rIns="91440" bIns="4572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3">
            <a:extLst>
              <a:ext uri="{FF2B5EF4-FFF2-40B4-BE49-F238E27FC236}">
                <a16:creationId xmlns:a16="http://schemas.microsoft.com/office/drawing/2014/main" id="{32FA29E6-BB83-4D08-9E75-2969C6073C40}"/>
              </a:ext>
            </a:extLst>
          </p:cNvPr>
          <p:cNvSpPr>
            <a:spLocks noGrp="1"/>
          </p:cNvSpPr>
          <p:nvPr>
            <p:ph type="ftr" sz="quarter" idx="3"/>
          </p:nvPr>
        </p:nvSpPr>
        <p:spPr>
          <a:xfrm>
            <a:off x="600073" y="6340239"/>
            <a:ext cx="9925051" cy="365125"/>
          </a:xfrm>
          <a:prstGeom prst="rect">
            <a:avLst/>
          </a:prstGeom>
        </p:spPr>
        <p:txBody>
          <a:bodyPr vert="horz" lIns="91440" tIns="45720" rIns="91440" bIns="45720" rtlCol="0" anchor="b"/>
          <a:lstStyle>
            <a:lvl1pPr algn="l">
              <a:defRPr sz="800">
                <a:solidFill>
                  <a:schemeClr val="tx1">
                    <a:tint val="75000"/>
                  </a:schemeClr>
                </a:solidFill>
              </a:defRPr>
            </a:lvl1pPr>
          </a:lstStyle>
          <a:p>
            <a:endParaRPr lang="en-US" dirty="0"/>
          </a:p>
        </p:txBody>
      </p:sp>
      <p:sp>
        <p:nvSpPr>
          <p:cNvPr id="5" name="Slide Number Placeholder 4">
            <a:extLst>
              <a:ext uri="{FF2B5EF4-FFF2-40B4-BE49-F238E27FC236}">
                <a16:creationId xmlns:a16="http://schemas.microsoft.com/office/drawing/2014/main" id="{C87A5CB7-E2BD-494E-A84D-178A808898DE}"/>
              </a:ext>
            </a:extLst>
          </p:cNvPr>
          <p:cNvSpPr>
            <a:spLocks noGrp="1"/>
          </p:cNvSpPr>
          <p:nvPr>
            <p:ph type="sldNum" sz="quarter" idx="4"/>
          </p:nvPr>
        </p:nvSpPr>
        <p:spPr>
          <a:xfrm>
            <a:off x="11591927" y="6340239"/>
            <a:ext cx="480737" cy="365125"/>
          </a:xfrm>
          <a:prstGeom prst="rect">
            <a:avLst/>
          </a:prstGeom>
        </p:spPr>
        <p:txBody>
          <a:bodyPr vert="horz" lIns="91440" tIns="45720" rIns="91440" bIns="45720" rtlCol="0" anchor="b" anchorCtr="0"/>
          <a:lstStyle>
            <a:lvl1pPr algn="r">
              <a:defRPr sz="800" b="1">
                <a:solidFill>
                  <a:schemeClr val="tx1">
                    <a:tint val="75000"/>
                  </a:schemeClr>
                </a:solidFill>
              </a:defRPr>
            </a:lvl1pPr>
          </a:lstStyle>
          <a:p>
            <a:fld id="{7F2E7A9C-228B-4998-AC5D-8ECFE8FBAA55}" type="slidenum">
              <a:rPr lang="en-US" smtClean="0"/>
              <a:pPr/>
              <a:t>‹#›</a:t>
            </a:fld>
            <a:endParaRPr lang="en-US" dirty="0"/>
          </a:p>
        </p:txBody>
      </p:sp>
    </p:spTree>
    <p:extLst>
      <p:ext uri="{BB962C8B-B14F-4D97-AF65-F5344CB8AC3E}">
        <p14:creationId xmlns:p14="http://schemas.microsoft.com/office/powerpoint/2010/main" val="343377323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2" r:id="rId15"/>
    <p:sldLayoutId id="2147483713" r:id="rId16"/>
    <p:sldLayoutId id="2147483714" r:id="rId17"/>
    <p:sldLayoutId id="2147483820" r:id="rId18"/>
    <p:sldLayoutId id="2147483821" r:id="rId19"/>
    <p:sldLayoutId id="2147483822" r:id="rId20"/>
    <p:sldLayoutId id="2147483823" r:id="rId21"/>
  </p:sldLayoutIdLst>
  <p:hf hdr="0" dt="0"/>
  <p:txStyles>
    <p:titleStyle>
      <a:lvl1pPr algn="l" defTabSz="914400" rtl="0" eaLnBrk="1" latinLnBrk="0" hangingPunct="1">
        <a:lnSpc>
          <a:spcPct val="100000"/>
        </a:lnSpc>
        <a:spcBef>
          <a:spcPct val="0"/>
        </a:spcBef>
        <a:buNone/>
        <a:defRPr sz="2400" kern="1200">
          <a:solidFill>
            <a:srgbClr val="4F256F"/>
          </a:solidFill>
          <a:latin typeface="Arial Black" panose="020B0A04020102020204" pitchFamily="34" charset="0"/>
          <a:ea typeface="+mj-ea"/>
          <a:cs typeface="+mj-cs"/>
        </a:defRPr>
      </a:lvl1pPr>
    </p:titleStyle>
    <p:body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8">
          <p15:clr>
            <a:srgbClr val="F26B43"/>
          </p15:clr>
        </p15:guide>
        <p15:guide id="2" pos="370">
          <p15:clr>
            <a:srgbClr val="F26B43"/>
          </p15:clr>
        </p15:guide>
        <p15:guide id="3" pos="438">
          <p15:clr>
            <a:srgbClr val="F26B43"/>
          </p15:clr>
        </p15:guide>
        <p15:guide id="5" pos="7559">
          <p15:clr>
            <a:srgbClr val="F26B43"/>
          </p15:clr>
        </p15:guide>
        <p15:guide id="6" orient="horz" pos="3680">
          <p15:clr>
            <a:srgbClr val="F26B43"/>
          </p15:clr>
        </p15:guide>
        <p15:guide id="7" pos="6630">
          <p15:clr>
            <a:srgbClr val="F26B43"/>
          </p15:clr>
        </p15:guide>
        <p15:guide id="8" orient="horz" pos="618">
          <p15:clr>
            <a:srgbClr val="F26B43"/>
          </p15:clr>
        </p15:guide>
        <p15:guide id="9" orient="horz" pos="1139">
          <p15:clr>
            <a:srgbClr val="F26B43"/>
          </p15:clr>
        </p15:guide>
        <p15:guide id="10"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Cím helye 1">
            <a:extLst>
              <a:ext uri="{FF2B5EF4-FFF2-40B4-BE49-F238E27FC236}">
                <a16:creationId xmlns:a16="http://schemas.microsoft.com/office/drawing/2014/main" id="{7EADE3A1-6389-4880-A823-79411F505670}"/>
              </a:ext>
            </a:extLst>
          </p:cNvPr>
          <p:cNvSpPr>
            <a:spLocks noGrp="1"/>
          </p:cNvSpPr>
          <p:nvPr>
            <p:ph type="title"/>
          </p:nvPr>
        </p:nvSpPr>
        <p:spPr>
          <a:xfrm>
            <a:off x="600074" y="164567"/>
            <a:ext cx="9925050" cy="929127"/>
          </a:xfrm>
          <a:prstGeom prst="rect">
            <a:avLst/>
          </a:prstGeom>
        </p:spPr>
        <p:txBody>
          <a:bodyPr vert="horz" lIns="91440" tIns="45720" rIns="91440" bIns="45720" rtlCol="0" anchor="b">
            <a:noAutofit/>
          </a:bodyPr>
          <a:lstStyle/>
          <a:p>
            <a:r>
              <a:rPr lang="en-US" noProof="0" dirty="0"/>
              <a:t>Click to edit Master title style</a:t>
            </a:r>
          </a:p>
        </p:txBody>
      </p:sp>
      <p:sp>
        <p:nvSpPr>
          <p:cNvPr id="3" name="Szöveg helye 2">
            <a:extLst>
              <a:ext uri="{FF2B5EF4-FFF2-40B4-BE49-F238E27FC236}">
                <a16:creationId xmlns:a16="http://schemas.microsoft.com/office/drawing/2014/main" id="{C6FCCC41-7BF6-454B-A599-2784C4AD2041}"/>
              </a:ext>
            </a:extLst>
          </p:cNvPr>
          <p:cNvSpPr>
            <a:spLocks noGrp="1"/>
          </p:cNvSpPr>
          <p:nvPr>
            <p:ph type="body" idx="1"/>
          </p:nvPr>
        </p:nvSpPr>
        <p:spPr>
          <a:xfrm>
            <a:off x="600073" y="1412875"/>
            <a:ext cx="9925051" cy="4429125"/>
          </a:xfrm>
          <a:prstGeom prst="rect">
            <a:avLst/>
          </a:prstGeom>
        </p:spPr>
        <p:txBody>
          <a:bodyPr vert="horz" lIns="91440" tIns="45720" rIns="91440" bIns="4572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3">
            <a:extLst>
              <a:ext uri="{FF2B5EF4-FFF2-40B4-BE49-F238E27FC236}">
                <a16:creationId xmlns:a16="http://schemas.microsoft.com/office/drawing/2014/main" id="{32FA29E6-BB83-4D08-9E75-2969C6073C40}"/>
              </a:ext>
            </a:extLst>
          </p:cNvPr>
          <p:cNvSpPr>
            <a:spLocks noGrp="1"/>
          </p:cNvSpPr>
          <p:nvPr>
            <p:ph type="ftr" sz="quarter" idx="3"/>
          </p:nvPr>
        </p:nvSpPr>
        <p:spPr>
          <a:xfrm>
            <a:off x="600073" y="6340239"/>
            <a:ext cx="9925051" cy="365125"/>
          </a:xfrm>
          <a:prstGeom prst="rect">
            <a:avLst/>
          </a:prstGeom>
        </p:spPr>
        <p:txBody>
          <a:bodyPr vert="horz" lIns="91440" tIns="45720" rIns="91440" bIns="45720" rtlCol="0" anchor="b"/>
          <a:lstStyle>
            <a:lvl1pPr algn="l">
              <a:defRPr sz="8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C87A5CB7-E2BD-494E-A84D-178A808898DE}"/>
              </a:ext>
            </a:extLst>
          </p:cNvPr>
          <p:cNvSpPr>
            <a:spLocks noGrp="1"/>
          </p:cNvSpPr>
          <p:nvPr>
            <p:ph type="sldNum" sz="quarter" idx="4"/>
          </p:nvPr>
        </p:nvSpPr>
        <p:spPr>
          <a:xfrm>
            <a:off x="11591927" y="6340239"/>
            <a:ext cx="480737" cy="365125"/>
          </a:xfrm>
          <a:prstGeom prst="rect">
            <a:avLst/>
          </a:prstGeom>
        </p:spPr>
        <p:txBody>
          <a:bodyPr vert="horz" lIns="91440" tIns="45720" rIns="91440" bIns="45720" rtlCol="0" anchor="b" anchorCtr="0"/>
          <a:lstStyle>
            <a:lvl1pPr algn="r">
              <a:defRPr sz="800" b="1">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97927789"/>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hf hdr="0" dt="0"/>
  <p:txStyles>
    <p:titleStyle>
      <a:lvl1pPr algn="l" defTabSz="914400" rtl="0" eaLnBrk="1" latinLnBrk="0" hangingPunct="1">
        <a:lnSpc>
          <a:spcPct val="100000"/>
        </a:lnSpc>
        <a:spcBef>
          <a:spcPct val="0"/>
        </a:spcBef>
        <a:buNone/>
        <a:defRPr sz="2400" kern="1200">
          <a:solidFill>
            <a:srgbClr val="4F256F"/>
          </a:solidFill>
          <a:latin typeface="Arial Black" panose="020B0A04020102020204" pitchFamily="34" charset="0"/>
          <a:ea typeface="+mj-ea"/>
          <a:cs typeface="+mj-cs"/>
        </a:defRPr>
      </a:lvl1pPr>
    </p:titleStyle>
    <p:body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8">
          <p15:clr>
            <a:srgbClr val="F26B43"/>
          </p15:clr>
        </p15:guide>
        <p15:guide id="2" pos="370">
          <p15:clr>
            <a:srgbClr val="F26B43"/>
          </p15:clr>
        </p15:guide>
        <p15:guide id="3" pos="438">
          <p15:clr>
            <a:srgbClr val="F26B43"/>
          </p15:clr>
        </p15:guide>
        <p15:guide id="5" pos="7559">
          <p15:clr>
            <a:srgbClr val="F26B43"/>
          </p15:clr>
        </p15:guide>
        <p15:guide id="6" orient="horz" pos="3680">
          <p15:clr>
            <a:srgbClr val="F26B43"/>
          </p15:clr>
        </p15:guide>
        <p15:guide id="7" pos="6630">
          <p15:clr>
            <a:srgbClr val="F26B43"/>
          </p15:clr>
        </p15:guide>
        <p15:guide id="8" orient="horz" pos="618">
          <p15:clr>
            <a:srgbClr val="F26B43"/>
          </p15:clr>
        </p15:guide>
        <p15:guide id="9" orient="horz" pos="1139">
          <p15:clr>
            <a:srgbClr val="F26B43"/>
          </p15:clr>
        </p15:guide>
        <p15:guide id="10"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ím helye 1">
            <a:extLst>
              <a:ext uri="{FF2B5EF4-FFF2-40B4-BE49-F238E27FC236}">
                <a16:creationId xmlns:a16="http://schemas.microsoft.com/office/drawing/2014/main" id="{7EADE3A1-6389-4880-A823-79411F505670}"/>
              </a:ext>
            </a:extLst>
          </p:cNvPr>
          <p:cNvSpPr>
            <a:spLocks noGrp="1"/>
          </p:cNvSpPr>
          <p:nvPr>
            <p:ph type="title"/>
          </p:nvPr>
        </p:nvSpPr>
        <p:spPr>
          <a:xfrm>
            <a:off x="600074" y="164567"/>
            <a:ext cx="9925050" cy="929127"/>
          </a:xfrm>
          <a:prstGeom prst="rect">
            <a:avLst/>
          </a:prstGeom>
        </p:spPr>
        <p:txBody>
          <a:bodyPr vert="horz" lIns="91440" tIns="45720" rIns="91440" bIns="45720" rtlCol="0" anchor="b">
            <a:noAutofit/>
          </a:bodyPr>
          <a:lstStyle/>
          <a:p>
            <a:r>
              <a:rPr lang="en-US" noProof="0"/>
              <a:t>Click to edit Master title style</a:t>
            </a:r>
          </a:p>
        </p:txBody>
      </p:sp>
      <p:sp>
        <p:nvSpPr>
          <p:cNvPr id="3" name="Szöveg helye 2">
            <a:extLst>
              <a:ext uri="{FF2B5EF4-FFF2-40B4-BE49-F238E27FC236}">
                <a16:creationId xmlns:a16="http://schemas.microsoft.com/office/drawing/2014/main" id="{C6FCCC41-7BF6-454B-A599-2784C4AD2041}"/>
              </a:ext>
            </a:extLst>
          </p:cNvPr>
          <p:cNvSpPr>
            <a:spLocks noGrp="1"/>
          </p:cNvSpPr>
          <p:nvPr>
            <p:ph type="body" idx="1"/>
          </p:nvPr>
        </p:nvSpPr>
        <p:spPr>
          <a:xfrm>
            <a:off x="600073" y="1412875"/>
            <a:ext cx="9925051" cy="4429125"/>
          </a:xfrm>
          <a:prstGeom prst="rect">
            <a:avLst/>
          </a:prstGeom>
        </p:spPr>
        <p:txBody>
          <a:bodyPr vert="horz" lIns="91440" tIns="45720" rIns="91440" bIns="4572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32FA29E6-BB83-4D08-9E75-2969C6073C40}"/>
              </a:ext>
            </a:extLst>
          </p:cNvPr>
          <p:cNvSpPr>
            <a:spLocks noGrp="1"/>
          </p:cNvSpPr>
          <p:nvPr>
            <p:ph type="ftr" sz="quarter" idx="3"/>
          </p:nvPr>
        </p:nvSpPr>
        <p:spPr>
          <a:xfrm>
            <a:off x="600073" y="6340239"/>
            <a:ext cx="9925051" cy="365125"/>
          </a:xfrm>
          <a:prstGeom prst="rect">
            <a:avLst/>
          </a:prstGeom>
        </p:spPr>
        <p:txBody>
          <a:bodyPr vert="horz" lIns="91440" tIns="45720" rIns="91440" bIns="45720" rtlCol="0" anchor="b"/>
          <a:lstStyle>
            <a:lvl1pPr algn="l">
              <a:defRPr sz="8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C87A5CB7-E2BD-494E-A84D-178A808898DE}"/>
              </a:ext>
            </a:extLst>
          </p:cNvPr>
          <p:cNvSpPr>
            <a:spLocks noGrp="1"/>
          </p:cNvSpPr>
          <p:nvPr>
            <p:ph type="sldNum" sz="quarter" idx="4"/>
          </p:nvPr>
        </p:nvSpPr>
        <p:spPr>
          <a:xfrm>
            <a:off x="11591927" y="6340239"/>
            <a:ext cx="480737" cy="365125"/>
          </a:xfrm>
          <a:prstGeom prst="rect">
            <a:avLst/>
          </a:prstGeom>
        </p:spPr>
        <p:txBody>
          <a:bodyPr vert="horz" lIns="91440" tIns="45720" rIns="91440" bIns="45720" rtlCol="0" anchor="b" anchorCtr="0"/>
          <a:lstStyle>
            <a:lvl1pPr algn="r">
              <a:defRPr sz="800" b="1">
                <a:solidFill>
                  <a:schemeClr val="tx1">
                    <a:tint val="75000"/>
                  </a:schemeClr>
                </a:solidFill>
              </a:defRPr>
            </a:lvl1pPr>
          </a:lstStyle>
          <a:p>
            <a:fld id="{7F2E7A9C-228B-4998-AC5D-8ECFE8FBAA55}" type="slidenum">
              <a:rPr lang="en-US" smtClean="0"/>
              <a:pPr/>
              <a:t>‹#›</a:t>
            </a:fld>
            <a:endParaRPr lang="en-US"/>
          </a:p>
        </p:txBody>
      </p:sp>
    </p:spTree>
    <p:extLst>
      <p:ext uri="{BB962C8B-B14F-4D97-AF65-F5344CB8AC3E}">
        <p14:creationId xmlns:p14="http://schemas.microsoft.com/office/powerpoint/2010/main" val="248867913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6" r:id="rId21"/>
    <p:sldLayoutId id="2147483818" r:id="rId22"/>
    <p:sldLayoutId id="2147483819" r:id="rId23"/>
  </p:sldLayoutIdLst>
  <p:hf hdr="0" dt="0"/>
  <p:txStyles>
    <p:titleStyle>
      <a:lvl1pPr algn="l" defTabSz="914400" rtl="0" eaLnBrk="1" latinLnBrk="0" hangingPunct="1">
        <a:lnSpc>
          <a:spcPct val="100000"/>
        </a:lnSpc>
        <a:spcBef>
          <a:spcPct val="0"/>
        </a:spcBef>
        <a:buNone/>
        <a:defRPr sz="2400" kern="1200">
          <a:solidFill>
            <a:srgbClr val="4F256F"/>
          </a:solidFill>
          <a:latin typeface="Arial Black" panose="020B0A04020102020204" pitchFamily="34" charset="0"/>
          <a:ea typeface="+mj-ea"/>
          <a:cs typeface="+mj-cs"/>
        </a:defRPr>
      </a:lvl1pPr>
    </p:titleStyle>
    <p:body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8">
          <p15:clr>
            <a:srgbClr val="F26B43"/>
          </p15:clr>
        </p15:guide>
        <p15:guide id="2" pos="370">
          <p15:clr>
            <a:srgbClr val="F26B43"/>
          </p15:clr>
        </p15:guide>
        <p15:guide id="3" pos="438">
          <p15:clr>
            <a:srgbClr val="F26B43"/>
          </p15:clr>
        </p15:guide>
        <p15:guide id="5" pos="7559">
          <p15:clr>
            <a:srgbClr val="F26B43"/>
          </p15:clr>
        </p15:guide>
        <p15:guide id="6" orient="horz" pos="3680">
          <p15:clr>
            <a:srgbClr val="F26B43"/>
          </p15:clr>
        </p15:guide>
        <p15:guide id="7" pos="6630">
          <p15:clr>
            <a:srgbClr val="F26B43"/>
          </p15:clr>
        </p15:guide>
        <p15:guide id="8" orient="horz" pos="618">
          <p15:clr>
            <a:srgbClr val="F26B43"/>
          </p15:clr>
        </p15:guide>
        <p15:guide id="9" orient="horz" pos="1139">
          <p15:clr>
            <a:srgbClr val="F26B43"/>
          </p15:clr>
        </p15:guide>
        <p15:guide id="10"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png"/><Relationship Id="rId3" Type="http://schemas.openxmlformats.org/officeDocument/2006/relationships/image" Target="../media/image46.png"/><Relationship Id="rId7" Type="http://schemas.microsoft.com/office/2007/relationships/hdphoto" Target="../media/hdphoto2.wdp"/><Relationship Id="rId12" Type="http://schemas.microsoft.com/office/2007/relationships/hdphoto" Target="../media/hdphoto4.wdp"/><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9.png"/><Relationship Id="rId11" Type="http://schemas.openxmlformats.org/officeDocument/2006/relationships/image" Target="../media/image52.png"/><Relationship Id="rId5" Type="http://schemas.openxmlformats.org/officeDocument/2006/relationships/image" Target="../media/image48.png"/><Relationship Id="rId10" Type="http://schemas.openxmlformats.org/officeDocument/2006/relationships/image" Target="../media/image51.png"/><Relationship Id="rId4" Type="http://schemas.openxmlformats.org/officeDocument/2006/relationships/image" Target="../media/image47.png"/><Relationship Id="rId9"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microsoft.com/office/2007/relationships/hdphoto" Target="../media/hdphoto5.wdp"/><Relationship Id="rId5" Type="http://schemas.openxmlformats.org/officeDocument/2006/relationships/image" Target="../media/image56.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9.xml"/></Relationships>
</file>

<file path=ppt/slides/_rels/slide19.xml.rels><?xml version="1.0" encoding="UTF-8" standalone="yes"?>
<Relationships xmlns="http://schemas.openxmlformats.org/package/2006/relationships"><Relationship Id="rId3" Type="http://schemas.openxmlformats.org/officeDocument/2006/relationships/hyperlink" Target="https://www.ema.europa.eu/en/documents/scientific-guideline/guideline-clinical-investigation-medicinal-products-treatment-chronic-heart-failure-revision-2_en.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58.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chart" Target="../charts/chart6.xml"/></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chart" Target="../charts/chart7.xml"/><Relationship Id="rId7" Type="http://schemas.microsoft.com/office/2007/relationships/hdphoto" Target="../media/hdphoto7.wdp"/><Relationship Id="rId12" Type="http://schemas.openxmlformats.org/officeDocument/2006/relationships/chart" Target="../charts/chart10.xml"/><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60.png"/><Relationship Id="rId11" Type="http://schemas.openxmlformats.org/officeDocument/2006/relationships/chart" Target="../charts/chart9.xml"/><Relationship Id="rId5" Type="http://schemas.microsoft.com/office/2007/relationships/hdphoto" Target="../media/hdphoto6.wdp"/><Relationship Id="rId10" Type="http://schemas.openxmlformats.org/officeDocument/2006/relationships/chart" Target="../charts/chart8.xml"/><Relationship Id="rId4" Type="http://schemas.openxmlformats.org/officeDocument/2006/relationships/image" Target="../media/image59.png"/><Relationship Id="rId9" Type="http://schemas.openxmlformats.org/officeDocument/2006/relationships/image" Target="../media/image62.svg"/></Relationships>
</file>

<file path=ppt/slides/_rels/slide25.xml.rels><?xml version="1.0" encoding="UTF-8" standalone="yes"?>
<Relationships xmlns="http://schemas.openxmlformats.org/package/2006/relationships"><Relationship Id="rId3" Type="http://schemas.openxmlformats.org/officeDocument/2006/relationships/hyperlink" Target="https://www.ema.europa.eu/en/medicines/human/EPAR/verquvo"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Layout" Target="../slideLayouts/slideLayout20.xml"/><Relationship Id="rId6" Type="http://schemas.openxmlformats.org/officeDocument/2006/relationships/image" Target="../media/image16.png"/><Relationship Id="rId5" Type="http://schemas.microsoft.com/office/2007/relationships/hdphoto" Target="../media/hdphoto1.wdp"/><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chart" Target="../charts/chart13.xml"/><Relationship Id="rId13" Type="http://schemas.openxmlformats.org/officeDocument/2006/relationships/image" Target="../media/image64.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hdphoto" Target="../media/hdphoto7.wdp"/><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2.xml"/><Relationship Id="rId11" Type="http://schemas.openxmlformats.org/officeDocument/2006/relationships/image" Target="../media/image60.png"/><Relationship Id="rId5" Type="http://schemas.openxmlformats.org/officeDocument/2006/relationships/diagramQuickStyle" Target="../diagrams/quickStyle2.xml"/><Relationship Id="rId10" Type="http://schemas.microsoft.com/office/2007/relationships/hdphoto" Target="../media/hdphoto6.wdp"/><Relationship Id="rId4" Type="http://schemas.openxmlformats.org/officeDocument/2006/relationships/diagramLayout" Target="../diagrams/layout2.xml"/><Relationship Id="rId9" Type="http://schemas.openxmlformats.org/officeDocument/2006/relationships/image" Target="../media/image59.png"/><Relationship Id="rId14" Type="http://schemas.microsoft.com/office/2007/relationships/hdphoto" Target="../media/hdphoto8.wdp"/></Relationships>
</file>

<file path=ppt/slides/_rels/slide3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7.xml"/><Relationship Id="rId1" Type="http://schemas.openxmlformats.org/officeDocument/2006/relationships/slideLayout" Target="../slideLayouts/slideLayout8.xml"/><Relationship Id="rId5" Type="http://schemas.openxmlformats.org/officeDocument/2006/relationships/image" Target="../media/image67.jpeg"/><Relationship Id="rId4" Type="http://schemas.openxmlformats.org/officeDocument/2006/relationships/image" Target="../media/image66.jpeg"/></Relationships>
</file>

<file path=ppt/slides/_rels/slide34.xml.rels><?xml version="1.0" encoding="UTF-8" standalone="yes"?>
<Relationships xmlns="http://schemas.openxmlformats.org/package/2006/relationships"><Relationship Id="rId3" Type="http://schemas.openxmlformats.org/officeDocument/2006/relationships/hyperlink" Target="https://www.ema.europa.eu/en/medicines/human/EPAR/verquvo"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hyperlink" Target="https://www.accessdata.fda.gov/drugsatfda_docs/label/2021/214377s000lbl.pdf"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ema.europa.eu/en/medicines/human/EPAR/verquvo" TargetMode="External"/><Relationship Id="rId7"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hyperlink" Target="https://www.accessdata.fda.gov/drugsatfda_docs/label/2021/214377s000lbl.pdf"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microsoft.com/office/2007/relationships/hdphoto" Target="../media/hdphoto7.wdp"/><Relationship Id="rId5" Type="http://schemas.openxmlformats.org/officeDocument/2006/relationships/image" Target="../media/image60.png"/><Relationship Id="rId4" Type="http://schemas.openxmlformats.org/officeDocument/2006/relationships/image" Target="../media/image72.sv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14.svg"/></Relationships>
</file>

<file path=ppt/slides/_rels/slide38.xml.rels><?xml version="1.0" encoding="UTF-8" standalone="yes"?>
<Relationships xmlns="http://schemas.openxmlformats.org/package/2006/relationships"><Relationship Id="rId3" Type="http://schemas.openxmlformats.org/officeDocument/2006/relationships/hyperlink" Target="https://doi.org/10.1016/j.jacc.2021.12.012" TargetMode="Externa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hyperlink" Target="https://www.ema.europa.eu/en/medicines/human/EPAR/verquvo" TargetMode="External"/><Relationship Id="rId7" Type="http://schemas.openxmlformats.org/officeDocument/2006/relationships/image" Target="../media/image77.sv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79.sv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21.svg"/><Relationship Id="rId11" Type="http://schemas.openxmlformats.org/officeDocument/2006/relationships/image" Target="../media/image26.sv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svg"/><Relationship Id="rId9" Type="http://schemas.openxmlformats.org/officeDocument/2006/relationships/image" Target="../media/image24.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81.svg"/></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21.xml"/><Relationship Id="rId4" Type="http://schemas.openxmlformats.org/officeDocument/2006/relationships/image" Target="../media/image83.svg"/></Relationships>
</file>

<file path=ppt/slides/_rels/slide44.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notesSlide" Target="../notesSlides/notesSlide36.xml"/><Relationship Id="rId7" Type="http://schemas.openxmlformats.org/officeDocument/2006/relationships/image" Target="../media/image80.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34.svg"/><Relationship Id="rId2" Type="http://schemas.openxmlformats.org/officeDocument/2006/relationships/image" Target="../media/image29.png"/><Relationship Id="rId1" Type="http://schemas.openxmlformats.org/officeDocument/2006/relationships/slideLayout" Target="../slideLayouts/slideLayout21.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81.sv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29.png"/><Relationship Id="rId7"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hyperlink" Target="https://www.accessdata.fda.gov/drugsatfda_docs/label/2021/214377s000lbl.pdf" TargetMode="External"/><Relationship Id="rId4" Type="http://schemas.openxmlformats.org/officeDocument/2006/relationships/image" Target="../media/image30.svg"/><Relationship Id="rId9" Type="http://schemas.openxmlformats.org/officeDocument/2006/relationships/hyperlink" Target="https://www.ema.europa.eu/en/medicines/human/EPAR/verquvo"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68.png"/><Relationship Id="rId7"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hyperlink" Target="https://www.merck.com/product/usa/pi_circulars/v/verquvo/verquvo_pi.pdf" TargetMode="External"/><Relationship Id="rId5" Type="http://schemas.openxmlformats.org/officeDocument/2006/relationships/image" Target="../media/image70.png"/><Relationship Id="rId4" Type="http://schemas.openxmlformats.org/officeDocument/2006/relationships/image" Target="../media/image69.png"/></Relationships>
</file>

<file path=ppt/slides/_rels/slide58.xml.rels><?xml version="1.0" encoding="UTF-8" standalone="yes"?>
<Relationships xmlns="http://schemas.openxmlformats.org/package/2006/relationships"><Relationship Id="rId8" Type="http://schemas.openxmlformats.org/officeDocument/2006/relationships/diagramQuickStyle" Target="../diagrams/quickStyle3.xml"/><Relationship Id="rId13"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diagramLayout" Target="../diagrams/layout3.xml"/><Relationship Id="rId12" Type="http://schemas.openxmlformats.org/officeDocument/2006/relationships/image" Target="../media/image95.svg"/><Relationship Id="rId2" Type="http://schemas.openxmlformats.org/officeDocument/2006/relationships/notesSlide" Target="../notesSlides/notesSlide50.xml"/><Relationship Id="rId1" Type="http://schemas.openxmlformats.org/officeDocument/2006/relationships/slideLayout" Target="../slideLayouts/slideLayout4.xml"/><Relationship Id="rId6" Type="http://schemas.openxmlformats.org/officeDocument/2006/relationships/diagramData" Target="../diagrams/data3.xml"/><Relationship Id="rId11" Type="http://schemas.openxmlformats.org/officeDocument/2006/relationships/image" Target="../media/image94.png"/><Relationship Id="rId5" Type="http://schemas.openxmlformats.org/officeDocument/2006/relationships/hyperlink" Target="https://www.medicines.org.uk/emc/product/12773/smpc#gref" TargetMode="External"/><Relationship Id="rId10" Type="http://schemas.microsoft.com/office/2007/relationships/diagramDrawing" Target="../diagrams/drawing3.xml"/><Relationship Id="rId4" Type="http://schemas.openxmlformats.org/officeDocument/2006/relationships/image" Target="../media/image93.svg"/><Relationship Id="rId9" Type="http://schemas.openxmlformats.org/officeDocument/2006/relationships/diagramColors" Target="../diagrams/colors3.xml"/><Relationship Id="rId14" Type="http://schemas.openxmlformats.org/officeDocument/2006/relationships/image" Target="../media/image97.sv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6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99.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doi.org/10.1016/j.cardfail.2021.11.013" TargetMode="External"/><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hyperlink" Target="https://doi.org/10.1007/s10741-021-10077-x" TargetMode="External"/><Relationship Id="rId7" Type="http://schemas.openxmlformats.org/officeDocument/2006/relationships/image" Target="../media/image103.svg"/><Relationship Id="rId2" Type="http://schemas.openxmlformats.org/officeDocument/2006/relationships/notesSlide" Target="../notesSlides/notesSlide55.xml"/><Relationship Id="rId1" Type="http://schemas.openxmlformats.org/officeDocument/2006/relationships/slideLayout" Target="../slideLayouts/slideLayout9.xml"/><Relationship Id="rId6" Type="http://schemas.openxmlformats.org/officeDocument/2006/relationships/image" Target="../media/image102.png"/><Relationship Id="rId11" Type="http://schemas.openxmlformats.org/officeDocument/2006/relationships/image" Target="../media/image106.svg"/><Relationship Id="rId5" Type="http://schemas.openxmlformats.org/officeDocument/2006/relationships/image" Target="../media/image101.svg"/><Relationship Id="rId10" Type="http://schemas.openxmlformats.org/officeDocument/2006/relationships/image" Target="../media/image105.png"/><Relationship Id="rId4" Type="http://schemas.openxmlformats.org/officeDocument/2006/relationships/image" Target="../media/image100.png"/><Relationship Id="rId9" Type="http://schemas.microsoft.com/office/2007/relationships/hdphoto" Target="../media/hdphoto9.wdp"/></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hyperlink" Target="https://www.ema.europa.eu/en/medicines/human/EPAR/verquvo"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hyperlink" Target="https://www.ema.europa.eu/en/medicines/human/EPAR/verquvo" TargetMode="External"/><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3.xml"/><Relationship Id="rId5" Type="http://schemas.openxmlformats.org/officeDocument/2006/relationships/hyperlink" Target="https://www.ema.europa.eu/en/medicines/human/EPAR/verquvo" TargetMode="External"/><Relationship Id="rId4" Type="http://schemas.openxmlformats.org/officeDocument/2006/relationships/image" Target="../media/image108.svg"/></Relationships>
</file>

<file path=ppt/slides/_rels/slide73.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88.png"/><Relationship Id="rId7" Type="http://schemas.openxmlformats.org/officeDocument/2006/relationships/image" Target="../media/image111.png"/><Relationship Id="rId2" Type="http://schemas.openxmlformats.org/officeDocument/2006/relationships/notesSlide" Target="../notesSlides/notesSlide64.xml"/><Relationship Id="rId1" Type="http://schemas.openxmlformats.org/officeDocument/2006/relationships/slideLayout" Target="../slideLayouts/slideLayout4.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89.sv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591830-0261-487C-9434-99321ADA8FFE}"/>
              </a:ext>
            </a:extLst>
          </p:cNvPr>
          <p:cNvSpPr>
            <a:spLocks noGrp="1"/>
          </p:cNvSpPr>
          <p:nvPr>
            <p:ph type="title" idx="4294967295"/>
          </p:nvPr>
        </p:nvSpPr>
        <p:spPr>
          <a:xfrm>
            <a:off x="328773" y="2318677"/>
            <a:ext cx="5573486" cy="2852738"/>
          </a:xfrm>
        </p:spPr>
        <p:txBody>
          <a:bodyPr>
            <a:noAutofit/>
          </a:bodyPr>
          <a:lstStyle/>
          <a:p>
            <a:pPr marL="0" marR="0">
              <a:spcBef>
                <a:spcPts val="0"/>
              </a:spcBef>
              <a:spcAft>
                <a:spcPts val="0"/>
              </a:spcAft>
            </a:pPr>
            <a:r>
              <a:rPr lang="en-US" sz="2800" b="1" dirty="0">
                <a:solidFill>
                  <a:schemeClr val="bg1"/>
                </a:solidFill>
                <a:latin typeface="Arial" panose="020B0604020202020204" pitchFamily="34" charset="0"/>
                <a:cs typeface="Arial" panose="020B0604020202020204" pitchFamily="34" charset="0"/>
              </a:rPr>
              <a:t>Expanding Horizons in Worsening Heart Failure: </a:t>
            </a:r>
            <a:br>
              <a:rPr lang="en-US" sz="3200" b="1" dirty="0">
                <a:solidFill>
                  <a:schemeClr val="bg1"/>
                </a:solidFill>
                <a:latin typeface="Arial" panose="020B0604020202020204" pitchFamily="34" charset="0"/>
                <a:cs typeface="Arial" panose="020B0604020202020204" pitchFamily="34" charset="0"/>
              </a:rPr>
            </a:br>
            <a:r>
              <a:rPr lang="en-US" sz="2800" dirty="0">
                <a:solidFill>
                  <a:schemeClr val="bg1"/>
                </a:solidFill>
                <a:latin typeface="Arial" panose="020B0604020202020204" pitchFamily="34" charset="0"/>
                <a:cs typeface="Arial" panose="020B0604020202020204" pitchFamily="34" charset="0"/>
              </a:rPr>
              <a:t>Insights from The VICTORIA trial</a:t>
            </a:r>
            <a:endParaRPr lang="en-US"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60408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DE0A6F-225B-4A88-B8CC-2F9FDF49E374}"/>
              </a:ext>
            </a:extLst>
          </p:cNvPr>
          <p:cNvSpPr>
            <a:spLocks noGrp="1"/>
          </p:cNvSpPr>
          <p:nvPr>
            <p:ph type="body" sz="quarter" idx="14"/>
          </p:nvPr>
        </p:nvSpPr>
        <p:spPr/>
        <p:txBody>
          <a:bodyPr/>
          <a:lstStyle/>
          <a:p>
            <a:r>
              <a:rPr lang="en-GB" sz="1600">
                <a:solidFill>
                  <a:schemeClr val="accent5"/>
                </a:solidFill>
              </a:rPr>
              <a:t>Hazard ratio for CV death or HF hospitalization according to time from HF hospitalization to screening in the PARADIGM trial (N=8,399)</a:t>
            </a:r>
          </a:p>
          <a:p>
            <a:endParaRPr lang="en-GB"/>
          </a:p>
        </p:txBody>
      </p:sp>
      <p:sp>
        <p:nvSpPr>
          <p:cNvPr id="3" name="Slide Number Placeholder 2">
            <a:extLst>
              <a:ext uri="{FF2B5EF4-FFF2-40B4-BE49-F238E27FC236}">
                <a16:creationId xmlns:a16="http://schemas.microsoft.com/office/drawing/2014/main" id="{3F1D9B46-D453-4F36-B4B5-D341F3603B5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F7DD736E-2960-45C1-B975-6CF9D01E5AEF}"/>
              </a:ext>
            </a:extLst>
          </p:cNvPr>
          <p:cNvSpPr>
            <a:spLocks noGrp="1"/>
          </p:cNvSpPr>
          <p:nvPr>
            <p:ph type="title"/>
          </p:nvPr>
        </p:nvSpPr>
        <p:spPr/>
        <p:txBody>
          <a:bodyPr/>
          <a:lstStyle/>
          <a:p>
            <a:r>
              <a:rPr kumimoji="0" lang="en-GB" sz="2400" b="0" i="0" u="none" strike="noStrike" kern="1200" cap="none" spc="0" normalizeH="0" baseline="0" noProof="0">
                <a:ln>
                  <a:noFill/>
                </a:ln>
                <a:solidFill>
                  <a:srgbClr val="4F256F"/>
                </a:solidFill>
                <a:effectLst/>
                <a:uLnTx/>
                <a:uFillTx/>
                <a:latin typeface="Arial Black" panose="020B0A04020102020204" pitchFamily="34" charset="0"/>
                <a:ea typeface="+mj-ea"/>
                <a:cs typeface="+mj-cs"/>
              </a:rPr>
              <a:t>Risk of CV death or HF hospitalization is highest in the early phase after hospitalization</a:t>
            </a:r>
            <a:endParaRPr lang="en-GB"/>
          </a:p>
        </p:txBody>
      </p:sp>
      <p:sp>
        <p:nvSpPr>
          <p:cNvPr id="4" name="Footer Placeholder 3">
            <a:extLst>
              <a:ext uri="{FF2B5EF4-FFF2-40B4-BE49-F238E27FC236}">
                <a16:creationId xmlns:a16="http://schemas.microsoft.com/office/drawing/2014/main" id="{86D4F41E-B3FA-42D4-B299-6A498B711EA3}"/>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CI, confidence interval; CV, cardiovascular; HF, heart failure; HFH, heart failure hospitalization; HR, hazard ratio.</a:t>
            </a:r>
            <a:b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br>
            <a:r>
              <a:rPr kumimoji="0" lang="en-US" sz="800" b="1" i="0" u="none" strike="noStrike" kern="1200" cap="none" spc="0" normalizeH="0" baseline="0" noProof="0">
                <a:ln>
                  <a:noFill/>
                </a:ln>
                <a:solidFill>
                  <a:srgbClr val="898989"/>
                </a:solidFill>
                <a:effectLst/>
                <a:uLnTx/>
                <a:uFillTx/>
                <a:latin typeface="Arial"/>
                <a:ea typeface="+mn-ea"/>
                <a:cs typeface="+mn-cs"/>
              </a:rPr>
              <a:t>Reference: </a:t>
            </a:r>
            <a:r>
              <a:rPr kumimoji="0" lang="en-US" sz="800" b="0" i="0" u="none" strike="noStrike" kern="1200" cap="none" spc="0" normalizeH="0" baseline="0" noProof="0">
                <a:ln>
                  <a:noFill/>
                </a:ln>
                <a:solidFill>
                  <a:srgbClr val="898989"/>
                </a:solidFill>
                <a:effectLst/>
                <a:uLnTx/>
                <a:uFillTx/>
                <a:latin typeface="Arial"/>
                <a:ea typeface="+mn-ea"/>
                <a:cs typeface="+mn-cs"/>
              </a:rPr>
              <a:t>Solomon SD </a:t>
            </a:r>
            <a:r>
              <a:rPr kumimoji="0" lang="en-US" sz="800" b="0" i="1" u="none" strike="noStrike" kern="1200" cap="none" spc="0" normalizeH="0" baseline="0" noProof="0">
                <a:ln>
                  <a:noFill/>
                </a:ln>
                <a:solidFill>
                  <a:srgbClr val="898989"/>
                </a:solidFill>
                <a:effectLst/>
                <a:uLnTx/>
                <a:uFillTx/>
                <a:latin typeface="Arial"/>
                <a:ea typeface="+mn-ea"/>
                <a:cs typeface="+mn-cs"/>
              </a:rPr>
              <a:t>et al. JACC Heart Fail </a:t>
            </a:r>
            <a:r>
              <a:rPr kumimoji="0" lang="en-US" sz="800" b="0" i="0" u="none" strike="noStrike" kern="1200" cap="none" spc="0" normalizeH="0" baseline="0" noProof="0">
                <a:ln>
                  <a:noFill/>
                </a:ln>
                <a:solidFill>
                  <a:srgbClr val="898989"/>
                </a:solidFill>
                <a:effectLst/>
                <a:uLnTx/>
                <a:uFillTx/>
                <a:latin typeface="Arial"/>
                <a:ea typeface="+mn-ea"/>
                <a:cs typeface="+mn-cs"/>
              </a:rPr>
              <a:t>2016;4:816</a:t>
            </a:r>
            <a:r>
              <a:rPr kumimoji="0" lang="en-US" sz="800" b="0" i="0" u="none" strike="noStrike" kern="1200" cap="none" spc="0" normalizeH="0" baseline="0" noProof="0">
                <a:ln>
                  <a:noFill/>
                </a:ln>
                <a:solidFill>
                  <a:srgbClr val="898989"/>
                </a:solidFill>
                <a:effectLst/>
                <a:uLnTx/>
                <a:uFillTx/>
                <a:latin typeface="Arial"/>
                <a:ea typeface="+mn-ea"/>
                <a:cs typeface="Calibri" panose="020F0502020204030204" pitchFamily="34" charset="0"/>
              </a:rPr>
              <a:t>–</a:t>
            </a:r>
            <a:r>
              <a:rPr kumimoji="0" lang="en-US" sz="800" b="0" i="0" u="none" strike="noStrike" kern="1200" cap="none" spc="0" normalizeH="0" baseline="0" noProof="0">
                <a:ln>
                  <a:noFill/>
                </a:ln>
                <a:solidFill>
                  <a:srgbClr val="898989"/>
                </a:solidFill>
                <a:effectLst/>
                <a:uLnTx/>
                <a:uFillTx/>
                <a:latin typeface="Arial"/>
                <a:ea typeface="+mn-ea"/>
                <a:cs typeface="+mn-cs"/>
              </a:rPr>
              <a:t>822.</a:t>
            </a:r>
          </a:p>
        </p:txBody>
      </p:sp>
      <p:sp>
        <p:nvSpPr>
          <p:cNvPr id="19" name="Rectangle 18">
            <a:extLst>
              <a:ext uri="{FF2B5EF4-FFF2-40B4-BE49-F238E27FC236}">
                <a16:creationId xmlns:a16="http://schemas.microsoft.com/office/drawing/2014/main" id="{66DA73C5-9046-4C66-84E3-9ECD79009F77}"/>
              </a:ext>
            </a:extLst>
          </p:cNvPr>
          <p:cNvSpPr/>
          <p:nvPr/>
        </p:nvSpPr>
        <p:spPr>
          <a:xfrm>
            <a:off x="8087363" y="2492896"/>
            <a:ext cx="2437129" cy="2939062"/>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Risk of CV death or HFH was </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2400" b="1" i="0" u="none" strike="noStrike" kern="1200" cap="none" spc="0" normalizeH="0" baseline="0" noProof="0">
                <a:ln>
                  <a:noFill/>
                </a:ln>
                <a:solidFill>
                  <a:srgbClr val="FC3B2D"/>
                </a:solidFill>
                <a:effectLst/>
                <a:uLnTx/>
                <a:uFillTx/>
                <a:latin typeface="Arial"/>
                <a:ea typeface="+mn-ea"/>
                <a:cs typeface="+mn-cs"/>
              </a:rPr>
              <a:t>46% higher</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in patients with recent hospitalization </a:t>
            </a:r>
            <a:r>
              <a:rPr kumimoji="0" lang="en-US" sz="1600" b="0" i="1" u="none" strike="noStrike" kern="1200" cap="none" spc="0" normalizeH="0" baseline="0" noProof="0">
                <a:ln>
                  <a:noFill/>
                </a:ln>
                <a:solidFill>
                  <a:srgbClr val="000000"/>
                </a:solidFill>
                <a:effectLst/>
                <a:uLnTx/>
                <a:uFillTx/>
                <a:latin typeface="Arial"/>
                <a:ea typeface="+mn-ea"/>
                <a:cs typeface="+mn-cs"/>
              </a:rPr>
              <a:t>vs</a:t>
            </a:r>
            <a:r>
              <a:rPr kumimoji="0" lang="en-US" sz="1600" b="0" i="0" u="none" strike="noStrike" kern="1200" cap="none" spc="0" normalizeH="0" baseline="0" noProof="0">
                <a:ln>
                  <a:noFill/>
                </a:ln>
                <a:solidFill>
                  <a:srgbClr val="000000"/>
                </a:solidFill>
                <a:effectLst/>
                <a:uLnTx/>
                <a:uFillTx/>
                <a:latin typeface="Arial"/>
                <a:ea typeface="+mn-ea"/>
                <a:cs typeface="+mn-cs"/>
              </a:rPr>
              <a:t> patients with no prior hospitalization</a:t>
            </a:r>
          </a:p>
        </p:txBody>
      </p:sp>
      <p:sp>
        <p:nvSpPr>
          <p:cNvPr id="20" name="Isosceles Triangle 19">
            <a:extLst>
              <a:ext uri="{FF2B5EF4-FFF2-40B4-BE49-F238E27FC236}">
                <a16:creationId xmlns:a16="http://schemas.microsoft.com/office/drawing/2014/main" id="{A15FDC9F-D9F9-4679-BB47-109364980B6F}"/>
              </a:ext>
            </a:extLst>
          </p:cNvPr>
          <p:cNvSpPr/>
          <p:nvPr/>
        </p:nvSpPr>
        <p:spPr>
          <a:xfrm rot="16200000">
            <a:off x="7069266" y="3734305"/>
            <a:ext cx="1318024" cy="45624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005BBBAF-6F24-42D3-B1E6-77567A24DB74}"/>
              </a:ext>
            </a:extLst>
          </p:cNvPr>
          <p:cNvGraphicFramePr/>
          <p:nvPr/>
        </p:nvGraphicFramePr>
        <p:xfrm>
          <a:off x="335360" y="2168860"/>
          <a:ext cx="7281958" cy="378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2CC40090-4118-40B9-B229-19D9B7B33D30}"/>
              </a:ext>
            </a:extLst>
          </p:cNvPr>
          <p:cNvCxnSpPr>
            <a:cxnSpLocks/>
          </p:cNvCxnSpPr>
          <p:nvPr/>
        </p:nvCxnSpPr>
        <p:spPr>
          <a:xfrm>
            <a:off x="1235248" y="4845990"/>
            <a:ext cx="592019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Rettangolo 1">
            <a:extLst>
              <a:ext uri="{FF2B5EF4-FFF2-40B4-BE49-F238E27FC236}">
                <a16:creationId xmlns:a16="http://schemas.microsoft.com/office/drawing/2014/main" id="{5E514012-ABAC-4E22-A046-7CA04D4E73F0}"/>
              </a:ext>
            </a:extLst>
          </p:cNvPr>
          <p:cNvSpPr>
            <a:spLocks noChangeArrowheads="1"/>
          </p:cNvSpPr>
          <p:nvPr/>
        </p:nvSpPr>
        <p:spPr bwMode="auto">
          <a:xfrm>
            <a:off x="4759513" y="2291279"/>
            <a:ext cx="2395926" cy="3225533"/>
          </a:xfrm>
          <a:prstGeom prst="rect">
            <a:avLst/>
          </a:prstGeom>
          <a:noFill/>
          <a:ln w="38100">
            <a:solidFill>
              <a:schemeClr val="accent1"/>
            </a:solidFill>
            <a:miter lim="800000"/>
            <a:headEnd/>
            <a:tailEnd/>
          </a:ln>
          <a:effectLst/>
          <a:extLst>
            <a:ext uri="{909E8E84-426E-40DD-AFC4-6F175D3DCCD1}">
              <a14:hiddenFill xmlns:a14="http://schemas.microsoft.com/office/drawing/2010/main">
                <a:solidFill>
                  <a:srgbClr val="FFFFFF"/>
                </a:solidFill>
              </a14:hiddenFill>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3F1E7C97-7F13-498B-B0D5-DD24ABC37335}"/>
              </a:ext>
            </a:extLst>
          </p:cNvPr>
          <p:cNvSpPr txBox="1"/>
          <p:nvPr/>
        </p:nvSpPr>
        <p:spPr>
          <a:xfrm>
            <a:off x="4811229" y="2336162"/>
            <a:ext cx="110520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HR=</a:t>
            </a:r>
            <a:fld id="{76A07CD7-4E22-497E-A62E-E9CCEBB6DBCC}" type="VALUE">
              <a:rPr kumimoji="0" lang="en-US" sz="1200" b="0" i="0" u="none" strike="noStrike" kern="1200" cap="none" spc="0" normalizeH="0" baseline="0" noProof="0" smtClean="0">
                <a:ln>
                  <a:noFill/>
                </a:ln>
                <a:solidFill>
                  <a:srgbClr val="000000">
                    <a:lumMod val="75000"/>
                    <a:lumOff val="2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t>1.46</a:t>
            </a:fld>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 (95% CI 1.26</a:t>
            </a: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69)</a:t>
            </a:r>
          </a:p>
        </p:txBody>
      </p:sp>
      <p:sp>
        <p:nvSpPr>
          <p:cNvPr id="11" name="TextBox 10">
            <a:extLst>
              <a:ext uri="{FF2B5EF4-FFF2-40B4-BE49-F238E27FC236}">
                <a16:creationId xmlns:a16="http://schemas.microsoft.com/office/drawing/2014/main" id="{B79388B5-5587-4A94-B94E-83947ACACDA4}"/>
              </a:ext>
            </a:extLst>
          </p:cNvPr>
          <p:cNvSpPr txBox="1"/>
          <p:nvPr/>
        </p:nvSpPr>
        <p:spPr>
          <a:xfrm>
            <a:off x="5997572" y="2349924"/>
            <a:ext cx="110520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HR=</a:t>
            </a:r>
            <a:fld id="{76A07CD7-4E22-497E-A62E-E9CCEBB6DBCC}" type="VALUE">
              <a:rPr kumimoji="0" lang="en-US" sz="1200" b="0" i="0" u="none" strike="noStrike" kern="1200" cap="none" spc="0" normalizeH="0" baseline="0" noProof="0" smtClean="0">
                <a:ln>
                  <a:noFill/>
                </a:ln>
                <a:solidFill>
                  <a:srgbClr val="000000">
                    <a:lumMod val="75000"/>
                    <a:lumOff val="2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t>1.46</a:t>
            </a:fld>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 (95% CI 1.29</a:t>
            </a: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66)</a:t>
            </a:r>
          </a:p>
        </p:txBody>
      </p:sp>
      <p:sp>
        <p:nvSpPr>
          <p:cNvPr id="12" name="TextBox 11">
            <a:extLst>
              <a:ext uri="{FF2B5EF4-FFF2-40B4-BE49-F238E27FC236}">
                <a16:creationId xmlns:a16="http://schemas.microsoft.com/office/drawing/2014/main" id="{2E13FA26-9F08-4DD9-BD1E-B19CAB5FDC41}"/>
              </a:ext>
            </a:extLst>
          </p:cNvPr>
          <p:cNvSpPr txBox="1"/>
          <p:nvPr/>
        </p:nvSpPr>
        <p:spPr>
          <a:xfrm>
            <a:off x="2454506" y="3001306"/>
            <a:ext cx="110520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HR=1.26</a:t>
            </a:r>
          </a:p>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 (95% CI 1.12</a:t>
            </a: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43)</a:t>
            </a:r>
          </a:p>
        </p:txBody>
      </p:sp>
      <p:sp>
        <p:nvSpPr>
          <p:cNvPr id="13" name="TextBox 12">
            <a:extLst>
              <a:ext uri="{FF2B5EF4-FFF2-40B4-BE49-F238E27FC236}">
                <a16:creationId xmlns:a16="http://schemas.microsoft.com/office/drawing/2014/main" id="{01FBE4E3-72E0-4438-88F1-FAFFD46CF2BA}"/>
              </a:ext>
            </a:extLst>
          </p:cNvPr>
          <p:cNvSpPr txBox="1"/>
          <p:nvPr/>
        </p:nvSpPr>
        <p:spPr>
          <a:xfrm>
            <a:off x="3639560" y="2827340"/>
            <a:ext cx="110520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HR=1.29</a:t>
            </a:r>
          </a:p>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 (95% CI 1.10</a:t>
            </a:r>
            <a:r>
              <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1.51)</a:t>
            </a:r>
          </a:p>
        </p:txBody>
      </p:sp>
      <p:sp>
        <p:nvSpPr>
          <p:cNvPr id="14" name="TextBox 13">
            <a:extLst>
              <a:ext uri="{FF2B5EF4-FFF2-40B4-BE49-F238E27FC236}">
                <a16:creationId xmlns:a16="http://schemas.microsoft.com/office/drawing/2014/main" id="{9942E279-6B00-4C0F-8621-301DC27BDCA3}"/>
              </a:ext>
            </a:extLst>
          </p:cNvPr>
          <p:cNvSpPr txBox="1"/>
          <p:nvPr/>
        </p:nvSpPr>
        <p:spPr>
          <a:xfrm>
            <a:off x="1274159" y="4540030"/>
            <a:ext cx="110520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000000">
                    <a:lumMod val="75000"/>
                    <a:lumOff val="25000"/>
                  </a:srgbClr>
                </a:solidFill>
                <a:latin typeface="+mn-lt"/>
                <a:ea typeface="+mn-ea"/>
                <a:cs typeface="+mn-cs"/>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1</a:t>
            </a:r>
            <a:endParaRPr kumimoji="0" lang="en-US" sz="12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8EA3DFE8-656A-4356-8015-8871A688A03E}"/>
              </a:ext>
            </a:extLst>
          </p:cNvPr>
          <p:cNvSpPr txBox="1"/>
          <p:nvPr/>
        </p:nvSpPr>
        <p:spPr>
          <a:xfrm>
            <a:off x="832933" y="5016680"/>
            <a:ext cx="284265" cy="211990"/>
          </a:xfrm>
          <a:prstGeom prst="rect">
            <a:avLst/>
          </a:prstGeom>
          <a:solidFill>
            <a:srgbClr val="F7F7F7"/>
          </a:solidFill>
        </p:spPr>
        <p:txBody>
          <a:bodyPr wrap="none" lIns="0" tIns="0" rIns="0" bIns="0" rtlCol="0" anchor="ctr">
            <a:no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0</a:t>
            </a:r>
          </a:p>
        </p:txBody>
      </p:sp>
      <p:grpSp>
        <p:nvGrpSpPr>
          <p:cNvPr id="31" name="Group 30">
            <a:extLst>
              <a:ext uri="{FF2B5EF4-FFF2-40B4-BE49-F238E27FC236}">
                <a16:creationId xmlns:a16="http://schemas.microsoft.com/office/drawing/2014/main" id="{9AC29FC0-95D6-476E-85E1-09DDEB57430A}"/>
              </a:ext>
            </a:extLst>
          </p:cNvPr>
          <p:cNvGrpSpPr/>
          <p:nvPr/>
        </p:nvGrpSpPr>
        <p:grpSpPr>
          <a:xfrm>
            <a:off x="1185766" y="4911012"/>
            <a:ext cx="98962" cy="105668"/>
            <a:chOff x="1185766" y="4911012"/>
            <a:chExt cx="98962" cy="105668"/>
          </a:xfrm>
        </p:grpSpPr>
        <p:cxnSp>
          <p:nvCxnSpPr>
            <p:cNvPr id="29" name="Straight Connector 28">
              <a:extLst>
                <a:ext uri="{FF2B5EF4-FFF2-40B4-BE49-F238E27FC236}">
                  <a16:creationId xmlns:a16="http://schemas.microsoft.com/office/drawing/2014/main" id="{905B829E-6DBC-4BF0-8E2B-45C9FAA70F9E}"/>
                </a:ext>
              </a:extLst>
            </p:cNvPr>
            <p:cNvCxnSpPr/>
            <p:nvPr/>
          </p:nvCxnSpPr>
          <p:spPr>
            <a:xfrm>
              <a:off x="1234964" y="4945930"/>
              <a:ext cx="0" cy="360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D7F7C9D-7C35-40F5-9B66-DF641C9CE2EA}"/>
                </a:ext>
              </a:extLst>
            </p:cNvPr>
            <p:cNvGrpSpPr/>
            <p:nvPr/>
          </p:nvGrpSpPr>
          <p:grpSpPr>
            <a:xfrm>
              <a:off x="1185766" y="4911012"/>
              <a:ext cx="98962" cy="105668"/>
              <a:chOff x="1795750" y="4826500"/>
              <a:chExt cx="105127" cy="112251"/>
            </a:xfrm>
          </p:grpSpPr>
          <p:cxnSp>
            <p:nvCxnSpPr>
              <p:cNvPr id="16" name="Straight Connector 15">
                <a:extLst>
                  <a:ext uri="{FF2B5EF4-FFF2-40B4-BE49-F238E27FC236}">
                    <a16:creationId xmlns:a16="http://schemas.microsoft.com/office/drawing/2014/main" id="{E37FCA39-64A6-439F-B6C8-7CAA0DA875A3}"/>
                  </a:ext>
                </a:extLst>
              </p:cNvPr>
              <p:cNvCxnSpPr>
                <a:cxnSpLocks/>
              </p:cNvCxnSpPr>
              <p:nvPr/>
            </p:nvCxnSpPr>
            <p:spPr>
              <a:xfrm flipH="1">
                <a:off x="1798017" y="4859275"/>
                <a:ext cx="102860" cy="79476"/>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DEC7545F-4737-4704-9F89-3101E30CFAAE}"/>
                  </a:ext>
                </a:extLst>
              </p:cNvPr>
              <p:cNvCxnSpPr>
                <a:cxnSpLocks/>
              </p:cNvCxnSpPr>
              <p:nvPr/>
            </p:nvCxnSpPr>
            <p:spPr>
              <a:xfrm flipH="1">
                <a:off x="1795750" y="4826500"/>
                <a:ext cx="102860" cy="79476"/>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sp>
        <p:nvSpPr>
          <p:cNvPr id="22" name="Text Placeholder 1">
            <a:extLst>
              <a:ext uri="{FF2B5EF4-FFF2-40B4-BE49-F238E27FC236}">
                <a16:creationId xmlns:a16="http://schemas.microsoft.com/office/drawing/2014/main" id="{2C685961-FC2E-438D-8952-9A43F0E13C04}"/>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747103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88D667-63FE-421B-B9AF-A869AE25A2C6}"/>
              </a:ext>
            </a:extLst>
          </p:cNvPr>
          <p:cNvSpPr>
            <a:spLocks noGrp="1"/>
          </p:cNvSpPr>
          <p:nvPr>
            <p:ph type="body" sz="quarter" idx="14"/>
          </p:nvPr>
        </p:nvSpPr>
        <p:spPr/>
        <p:txBody>
          <a:bodyPr/>
          <a:lstStyle/>
          <a:p>
            <a:r>
              <a:rPr lang="en-US" sz="1600"/>
              <a:t>Unadjusted mean number of days between HFHs and mean number of days from discharge to death in a population-based cohort (N=40,667)</a:t>
            </a:r>
            <a:endParaRPr lang="en-GB"/>
          </a:p>
        </p:txBody>
      </p:sp>
      <p:sp>
        <p:nvSpPr>
          <p:cNvPr id="53" name="Slide Number Placeholder 2">
            <a:extLst>
              <a:ext uri="{FF2B5EF4-FFF2-40B4-BE49-F238E27FC236}">
                <a16:creationId xmlns:a16="http://schemas.microsoft.com/office/drawing/2014/main" id="{4ED8A8D8-9DDF-4ACD-B1C3-F0EC8E461C9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12" name="Title 11">
            <a:extLst>
              <a:ext uri="{FF2B5EF4-FFF2-40B4-BE49-F238E27FC236}">
                <a16:creationId xmlns:a16="http://schemas.microsoft.com/office/drawing/2014/main" id="{EAC7340B-E3B2-704A-97EC-26583A3AE87A}"/>
              </a:ext>
            </a:extLst>
          </p:cNvPr>
          <p:cNvSpPr>
            <a:spLocks noGrp="1"/>
          </p:cNvSpPr>
          <p:nvPr>
            <p:ph type="title"/>
          </p:nvPr>
        </p:nvSpPr>
        <p:spPr>
          <a:xfrm>
            <a:off x="600074" y="164567"/>
            <a:ext cx="10716506" cy="929127"/>
          </a:xfrm>
        </p:spPr>
        <p:txBody>
          <a:bodyPr>
            <a:noAutofit/>
          </a:bodyPr>
          <a:lstStyle/>
          <a:p>
            <a:r>
              <a:rPr lang="en-US"/>
              <a:t>Worsening HF events become more frequent as HF progresses</a:t>
            </a:r>
          </a:p>
        </p:txBody>
      </p:sp>
      <p:sp>
        <p:nvSpPr>
          <p:cNvPr id="54" name="Footer Placeholder 4">
            <a:extLst>
              <a:ext uri="{FF2B5EF4-FFF2-40B4-BE49-F238E27FC236}">
                <a16:creationId xmlns:a16="http://schemas.microsoft.com/office/drawing/2014/main" id="{925C3B78-E1B1-4235-8574-DDF33AB01A46}"/>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HF, heart failure; HFH, heart failure hospital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Reference: </a:t>
            </a:r>
            <a:r>
              <a:rPr kumimoji="0" 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Bakal</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JA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PLoS</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One</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4;9:e106494.</a:t>
            </a:r>
          </a:p>
        </p:txBody>
      </p:sp>
      <p:grpSp>
        <p:nvGrpSpPr>
          <p:cNvPr id="3" name="Group 2">
            <a:extLst>
              <a:ext uri="{FF2B5EF4-FFF2-40B4-BE49-F238E27FC236}">
                <a16:creationId xmlns:a16="http://schemas.microsoft.com/office/drawing/2014/main" id="{949915DB-D5E1-4E7F-BE8C-A1BCA26B423A}"/>
              </a:ext>
            </a:extLst>
          </p:cNvPr>
          <p:cNvGrpSpPr/>
          <p:nvPr/>
        </p:nvGrpSpPr>
        <p:grpSpPr>
          <a:xfrm>
            <a:off x="1490060" y="2304284"/>
            <a:ext cx="5542044" cy="3484641"/>
            <a:chOff x="1398603" y="2220856"/>
            <a:chExt cx="5542044" cy="3484641"/>
          </a:xfrm>
        </p:grpSpPr>
        <p:sp>
          <p:nvSpPr>
            <p:cNvPr id="55" name="TextBox 54">
              <a:extLst>
                <a:ext uri="{FF2B5EF4-FFF2-40B4-BE49-F238E27FC236}">
                  <a16:creationId xmlns:a16="http://schemas.microsoft.com/office/drawing/2014/main" id="{A7ACDC58-A64E-4829-A05D-2BE4D69929E9}"/>
                </a:ext>
              </a:extLst>
            </p:cNvPr>
            <p:cNvSpPr txBox="1"/>
            <p:nvPr/>
          </p:nvSpPr>
          <p:spPr>
            <a:xfrm rot="16200000">
              <a:off x="1262027" y="3656420"/>
              <a:ext cx="55015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Days</a:t>
              </a:r>
            </a:p>
          </p:txBody>
        </p:sp>
        <p:sp>
          <p:nvSpPr>
            <p:cNvPr id="56" name="TextBox 55">
              <a:extLst>
                <a:ext uri="{FF2B5EF4-FFF2-40B4-BE49-F238E27FC236}">
                  <a16:creationId xmlns:a16="http://schemas.microsoft.com/office/drawing/2014/main" id="{C2F706A9-6D38-4B2F-BECC-D30E01535812}"/>
                </a:ext>
              </a:extLst>
            </p:cNvPr>
            <p:cNvSpPr txBox="1"/>
            <p:nvPr/>
          </p:nvSpPr>
          <p:spPr>
            <a:xfrm>
              <a:off x="3232488" y="5428498"/>
              <a:ext cx="150356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ap number</a:t>
              </a:r>
            </a:p>
          </p:txBody>
        </p:sp>
        <p:grpSp>
          <p:nvGrpSpPr>
            <p:cNvPr id="57" name="Group 56">
              <a:extLst>
                <a:ext uri="{FF2B5EF4-FFF2-40B4-BE49-F238E27FC236}">
                  <a16:creationId xmlns:a16="http://schemas.microsoft.com/office/drawing/2014/main" id="{15384081-02AB-4F4D-8384-043EF4A326BC}"/>
                </a:ext>
              </a:extLst>
            </p:cNvPr>
            <p:cNvGrpSpPr/>
            <p:nvPr/>
          </p:nvGrpSpPr>
          <p:grpSpPr>
            <a:xfrm>
              <a:off x="5197331" y="2513418"/>
              <a:ext cx="1743316" cy="718545"/>
              <a:chOff x="5730155" y="3066614"/>
              <a:chExt cx="1743316" cy="718545"/>
            </a:xfrm>
          </p:grpSpPr>
          <p:sp>
            <p:nvSpPr>
              <p:cNvPr id="58" name="TextBox 57">
                <a:extLst>
                  <a:ext uri="{FF2B5EF4-FFF2-40B4-BE49-F238E27FC236}">
                    <a16:creationId xmlns:a16="http://schemas.microsoft.com/office/drawing/2014/main" id="{F4398336-763A-4B4E-A9F2-8C18C4913B42}"/>
                  </a:ext>
                </a:extLst>
              </p:cNvPr>
              <p:cNvSpPr txBox="1"/>
              <p:nvPr/>
            </p:nvSpPr>
            <p:spPr>
              <a:xfrm>
                <a:off x="5846609" y="3066614"/>
                <a:ext cx="1171814" cy="2979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Gap days</a:t>
                </a:r>
              </a:p>
            </p:txBody>
          </p:sp>
          <p:sp>
            <p:nvSpPr>
              <p:cNvPr id="60" name="TextBox 59">
                <a:extLst>
                  <a:ext uri="{FF2B5EF4-FFF2-40B4-BE49-F238E27FC236}">
                    <a16:creationId xmlns:a16="http://schemas.microsoft.com/office/drawing/2014/main" id="{316400E7-1394-48AE-8443-1F33FCCC9F32}"/>
                  </a:ext>
                </a:extLst>
              </p:cNvPr>
              <p:cNvSpPr txBox="1"/>
              <p:nvPr/>
            </p:nvSpPr>
            <p:spPr>
              <a:xfrm>
                <a:off x="5846609" y="3323494"/>
                <a:ext cx="162686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Days from </a:t>
                </a:r>
                <a:b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discharge to death</a:t>
                </a:r>
              </a:p>
            </p:txBody>
          </p:sp>
          <p:sp>
            <p:nvSpPr>
              <p:cNvPr id="61" name="Rectangle 60">
                <a:extLst>
                  <a:ext uri="{FF2B5EF4-FFF2-40B4-BE49-F238E27FC236}">
                    <a16:creationId xmlns:a16="http://schemas.microsoft.com/office/drawing/2014/main" id="{B5C1D1AF-F835-4223-888F-6A3FDDE75285}"/>
                  </a:ext>
                </a:extLst>
              </p:cNvPr>
              <p:cNvSpPr/>
              <p:nvPr/>
            </p:nvSpPr>
            <p:spPr>
              <a:xfrm>
                <a:off x="5730155" y="3149768"/>
                <a:ext cx="125317" cy="13162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Rectangle 61">
                <a:extLst>
                  <a:ext uri="{FF2B5EF4-FFF2-40B4-BE49-F238E27FC236}">
                    <a16:creationId xmlns:a16="http://schemas.microsoft.com/office/drawing/2014/main" id="{588BE262-369D-4007-A3E2-E5B87C79DE9E}"/>
                  </a:ext>
                </a:extLst>
              </p:cNvPr>
              <p:cNvSpPr/>
              <p:nvPr/>
            </p:nvSpPr>
            <p:spPr>
              <a:xfrm>
                <a:off x="5730155" y="3406924"/>
                <a:ext cx="125317" cy="1316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63" name="Rectangle 62">
              <a:extLst>
                <a:ext uri="{FF2B5EF4-FFF2-40B4-BE49-F238E27FC236}">
                  <a16:creationId xmlns:a16="http://schemas.microsoft.com/office/drawing/2014/main" id="{B9F2EC4F-17A0-4021-BDB8-41B7A5BD017F}"/>
                </a:ext>
              </a:extLst>
            </p:cNvPr>
            <p:cNvSpPr/>
            <p:nvPr/>
          </p:nvSpPr>
          <p:spPr>
            <a:xfrm>
              <a:off x="2250011" y="3627120"/>
              <a:ext cx="214630" cy="1655991"/>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Rectangle 63">
              <a:extLst>
                <a:ext uri="{FF2B5EF4-FFF2-40B4-BE49-F238E27FC236}">
                  <a16:creationId xmlns:a16="http://schemas.microsoft.com/office/drawing/2014/main" id="{36DCA948-7C22-4BD0-95C6-7301A610B5C2}"/>
                </a:ext>
              </a:extLst>
            </p:cNvPr>
            <p:cNvSpPr/>
            <p:nvPr/>
          </p:nvSpPr>
          <p:spPr>
            <a:xfrm>
              <a:off x="2469086" y="2505075"/>
              <a:ext cx="214630" cy="2778021"/>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5" name="Rectangle 64">
              <a:extLst>
                <a:ext uri="{FF2B5EF4-FFF2-40B4-BE49-F238E27FC236}">
                  <a16:creationId xmlns:a16="http://schemas.microsoft.com/office/drawing/2014/main" id="{2E714C0B-00EB-4291-93E3-FD7AAEFC2563}"/>
                </a:ext>
              </a:extLst>
            </p:cNvPr>
            <p:cNvSpPr/>
            <p:nvPr/>
          </p:nvSpPr>
          <p:spPr>
            <a:xfrm>
              <a:off x="3012011" y="4048125"/>
              <a:ext cx="214630" cy="1234972"/>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 name="Rectangle 65">
              <a:extLst>
                <a:ext uri="{FF2B5EF4-FFF2-40B4-BE49-F238E27FC236}">
                  <a16:creationId xmlns:a16="http://schemas.microsoft.com/office/drawing/2014/main" id="{7B6D783B-948B-4E53-B6BC-7E07A6F981FA}"/>
                </a:ext>
              </a:extLst>
            </p:cNvPr>
            <p:cNvSpPr/>
            <p:nvPr/>
          </p:nvSpPr>
          <p:spPr>
            <a:xfrm>
              <a:off x="3231086" y="3729038"/>
              <a:ext cx="214630" cy="155405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7" name="Rectangle 66">
              <a:extLst>
                <a:ext uri="{FF2B5EF4-FFF2-40B4-BE49-F238E27FC236}">
                  <a16:creationId xmlns:a16="http://schemas.microsoft.com/office/drawing/2014/main" id="{D8FF61DA-DA41-42ED-8C71-C27020152D96}"/>
                </a:ext>
              </a:extLst>
            </p:cNvPr>
            <p:cNvSpPr/>
            <p:nvPr/>
          </p:nvSpPr>
          <p:spPr>
            <a:xfrm>
              <a:off x="3769248" y="4271962"/>
              <a:ext cx="214630" cy="1011149"/>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Rectangle 67">
              <a:extLst>
                <a:ext uri="{FF2B5EF4-FFF2-40B4-BE49-F238E27FC236}">
                  <a16:creationId xmlns:a16="http://schemas.microsoft.com/office/drawing/2014/main" id="{86AFCFED-C4A8-48F2-81C6-030A0E86FAD2}"/>
                </a:ext>
              </a:extLst>
            </p:cNvPr>
            <p:cNvSpPr/>
            <p:nvPr/>
          </p:nvSpPr>
          <p:spPr>
            <a:xfrm>
              <a:off x="3988323" y="4086226"/>
              <a:ext cx="214630" cy="1196886"/>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Rectangle 68">
              <a:extLst>
                <a:ext uri="{FF2B5EF4-FFF2-40B4-BE49-F238E27FC236}">
                  <a16:creationId xmlns:a16="http://schemas.microsoft.com/office/drawing/2014/main" id="{86C653FC-D18B-441B-A649-2E245490F4E5}"/>
                </a:ext>
              </a:extLst>
            </p:cNvPr>
            <p:cNvSpPr/>
            <p:nvPr/>
          </p:nvSpPr>
          <p:spPr>
            <a:xfrm>
              <a:off x="4531248" y="4505324"/>
              <a:ext cx="214630" cy="777787"/>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Rectangle 69">
              <a:extLst>
                <a:ext uri="{FF2B5EF4-FFF2-40B4-BE49-F238E27FC236}">
                  <a16:creationId xmlns:a16="http://schemas.microsoft.com/office/drawing/2014/main" id="{BB374934-83EA-42E5-A433-D008F6E50BB2}"/>
                </a:ext>
              </a:extLst>
            </p:cNvPr>
            <p:cNvSpPr/>
            <p:nvPr/>
          </p:nvSpPr>
          <p:spPr>
            <a:xfrm>
              <a:off x="4750323" y="4295776"/>
              <a:ext cx="214630" cy="987336"/>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BF3FC2DD-A9AA-48F6-BB60-40CEDA4D918D}"/>
                </a:ext>
              </a:extLst>
            </p:cNvPr>
            <p:cNvSpPr/>
            <p:nvPr/>
          </p:nvSpPr>
          <p:spPr>
            <a:xfrm>
              <a:off x="5288486" y="4710112"/>
              <a:ext cx="214630" cy="572999"/>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CE5E4446-F3B7-4D0C-A6A8-8FDFEE417806}"/>
                </a:ext>
              </a:extLst>
            </p:cNvPr>
            <p:cNvSpPr/>
            <p:nvPr/>
          </p:nvSpPr>
          <p:spPr>
            <a:xfrm>
              <a:off x="5507561" y="4381500"/>
              <a:ext cx="214630" cy="901611"/>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3" name="Group 72">
              <a:extLst>
                <a:ext uri="{FF2B5EF4-FFF2-40B4-BE49-F238E27FC236}">
                  <a16:creationId xmlns:a16="http://schemas.microsoft.com/office/drawing/2014/main" id="{B4AFD1E2-6B26-4209-9C88-8501AA59308D}"/>
                </a:ext>
              </a:extLst>
            </p:cNvPr>
            <p:cNvGrpSpPr/>
            <p:nvPr/>
          </p:nvGrpSpPr>
          <p:grpSpPr>
            <a:xfrm>
              <a:off x="1765096" y="2220856"/>
              <a:ext cx="4129996" cy="3279508"/>
              <a:chOff x="1774415" y="2220856"/>
              <a:chExt cx="4129996" cy="3279508"/>
            </a:xfrm>
          </p:grpSpPr>
          <p:sp>
            <p:nvSpPr>
              <p:cNvPr id="74" name="TextBox 73">
                <a:extLst>
                  <a:ext uri="{FF2B5EF4-FFF2-40B4-BE49-F238E27FC236}">
                    <a16:creationId xmlns:a16="http://schemas.microsoft.com/office/drawing/2014/main" id="{43260205-22CD-4A2F-870F-FC2F3FC10E33}"/>
                  </a:ext>
                </a:extLst>
              </p:cNvPr>
              <p:cNvSpPr txBox="1"/>
              <p:nvPr/>
            </p:nvSpPr>
            <p:spPr>
              <a:xfrm>
                <a:off x="1774415" y="2220856"/>
                <a:ext cx="254878"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300</a:t>
                </a:r>
              </a:p>
            </p:txBody>
          </p:sp>
          <p:sp>
            <p:nvSpPr>
              <p:cNvPr id="109" name="TextBox 108">
                <a:extLst>
                  <a:ext uri="{FF2B5EF4-FFF2-40B4-BE49-F238E27FC236}">
                    <a16:creationId xmlns:a16="http://schemas.microsoft.com/office/drawing/2014/main" id="{535B29DA-C7F9-47B7-AAE7-44097F8D68A4}"/>
                  </a:ext>
                </a:extLst>
              </p:cNvPr>
              <p:cNvSpPr txBox="1"/>
              <p:nvPr/>
            </p:nvSpPr>
            <p:spPr>
              <a:xfrm>
                <a:off x="1774415" y="2719563"/>
                <a:ext cx="254878"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250</a:t>
                </a:r>
              </a:p>
            </p:txBody>
          </p:sp>
          <p:sp>
            <p:nvSpPr>
              <p:cNvPr id="110" name="TextBox 109">
                <a:extLst>
                  <a:ext uri="{FF2B5EF4-FFF2-40B4-BE49-F238E27FC236}">
                    <a16:creationId xmlns:a16="http://schemas.microsoft.com/office/drawing/2014/main" id="{B653302E-0184-4FDE-BCDF-4F572117DF0A}"/>
                  </a:ext>
                </a:extLst>
              </p:cNvPr>
              <p:cNvSpPr txBox="1"/>
              <p:nvPr/>
            </p:nvSpPr>
            <p:spPr>
              <a:xfrm>
                <a:off x="1774415" y="3216597"/>
                <a:ext cx="254878"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200</a:t>
                </a:r>
              </a:p>
            </p:txBody>
          </p:sp>
          <p:sp>
            <p:nvSpPr>
              <p:cNvPr id="111" name="TextBox 110">
                <a:extLst>
                  <a:ext uri="{FF2B5EF4-FFF2-40B4-BE49-F238E27FC236}">
                    <a16:creationId xmlns:a16="http://schemas.microsoft.com/office/drawing/2014/main" id="{F776E023-6EB7-49CE-981A-8C6052DEFC3C}"/>
                  </a:ext>
                </a:extLst>
              </p:cNvPr>
              <p:cNvSpPr txBox="1"/>
              <p:nvPr/>
            </p:nvSpPr>
            <p:spPr>
              <a:xfrm>
                <a:off x="1774415" y="3712989"/>
                <a:ext cx="254878"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150</a:t>
                </a:r>
              </a:p>
            </p:txBody>
          </p:sp>
          <p:sp>
            <p:nvSpPr>
              <p:cNvPr id="112" name="TextBox 111">
                <a:extLst>
                  <a:ext uri="{FF2B5EF4-FFF2-40B4-BE49-F238E27FC236}">
                    <a16:creationId xmlns:a16="http://schemas.microsoft.com/office/drawing/2014/main" id="{8EB0CDD5-2F20-4F89-B03E-E24E0926DE15}"/>
                  </a:ext>
                </a:extLst>
              </p:cNvPr>
              <p:cNvSpPr txBox="1"/>
              <p:nvPr/>
            </p:nvSpPr>
            <p:spPr>
              <a:xfrm>
                <a:off x="1774415" y="4212033"/>
                <a:ext cx="254878"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100</a:t>
                </a:r>
              </a:p>
            </p:txBody>
          </p:sp>
          <p:sp>
            <p:nvSpPr>
              <p:cNvPr id="113" name="TextBox 112">
                <a:extLst>
                  <a:ext uri="{FF2B5EF4-FFF2-40B4-BE49-F238E27FC236}">
                    <a16:creationId xmlns:a16="http://schemas.microsoft.com/office/drawing/2014/main" id="{123C2255-5B51-432E-A9FF-1F9CF1A7C8C5}"/>
                  </a:ext>
                </a:extLst>
              </p:cNvPr>
              <p:cNvSpPr txBox="1"/>
              <p:nvPr/>
            </p:nvSpPr>
            <p:spPr>
              <a:xfrm>
                <a:off x="1859375" y="4702407"/>
                <a:ext cx="169918"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50</a:t>
                </a:r>
              </a:p>
            </p:txBody>
          </p:sp>
          <p:sp>
            <p:nvSpPr>
              <p:cNvPr id="114" name="TextBox 113">
                <a:extLst>
                  <a:ext uri="{FF2B5EF4-FFF2-40B4-BE49-F238E27FC236}">
                    <a16:creationId xmlns:a16="http://schemas.microsoft.com/office/drawing/2014/main" id="{43C28929-1E58-4EF1-922B-6C3CD167D275}"/>
                  </a:ext>
                </a:extLst>
              </p:cNvPr>
              <p:cNvSpPr txBox="1"/>
              <p:nvPr/>
            </p:nvSpPr>
            <p:spPr>
              <a:xfrm>
                <a:off x="1944333" y="5210117"/>
                <a:ext cx="84960" cy="182880"/>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0</a:t>
                </a:r>
              </a:p>
            </p:txBody>
          </p:sp>
          <p:sp>
            <p:nvSpPr>
              <p:cNvPr id="115" name="TextBox 114">
                <a:extLst>
                  <a:ext uri="{FF2B5EF4-FFF2-40B4-BE49-F238E27FC236}">
                    <a16:creationId xmlns:a16="http://schemas.microsoft.com/office/drawing/2014/main" id="{449CB21B-36CF-45AD-9F9D-0D44103399BF}"/>
                  </a:ext>
                </a:extLst>
              </p:cNvPr>
              <p:cNvSpPr txBox="1"/>
              <p:nvPr/>
            </p:nvSpPr>
            <p:spPr>
              <a:xfrm>
                <a:off x="2198998" y="5317484"/>
                <a:ext cx="545741" cy="182880"/>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1</a:t>
                </a:r>
              </a:p>
            </p:txBody>
          </p:sp>
          <p:sp>
            <p:nvSpPr>
              <p:cNvPr id="116" name="TextBox 115">
                <a:extLst>
                  <a:ext uri="{FF2B5EF4-FFF2-40B4-BE49-F238E27FC236}">
                    <a16:creationId xmlns:a16="http://schemas.microsoft.com/office/drawing/2014/main" id="{69D2F65B-F479-4713-B3BD-7837B0234530}"/>
                  </a:ext>
                </a:extLst>
              </p:cNvPr>
              <p:cNvSpPr txBox="1"/>
              <p:nvPr/>
            </p:nvSpPr>
            <p:spPr>
              <a:xfrm>
                <a:off x="3011940" y="5311610"/>
                <a:ext cx="443202" cy="182880"/>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2</a:t>
                </a:r>
              </a:p>
            </p:txBody>
          </p:sp>
          <p:sp>
            <p:nvSpPr>
              <p:cNvPr id="117" name="TextBox 116">
                <a:extLst>
                  <a:ext uri="{FF2B5EF4-FFF2-40B4-BE49-F238E27FC236}">
                    <a16:creationId xmlns:a16="http://schemas.microsoft.com/office/drawing/2014/main" id="{51607E9A-5125-4817-8BFA-41CD7ACB1F7D}"/>
                  </a:ext>
                </a:extLst>
              </p:cNvPr>
              <p:cNvSpPr txBox="1"/>
              <p:nvPr/>
            </p:nvSpPr>
            <p:spPr>
              <a:xfrm>
                <a:off x="3616388" y="5316279"/>
                <a:ext cx="749226" cy="182880"/>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3</a:t>
                </a:r>
              </a:p>
            </p:txBody>
          </p:sp>
          <p:sp>
            <p:nvSpPr>
              <p:cNvPr id="118" name="TextBox 117">
                <a:extLst>
                  <a:ext uri="{FF2B5EF4-FFF2-40B4-BE49-F238E27FC236}">
                    <a16:creationId xmlns:a16="http://schemas.microsoft.com/office/drawing/2014/main" id="{27B1EB30-DC73-4D5C-9B69-F97B2E0B3483}"/>
                  </a:ext>
                </a:extLst>
              </p:cNvPr>
              <p:cNvSpPr txBox="1"/>
              <p:nvPr/>
            </p:nvSpPr>
            <p:spPr>
              <a:xfrm>
                <a:off x="4379397" y="5311608"/>
                <a:ext cx="749226" cy="182880"/>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4</a:t>
                </a:r>
              </a:p>
            </p:txBody>
          </p:sp>
          <p:sp>
            <p:nvSpPr>
              <p:cNvPr id="119" name="TextBox 118">
                <a:extLst>
                  <a:ext uri="{FF2B5EF4-FFF2-40B4-BE49-F238E27FC236}">
                    <a16:creationId xmlns:a16="http://schemas.microsoft.com/office/drawing/2014/main" id="{07133B02-4658-4E35-9BC6-E8773BC9E8B8}"/>
                  </a:ext>
                </a:extLst>
              </p:cNvPr>
              <p:cNvSpPr txBox="1"/>
              <p:nvPr/>
            </p:nvSpPr>
            <p:spPr>
              <a:xfrm>
                <a:off x="5206650" y="5311610"/>
                <a:ext cx="604233" cy="182880"/>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5</a:t>
                </a:r>
              </a:p>
            </p:txBody>
          </p:sp>
          <p:grpSp>
            <p:nvGrpSpPr>
              <p:cNvPr id="120" name="Group 119">
                <a:extLst>
                  <a:ext uri="{FF2B5EF4-FFF2-40B4-BE49-F238E27FC236}">
                    <a16:creationId xmlns:a16="http://schemas.microsoft.com/office/drawing/2014/main" id="{5BDFA327-58A7-4FAE-B588-6D8B4EA9447A}"/>
                  </a:ext>
                </a:extLst>
              </p:cNvPr>
              <p:cNvGrpSpPr/>
              <p:nvPr/>
            </p:nvGrpSpPr>
            <p:grpSpPr>
              <a:xfrm>
                <a:off x="2054147" y="2307771"/>
                <a:ext cx="3850264" cy="2987034"/>
                <a:chOff x="2054147" y="2307771"/>
                <a:chExt cx="3850264" cy="2987034"/>
              </a:xfrm>
            </p:grpSpPr>
            <p:sp>
              <p:nvSpPr>
                <p:cNvPr id="121" name="Freeform: Shape 120">
                  <a:extLst>
                    <a:ext uri="{FF2B5EF4-FFF2-40B4-BE49-F238E27FC236}">
                      <a16:creationId xmlns:a16="http://schemas.microsoft.com/office/drawing/2014/main" id="{E5A85F9A-4ECC-4C68-B440-F463D2726FEF}"/>
                    </a:ext>
                  </a:extLst>
                </p:cNvPr>
                <p:cNvSpPr/>
                <p:nvPr/>
              </p:nvSpPr>
              <p:spPr>
                <a:xfrm>
                  <a:off x="2098777" y="2307771"/>
                  <a:ext cx="3805634" cy="2987034"/>
                </a:xfrm>
                <a:custGeom>
                  <a:avLst/>
                  <a:gdLst>
                    <a:gd name="connsiteX0" fmla="*/ 0 w 5442858"/>
                    <a:gd name="connsiteY0" fmla="*/ 0 h 3274423"/>
                    <a:gd name="connsiteX1" fmla="*/ 0 w 5442858"/>
                    <a:gd name="connsiteY1" fmla="*/ 3274423 h 3274423"/>
                    <a:gd name="connsiteX2" fmla="*/ 5442858 w 5442858"/>
                    <a:gd name="connsiteY2" fmla="*/ 3274423 h 3274423"/>
                  </a:gdLst>
                  <a:ahLst/>
                  <a:cxnLst>
                    <a:cxn ang="0">
                      <a:pos x="connsiteX0" y="connsiteY0"/>
                    </a:cxn>
                    <a:cxn ang="0">
                      <a:pos x="connsiteX1" y="connsiteY1"/>
                    </a:cxn>
                    <a:cxn ang="0">
                      <a:pos x="connsiteX2" y="connsiteY2"/>
                    </a:cxn>
                  </a:cxnLst>
                  <a:rect l="l" t="t" r="r" b="b"/>
                  <a:pathLst>
                    <a:path w="5442858" h="3274423">
                      <a:moveTo>
                        <a:pt x="0" y="0"/>
                      </a:moveTo>
                      <a:lnTo>
                        <a:pt x="0" y="3274423"/>
                      </a:lnTo>
                      <a:lnTo>
                        <a:pt x="5442858" y="3274423"/>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22" name="Straight Connector 121">
                  <a:extLst>
                    <a:ext uri="{FF2B5EF4-FFF2-40B4-BE49-F238E27FC236}">
                      <a16:creationId xmlns:a16="http://schemas.microsoft.com/office/drawing/2014/main" id="{F283B297-8258-4B25-B321-0E5A2CF2F30A}"/>
                    </a:ext>
                  </a:extLst>
                </p:cNvPr>
                <p:cNvCxnSpPr/>
                <p:nvPr/>
              </p:nvCxnSpPr>
              <p:spPr>
                <a:xfrm>
                  <a:off x="2054147" y="2312105"/>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84E0B37-9A18-4F79-BB8F-63B87B843E8A}"/>
                    </a:ext>
                  </a:extLst>
                </p:cNvPr>
                <p:cNvCxnSpPr/>
                <p:nvPr/>
              </p:nvCxnSpPr>
              <p:spPr>
                <a:xfrm>
                  <a:off x="2054147" y="2810475"/>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CA20AB8-31E1-454E-83FB-A5C441FAD1CD}"/>
                    </a:ext>
                  </a:extLst>
                </p:cNvPr>
                <p:cNvCxnSpPr/>
                <p:nvPr/>
              </p:nvCxnSpPr>
              <p:spPr>
                <a:xfrm>
                  <a:off x="2054147" y="3308845"/>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DA1311C-B7CD-4571-AC09-ABFEDADC2325}"/>
                    </a:ext>
                  </a:extLst>
                </p:cNvPr>
                <p:cNvCxnSpPr/>
                <p:nvPr/>
              </p:nvCxnSpPr>
              <p:spPr>
                <a:xfrm>
                  <a:off x="2054147" y="3802881"/>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3A41C89-FF99-4025-B4F1-E35C152C58B5}"/>
                    </a:ext>
                  </a:extLst>
                </p:cNvPr>
                <p:cNvCxnSpPr/>
                <p:nvPr/>
              </p:nvCxnSpPr>
              <p:spPr>
                <a:xfrm>
                  <a:off x="2054147" y="4301251"/>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E648E5C-2AD3-4C83-AE16-861E027577EF}"/>
                    </a:ext>
                  </a:extLst>
                </p:cNvPr>
                <p:cNvCxnSpPr/>
                <p:nvPr/>
              </p:nvCxnSpPr>
              <p:spPr>
                <a:xfrm>
                  <a:off x="2054147" y="4795287"/>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6BDC16E-565F-4527-B39F-FD9E615EFD6A}"/>
                    </a:ext>
                  </a:extLst>
                </p:cNvPr>
                <p:cNvCxnSpPr/>
                <p:nvPr/>
              </p:nvCxnSpPr>
              <p:spPr>
                <a:xfrm>
                  <a:off x="2054147" y="5294805"/>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sp>
        <p:nvSpPr>
          <p:cNvPr id="130" name="Rectangle 129">
            <a:extLst>
              <a:ext uri="{FF2B5EF4-FFF2-40B4-BE49-F238E27FC236}">
                <a16:creationId xmlns:a16="http://schemas.microsoft.com/office/drawing/2014/main" id="{CF4D6D0A-81EB-40B8-BEE6-775C964560A3}"/>
              </a:ext>
            </a:extLst>
          </p:cNvPr>
          <p:cNvSpPr/>
          <p:nvPr/>
        </p:nvSpPr>
        <p:spPr>
          <a:xfrm>
            <a:off x="7451713" y="1875524"/>
            <a:ext cx="2726779" cy="1298581"/>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C3B2D"/>
                </a:solidFill>
                <a:effectLst/>
                <a:uLnTx/>
                <a:uFillTx/>
                <a:latin typeface="Arial" panose="020B0604020202020204"/>
                <a:ea typeface="+mn-ea"/>
                <a:cs typeface="+mn-cs"/>
              </a:rPr>
              <a:t>168</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Median gap days between </a:t>
            </a:r>
            <a:b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1</a:t>
            </a:r>
            <a:r>
              <a:rPr kumimoji="0" lang="en-US" sz="1600" b="0" i="0" u="none" strike="noStrike" kern="1200" cap="none" spc="0" normalizeH="0" baseline="30000" noProof="0">
                <a:ln>
                  <a:noFill/>
                </a:ln>
                <a:solidFill>
                  <a:srgbClr val="000000"/>
                </a:solidFill>
                <a:effectLst/>
                <a:uLnTx/>
                <a:uFillTx/>
                <a:latin typeface="Arial" panose="020B0604020202020204"/>
                <a:ea typeface="+mn-ea"/>
                <a:cs typeface="+mn-cs"/>
              </a:rPr>
              <a:t>st</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nd 2</a:t>
            </a:r>
            <a:r>
              <a:rPr kumimoji="0" lang="en-US" sz="1600" b="0" i="0" u="none" strike="noStrike" kern="1200" cap="none" spc="0" normalizeH="0" baseline="30000" noProof="0">
                <a:ln>
                  <a:noFill/>
                </a:ln>
                <a:solidFill>
                  <a:srgbClr val="000000"/>
                </a:solidFill>
                <a:effectLst/>
                <a:uLnTx/>
                <a:uFillTx/>
                <a:latin typeface="Arial" panose="020B0604020202020204"/>
                <a:ea typeface="+mn-ea"/>
                <a:cs typeface="+mn-cs"/>
              </a:rPr>
              <a:t>nd</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hospitalizations</a:t>
            </a:r>
          </a:p>
        </p:txBody>
      </p:sp>
      <p:sp>
        <p:nvSpPr>
          <p:cNvPr id="131" name="Rectangle 130">
            <a:extLst>
              <a:ext uri="{FF2B5EF4-FFF2-40B4-BE49-F238E27FC236}">
                <a16:creationId xmlns:a16="http://schemas.microsoft.com/office/drawing/2014/main" id="{44BA7FD6-CCCE-4B0C-B33E-6CA108312A7C}"/>
              </a:ext>
            </a:extLst>
          </p:cNvPr>
          <p:cNvSpPr/>
          <p:nvPr/>
        </p:nvSpPr>
        <p:spPr>
          <a:xfrm>
            <a:off x="7451713" y="4543601"/>
            <a:ext cx="2726779" cy="1298581"/>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C3B2D"/>
                </a:solidFill>
                <a:effectLst/>
                <a:uLnTx/>
                <a:uFillTx/>
                <a:latin typeface="Arial" panose="020B0604020202020204"/>
                <a:ea typeface="+mn-ea"/>
                <a:cs typeface="+mn-cs"/>
              </a:rPr>
              <a:t>80</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Median gap days between 4</a:t>
            </a:r>
            <a:r>
              <a:rPr kumimoji="0" lang="en-US" sz="1600" b="0" i="0" u="none" strike="noStrike" kern="1200" cap="none" spc="0" normalizeH="0" baseline="30000" noProof="0">
                <a:ln>
                  <a:noFill/>
                </a:ln>
                <a:solidFill>
                  <a:srgbClr val="000000"/>
                </a:solidFill>
                <a:effectLst/>
                <a:uLnTx/>
                <a:uFillTx/>
                <a:latin typeface="Arial" panose="020B0604020202020204"/>
                <a:ea typeface="+mn-ea"/>
                <a:cs typeface="+mn-cs"/>
              </a:rPr>
              <a:t>th</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 and 5</a:t>
            </a:r>
            <a:r>
              <a:rPr kumimoji="0" lang="en-US" sz="1600" b="0" i="0" u="none" strike="noStrike" kern="1200" cap="none" spc="0" normalizeH="0" baseline="30000" noProof="0">
                <a:ln>
                  <a:noFill/>
                </a:ln>
                <a:solidFill>
                  <a:srgbClr val="000000"/>
                </a:solidFill>
                <a:effectLst/>
                <a:uLnTx/>
                <a:uFillTx/>
                <a:latin typeface="Arial" panose="020B0604020202020204"/>
                <a:ea typeface="+mn-ea"/>
                <a:cs typeface="+mn-cs"/>
              </a:rPr>
              <a:t>th </a:t>
            </a: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hospitalizations</a:t>
            </a:r>
          </a:p>
        </p:txBody>
      </p:sp>
      <p:sp>
        <p:nvSpPr>
          <p:cNvPr id="132" name="Isosceles Triangle 131">
            <a:extLst>
              <a:ext uri="{FF2B5EF4-FFF2-40B4-BE49-F238E27FC236}">
                <a16:creationId xmlns:a16="http://schemas.microsoft.com/office/drawing/2014/main" id="{A9CAA2D6-9C58-48E3-830C-B4AEA17FA2B6}"/>
              </a:ext>
            </a:extLst>
          </p:cNvPr>
          <p:cNvSpPr/>
          <p:nvPr/>
        </p:nvSpPr>
        <p:spPr>
          <a:xfrm rot="10800000">
            <a:off x="8156090" y="3333022"/>
            <a:ext cx="1318024" cy="45624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3" name="Rectangle 132">
            <a:extLst>
              <a:ext uri="{FF2B5EF4-FFF2-40B4-BE49-F238E27FC236}">
                <a16:creationId xmlns:a16="http://schemas.microsoft.com/office/drawing/2014/main" id="{D66A9C9C-CC0E-439C-B755-ECE402F63D54}"/>
              </a:ext>
            </a:extLst>
          </p:cNvPr>
          <p:cNvSpPr/>
          <p:nvPr/>
        </p:nvSpPr>
        <p:spPr>
          <a:xfrm>
            <a:off x="6898152" y="3859071"/>
            <a:ext cx="383390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C3B2D"/>
                </a:solidFill>
                <a:effectLst/>
                <a:uLnTx/>
                <a:uFillTx/>
                <a:latin typeface="Arial" panose="020B0604020202020204"/>
                <a:ea typeface="+mn-ea"/>
                <a:cs typeface="+mn-cs"/>
              </a:rPr>
              <a:t>Average reduction of 29 gap days</a:t>
            </a:r>
            <a:br>
              <a:rPr kumimoji="0" lang="en-US" sz="1600" b="1" i="0" u="none" strike="noStrike" kern="1200" cap="none" spc="0" normalizeH="0" baseline="0" noProof="0">
                <a:ln>
                  <a:noFill/>
                </a:ln>
                <a:solidFill>
                  <a:srgbClr val="FC3B2D"/>
                </a:solidFill>
                <a:effectLst/>
                <a:uLnTx/>
                <a:uFillTx/>
                <a:latin typeface="Arial" panose="020B0604020202020204"/>
                <a:ea typeface="+mn-ea"/>
                <a:cs typeface="+mn-cs"/>
              </a:rPr>
            </a:br>
            <a:r>
              <a:rPr kumimoji="0" lang="en-US" sz="1600" b="1" i="0" u="none" strike="noStrike" kern="1200" cap="none" spc="0" normalizeH="0" baseline="0" noProof="0">
                <a:ln>
                  <a:noFill/>
                </a:ln>
                <a:solidFill>
                  <a:srgbClr val="FC3B2D"/>
                </a:solidFill>
                <a:effectLst/>
                <a:uLnTx/>
                <a:uFillTx/>
                <a:latin typeface="Arial" panose="020B0604020202020204"/>
                <a:ea typeface="+mn-ea"/>
                <a:cs typeface="+mn-cs"/>
              </a:rPr>
              <a:t> for each rehospitalization </a:t>
            </a:r>
          </a:p>
        </p:txBody>
      </p:sp>
      <p:graphicFrame>
        <p:nvGraphicFramePr>
          <p:cNvPr id="50" name="Table Placeholder 5">
            <a:extLst>
              <a:ext uri="{FF2B5EF4-FFF2-40B4-BE49-F238E27FC236}">
                <a16:creationId xmlns:a16="http://schemas.microsoft.com/office/drawing/2014/main" id="{C9957ACF-F53D-4211-A142-FB04F5DFD693}"/>
              </a:ext>
            </a:extLst>
          </p:cNvPr>
          <p:cNvGraphicFramePr>
            <a:graphicFrameLocks/>
          </p:cNvGraphicFramePr>
          <p:nvPr/>
        </p:nvGraphicFramePr>
        <p:xfrm>
          <a:off x="551384" y="5688660"/>
          <a:ext cx="5443671" cy="502920"/>
        </p:xfrm>
        <a:graphic>
          <a:graphicData uri="http://schemas.openxmlformats.org/drawingml/2006/table">
            <a:tbl>
              <a:tblPr firstRow="1" bandRow="1">
                <a:tableStyleId>{2D5ABB26-0587-4C30-8999-92F81FD0307C}</a:tableStyleId>
              </a:tblPr>
              <a:tblGrid>
                <a:gridCol w="1658646">
                  <a:extLst>
                    <a:ext uri="{9D8B030D-6E8A-4147-A177-3AD203B41FA5}">
                      <a16:colId xmlns:a16="http://schemas.microsoft.com/office/drawing/2014/main" val="20000"/>
                    </a:ext>
                  </a:extLst>
                </a:gridCol>
                <a:gridCol w="625393">
                  <a:extLst>
                    <a:ext uri="{9D8B030D-6E8A-4147-A177-3AD203B41FA5}">
                      <a16:colId xmlns:a16="http://schemas.microsoft.com/office/drawing/2014/main" val="20002"/>
                    </a:ext>
                  </a:extLst>
                </a:gridCol>
                <a:gridCol w="118800">
                  <a:extLst>
                    <a:ext uri="{9D8B030D-6E8A-4147-A177-3AD203B41FA5}">
                      <a16:colId xmlns:a16="http://schemas.microsoft.com/office/drawing/2014/main" val="3747566340"/>
                    </a:ext>
                  </a:extLst>
                </a:gridCol>
                <a:gridCol w="721754">
                  <a:extLst>
                    <a:ext uri="{9D8B030D-6E8A-4147-A177-3AD203B41FA5}">
                      <a16:colId xmlns:a16="http://schemas.microsoft.com/office/drawing/2014/main" val="1577222836"/>
                    </a:ext>
                  </a:extLst>
                </a:gridCol>
                <a:gridCol w="116840">
                  <a:extLst>
                    <a:ext uri="{9D8B030D-6E8A-4147-A177-3AD203B41FA5}">
                      <a16:colId xmlns:a16="http://schemas.microsoft.com/office/drawing/2014/main" val="468083584"/>
                    </a:ext>
                  </a:extLst>
                </a:gridCol>
                <a:gridCol w="560669">
                  <a:extLst>
                    <a:ext uri="{9D8B030D-6E8A-4147-A177-3AD203B41FA5}">
                      <a16:colId xmlns:a16="http://schemas.microsoft.com/office/drawing/2014/main" val="672927634"/>
                    </a:ext>
                  </a:extLst>
                </a:gridCol>
                <a:gridCol w="122334">
                  <a:extLst>
                    <a:ext uri="{9D8B030D-6E8A-4147-A177-3AD203B41FA5}">
                      <a16:colId xmlns:a16="http://schemas.microsoft.com/office/drawing/2014/main" val="1901087857"/>
                    </a:ext>
                  </a:extLst>
                </a:gridCol>
                <a:gridCol w="724131">
                  <a:extLst>
                    <a:ext uri="{9D8B030D-6E8A-4147-A177-3AD203B41FA5}">
                      <a16:colId xmlns:a16="http://schemas.microsoft.com/office/drawing/2014/main" val="3478128122"/>
                    </a:ext>
                  </a:extLst>
                </a:gridCol>
                <a:gridCol w="161086">
                  <a:extLst>
                    <a:ext uri="{9D8B030D-6E8A-4147-A177-3AD203B41FA5}">
                      <a16:colId xmlns:a16="http://schemas.microsoft.com/office/drawing/2014/main" val="4119631406"/>
                    </a:ext>
                  </a:extLst>
                </a:gridCol>
                <a:gridCol w="446931">
                  <a:extLst>
                    <a:ext uri="{9D8B030D-6E8A-4147-A177-3AD203B41FA5}">
                      <a16:colId xmlns:a16="http://schemas.microsoft.com/office/drawing/2014/main" val="4200255387"/>
                    </a:ext>
                  </a:extLst>
                </a:gridCol>
                <a:gridCol w="187087">
                  <a:extLst>
                    <a:ext uri="{9D8B030D-6E8A-4147-A177-3AD203B41FA5}">
                      <a16:colId xmlns:a16="http://schemas.microsoft.com/office/drawing/2014/main" val="3612099695"/>
                    </a:ext>
                  </a:extLst>
                </a:gridCol>
              </a:tblGrid>
              <a:tr h="0">
                <a:tc gridSpan="10">
                  <a:txBody>
                    <a:bodyPr/>
                    <a:lstStyle/>
                    <a:p>
                      <a:pPr algn="l"/>
                      <a:r>
                        <a:rPr lang="en-US" sz="1100" b="1" strike="noStrike" baseline="0"/>
                        <a:t>Number of:</a:t>
                      </a:r>
                    </a:p>
                  </a:txBody>
                  <a:tcPr marL="45720" marR="45720" marT="0" marB="0" anchor="ctr"/>
                </a:tc>
                <a:tc hMerge="1">
                  <a:txBody>
                    <a:bodyPr/>
                    <a:lstStyle/>
                    <a:p>
                      <a:pPr algn="ctr"/>
                      <a:endParaRPr lang="en-US" sz="1400"/>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pPr algn="l"/>
                      <a:endParaRPr lang="en-US" sz="1400" strike="noStrike" baseline="0"/>
                    </a:p>
                  </a:txBody>
                  <a:tcPr anchor="ct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pPr algn="l"/>
                      <a:endParaRPr lang="en-US" sz="1400" strike="noStrike" baseline="0"/>
                    </a:p>
                  </a:txBody>
                  <a:tcPr anchor="ct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pPr algn="l"/>
                      <a:endParaRPr lang="en-US" sz="1400" strike="noStrike" baseline="0"/>
                    </a:p>
                  </a:txBody>
                  <a:tcPr anchor="ct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pPr algn="l"/>
                      <a:endParaRPr lang="en-US" sz="1400" strike="noStrike" baseline="0"/>
                    </a:p>
                  </a:txBody>
                  <a:tcPr anchor="ct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a:txBody>
                    <a:bodyPr/>
                    <a:lstStyle/>
                    <a:p>
                      <a:pPr algn="l"/>
                      <a:endParaRPr lang="en-US" sz="1100" strike="noStrike" baseline="0"/>
                    </a:p>
                  </a:txBody>
                  <a:tcPr marL="45720" marR="45720" marT="0" marB="0" anchor="ctr"/>
                </a:tc>
                <a:extLst>
                  <a:ext uri="{0D108BD9-81ED-4DB2-BD59-A6C34878D82A}">
                    <a16:rowId xmlns:a16="http://schemas.microsoft.com/office/drawing/2014/main" val="10000"/>
                  </a:ext>
                </a:extLst>
              </a:tr>
              <a:tr h="0">
                <a:tc>
                  <a:txBody>
                    <a:bodyPr/>
                    <a:lstStyle/>
                    <a:p>
                      <a:pPr marL="0" marR="0">
                        <a:lnSpc>
                          <a:spcPct val="100000"/>
                        </a:lnSpc>
                        <a:spcBef>
                          <a:spcPts val="0"/>
                        </a:spcBef>
                        <a:spcAft>
                          <a:spcPts val="0"/>
                        </a:spcAft>
                      </a:pPr>
                      <a:r>
                        <a:rPr lang="en-US" sz="1100" b="1">
                          <a:effectLst/>
                        </a:rPr>
                        <a:t>Patients</a:t>
                      </a:r>
                      <a:endParaRPr lang="en-US" sz="1100" b="1">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11,535</a:t>
                      </a:r>
                      <a:endParaRPr lang="en-US" sz="110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5,092</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2,496</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1,297</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718</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10006"/>
                  </a:ext>
                </a:extLst>
              </a:tr>
              <a:tr h="0">
                <a:tc>
                  <a:txBody>
                    <a:bodyPr/>
                    <a:lstStyle/>
                    <a:p>
                      <a:pPr marL="0" marR="0">
                        <a:lnSpc>
                          <a:spcPct val="100000"/>
                        </a:lnSpc>
                        <a:spcBef>
                          <a:spcPts val="0"/>
                        </a:spcBef>
                        <a:spcAft>
                          <a:spcPts val="0"/>
                        </a:spcAft>
                      </a:pPr>
                      <a:r>
                        <a:rPr lang="en-US" sz="1100" b="1">
                          <a:effectLst/>
                        </a:rPr>
                        <a:t>Deaths out of hospital</a:t>
                      </a:r>
                      <a:endParaRPr lang="en-US" sz="1100" b="1">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1,234</a:t>
                      </a:r>
                      <a:endParaRPr lang="en-US" sz="110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483</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213</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104</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r>
                        <a:rPr lang="en-US" sz="1100">
                          <a:effectLst/>
                        </a:rPr>
                        <a:t>51</a:t>
                      </a: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tc>
                  <a:txBody>
                    <a:bodyPr/>
                    <a:lstStyle/>
                    <a:p>
                      <a:pPr marL="0" marR="0" indent="0" algn="ctr">
                        <a:lnSpc>
                          <a:spcPct val="100000"/>
                        </a:lnSpc>
                        <a:spcBef>
                          <a:spcPts val="0"/>
                        </a:spcBef>
                        <a:spcAft>
                          <a:spcPts val="0"/>
                        </a:spcAft>
                      </a:pPr>
                      <a:endParaRPr lang="en-US" sz="1100">
                        <a:effectLst/>
                        <a:latin typeface="+mn-lt"/>
                        <a:ea typeface="Calibri" panose="020F0502020204030204" pitchFamily="34" charset="0"/>
                        <a:cs typeface="Times New Roman" panose="02020603050405020304" pitchFamily="18" charset="0"/>
                      </a:endParaRPr>
                    </a:p>
                  </a:txBody>
                  <a:tcPr marL="45720" marR="45720" marT="0" marB="0" anchor="ctr"/>
                </a:tc>
                <a:extLst>
                  <a:ext uri="{0D108BD9-81ED-4DB2-BD59-A6C34878D82A}">
                    <a16:rowId xmlns:a16="http://schemas.microsoft.com/office/drawing/2014/main" val="3499258922"/>
                  </a:ext>
                </a:extLst>
              </a:tr>
            </a:tbl>
          </a:graphicData>
        </a:graphic>
      </p:graphicFrame>
      <p:sp>
        <p:nvSpPr>
          <p:cNvPr id="51" name="Text Placeholder 1">
            <a:extLst>
              <a:ext uri="{FF2B5EF4-FFF2-40B4-BE49-F238E27FC236}">
                <a16:creationId xmlns:a16="http://schemas.microsoft.com/office/drawing/2014/main" id="{7FDE4304-CF23-4C6B-ABB5-1C1E9E0DBE11}"/>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20109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E4D229C-B09E-4AC6-AB96-0464B5EE238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96CEA46-EF41-4B6E-8592-DA36E02D51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C2C595A-D133-49E4-955C-F595511064D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D9421B36-8AFC-44D7-8B0D-C490F5A7783C}"/>
              </a:ext>
            </a:extLst>
          </p:cNvPr>
          <p:cNvSpPr>
            <a:spLocks noGrp="1"/>
          </p:cNvSpPr>
          <p:nvPr>
            <p:ph type="title"/>
          </p:nvPr>
        </p:nvSpPr>
        <p:spPr>
          <a:xfrm>
            <a:off x="596709" y="164567"/>
            <a:ext cx="11344919" cy="929127"/>
          </a:xfrm>
          <a:noFill/>
        </p:spPr>
        <p:txBody>
          <a:bodyPr>
            <a:noAutofit/>
          </a:bodyPr>
          <a:lstStyle/>
          <a:p>
            <a:r>
              <a:rPr lang="en-GB" sz="2400" b="1" dirty="0">
                <a:solidFill>
                  <a:schemeClr val="accent4"/>
                </a:solidFill>
                <a:latin typeface="Arial" panose="020B0604020202020204" pitchFamily="34" charset="0"/>
                <a:cs typeface="Arial" panose="020B0604020202020204" pitchFamily="34" charset="0"/>
              </a:rPr>
              <a:t>New Therapies Like vericiguat offer the Hope to Improve the Natural Disease Trajectory and Slow the Decline in Heart Failure</a:t>
            </a:r>
          </a:p>
        </p:txBody>
      </p:sp>
      <p:sp>
        <p:nvSpPr>
          <p:cNvPr id="5" name="Slide Number Placeholder 4">
            <a:extLst>
              <a:ext uri="{FF2B5EF4-FFF2-40B4-BE49-F238E27FC236}">
                <a16:creationId xmlns:a16="http://schemas.microsoft.com/office/drawing/2014/main" id="{9E1F6934-124B-4375-A3FC-43FB15FBCF9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44219DA-BA89-D343-98F9-B760052A8B9C}" type="slidenum">
              <a:rPr kumimoji="0" lang="en-US" sz="1000" b="0" i="0" u="none" strike="noStrike" kern="1200" cap="none" spc="0" normalizeH="0" baseline="0" noProof="0" smtClean="0">
                <a:ln>
                  <a:noFill/>
                </a:ln>
                <a:solidFill>
                  <a:srgbClr val="667179"/>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667179"/>
              </a:solidFill>
              <a:effectLst/>
              <a:uLnTx/>
              <a:uFillTx/>
              <a:latin typeface="Arial" panose="020B0604020202020204"/>
              <a:ea typeface="+mn-ea"/>
              <a:cs typeface="+mn-cs"/>
            </a:endParaRPr>
          </a:p>
        </p:txBody>
      </p:sp>
      <p:sp>
        <p:nvSpPr>
          <p:cNvPr id="8" name="Content Placeholder 7">
            <a:extLst>
              <a:ext uri="{FF2B5EF4-FFF2-40B4-BE49-F238E27FC236}">
                <a16:creationId xmlns:a16="http://schemas.microsoft.com/office/drawing/2014/main" id="{13FC2730-70AA-4CEC-BFA8-24191144175C}"/>
              </a:ext>
            </a:extLst>
          </p:cNvPr>
          <p:cNvSpPr>
            <a:spLocks noGrp="1"/>
          </p:cNvSpPr>
          <p:nvPr>
            <p:ph sz="quarter" idx="13"/>
          </p:nvPr>
        </p:nvSpPr>
        <p:spPr/>
        <p:txBody>
          <a:bodyPr/>
          <a:lstStyle/>
          <a:p>
            <a:endParaRPr lang="en-US"/>
          </a:p>
        </p:txBody>
      </p:sp>
      <p:sp>
        <p:nvSpPr>
          <p:cNvPr id="9" name="Text Placeholder 8">
            <a:extLst>
              <a:ext uri="{FF2B5EF4-FFF2-40B4-BE49-F238E27FC236}">
                <a16:creationId xmlns:a16="http://schemas.microsoft.com/office/drawing/2014/main" id="{1AC51877-C7DA-4F89-B166-11A365F7C86B}"/>
              </a:ext>
            </a:extLst>
          </p:cNvPr>
          <p:cNvSpPr>
            <a:spLocks noGrp="1"/>
          </p:cNvSpPr>
          <p:nvPr>
            <p:ph type="body" sz="quarter" idx="14"/>
          </p:nvPr>
        </p:nvSpPr>
        <p:spPr/>
        <p:txBody>
          <a:bodyPr>
            <a:normAutofit lnSpcReduction="10000"/>
          </a:bodyPr>
          <a:lstStyle/>
          <a:p>
            <a:endParaRPr lang="en-US"/>
          </a:p>
        </p:txBody>
      </p:sp>
      <p:sp>
        <p:nvSpPr>
          <p:cNvPr id="10" name="Text Placeholder 9">
            <a:extLst>
              <a:ext uri="{FF2B5EF4-FFF2-40B4-BE49-F238E27FC236}">
                <a16:creationId xmlns:a16="http://schemas.microsoft.com/office/drawing/2014/main" id="{583AC61A-DF34-471B-B140-ACDCFC69564E}"/>
              </a:ext>
            </a:extLst>
          </p:cNvPr>
          <p:cNvSpPr>
            <a:spLocks noGrp="1"/>
          </p:cNvSpPr>
          <p:nvPr>
            <p:ph type="body" sz="quarter" idx="15"/>
          </p:nvPr>
        </p:nvSpPr>
        <p:spPr/>
        <p:txBody>
          <a:bodyPr/>
          <a:lstStyle/>
          <a:p>
            <a:endParaRPr lang="en-US"/>
          </a:p>
        </p:txBody>
      </p:sp>
      <p:sp>
        <p:nvSpPr>
          <p:cNvPr id="40" name="Rectangle 39">
            <a:extLst>
              <a:ext uri="{FF2B5EF4-FFF2-40B4-BE49-F238E27FC236}">
                <a16:creationId xmlns:a16="http://schemas.microsoft.com/office/drawing/2014/main" id="{6C4F5B9F-997A-444E-A9DE-6F0EF73B7300}"/>
              </a:ext>
            </a:extLst>
          </p:cNvPr>
          <p:cNvSpPr/>
          <p:nvPr/>
        </p:nvSpPr>
        <p:spPr>
          <a:xfrm flipV="1">
            <a:off x="5086112" y="1279603"/>
            <a:ext cx="6053323" cy="4228077"/>
          </a:xfrm>
          <a:prstGeom prst="rect">
            <a:avLst/>
          </a:prstGeom>
          <a:solidFill>
            <a:schemeClr val="accent2">
              <a:lumMod val="20000"/>
              <a:lumOff val="8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EED0EA2F-56B9-4A31-91DD-DBE6A2440AF3}"/>
              </a:ext>
            </a:extLst>
          </p:cNvPr>
          <p:cNvSpPr/>
          <p:nvPr/>
        </p:nvSpPr>
        <p:spPr>
          <a:xfrm flipV="1">
            <a:off x="1115788" y="1203403"/>
            <a:ext cx="1286231" cy="42222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E965EE6C-E6ED-4EE1-B558-19E2C6D4E483}"/>
              </a:ext>
            </a:extLst>
          </p:cNvPr>
          <p:cNvSpPr/>
          <p:nvPr/>
        </p:nvSpPr>
        <p:spPr>
          <a:xfrm flipH="1" flipV="1">
            <a:off x="2402452" y="1203403"/>
            <a:ext cx="2690630" cy="4212658"/>
          </a:xfrm>
          <a:prstGeom prst="rect">
            <a:avLst/>
          </a:prstGeom>
          <a:solidFill>
            <a:schemeClr val="accent1">
              <a:lumMod val="20000"/>
              <a:lumOff val="8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F14684FA-5F3B-40C1-A34E-5A5A3B8A9CB1}"/>
              </a:ext>
            </a:extLst>
          </p:cNvPr>
          <p:cNvSpPr txBox="1"/>
          <p:nvPr/>
        </p:nvSpPr>
        <p:spPr>
          <a:xfrm>
            <a:off x="1282547" y="1234001"/>
            <a:ext cx="970137" cy="738664"/>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Baseline </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Risk of</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HF Event</a:t>
            </a:r>
          </a:p>
        </p:txBody>
      </p:sp>
      <p:sp>
        <p:nvSpPr>
          <p:cNvPr id="46" name="TextBox 45">
            <a:extLst>
              <a:ext uri="{FF2B5EF4-FFF2-40B4-BE49-F238E27FC236}">
                <a16:creationId xmlns:a16="http://schemas.microsoft.com/office/drawing/2014/main" id="{47E6F967-8C59-4EA7-B0D2-E4D9D3337F8E}"/>
              </a:ext>
            </a:extLst>
          </p:cNvPr>
          <p:cNvSpPr txBox="1"/>
          <p:nvPr/>
        </p:nvSpPr>
        <p:spPr>
          <a:xfrm>
            <a:off x="1137594" y="1983983"/>
            <a:ext cx="1260042" cy="600164"/>
          </a:xfrm>
          <a:prstGeom prst="rect">
            <a:avLst/>
          </a:prstGeom>
          <a:no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Initial diagnosis and </a:t>
            </a:r>
            <a:b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treatment</a:t>
            </a:r>
          </a:p>
        </p:txBody>
      </p:sp>
      <p:sp>
        <p:nvSpPr>
          <p:cNvPr id="50" name="Baseline Risk">
            <a:extLst>
              <a:ext uri="{FF2B5EF4-FFF2-40B4-BE49-F238E27FC236}">
                <a16:creationId xmlns:a16="http://schemas.microsoft.com/office/drawing/2014/main" id="{46F9B01D-AB74-4320-BFD6-86833FBAC873}"/>
              </a:ext>
            </a:extLst>
          </p:cNvPr>
          <p:cNvSpPr/>
          <p:nvPr/>
        </p:nvSpPr>
        <p:spPr>
          <a:xfrm>
            <a:off x="1173968" y="3505221"/>
            <a:ext cx="1157292" cy="5974"/>
          </a:xfrm>
          <a:custGeom>
            <a:avLst/>
            <a:gdLst>
              <a:gd name="connsiteX0" fmla="*/ 0 w 1995487"/>
              <a:gd name="connsiteY0" fmla="*/ 0 h 128587"/>
              <a:gd name="connsiteX1" fmla="*/ 1352550 w 1995487"/>
              <a:gd name="connsiteY1" fmla="*/ 23812 h 128587"/>
              <a:gd name="connsiteX2" fmla="*/ 1995487 w 1995487"/>
              <a:gd name="connsiteY2" fmla="*/ 128587 h 128587"/>
              <a:gd name="connsiteX0" fmla="*/ 0 w 1981199"/>
              <a:gd name="connsiteY0" fmla="*/ 69389 h 105107"/>
              <a:gd name="connsiteX1" fmla="*/ 1338262 w 1981199"/>
              <a:gd name="connsiteY1" fmla="*/ 332 h 105107"/>
              <a:gd name="connsiteX2" fmla="*/ 1981199 w 1981199"/>
              <a:gd name="connsiteY2" fmla="*/ 105107 h 105107"/>
              <a:gd name="connsiteX0" fmla="*/ 0 w 1993106"/>
              <a:gd name="connsiteY0" fmla="*/ 0 h 119062"/>
              <a:gd name="connsiteX1" fmla="*/ 1350169 w 1993106"/>
              <a:gd name="connsiteY1" fmla="*/ 14287 h 119062"/>
              <a:gd name="connsiteX2" fmla="*/ 1993106 w 1993106"/>
              <a:gd name="connsiteY2" fmla="*/ 119062 h 119062"/>
              <a:gd name="connsiteX0" fmla="*/ 0 w 1976437"/>
              <a:gd name="connsiteY0" fmla="*/ 0 h 121443"/>
              <a:gd name="connsiteX1" fmla="*/ 1333500 w 1976437"/>
              <a:gd name="connsiteY1" fmla="*/ 16668 h 121443"/>
              <a:gd name="connsiteX2" fmla="*/ 1976437 w 1976437"/>
              <a:gd name="connsiteY2" fmla="*/ 121443 h 121443"/>
              <a:gd name="connsiteX0" fmla="*/ 0 w 1974056"/>
              <a:gd name="connsiteY0" fmla="*/ 0 h 121443"/>
              <a:gd name="connsiteX1" fmla="*/ 1331119 w 1974056"/>
              <a:gd name="connsiteY1" fmla="*/ 16668 h 121443"/>
              <a:gd name="connsiteX2" fmla="*/ 1974056 w 1974056"/>
              <a:gd name="connsiteY2" fmla="*/ 121443 h 121443"/>
              <a:gd name="connsiteX0" fmla="*/ 0 w 1988344"/>
              <a:gd name="connsiteY0" fmla="*/ 0 h 121443"/>
              <a:gd name="connsiteX1" fmla="*/ 1345407 w 1988344"/>
              <a:gd name="connsiteY1" fmla="*/ 16668 h 121443"/>
              <a:gd name="connsiteX2" fmla="*/ 1988344 w 1988344"/>
              <a:gd name="connsiteY2" fmla="*/ 121443 h 121443"/>
              <a:gd name="connsiteX0" fmla="*/ 0 w 1974057"/>
              <a:gd name="connsiteY0" fmla="*/ 0 h 121443"/>
              <a:gd name="connsiteX1" fmla="*/ 1331120 w 1974057"/>
              <a:gd name="connsiteY1" fmla="*/ 16668 h 121443"/>
              <a:gd name="connsiteX2" fmla="*/ 1974057 w 1974057"/>
              <a:gd name="connsiteY2" fmla="*/ 121443 h 121443"/>
              <a:gd name="connsiteX0" fmla="*/ 0 w 1974057"/>
              <a:gd name="connsiteY0" fmla="*/ 0 h 121443"/>
              <a:gd name="connsiteX1" fmla="*/ 1331120 w 1974057"/>
              <a:gd name="connsiteY1" fmla="*/ 16668 h 121443"/>
              <a:gd name="connsiteX2" fmla="*/ 1974057 w 1974057"/>
              <a:gd name="connsiteY2" fmla="*/ 121443 h 121443"/>
              <a:gd name="connsiteX0" fmla="*/ 0 w 1974057"/>
              <a:gd name="connsiteY0" fmla="*/ 0 h 121443"/>
              <a:gd name="connsiteX1" fmla="*/ 1331120 w 1974057"/>
              <a:gd name="connsiteY1" fmla="*/ 16668 h 121443"/>
              <a:gd name="connsiteX2" fmla="*/ 1974057 w 1974057"/>
              <a:gd name="connsiteY2" fmla="*/ 121443 h 121443"/>
              <a:gd name="connsiteX0" fmla="*/ 0 w 1974057"/>
              <a:gd name="connsiteY0" fmla="*/ 0 h 121443"/>
              <a:gd name="connsiteX1" fmla="*/ 1331120 w 1974057"/>
              <a:gd name="connsiteY1" fmla="*/ 16668 h 121443"/>
              <a:gd name="connsiteX2" fmla="*/ 1974057 w 1974057"/>
              <a:gd name="connsiteY2" fmla="*/ 121443 h 121443"/>
              <a:gd name="connsiteX0" fmla="*/ 0 w 1974057"/>
              <a:gd name="connsiteY0" fmla="*/ 0 h 121443"/>
              <a:gd name="connsiteX1" fmla="*/ 1331120 w 1974057"/>
              <a:gd name="connsiteY1" fmla="*/ 16668 h 121443"/>
              <a:gd name="connsiteX2" fmla="*/ 1974057 w 1974057"/>
              <a:gd name="connsiteY2" fmla="*/ 121443 h 121443"/>
              <a:gd name="connsiteX0" fmla="*/ 0 w 1981222"/>
              <a:gd name="connsiteY0" fmla="*/ 0 h 1209137"/>
              <a:gd name="connsiteX1" fmla="*/ 1338285 w 1981222"/>
              <a:gd name="connsiteY1" fmla="*/ 1104362 h 1209137"/>
              <a:gd name="connsiteX2" fmla="*/ 1981222 w 1981222"/>
              <a:gd name="connsiteY2" fmla="*/ 1209137 h 1209137"/>
              <a:gd name="connsiteX0" fmla="*/ 0 w 1981222"/>
              <a:gd name="connsiteY0" fmla="*/ 0 h 1209137"/>
              <a:gd name="connsiteX1" fmla="*/ 1510249 w 1981222"/>
              <a:gd name="connsiteY1" fmla="*/ 16668 h 1209137"/>
              <a:gd name="connsiteX2" fmla="*/ 1981222 w 1981222"/>
              <a:gd name="connsiteY2" fmla="*/ 1209137 h 1209137"/>
              <a:gd name="connsiteX0" fmla="*/ 0 w 1995552"/>
              <a:gd name="connsiteY0" fmla="*/ 0 h 85187"/>
              <a:gd name="connsiteX1" fmla="*/ 1510249 w 1995552"/>
              <a:gd name="connsiteY1" fmla="*/ 16668 h 85187"/>
              <a:gd name="connsiteX2" fmla="*/ 1995552 w 1995552"/>
              <a:gd name="connsiteY2" fmla="*/ 85187 h 85187"/>
              <a:gd name="connsiteX0" fmla="*/ 0 w 1995552"/>
              <a:gd name="connsiteY0" fmla="*/ 0 h 85187"/>
              <a:gd name="connsiteX1" fmla="*/ 994357 w 1995552"/>
              <a:gd name="connsiteY1" fmla="*/ 16669 h 85187"/>
              <a:gd name="connsiteX2" fmla="*/ 1995552 w 1995552"/>
              <a:gd name="connsiteY2" fmla="*/ 85187 h 85187"/>
              <a:gd name="connsiteX0" fmla="*/ 0 w 1988387"/>
              <a:gd name="connsiteY0" fmla="*/ 0 h 36845"/>
              <a:gd name="connsiteX1" fmla="*/ 994357 w 1988387"/>
              <a:gd name="connsiteY1" fmla="*/ 16669 h 36845"/>
              <a:gd name="connsiteX2" fmla="*/ 1988387 w 1988387"/>
              <a:gd name="connsiteY2" fmla="*/ 36845 h 36845"/>
              <a:gd name="connsiteX0" fmla="*/ 0 w 1980327"/>
              <a:gd name="connsiteY0" fmla="*/ 0 h 18717"/>
              <a:gd name="connsiteX1" fmla="*/ 994357 w 1980327"/>
              <a:gd name="connsiteY1" fmla="*/ 16669 h 18717"/>
              <a:gd name="connsiteX2" fmla="*/ 1980327 w 1980327"/>
              <a:gd name="connsiteY2" fmla="*/ 18717 h 18717"/>
              <a:gd name="connsiteX0" fmla="*/ 0 w 2007196"/>
              <a:gd name="connsiteY0" fmla="*/ 0 h 5120"/>
              <a:gd name="connsiteX1" fmla="*/ 1021226 w 2007196"/>
              <a:gd name="connsiteY1" fmla="*/ 3072 h 5120"/>
              <a:gd name="connsiteX2" fmla="*/ 2007196 w 2007196"/>
              <a:gd name="connsiteY2" fmla="*/ 5120 h 5120"/>
              <a:gd name="connsiteX0" fmla="*/ 0 w 9987"/>
              <a:gd name="connsiteY0" fmla="*/ 29409 h 29409"/>
              <a:gd name="connsiteX1" fmla="*/ 5075 w 9987"/>
              <a:gd name="connsiteY1" fmla="*/ 0 h 29409"/>
              <a:gd name="connsiteX2" fmla="*/ 9987 w 9987"/>
              <a:gd name="connsiteY2" fmla="*/ 4000 h 29409"/>
              <a:gd name="connsiteX0" fmla="*/ 0 w 9759"/>
              <a:gd name="connsiteY0" fmla="*/ 10000 h 10000"/>
              <a:gd name="connsiteX1" fmla="*/ 5082 w 9759"/>
              <a:gd name="connsiteY1" fmla="*/ 0 h 10000"/>
              <a:gd name="connsiteX2" fmla="*/ 9759 w 9759"/>
              <a:gd name="connsiteY2" fmla="*/ 7380 h 10000"/>
              <a:gd name="connsiteX0" fmla="*/ 0 w 9560"/>
              <a:gd name="connsiteY0" fmla="*/ 10000 h 10000"/>
              <a:gd name="connsiteX1" fmla="*/ 5208 w 9560"/>
              <a:gd name="connsiteY1" fmla="*/ 0 h 10000"/>
              <a:gd name="connsiteX2" fmla="*/ 9560 w 9560"/>
              <a:gd name="connsiteY2" fmla="*/ 4370 h 10000"/>
              <a:gd name="connsiteX0" fmla="*/ 0 w 9784"/>
              <a:gd name="connsiteY0" fmla="*/ 10000 h 10000"/>
              <a:gd name="connsiteX1" fmla="*/ 5448 w 9784"/>
              <a:gd name="connsiteY1" fmla="*/ 0 h 10000"/>
              <a:gd name="connsiteX2" fmla="*/ 9784 w 9784"/>
              <a:gd name="connsiteY2" fmla="*/ 4370 h 10000"/>
              <a:gd name="connsiteX0" fmla="*/ 0 w 10396"/>
              <a:gd name="connsiteY0" fmla="*/ 10000 h 10000"/>
              <a:gd name="connsiteX1" fmla="*/ 5568 w 10396"/>
              <a:gd name="connsiteY1" fmla="*/ 0 h 10000"/>
              <a:gd name="connsiteX2" fmla="*/ 10396 w 10396"/>
              <a:gd name="connsiteY2" fmla="*/ 1360 h 10000"/>
              <a:gd name="connsiteX0" fmla="*/ 0 w 10528"/>
              <a:gd name="connsiteY0" fmla="*/ 10000 h 10000"/>
              <a:gd name="connsiteX1" fmla="*/ 5568 w 10528"/>
              <a:gd name="connsiteY1" fmla="*/ 0 h 10000"/>
              <a:gd name="connsiteX2" fmla="*/ 10528 w 10528"/>
              <a:gd name="connsiteY2" fmla="*/ 1360 h 10000"/>
              <a:gd name="connsiteX0" fmla="*/ 0 w 10675"/>
              <a:gd name="connsiteY0" fmla="*/ 10000 h 10000"/>
              <a:gd name="connsiteX1" fmla="*/ 5568 w 10675"/>
              <a:gd name="connsiteY1" fmla="*/ 0 h 10000"/>
              <a:gd name="connsiteX2" fmla="*/ 10675 w 10675"/>
              <a:gd name="connsiteY2" fmla="*/ 1360 h 10000"/>
              <a:gd name="connsiteX0" fmla="*/ 0 w 10807"/>
              <a:gd name="connsiteY0" fmla="*/ 10000 h 10000"/>
              <a:gd name="connsiteX1" fmla="*/ 5568 w 10807"/>
              <a:gd name="connsiteY1" fmla="*/ 0 h 10000"/>
              <a:gd name="connsiteX2" fmla="*/ 10807 w 10807"/>
              <a:gd name="connsiteY2" fmla="*/ 1360 h 10000"/>
              <a:gd name="connsiteX0" fmla="*/ 0 w 11189"/>
              <a:gd name="connsiteY0" fmla="*/ 10000 h 10000"/>
              <a:gd name="connsiteX1" fmla="*/ 5568 w 11189"/>
              <a:gd name="connsiteY1" fmla="*/ 0 h 10000"/>
              <a:gd name="connsiteX2" fmla="*/ 11189 w 11189"/>
              <a:gd name="connsiteY2" fmla="*/ 1360 h 10000"/>
              <a:gd name="connsiteX0" fmla="*/ 0 w 10499"/>
              <a:gd name="connsiteY0" fmla="*/ 10000 h 10000"/>
              <a:gd name="connsiteX1" fmla="*/ 5568 w 10499"/>
              <a:gd name="connsiteY1" fmla="*/ 0 h 10000"/>
              <a:gd name="connsiteX2" fmla="*/ 10499 w 10499"/>
              <a:gd name="connsiteY2" fmla="*/ 4370 h 10000"/>
              <a:gd name="connsiteX0" fmla="*/ 0 w 10558"/>
              <a:gd name="connsiteY0" fmla="*/ 11651 h 11651"/>
              <a:gd name="connsiteX1" fmla="*/ 5568 w 10558"/>
              <a:gd name="connsiteY1" fmla="*/ 1651 h 11651"/>
              <a:gd name="connsiteX2" fmla="*/ 10558 w 10558"/>
              <a:gd name="connsiteY2" fmla="*/ 0 h 11651"/>
              <a:gd name="connsiteX0" fmla="*/ 0 w 10558"/>
              <a:gd name="connsiteY0" fmla="*/ 11651 h 11651"/>
              <a:gd name="connsiteX1" fmla="*/ 5568 w 10558"/>
              <a:gd name="connsiteY1" fmla="*/ 1651 h 11651"/>
              <a:gd name="connsiteX2" fmla="*/ 10481 w 10558"/>
              <a:gd name="connsiteY2" fmla="*/ 10590 h 11651"/>
              <a:gd name="connsiteX3" fmla="*/ 10558 w 10558"/>
              <a:gd name="connsiteY3" fmla="*/ 0 h 11651"/>
              <a:gd name="connsiteX0" fmla="*/ 0 w 10481"/>
              <a:gd name="connsiteY0" fmla="*/ 17671 h 17671"/>
              <a:gd name="connsiteX1" fmla="*/ 5568 w 10481"/>
              <a:gd name="connsiteY1" fmla="*/ 7671 h 17671"/>
              <a:gd name="connsiteX2" fmla="*/ 10481 w 10481"/>
              <a:gd name="connsiteY2" fmla="*/ 16610 h 17671"/>
              <a:gd name="connsiteX3" fmla="*/ 9883 w 10481"/>
              <a:gd name="connsiteY3" fmla="*/ 0 h 17671"/>
              <a:gd name="connsiteX0" fmla="*/ 0 w 10970"/>
              <a:gd name="connsiteY0" fmla="*/ 171190 h 171190"/>
              <a:gd name="connsiteX1" fmla="*/ 5568 w 10970"/>
              <a:gd name="connsiteY1" fmla="*/ 161190 h 171190"/>
              <a:gd name="connsiteX2" fmla="*/ 10481 w 10970"/>
              <a:gd name="connsiteY2" fmla="*/ 170129 h 171190"/>
              <a:gd name="connsiteX3" fmla="*/ 10970 w 10970"/>
              <a:gd name="connsiteY3" fmla="*/ 0 h 171190"/>
              <a:gd name="connsiteX0" fmla="*/ 0 w 10481"/>
              <a:gd name="connsiteY0" fmla="*/ 10000 h 10000"/>
              <a:gd name="connsiteX1" fmla="*/ 5568 w 10481"/>
              <a:gd name="connsiteY1" fmla="*/ 0 h 10000"/>
              <a:gd name="connsiteX2" fmla="*/ 10481 w 10481"/>
              <a:gd name="connsiteY2" fmla="*/ 8939 h 10000"/>
              <a:gd name="connsiteX0" fmla="*/ 0 w 10481"/>
              <a:gd name="connsiteY0" fmla="*/ 10000 h 10000"/>
              <a:gd name="connsiteX1" fmla="*/ 5568 w 10481"/>
              <a:gd name="connsiteY1" fmla="*/ 0 h 10000"/>
              <a:gd name="connsiteX2" fmla="*/ 10481 w 10481"/>
              <a:gd name="connsiteY2" fmla="*/ 5930 h 10000"/>
              <a:gd name="connsiteX0" fmla="*/ 0 w 10481"/>
              <a:gd name="connsiteY0" fmla="*/ 10000 h 10000"/>
              <a:gd name="connsiteX1" fmla="*/ 5568 w 10481"/>
              <a:gd name="connsiteY1" fmla="*/ 0 h 10000"/>
              <a:gd name="connsiteX2" fmla="*/ 10481 w 10481"/>
              <a:gd name="connsiteY2" fmla="*/ 5930 h 10000"/>
              <a:gd name="connsiteX0" fmla="*/ 0 w 10481"/>
              <a:gd name="connsiteY0" fmla="*/ 4070 h 4070"/>
              <a:gd name="connsiteX1" fmla="*/ 5511 w 10481"/>
              <a:gd name="connsiteY1" fmla="*/ 1015 h 4070"/>
              <a:gd name="connsiteX2" fmla="*/ 10481 w 10481"/>
              <a:gd name="connsiteY2" fmla="*/ 0 h 4070"/>
              <a:gd name="connsiteX0" fmla="*/ 0 w 10000"/>
              <a:gd name="connsiteY0" fmla="*/ 6587 h 6587"/>
              <a:gd name="connsiteX1" fmla="*/ 5258 w 10000"/>
              <a:gd name="connsiteY1" fmla="*/ 2494 h 6587"/>
              <a:gd name="connsiteX2" fmla="*/ 10000 w 10000"/>
              <a:gd name="connsiteY2" fmla="*/ 0 h 6587"/>
              <a:gd name="connsiteX0" fmla="*/ 0 w 10000"/>
              <a:gd name="connsiteY0" fmla="*/ 10000 h 10735"/>
              <a:gd name="connsiteX1" fmla="*/ 5258 w 10000"/>
              <a:gd name="connsiteY1" fmla="*/ 3786 h 10735"/>
              <a:gd name="connsiteX2" fmla="*/ 10000 w 10000"/>
              <a:gd name="connsiteY2" fmla="*/ 0 h 10735"/>
              <a:gd name="connsiteX0" fmla="*/ 0 w 10000"/>
              <a:gd name="connsiteY0" fmla="*/ 10000 h 10735"/>
              <a:gd name="connsiteX1" fmla="*/ 5258 w 10000"/>
              <a:gd name="connsiteY1" fmla="*/ 3786 h 10735"/>
              <a:gd name="connsiteX2" fmla="*/ 10000 w 10000"/>
              <a:gd name="connsiteY2" fmla="*/ 0 h 10735"/>
              <a:gd name="connsiteX0" fmla="*/ 0 w 10000"/>
              <a:gd name="connsiteY0" fmla="*/ 10000 h 10735"/>
              <a:gd name="connsiteX1" fmla="*/ 5258 w 10000"/>
              <a:gd name="connsiteY1" fmla="*/ 3786 h 10735"/>
              <a:gd name="connsiteX2" fmla="*/ 10000 w 10000"/>
              <a:gd name="connsiteY2" fmla="*/ 0 h 10735"/>
              <a:gd name="connsiteX0" fmla="*/ 0 w 10000"/>
              <a:gd name="connsiteY0" fmla="*/ 11879 h 12362"/>
              <a:gd name="connsiteX1" fmla="*/ 4118 w 10000"/>
              <a:gd name="connsiteY1" fmla="*/ 485 h 12362"/>
              <a:gd name="connsiteX2" fmla="*/ 10000 w 10000"/>
              <a:gd name="connsiteY2" fmla="*/ 1879 h 12362"/>
              <a:gd name="connsiteX0" fmla="*/ 0 w 10000"/>
              <a:gd name="connsiteY0" fmla="*/ 19945 h 20428"/>
              <a:gd name="connsiteX1" fmla="*/ 4118 w 10000"/>
              <a:gd name="connsiteY1" fmla="*/ 8551 h 20428"/>
              <a:gd name="connsiteX2" fmla="*/ 10000 w 10000"/>
              <a:gd name="connsiteY2" fmla="*/ 9945 h 20428"/>
              <a:gd name="connsiteX0" fmla="*/ 0 w 10760"/>
              <a:gd name="connsiteY0" fmla="*/ 19945 h 20428"/>
              <a:gd name="connsiteX1" fmla="*/ 4118 w 10760"/>
              <a:gd name="connsiteY1" fmla="*/ 8551 h 20428"/>
              <a:gd name="connsiteX2" fmla="*/ 10760 w 10760"/>
              <a:gd name="connsiteY2" fmla="*/ 9945 h 20428"/>
              <a:gd name="connsiteX0" fmla="*/ 0 w 9946"/>
              <a:gd name="connsiteY0" fmla="*/ 23945 h 24456"/>
              <a:gd name="connsiteX1" fmla="*/ 4118 w 9946"/>
              <a:gd name="connsiteY1" fmla="*/ 12551 h 24456"/>
              <a:gd name="connsiteX2" fmla="*/ 9946 w 9946"/>
              <a:gd name="connsiteY2" fmla="*/ 8764 h 24456"/>
              <a:gd name="connsiteX0" fmla="*/ 0 w 10000"/>
              <a:gd name="connsiteY0" fmla="*/ 7917 h 8126"/>
              <a:gd name="connsiteX1" fmla="*/ 4140 w 10000"/>
              <a:gd name="connsiteY1" fmla="*/ 3258 h 8126"/>
              <a:gd name="connsiteX2" fmla="*/ 10000 w 10000"/>
              <a:gd name="connsiteY2" fmla="*/ 1710 h 8126"/>
              <a:gd name="connsiteX0" fmla="*/ 0 w 10328"/>
              <a:gd name="connsiteY0" fmla="*/ 5735 h 5954"/>
              <a:gd name="connsiteX1" fmla="*/ 4140 w 10328"/>
              <a:gd name="connsiteY1" fmla="*/ 1 h 5954"/>
              <a:gd name="connsiteX2" fmla="*/ 10328 w 10328"/>
              <a:gd name="connsiteY2" fmla="*/ 5917 h 5954"/>
              <a:gd name="connsiteX0" fmla="*/ 0 w 10000"/>
              <a:gd name="connsiteY0" fmla="*/ 9631 h 9999"/>
              <a:gd name="connsiteX1" fmla="*/ 4009 w 10000"/>
              <a:gd name="connsiteY1" fmla="*/ 1 h 9999"/>
              <a:gd name="connsiteX2" fmla="*/ 10000 w 10000"/>
              <a:gd name="connsiteY2" fmla="*/ 9937 h 9999"/>
              <a:gd name="connsiteX0" fmla="*/ 0 w 10000"/>
              <a:gd name="connsiteY0" fmla="*/ 9632 h 10000"/>
              <a:gd name="connsiteX1" fmla="*/ 4009 w 10000"/>
              <a:gd name="connsiteY1" fmla="*/ 1 h 10000"/>
              <a:gd name="connsiteX2" fmla="*/ 10000 w 10000"/>
              <a:gd name="connsiteY2" fmla="*/ 9938 h 10000"/>
              <a:gd name="connsiteX0" fmla="*/ 0 w 10000"/>
              <a:gd name="connsiteY0" fmla="*/ 9632 h 10000"/>
              <a:gd name="connsiteX1" fmla="*/ 4009 w 10000"/>
              <a:gd name="connsiteY1" fmla="*/ 1 h 10000"/>
              <a:gd name="connsiteX2" fmla="*/ 10000 w 10000"/>
              <a:gd name="connsiteY2" fmla="*/ 9938 h 10000"/>
              <a:gd name="connsiteX0" fmla="*/ 0 w 10000"/>
              <a:gd name="connsiteY0" fmla="*/ 5773 h 6307"/>
              <a:gd name="connsiteX1" fmla="*/ 4273 w 10000"/>
              <a:gd name="connsiteY1" fmla="*/ 521 h 6307"/>
              <a:gd name="connsiteX2" fmla="*/ 10000 w 10000"/>
              <a:gd name="connsiteY2" fmla="*/ 6079 h 6307"/>
              <a:gd name="connsiteX0" fmla="*/ 0 w 10171"/>
              <a:gd name="connsiteY0" fmla="*/ 18792 h 19777"/>
              <a:gd name="connsiteX1" fmla="*/ 4273 w 10171"/>
              <a:gd name="connsiteY1" fmla="*/ 10465 h 19777"/>
              <a:gd name="connsiteX2" fmla="*/ 10171 w 10171"/>
              <a:gd name="connsiteY2" fmla="*/ 5391 h 19777"/>
              <a:gd name="connsiteX0" fmla="*/ 0 w 10171"/>
              <a:gd name="connsiteY0" fmla="*/ 13401 h 14386"/>
              <a:gd name="connsiteX1" fmla="*/ 4273 w 10171"/>
              <a:gd name="connsiteY1" fmla="*/ 5074 h 14386"/>
              <a:gd name="connsiteX2" fmla="*/ 10171 w 10171"/>
              <a:gd name="connsiteY2" fmla="*/ 0 h 14386"/>
              <a:gd name="connsiteX0" fmla="*/ 0 w 9830"/>
              <a:gd name="connsiteY0" fmla="*/ 8407 h 17262"/>
              <a:gd name="connsiteX1" fmla="*/ 4273 w 9830"/>
              <a:gd name="connsiteY1" fmla="*/ 80 h 17262"/>
              <a:gd name="connsiteX2" fmla="*/ 9830 w 9830"/>
              <a:gd name="connsiteY2" fmla="*/ 15835 h 17262"/>
              <a:gd name="connsiteX0" fmla="*/ 0 w 10000"/>
              <a:gd name="connsiteY0" fmla="*/ 4870 h 9999"/>
              <a:gd name="connsiteX1" fmla="*/ 4347 w 10000"/>
              <a:gd name="connsiteY1" fmla="*/ 46 h 9999"/>
              <a:gd name="connsiteX2" fmla="*/ 10000 w 10000"/>
              <a:gd name="connsiteY2" fmla="*/ 9173 h 9999"/>
              <a:gd name="connsiteX0" fmla="*/ 0 w 10463"/>
              <a:gd name="connsiteY0" fmla="*/ 7765 h 8336"/>
              <a:gd name="connsiteX1" fmla="*/ 4347 w 10463"/>
              <a:gd name="connsiteY1" fmla="*/ 2941 h 8336"/>
              <a:gd name="connsiteX2" fmla="*/ 10463 w 10463"/>
              <a:gd name="connsiteY2" fmla="*/ 0 h 8336"/>
              <a:gd name="connsiteX0" fmla="*/ 0 w 10000"/>
              <a:gd name="connsiteY0" fmla="*/ 5844 h 6478"/>
              <a:gd name="connsiteX1" fmla="*/ 4155 w 10000"/>
              <a:gd name="connsiteY1" fmla="*/ 57 h 6478"/>
              <a:gd name="connsiteX2" fmla="*/ 10000 w 10000"/>
              <a:gd name="connsiteY2" fmla="*/ 1355 h 6478"/>
              <a:gd name="connsiteX0" fmla="*/ 0 w 10000"/>
              <a:gd name="connsiteY0" fmla="*/ 9021 h 9999"/>
              <a:gd name="connsiteX1" fmla="*/ 4155 w 10000"/>
              <a:gd name="connsiteY1" fmla="*/ 88 h 9999"/>
              <a:gd name="connsiteX2" fmla="*/ 10000 w 10000"/>
              <a:gd name="connsiteY2" fmla="*/ 2092 h 9999"/>
              <a:gd name="connsiteX0" fmla="*/ 0 w 10000"/>
              <a:gd name="connsiteY0" fmla="*/ 6930 h 8801"/>
              <a:gd name="connsiteX1" fmla="*/ 3814 w 10000"/>
              <a:gd name="connsiteY1" fmla="*/ 5446 h 8801"/>
              <a:gd name="connsiteX2" fmla="*/ 10000 w 10000"/>
              <a:gd name="connsiteY2" fmla="*/ 0 h 8801"/>
              <a:gd name="connsiteX0" fmla="*/ 0 w 10000"/>
              <a:gd name="connsiteY0" fmla="*/ 14458 h 15354"/>
              <a:gd name="connsiteX1" fmla="*/ 4554 w 10000"/>
              <a:gd name="connsiteY1" fmla="*/ 74 h 15354"/>
              <a:gd name="connsiteX2" fmla="*/ 10000 w 10000"/>
              <a:gd name="connsiteY2" fmla="*/ 6584 h 15354"/>
              <a:gd name="connsiteX0" fmla="*/ 0 w 10000"/>
              <a:gd name="connsiteY0" fmla="*/ 7874 h 11573"/>
              <a:gd name="connsiteX1" fmla="*/ 4696 w 10000"/>
              <a:gd name="connsiteY1" fmla="*/ 10422 h 11573"/>
              <a:gd name="connsiteX2" fmla="*/ 10000 w 10000"/>
              <a:gd name="connsiteY2" fmla="*/ 0 h 11573"/>
              <a:gd name="connsiteX0" fmla="*/ 0 w 10000"/>
              <a:gd name="connsiteY0" fmla="*/ 7874 h 11573"/>
              <a:gd name="connsiteX1" fmla="*/ 4269 w 10000"/>
              <a:gd name="connsiteY1" fmla="*/ 10422 h 11573"/>
              <a:gd name="connsiteX2" fmla="*/ 10000 w 10000"/>
              <a:gd name="connsiteY2" fmla="*/ 0 h 11573"/>
              <a:gd name="connsiteX0" fmla="*/ 0 w 10000"/>
              <a:gd name="connsiteY0" fmla="*/ 7874 h 9337"/>
              <a:gd name="connsiteX1" fmla="*/ 4127 w 10000"/>
              <a:gd name="connsiteY1" fmla="*/ 1957 h 9337"/>
              <a:gd name="connsiteX2" fmla="*/ 10000 w 10000"/>
              <a:gd name="connsiteY2" fmla="*/ 0 h 9337"/>
              <a:gd name="connsiteX0" fmla="*/ 0 w 10000"/>
              <a:gd name="connsiteY0" fmla="*/ 8433 h 8529"/>
              <a:gd name="connsiteX1" fmla="*/ 4127 w 10000"/>
              <a:gd name="connsiteY1" fmla="*/ 2096 h 8529"/>
              <a:gd name="connsiteX2" fmla="*/ 10000 w 10000"/>
              <a:gd name="connsiteY2" fmla="*/ 0 h 8529"/>
              <a:gd name="connsiteX0" fmla="*/ 0 w 10000"/>
              <a:gd name="connsiteY0" fmla="*/ 9887 h 9998"/>
              <a:gd name="connsiteX1" fmla="*/ 4440 w 10000"/>
              <a:gd name="connsiteY1" fmla="*/ 2457 h 9998"/>
              <a:gd name="connsiteX2" fmla="*/ 10000 w 10000"/>
              <a:gd name="connsiteY2" fmla="*/ 0 h 9998"/>
              <a:gd name="connsiteX0" fmla="*/ 0 w 10000"/>
              <a:gd name="connsiteY0" fmla="*/ 9889 h 18604"/>
              <a:gd name="connsiteX1" fmla="*/ 4497 w 10000"/>
              <a:gd name="connsiteY1" fmla="*/ 18404 h 18604"/>
              <a:gd name="connsiteX2" fmla="*/ 10000 w 10000"/>
              <a:gd name="connsiteY2" fmla="*/ 0 h 18604"/>
              <a:gd name="connsiteX0" fmla="*/ 0 w 10000"/>
              <a:gd name="connsiteY0" fmla="*/ 9889 h 10002"/>
              <a:gd name="connsiteX1" fmla="*/ 4639 w 10000"/>
              <a:gd name="connsiteY1" fmla="*/ 2458 h 10002"/>
              <a:gd name="connsiteX2" fmla="*/ 10000 w 10000"/>
              <a:gd name="connsiteY2" fmla="*/ 0 h 10002"/>
              <a:gd name="connsiteX0" fmla="*/ 0 w 10000"/>
              <a:gd name="connsiteY0" fmla="*/ 9889 h 10000"/>
              <a:gd name="connsiteX1" fmla="*/ 4895 w 10000"/>
              <a:gd name="connsiteY1" fmla="*/ 2458 h 10000"/>
              <a:gd name="connsiteX2" fmla="*/ 10000 w 10000"/>
              <a:gd name="connsiteY2" fmla="*/ 0 h 10000"/>
              <a:gd name="connsiteX0" fmla="*/ 0 w 10370"/>
              <a:gd name="connsiteY0" fmla="*/ 9889 h 10002"/>
              <a:gd name="connsiteX1" fmla="*/ 4895 w 10370"/>
              <a:gd name="connsiteY1" fmla="*/ 2458 h 10002"/>
              <a:gd name="connsiteX2" fmla="*/ 10370 w 10370"/>
              <a:gd name="connsiteY2" fmla="*/ 0 h 10002"/>
            </a:gdLst>
            <a:ahLst/>
            <a:cxnLst>
              <a:cxn ang="0">
                <a:pos x="connsiteX0" y="connsiteY0"/>
              </a:cxn>
              <a:cxn ang="0">
                <a:pos x="connsiteX1" y="connsiteY1"/>
              </a:cxn>
              <a:cxn ang="0">
                <a:pos x="connsiteX2" y="connsiteY2"/>
              </a:cxn>
            </a:cxnLst>
            <a:rect l="l" t="t" r="r" b="b"/>
            <a:pathLst>
              <a:path w="10370" h="10002">
                <a:moveTo>
                  <a:pt x="0" y="9889"/>
                </a:moveTo>
                <a:cubicBezTo>
                  <a:pt x="553" y="10959"/>
                  <a:pt x="3167" y="4106"/>
                  <a:pt x="4895" y="2458"/>
                </a:cubicBezTo>
                <a:cubicBezTo>
                  <a:pt x="6623" y="810"/>
                  <a:pt x="8591" y="10861"/>
                  <a:pt x="10370" y="0"/>
                </a:cubicBezTo>
              </a:path>
            </a:pathLst>
          </a:custGeom>
          <a:noFill/>
          <a:ln w="50800" cap="rnd">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D094840F-1831-4499-85B4-79744722BEA1}"/>
              </a:ext>
            </a:extLst>
          </p:cNvPr>
          <p:cNvSpPr txBox="1"/>
          <p:nvPr/>
        </p:nvSpPr>
        <p:spPr>
          <a:xfrm>
            <a:off x="2896547" y="1757221"/>
            <a:ext cx="1653766" cy="430887"/>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Initiation and titration of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recommended GDMT</a:t>
            </a:r>
          </a:p>
        </p:txBody>
      </p:sp>
      <p:sp>
        <p:nvSpPr>
          <p:cNvPr id="57" name="Worsening Risk">
            <a:extLst>
              <a:ext uri="{FF2B5EF4-FFF2-40B4-BE49-F238E27FC236}">
                <a16:creationId xmlns:a16="http://schemas.microsoft.com/office/drawing/2014/main" id="{E8FE5B01-3AE2-4CBD-9F65-A45A6B1DCDE4}"/>
              </a:ext>
            </a:extLst>
          </p:cNvPr>
          <p:cNvSpPr/>
          <p:nvPr/>
        </p:nvSpPr>
        <p:spPr>
          <a:xfrm>
            <a:off x="3744066" y="2164001"/>
            <a:ext cx="6053761" cy="2444553"/>
          </a:xfrm>
          <a:custGeom>
            <a:avLst/>
            <a:gdLst>
              <a:gd name="connsiteX0" fmla="*/ 0 w 2019300"/>
              <a:gd name="connsiteY0" fmla="*/ 3267075 h 3267075"/>
              <a:gd name="connsiteX1" fmla="*/ 76200 w 2019300"/>
              <a:gd name="connsiteY1" fmla="*/ 3133725 h 3267075"/>
              <a:gd name="connsiteX2" fmla="*/ 157162 w 2019300"/>
              <a:gd name="connsiteY2" fmla="*/ 2767013 h 3267075"/>
              <a:gd name="connsiteX3" fmla="*/ 200025 w 2019300"/>
              <a:gd name="connsiteY3" fmla="*/ 2343150 h 3267075"/>
              <a:gd name="connsiteX4" fmla="*/ 233362 w 2019300"/>
              <a:gd name="connsiteY4" fmla="*/ 2062163 h 3267075"/>
              <a:gd name="connsiteX5" fmla="*/ 247650 w 2019300"/>
              <a:gd name="connsiteY5" fmla="*/ 1976438 h 3267075"/>
              <a:gd name="connsiteX6" fmla="*/ 295275 w 2019300"/>
              <a:gd name="connsiteY6" fmla="*/ 1952625 h 3267075"/>
              <a:gd name="connsiteX7" fmla="*/ 319087 w 2019300"/>
              <a:gd name="connsiteY7" fmla="*/ 2005013 h 3267075"/>
              <a:gd name="connsiteX8" fmla="*/ 357187 w 2019300"/>
              <a:gd name="connsiteY8" fmla="*/ 2176463 h 3267075"/>
              <a:gd name="connsiteX9" fmla="*/ 404812 w 2019300"/>
              <a:gd name="connsiteY9" fmla="*/ 2357438 h 3267075"/>
              <a:gd name="connsiteX10" fmla="*/ 447675 w 2019300"/>
              <a:gd name="connsiteY10" fmla="*/ 2514600 h 3267075"/>
              <a:gd name="connsiteX11" fmla="*/ 581025 w 2019300"/>
              <a:gd name="connsiteY11" fmla="*/ 2566988 h 3267075"/>
              <a:gd name="connsiteX12" fmla="*/ 700087 w 2019300"/>
              <a:gd name="connsiteY12" fmla="*/ 2466975 h 3267075"/>
              <a:gd name="connsiteX13" fmla="*/ 733425 w 2019300"/>
              <a:gd name="connsiteY13" fmla="*/ 2200275 h 3267075"/>
              <a:gd name="connsiteX14" fmla="*/ 747712 w 2019300"/>
              <a:gd name="connsiteY14" fmla="*/ 1638300 h 3267075"/>
              <a:gd name="connsiteX15" fmla="*/ 771525 w 2019300"/>
              <a:gd name="connsiteY15" fmla="*/ 1209675 h 3267075"/>
              <a:gd name="connsiteX16" fmla="*/ 790575 w 2019300"/>
              <a:gd name="connsiteY16" fmla="*/ 1090613 h 3267075"/>
              <a:gd name="connsiteX17" fmla="*/ 809625 w 2019300"/>
              <a:gd name="connsiteY17" fmla="*/ 1009650 h 3267075"/>
              <a:gd name="connsiteX18" fmla="*/ 871537 w 2019300"/>
              <a:gd name="connsiteY18" fmla="*/ 1104900 h 3267075"/>
              <a:gd name="connsiteX19" fmla="*/ 938212 w 2019300"/>
              <a:gd name="connsiteY19" fmla="*/ 1376363 h 3267075"/>
              <a:gd name="connsiteX20" fmla="*/ 995362 w 2019300"/>
              <a:gd name="connsiteY20" fmla="*/ 1562100 h 3267075"/>
              <a:gd name="connsiteX21" fmla="*/ 1057275 w 2019300"/>
              <a:gd name="connsiteY21" fmla="*/ 1757363 h 3267075"/>
              <a:gd name="connsiteX22" fmla="*/ 1204912 w 2019300"/>
              <a:gd name="connsiteY22" fmla="*/ 1800225 h 3267075"/>
              <a:gd name="connsiteX23" fmla="*/ 1323975 w 2019300"/>
              <a:gd name="connsiteY23" fmla="*/ 1652588 h 3267075"/>
              <a:gd name="connsiteX24" fmla="*/ 1362075 w 2019300"/>
              <a:gd name="connsiteY24" fmla="*/ 1300163 h 3267075"/>
              <a:gd name="connsiteX25" fmla="*/ 1390650 w 2019300"/>
              <a:gd name="connsiteY25" fmla="*/ 642938 h 3267075"/>
              <a:gd name="connsiteX26" fmla="*/ 1404937 w 2019300"/>
              <a:gd name="connsiteY26" fmla="*/ 319088 h 3267075"/>
              <a:gd name="connsiteX27" fmla="*/ 1462087 w 2019300"/>
              <a:gd name="connsiteY27" fmla="*/ 209550 h 3267075"/>
              <a:gd name="connsiteX28" fmla="*/ 1533525 w 2019300"/>
              <a:gd name="connsiteY28" fmla="*/ 338138 h 3267075"/>
              <a:gd name="connsiteX29" fmla="*/ 1562100 w 2019300"/>
              <a:gd name="connsiteY29" fmla="*/ 566738 h 3267075"/>
              <a:gd name="connsiteX30" fmla="*/ 1609725 w 2019300"/>
              <a:gd name="connsiteY30" fmla="*/ 752475 h 3267075"/>
              <a:gd name="connsiteX31" fmla="*/ 1704975 w 2019300"/>
              <a:gd name="connsiteY31" fmla="*/ 814388 h 3267075"/>
              <a:gd name="connsiteX32" fmla="*/ 1800225 w 2019300"/>
              <a:gd name="connsiteY32" fmla="*/ 747713 h 3267075"/>
              <a:gd name="connsiteX33" fmla="*/ 1866900 w 2019300"/>
              <a:gd name="connsiteY33" fmla="*/ 433388 h 3267075"/>
              <a:gd name="connsiteX34" fmla="*/ 1905000 w 2019300"/>
              <a:gd name="connsiteY34" fmla="*/ 233363 h 3267075"/>
              <a:gd name="connsiteX35" fmla="*/ 2019300 w 2019300"/>
              <a:gd name="connsiteY35" fmla="*/ 0 h 3267075"/>
              <a:gd name="connsiteX0" fmla="*/ 0 w 2019300"/>
              <a:gd name="connsiteY0" fmla="*/ 3252788 h 3252788"/>
              <a:gd name="connsiteX1" fmla="*/ 76200 w 2019300"/>
              <a:gd name="connsiteY1" fmla="*/ 3133725 h 3252788"/>
              <a:gd name="connsiteX2" fmla="*/ 157162 w 2019300"/>
              <a:gd name="connsiteY2" fmla="*/ 2767013 h 3252788"/>
              <a:gd name="connsiteX3" fmla="*/ 200025 w 2019300"/>
              <a:gd name="connsiteY3" fmla="*/ 2343150 h 3252788"/>
              <a:gd name="connsiteX4" fmla="*/ 233362 w 2019300"/>
              <a:gd name="connsiteY4" fmla="*/ 2062163 h 3252788"/>
              <a:gd name="connsiteX5" fmla="*/ 247650 w 2019300"/>
              <a:gd name="connsiteY5" fmla="*/ 1976438 h 3252788"/>
              <a:gd name="connsiteX6" fmla="*/ 295275 w 2019300"/>
              <a:gd name="connsiteY6" fmla="*/ 1952625 h 3252788"/>
              <a:gd name="connsiteX7" fmla="*/ 319087 w 2019300"/>
              <a:gd name="connsiteY7" fmla="*/ 2005013 h 3252788"/>
              <a:gd name="connsiteX8" fmla="*/ 357187 w 2019300"/>
              <a:gd name="connsiteY8" fmla="*/ 2176463 h 3252788"/>
              <a:gd name="connsiteX9" fmla="*/ 404812 w 2019300"/>
              <a:gd name="connsiteY9" fmla="*/ 2357438 h 3252788"/>
              <a:gd name="connsiteX10" fmla="*/ 447675 w 2019300"/>
              <a:gd name="connsiteY10" fmla="*/ 2514600 h 3252788"/>
              <a:gd name="connsiteX11" fmla="*/ 581025 w 2019300"/>
              <a:gd name="connsiteY11" fmla="*/ 2566988 h 3252788"/>
              <a:gd name="connsiteX12" fmla="*/ 700087 w 2019300"/>
              <a:gd name="connsiteY12" fmla="*/ 2466975 h 3252788"/>
              <a:gd name="connsiteX13" fmla="*/ 733425 w 2019300"/>
              <a:gd name="connsiteY13" fmla="*/ 2200275 h 3252788"/>
              <a:gd name="connsiteX14" fmla="*/ 747712 w 2019300"/>
              <a:gd name="connsiteY14" fmla="*/ 1638300 h 3252788"/>
              <a:gd name="connsiteX15" fmla="*/ 771525 w 2019300"/>
              <a:gd name="connsiteY15" fmla="*/ 1209675 h 3252788"/>
              <a:gd name="connsiteX16" fmla="*/ 790575 w 2019300"/>
              <a:gd name="connsiteY16" fmla="*/ 1090613 h 3252788"/>
              <a:gd name="connsiteX17" fmla="*/ 809625 w 2019300"/>
              <a:gd name="connsiteY17" fmla="*/ 1009650 h 3252788"/>
              <a:gd name="connsiteX18" fmla="*/ 871537 w 2019300"/>
              <a:gd name="connsiteY18" fmla="*/ 1104900 h 3252788"/>
              <a:gd name="connsiteX19" fmla="*/ 938212 w 2019300"/>
              <a:gd name="connsiteY19" fmla="*/ 1376363 h 3252788"/>
              <a:gd name="connsiteX20" fmla="*/ 995362 w 2019300"/>
              <a:gd name="connsiteY20" fmla="*/ 1562100 h 3252788"/>
              <a:gd name="connsiteX21" fmla="*/ 1057275 w 2019300"/>
              <a:gd name="connsiteY21" fmla="*/ 1757363 h 3252788"/>
              <a:gd name="connsiteX22" fmla="*/ 1204912 w 2019300"/>
              <a:gd name="connsiteY22" fmla="*/ 1800225 h 3252788"/>
              <a:gd name="connsiteX23" fmla="*/ 1323975 w 2019300"/>
              <a:gd name="connsiteY23" fmla="*/ 1652588 h 3252788"/>
              <a:gd name="connsiteX24" fmla="*/ 1362075 w 2019300"/>
              <a:gd name="connsiteY24" fmla="*/ 1300163 h 3252788"/>
              <a:gd name="connsiteX25" fmla="*/ 1390650 w 2019300"/>
              <a:gd name="connsiteY25" fmla="*/ 642938 h 3252788"/>
              <a:gd name="connsiteX26" fmla="*/ 1404937 w 2019300"/>
              <a:gd name="connsiteY26" fmla="*/ 319088 h 3252788"/>
              <a:gd name="connsiteX27" fmla="*/ 1462087 w 2019300"/>
              <a:gd name="connsiteY27" fmla="*/ 209550 h 3252788"/>
              <a:gd name="connsiteX28" fmla="*/ 1533525 w 2019300"/>
              <a:gd name="connsiteY28" fmla="*/ 338138 h 3252788"/>
              <a:gd name="connsiteX29" fmla="*/ 1562100 w 2019300"/>
              <a:gd name="connsiteY29" fmla="*/ 566738 h 3252788"/>
              <a:gd name="connsiteX30" fmla="*/ 1609725 w 2019300"/>
              <a:gd name="connsiteY30" fmla="*/ 752475 h 3252788"/>
              <a:gd name="connsiteX31" fmla="*/ 1704975 w 2019300"/>
              <a:gd name="connsiteY31" fmla="*/ 814388 h 3252788"/>
              <a:gd name="connsiteX32" fmla="*/ 1800225 w 2019300"/>
              <a:gd name="connsiteY32" fmla="*/ 747713 h 3252788"/>
              <a:gd name="connsiteX33" fmla="*/ 1866900 w 2019300"/>
              <a:gd name="connsiteY33" fmla="*/ 433388 h 3252788"/>
              <a:gd name="connsiteX34" fmla="*/ 1905000 w 2019300"/>
              <a:gd name="connsiteY34" fmla="*/ 233363 h 3252788"/>
              <a:gd name="connsiteX35" fmla="*/ 2019300 w 2019300"/>
              <a:gd name="connsiteY35" fmla="*/ 0 h 3252788"/>
              <a:gd name="connsiteX0" fmla="*/ 0 w 2014538"/>
              <a:gd name="connsiteY0" fmla="*/ 3255169 h 3255169"/>
              <a:gd name="connsiteX1" fmla="*/ 71438 w 2014538"/>
              <a:gd name="connsiteY1" fmla="*/ 3133725 h 3255169"/>
              <a:gd name="connsiteX2" fmla="*/ 152400 w 2014538"/>
              <a:gd name="connsiteY2" fmla="*/ 2767013 h 3255169"/>
              <a:gd name="connsiteX3" fmla="*/ 195263 w 2014538"/>
              <a:gd name="connsiteY3" fmla="*/ 2343150 h 3255169"/>
              <a:gd name="connsiteX4" fmla="*/ 228600 w 2014538"/>
              <a:gd name="connsiteY4" fmla="*/ 2062163 h 3255169"/>
              <a:gd name="connsiteX5" fmla="*/ 242888 w 2014538"/>
              <a:gd name="connsiteY5" fmla="*/ 1976438 h 3255169"/>
              <a:gd name="connsiteX6" fmla="*/ 290513 w 2014538"/>
              <a:gd name="connsiteY6" fmla="*/ 1952625 h 3255169"/>
              <a:gd name="connsiteX7" fmla="*/ 314325 w 2014538"/>
              <a:gd name="connsiteY7" fmla="*/ 2005013 h 3255169"/>
              <a:gd name="connsiteX8" fmla="*/ 352425 w 2014538"/>
              <a:gd name="connsiteY8" fmla="*/ 2176463 h 3255169"/>
              <a:gd name="connsiteX9" fmla="*/ 400050 w 2014538"/>
              <a:gd name="connsiteY9" fmla="*/ 2357438 h 3255169"/>
              <a:gd name="connsiteX10" fmla="*/ 442913 w 2014538"/>
              <a:gd name="connsiteY10" fmla="*/ 2514600 h 3255169"/>
              <a:gd name="connsiteX11" fmla="*/ 576263 w 2014538"/>
              <a:gd name="connsiteY11" fmla="*/ 2566988 h 3255169"/>
              <a:gd name="connsiteX12" fmla="*/ 695325 w 2014538"/>
              <a:gd name="connsiteY12" fmla="*/ 2466975 h 3255169"/>
              <a:gd name="connsiteX13" fmla="*/ 728663 w 2014538"/>
              <a:gd name="connsiteY13" fmla="*/ 2200275 h 3255169"/>
              <a:gd name="connsiteX14" fmla="*/ 742950 w 2014538"/>
              <a:gd name="connsiteY14" fmla="*/ 1638300 h 3255169"/>
              <a:gd name="connsiteX15" fmla="*/ 766763 w 2014538"/>
              <a:gd name="connsiteY15" fmla="*/ 1209675 h 3255169"/>
              <a:gd name="connsiteX16" fmla="*/ 785813 w 2014538"/>
              <a:gd name="connsiteY16" fmla="*/ 1090613 h 3255169"/>
              <a:gd name="connsiteX17" fmla="*/ 804863 w 2014538"/>
              <a:gd name="connsiteY17" fmla="*/ 1009650 h 3255169"/>
              <a:gd name="connsiteX18" fmla="*/ 866775 w 2014538"/>
              <a:gd name="connsiteY18" fmla="*/ 1104900 h 3255169"/>
              <a:gd name="connsiteX19" fmla="*/ 933450 w 2014538"/>
              <a:gd name="connsiteY19" fmla="*/ 1376363 h 3255169"/>
              <a:gd name="connsiteX20" fmla="*/ 990600 w 2014538"/>
              <a:gd name="connsiteY20" fmla="*/ 1562100 h 3255169"/>
              <a:gd name="connsiteX21" fmla="*/ 1052513 w 2014538"/>
              <a:gd name="connsiteY21" fmla="*/ 1757363 h 3255169"/>
              <a:gd name="connsiteX22" fmla="*/ 1200150 w 2014538"/>
              <a:gd name="connsiteY22" fmla="*/ 1800225 h 3255169"/>
              <a:gd name="connsiteX23" fmla="*/ 1319213 w 2014538"/>
              <a:gd name="connsiteY23" fmla="*/ 1652588 h 3255169"/>
              <a:gd name="connsiteX24" fmla="*/ 1357313 w 2014538"/>
              <a:gd name="connsiteY24" fmla="*/ 1300163 h 3255169"/>
              <a:gd name="connsiteX25" fmla="*/ 1385888 w 2014538"/>
              <a:gd name="connsiteY25" fmla="*/ 642938 h 3255169"/>
              <a:gd name="connsiteX26" fmla="*/ 1400175 w 2014538"/>
              <a:gd name="connsiteY26" fmla="*/ 319088 h 3255169"/>
              <a:gd name="connsiteX27" fmla="*/ 1457325 w 2014538"/>
              <a:gd name="connsiteY27" fmla="*/ 209550 h 3255169"/>
              <a:gd name="connsiteX28" fmla="*/ 1528763 w 2014538"/>
              <a:gd name="connsiteY28" fmla="*/ 338138 h 3255169"/>
              <a:gd name="connsiteX29" fmla="*/ 1557338 w 2014538"/>
              <a:gd name="connsiteY29" fmla="*/ 566738 h 3255169"/>
              <a:gd name="connsiteX30" fmla="*/ 1604963 w 2014538"/>
              <a:gd name="connsiteY30" fmla="*/ 752475 h 3255169"/>
              <a:gd name="connsiteX31" fmla="*/ 1700213 w 2014538"/>
              <a:gd name="connsiteY31" fmla="*/ 814388 h 3255169"/>
              <a:gd name="connsiteX32" fmla="*/ 1795463 w 2014538"/>
              <a:gd name="connsiteY32" fmla="*/ 747713 h 3255169"/>
              <a:gd name="connsiteX33" fmla="*/ 1862138 w 2014538"/>
              <a:gd name="connsiteY33" fmla="*/ 433388 h 3255169"/>
              <a:gd name="connsiteX34" fmla="*/ 1900238 w 2014538"/>
              <a:gd name="connsiteY34" fmla="*/ 233363 h 3255169"/>
              <a:gd name="connsiteX35" fmla="*/ 2014538 w 2014538"/>
              <a:gd name="connsiteY35" fmla="*/ 0 h 3255169"/>
              <a:gd name="connsiteX0" fmla="*/ 0 w 2016919"/>
              <a:gd name="connsiteY0" fmla="*/ 3262313 h 3262313"/>
              <a:gd name="connsiteX1" fmla="*/ 73819 w 2016919"/>
              <a:gd name="connsiteY1" fmla="*/ 3133725 h 3262313"/>
              <a:gd name="connsiteX2" fmla="*/ 154781 w 2016919"/>
              <a:gd name="connsiteY2" fmla="*/ 2767013 h 3262313"/>
              <a:gd name="connsiteX3" fmla="*/ 197644 w 2016919"/>
              <a:gd name="connsiteY3" fmla="*/ 2343150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45294 w 2016919"/>
              <a:gd name="connsiteY10" fmla="*/ 2514600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45294 w 2016919"/>
              <a:gd name="connsiteY10" fmla="*/ 2514600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45294 w 2016919"/>
              <a:gd name="connsiteY10" fmla="*/ 2514600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45294 w 2016919"/>
              <a:gd name="connsiteY10" fmla="*/ 2514600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45294 w 2016919"/>
              <a:gd name="connsiteY10" fmla="*/ 2514600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61963 w 2016919"/>
              <a:gd name="connsiteY10" fmla="*/ 2514600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4806 w 2016919"/>
              <a:gd name="connsiteY8" fmla="*/ 2176463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16706 w 2016919"/>
              <a:gd name="connsiteY7" fmla="*/ 2005013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45269 w 2016919"/>
              <a:gd name="connsiteY5" fmla="*/ 1976438 h 3262313"/>
              <a:gd name="connsiteX6" fmla="*/ 292894 w 2016919"/>
              <a:gd name="connsiteY6" fmla="*/ 1952625 h 3262313"/>
              <a:gd name="connsiteX7" fmla="*/ 323850 w 2016919"/>
              <a:gd name="connsiteY7" fmla="*/ 199548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292894 w 2016919"/>
              <a:gd name="connsiteY6" fmla="*/ 1952625 h 3262313"/>
              <a:gd name="connsiteX7" fmla="*/ 323850 w 2016919"/>
              <a:gd name="connsiteY7" fmla="*/ 199548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292894 w 2016919"/>
              <a:gd name="connsiteY6" fmla="*/ 1959769 h 3262313"/>
              <a:gd name="connsiteX7" fmla="*/ 323850 w 2016919"/>
              <a:gd name="connsiteY7" fmla="*/ 199548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292894 w 2016919"/>
              <a:gd name="connsiteY6" fmla="*/ 1959769 h 3262313"/>
              <a:gd name="connsiteX7" fmla="*/ 323850 w 2016919"/>
              <a:gd name="connsiteY7" fmla="*/ 201453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3850 w 2016919"/>
              <a:gd name="connsiteY7" fmla="*/ 201453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3850 w 2016919"/>
              <a:gd name="connsiteY7" fmla="*/ 201453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78644 w 2016919"/>
              <a:gd name="connsiteY11" fmla="*/ 2566988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95313 w 2016919"/>
              <a:gd name="connsiteY11" fmla="*/ 2571750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61963 w 2016919"/>
              <a:gd name="connsiteY10" fmla="*/ 2526506 h 3262313"/>
              <a:gd name="connsiteX11" fmla="*/ 595313 w 2016919"/>
              <a:gd name="connsiteY11" fmla="*/ 2571750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595313 w 2016919"/>
              <a:gd name="connsiteY11" fmla="*/ 2571750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697706 w 2016919"/>
              <a:gd name="connsiteY12" fmla="*/ 2466975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4849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4849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9611 w 2016919"/>
              <a:gd name="connsiteY12" fmla="*/ 2440781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9611 w 2016919"/>
              <a:gd name="connsiteY12" fmla="*/ 2440781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07244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8194 w 2016919"/>
              <a:gd name="connsiteY16" fmla="*/ 1090613 h 3262313"/>
              <a:gd name="connsiteX17" fmla="*/ 816769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1050 w 2016919"/>
              <a:gd name="connsiteY16" fmla="*/ 1078707 h 3262313"/>
              <a:gd name="connsiteX17" fmla="*/ 816769 w 2016919"/>
              <a:gd name="connsiteY17" fmla="*/ 1009650 h 3262313"/>
              <a:gd name="connsiteX18" fmla="*/ 869156 w 2016919"/>
              <a:gd name="connsiteY18" fmla="*/ 1104900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1050 w 2016919"/>
              <a:gd name="connsiteY16" fmla="*/ 1078707 h 3262313"/>
              <a:gd name="connsiteX17" fmla="*/ 816769 w 2016919"/>
              <a:gd name="connsiteY17" fmla="*/ 1009650 h 3262313"/>
              <a:gd name="connsiteX18" fmla="*/ 866774 w 2016919"/>
              <a:gd name="connsiteY18" fmla="*/ 1071562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9144 w 2016919"/>
              <a:gd name="connsiteY15" fmla="*/ 1209675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35831 w 2016919"/>
              <a:gd name="connsiteY19" fmla="*/ 1376363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92981 w 2016919"/>
              <a:gd name="connsiteY20" fmla="*/ 1562100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21594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38287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54894 w 2016919"/>
              <a:gd name="connsiteY21" fmla="*/ 1757363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2531 w 2016919"/>
              <a:gd name="connsiteY22" fmla="*/ 1800225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21594 w 2016919"/>
              <a:gd name="connsiteY23" fmla="*/ 1652588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2556 w 2016919"/>
              <a:gd name="connsiteY26" fmla="*/ 31908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4937 w 2016919"/>
              <a:gd name="connsiteY26" fmla="*/ 300038 h 3262313"/>
              <a:gd name="connsiteX27" fmla="*/ 1459706 w 2016919"/>
              <a:gd name="connsiteY27" fmla="*/ 209550 h 3262313"/>
              <a:gd name="connsiteX28" fmla="*/ 1531144 w 2016919"/>
              <a:gd name="connsiteY28" fmla="*/ 338138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4937 w 2016919"/>
              <a:gd name="connsiteY26" fmla="*/ 300038 h 3262313"/>
              <a:gd name="connsiteX27" fmla="*/ 1459706 w 2016919"/>
              <a:gd name="connsiteY27" fmla="*/ 209550 h 3262313"/>
              <a:gd name="connsiteX28" fmla="*/ 1521619 w 2016919"/>
              <a:gd name="connsiteY28" fmla="*/ 292895 h 3262313"/>
              <a:gd name="connsiteX29" fmla="*/ 1559719 w 2016919"/>
              <a:gd name="connsiteY29" fmla="*/ 5667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4937 w 2016919"/>
              <a:gd name="connsiteY26" fmla="*/ 300038 h 3262313"/>
              <a:gd name="connsiteX27" fmla="*/ 1459706 w 2016919"/>
              <a:gd name="connsiteY27" fmla="*/ 209550 h 3262313"/>
              <a:gd name="connsiteX28" fmla="*/ 1521619 w 2016919"/>
              <a:gd name="connsiteY28" fmla="*/ 292895 h 3262313"/>
              <a:gd name="connsiteX29" fmla="*/ 1557338 w 2016919"/>
              <a:gd name="connsiteY29" fmla="*/ 528638 h 3262313"/>
              <a:gd name="connsiteX30" fmla="*/ 1607344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4937 w 2016919"/>
              <a:gd name="connsiteY26" fmla="*/ 300038 h 3262313"/>
              <a:gd name="connsiteX27" fmla="*/ 1459706 w 2016919"/>
              <a:gd name="connsiteY27" fmla="*/ 209550 h 3262313"/>
              <a:gd name="connsiteX28" fmla="*/ 1521619 w 2016919"/>
              <a:gd name="connsiteY28" fmla="*/ 292895 h 3262313"/>
              <a:gd name="connsiteX29" fmla="*/ 1557338 w 2016919"/>
              <a:gd name="connsiteY29" fmla="*/ 528638 h 3262313"/>
              <a:gd name="connsiteX30" fmla="*/ 1604963 w 2016919"/>
              <a:gd name="connsiteY30" fmla="*/ 752475 h 3262313"/>
              <a:gd name="connsiteX31" fmla="*/ 1702594 w 2016919"/>
              <a:gd name="connsiteY31" fmla="*/ 814388 h 3262313"/>
              <a:gd name="connsiteX32" fmla="*/ 1797844 w 2016919"/>
              <a:gd name="connsiteY32" fmla="*/ 747713 h 3262313"/>
              <a:gd name="connsiteX33" fmla="*/ 1864519 w 2016919"/>
              <a:gd name="connsiteY33" fmla="*/ 433388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4937 w 2016919"/>
              <a:gd name="connsiteY26" fmla="*/ 300038 h 3262313"/>
              <a:gd name="connsiteX27" fmla="*/ 1459706 w 2016919"/>
              <a:gd name="connsiteY27" fmla="*/ 209550 h 3262313"/>
              <a:gd name="connsiteX28" fmla="*/ 1521619 w 2016919"/>
              <a:gd name="connsiteY28" fmla="*/ 292895 h 3262313"/>
              <a:gd name="connsiteX29" fmla="*/ 1557338 w 2016919"/>
              <a:gd name="connsiteY29" fmla="*/ 528638 h 3262313"/>
              <a:gd name="connsiteX30" fmla="*/ 1604963 w 2016919"/>
              <a:gd name="connsiteY30" fmla="*/ 752475 h 3262313"/>
              <a:gd name="connsiteX31" fmla="*/ 1702594 w 2016919"/>
              <a:gd name="connsiteY31" fmla="*/ 814388 h 3262313"/>
              <a:gd name="connsiteX32" fmla="*/ 1797844 w 2016919"/>
              <a:gd name="connsiteY32" fmla="*/ 747713 h 3262313"/>
              <a:gd name="connsiteX33" fmla="*/ 1847850 w 2016919"/>
              <a:gd name="connsiteY33" fmla="*/ 450057 h 3262313"/>
              <a:gd name="connsiteX34" fmla="*/ 1902619 w 2016919"/>
              <a:gd name="connsiteY34" fmla="*/ 233363 h 3262313"/>
              <a:gd name="connsiteX35" fmla="*/ 2016919 w 2016919"/>
              <a:gd name="connsiteY35" fmla="*/ 0 h 3262313"/>
              <a:gd name="connsiteX0" fmla="*/ 0 w 2016919"/>
              <a:gd name="connsiteY0" fmla="*/ 3262313 h 3262313"/>
              <a:gd name="connsiteX1" fmla="*/ 73819 w 2016919"/>
              <a:gd name="connsiteY1" fmla="*/ 3133725 h 3262313"/>
              <a:gd name="connsiteX2" fmla="*/ 154781 w 2016919"/>
              <a:gd name="connsiteY2" fmla="*/ 2767013 h 3262313"/>
              <a:gd name="connsiteX3" fmla="*/ 200026 w 2016919"/>
              <a:gd name="connsiteY3" fmla="*/ 2374106 h 3262313"/>
              <a:gd name="connsiteX4" fmla="*/ 230981 w 2016919"/>
              <a:gd name="connsiteY4" fmla="*/ 2062163 h 3262313"/>
              <a:gd name="connsiteX5" fmla="*/ 250032 w 2016919"/>
              <a:gd name="connsiteY5" fmla="*/ 1985963 h 3262313"/>
              <a:gd name="connsiteX6" fmla="*/ 300038 w 2016919"/>
              <a:gd name="connsiteY6" fmla="*/ 1978819 h 3262313"/>
              <a:gd name="connsiteX7" fmla="*/ 326231 w 2016919"/>
              <a:gd name="connsiteY7" fmla="*/ 2033588 h 3262313"/>
              <a:gd name="connsiteX8" fmla="*/ 357187 w 2016919"/>
              <a:gd name="connsiteY8" fmla="*/ 2159795 h 3262313"/>
              <a:gd name="connsiteX9" fmla="*/ 402431 w 2016919"/>
              <a:gd name="connsiteY9" fmla="*/ 2357438 h 3262313"/>
              <a:gd name="connsiteX10" fmla="*/ 478632 w 2016919"/>
              <a:gd name="connsiteY10" fmla="*/ 2536031 h 3262313"/>
              <a:gd name="connsiteX11" fmla="*/ 604838 w 2016919"/>
              <a:gd name="connsiteY11" fmla="*/ 2569369 h 3262313"/>
              <a:gd name="connsiteX12" fmla="*/ 700086 w 2016919"/>
              <a:gd name="connsiteY12" fmla="*/ 2452687 h 3262313"/>
              <a:gd name="connsiteX13" fmla="*/ 731044 w 2016919"/>
              <a:gd name="connsiteY13" fmla="*/ 2200275 h 3262313"/>
              <a:gd name="connsiteX14" fmla="*/ 745331 w 2016919"/>
              <a:gd name="connsiteY14" fmla="*/ 1638300 h 3262313"/>
              <a:gd name="connsiteX15" fmla="*/ 764381 w 2016919"/>
              <a:gd name="connsiteY15" fmla="*/ 1297782 h 3262313"/>
              <a:gd name="connsiteX16" fmla="*/ 783431 w 2016919"/>
              <a:gd name="connsiteY16" fmla="*/ 1085851 h 3262313"/>
              <a:gd name="connsiteX17" fmla="*/ 816769 w 2016919"/>
              <a:gd name="connsiteY17" fmla="*/ 1009650 h 3262313"/>
              <a:gd name="connsiteX18" fmla="*/ 866774 w 2016919"/>
              <a:gd name="connsiteY18" fmla="*/ 1071562 h 3262313"/>
              <a:gd name="connsiteX19" fmla="*/ 928687 w 2016919"/>
              <a:gd name="connsiteY19" fmla="*/ 1309688 h 3262313"/>
              <a:gd name="connsiteX20" fmla="*/ 978694 w 2016919"/>
              <a:gd name="connsiteY20" fmla="*/ 1507331 h 3262313"/>
              <a:gd name="connsiteX21" fmla="*/ 1071562 w 2016919"/>
              <a:gd name="connsiteY21" fmla="*/ 1759744 h 3262313"/>
              <a:gd name="connsiteX22" fmla="*/ 1207294 w 2016919"/>
              <a:gd name="connsiteY22" fmla="*/ 1790700 h 3262313"/>
              <a:gd name="connsiteX23" fmla="*/ 1300163 w 2016919"/>
              <a:gd name="connsiteY23" fmla="*/ 1659732 h 3262313"/>
              <a:gd name="connsiteX24" fmla="*/ 1359694 w 2016919"/>
              <a:gd name="connsiteY24" fmla="*/ 1300163 h 3262313"/>
              <a:gd name="connsiteX25" fmla="*/ 1388269 w 2016919"/>
              <a:gd name="connsiteY25" fmla="*/ 642938 h 3262313"/>
              <a:gd name="connsiteX26" fmla="*/ 1404937 w 2016919"/>
              <a:gd name="connsiteY26" fmla="*/ 300038 h 3262313"/>
              <a:gd name="connsiteX27" fmla="*/ 1459706 w 2016919"/>
              <a:gd name="connsiteY27" fmla="*/ 209550 h 3262313"/>
              <a:gd name="connsiteX28" fmla="*/ 1521619 w 2016919"/>
              <a:gd name="connsiteY28" fmla="*/ 292895 h 3262313"/>
              <a:gd name="connsiteX29" fmla="*/ 1557338 w 2016919"/>
              <a:gd name="connsiteY29" fmla="*/ 528638 h 3262313"/>
              <a:gd name="connsiteX30" fmla="*/ 1604963 w 2016919"/>
              <a:gd name="connsiteY30" fmla="*/ 752475 h 3262313"/>
              <a:gd name="connsiteX31" fmla="*/ 1702594 w 2016919"/>
              <a:gd name="connsiteY31" fmla="*/ 814388 h 3262313"/>
              <a:gd name="connsiteX32" fmla="*/ 1797844 w 2016919"/>
              <a:gd name="connsiteY32" fmla="*/ 747713 h 3262313"/>
              <a:gd name="connsiteX33" fmla="*/ 1847850 w 2016919"/>
              <a:gd name="connsiteY33" fmla="*/ 450057 h 3262313"/>
              <a:gd name="connsiteX34" fmla="*/ 1902619 w 2016919"/>
              <a:gd name="connsiteY34" fmla="*/ 216695 h 3262313"/>
              <a:gd name="connsiteX35" fmla="*/ 2016919 w 2016919"/>
              <a:gd name="connsiteY35" fmla="*/ 0 h 3262313"/>
              <a:gd name="connsiteX0" fmla="*/ 0 w 2016919"/>
              <a:gd name="connsiteY0" fmla="*/ 3252788 h 3252788"/>
              <a:gd name="connsiteX1" fmla="*/ 73819 w 2016919"/>
              <a:gd name="connsiteY1" fmla="*/ 3124200 h 3252788"/>
              <a:gd name="connsiteX2" fmla="*/ 154781 w 2016919"/>
              <a:gd name="connsiteY2" fmla="*/ 2757488 h 3252788"/>
              <a:gd name="connsiteX3" fmla="*/ 200026 w 2016919"/>
              <a:gd name="connsiteY3" fmla="*/ 2364581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73819 w 2016919"/>
              <a:gd name="connsiteY1" fmla="*/ 3124200 h 3252788"/>
              <a:gd name="connsiteX2" fmla="*/ 154781 w 2016919"/>
              <a:gd name="connsiteY2" fmla="*/ 2757488 h 3252788"/>
              <a:gd name="connsiteX3" fmla="*/ 200026 w 2016919"/>
              <a:gd name="connsiteY3" fmla="*/ 2364581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73819 w 2016919"/>
              <a:gd name="connsiteY1" fmla="*/ 3124200 h 3252788"/>
              <a:gd name="connsiteX2" fmla="*/ 154781 w 2016919"/>
              <a:gd name="connsiteY2" fmla="*/ 2757488 h 3252788"/>
              <a:gd name="connsiteX3" fmla="*/ 200026 w 2016919"/>
              <a:gd name="connsiteY3" fmla="*/ 2364581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73819 w 2016919"/>
              <a:gd name="connsiteY1" fmla="*/ 3124200 h 3252788"/>
              <a:gd name="connsiteX2" fmla="*/ 140451 w 2016919"/>
              <a:gd name="connsiteY2" fmla="*/ 2793859 h 3252788"/>
              <a:gd name="connsiteX3" fmla="*/ 200026 w 2016919"/>
              <a:gd name="connsiteY3" fmla="*/ 2364581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73819 w 2016919"/>
              <a:gd name="connsiteY1" fmla="*/ 3124200 h 3252788"/>
              <a:gd name="connsiteX2" fmla="*/ 140451 w 2016919"/>
              <a:gd name="connsiteY2" fmla="*/ 2793859 h 3252788"/>
              <a:gd name="connsiteX3" fmla="*/ 200026 w 2016919"/>
              <a:gd name="connsiteY3" fmla="*/ 2270015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73819 w 2016919"/>
              <a:gd name="connsiteY1" fmla="*/ 3124200 h 3252788"/>
              <a:gd name="connsiteX2" fmla="*/ 169111 w 2016919"/>
              <a:gd name="connsiteY2" fmla="*/ 2510162 h 3252788"/>
              <a:gd name="connsiteX3" fmla="*/ 200026 w 2016919"/>
              <a:gd name="connsiteY3" fmla="*/ 2270015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73819 w 2016919"/>
              <a:gd name="connsiteY1" fmla="*/ 3124200 h 3252788"/>
              <a:gd name="connsiteX2" fmla="*/ 169111 w 2016919"/>
              <a:gd name="connsiteY2" fmla="*/ 2510162 h 3252788"/>
              <a:gd name="connsiteX3" fmla="*/ 200026 w 2016919"/>
              <a:gd name="connsiteY3" fmla="*/ 2270015 h 3252788"/>
              <a:gd name="connsiteX4" fmla="*/ 230981 w 2016919"/>
              <a:gd name="connsiteY4" fmla="*/ 2052638 h 3252788"/>
              <a:gd name="connsiteX5" fmla="*/ 250032 w 2016919"/>
              <a:gd name="connsiteY5" fmla="*/ 1976438 h 3252788"/>
              <a:gd name="connsiteX6" fmla="*/ 300038 w 2016919"/>
              <a:gd name="connsiteY6" fmla="*/ 1969294 h 3252788"/>
              <a:gd name="connsiteX7" fmla="*/ 326231 w 2016919"/>
              <a:gd name="connsiteY7" fmla="*/ 2024063 h 3252788"/>
              <a:gd name="connsiteX8" fmla="*/ 357187 w 2016919"/>
              <a:gd name="connsiteY8" fmla="*/ 2150270 h 3252788"/>
              <a:gd name="connsiteX9" fmla="*/ 402431 w 2016919"/>
              <a:gd name="connsiteY9" fmla="*/ 2347913 h 3252788"/>
              <a:gd name="connsiteX10" fmla="*/ 478632 w 2016919"/>
              <a:gd name="connsiteY10" fmla="*/ 2526506 h 3252788"/>
              <a:gd name="connsiteX11" fmla="*/ 604838 w 2016919"/>
              <a:gd name="connsiteY11" fmla="*/ 2559844 h 3252788"/>
              <a:gd name="connsiteX12" fmla="*/ 700086 w 2016919"/>
              <a:gd name="connsiteY12" fmla="*/ 2443162 h 3252788"/>
              <a:gd name="connsiteX13" fmla="*/ 731044 w 2016919"/>
              <a:gd name="connsiteY13" fmla="*/ 2190750 h 3252788"/>
              <a:gd name="connsiteX14" fmla="*/ 745331 w 2016919"/>
              <a:gd name="connsiteY14" fmla="*/ 1628775 h 3252788"/>
              <a:gd name="connsiteX15" fmla="*/ 764381 w 2016919"/>
              <a:gd name="connsiteY15" fmla="*/ 1288257 h 3252788"/>
              <a:gd name="connsiteX16" fmla="*/ 783431 w 2016919"/>
              <a:gd name="connsiteY16" fmla="*/ 1076326 h 3252788"/>
              <a:gd name="connsiteX17" fmla="*/ 816769 w 2016919"/>
              <a:gd name="connsiteY17" fmla="*/ 1000125 h 3252788"/>
              <a:gd name="connsiteX18" fmla="*/ 866774 w 2016919"/>
              <a:gd name="connsiteY18" fmla="*/ 1062037 h 3252788"/>
              <a:gd name="connsiteX19" fmla="*/ 928687 w 2016919"/>
              <a:gd name="connsiteY19" fmla="*/ 1300163 h 3252788"/>
              <a:gd name="connsiteX20" fmla="*/ 978694 w 2016919"/>
              <a:gd name="connsiteY20" fmla="*/ 1497806 h 3252788"/>
              <a:gd name="connsiteX21" fmla="*/ 1071562 w 2016919"/>
              <a:gd name="connsiteY21" fmla="*/ 1750219 h 3252788"/>
              <a:gd name="connsiteX22" fmla="*/ 1207294 w 2016919"/>
              <a:gd name="connsiteY22" fmla="*/ 1781175 h 3252788"/>
              <a:gd name="connsiteX23" fmla="*/ 1300163 w 2016919"/>
              <a:gd name="connsiteY23" fmla="*/ 1650207 h 3252788"/>
              <a:gd name="connsiteX24" fmla="*/ 1359694 w 2016919"/>
              <a:gd name="connsiteY24" fmla="*/ 1290638 h 3252788"/>
              <a:gd name="connsiteX25" fmla="*/ 1388269 w 2016919"/>
              <a:gd name="connsiteY25" fmla="*/ 633413 h 3252788"/>
              <a:gd name="connsiteX26" fmla="*/ 1404937 w 2016919"/>
              <a:gd name="connsiteY26" fmla="*/ 290513 h 3252788"/>
              <a:gd name="connsiteX27" fmla="*/ 1459706 w 2016919"/>
              <a:gd name="connsiteY27" fmla="*/ 200025 h 3252788"/>
              <a:gd name="connsiteX28" fmla="*/ 1521619 w 2016919"/>
              <a:gd name="connsiteY28" fmla="*/ 283370 h 3252788"/>
              <a:gd name="connsiteX29" fmla="*/ 1557338 w 2016919"/>
              <a:gd name="connsiteY29" fmla="*/ 519113 h 3252788"/>
              <a:gd name="connsiteX30" fmla="*/ 1604963 w 2016919"/>
              <a:gd name="connsiteY30" fmla="*/ 742950 h 3252788"/>
              <a:gd name="connsiteX31" fmla="*/ 1702594 w 2016919"/>
              <a:gd name="connsiteY31" fmla="*/ 804863 h 3252788"/>
              <a:gd name="connsiteX32" fmla="*/ 1797844 w 2016919"/>
              <a:gd name="connsiteY32" fmla="*/ 738188 h 3252788"/>
              <a:gd name="connsiteX33" fmla="*/ 1847850 w 2016919"/>
              <a:gd name="connsiteY33" fmla="*/ 440532 h 3252788"/>
              <a:gd name="connsiteX34" fmla="*/ 1902619 w 2016919"/>
              <a:gd name="connsiteY34" fmla="*/ 207170 h 3252788"/>
              <a:gd name="connsiteX35" fmla="*/ 2016919 w 2016919"/>
              <a:gd name="connsiteY35" fmla="*/ 0 h 3252788"/>
              <a:gd name="connsiteX0" fmla="*/ 0 w 2016919"/>
              <a:gd name="connsiteY0" fmla="*/ 3252788 h 3252788"/>
              <a:gd name="connsiteX1" fmla="*/ 169111 w 2016919"/>
              <a:gd name="connsiteY1" fmla="*/ 2510162 h 3252788"/>
              <a:gd name="connsiteX2" fmla="*/ 200026 w 2016919"/>
              <a:gd name="connsiteY2" fmla="*/ 2270015 h 3252788"/>
              <a:gd name="connsiteX3" fmla="*/ 230981 w 2016919"/>
              <a:gd name="connsiteY3" fmla="*/ 2052638 h 3252788"/>
              <a:gd name="connsiteX4" fmla="*/ 250032 w 2016919"/>
              <a:gd name="connsiteY4" fmla="*/ 1976438 h 3252788"/>
              <a:gd name="connsiteX5" fmla="*/ 300038 w 2016919"/>
              <a:gd name="connsiteY5" fmla="*/ 1969294 h 3252788"/>
              <a:gd name="connsiteX6" fmla="*/ 326231 w 2016919"/>
              <a:gd name="connsiteY6" fmla="*/ 2024063 h 3252788"/>
              <a:gd name="connsiteX7" fmla="*/ 357187 w 2016919"/>
              <a:gd name="connsiteY7" fmla="*/ 2150270 h 3252788"/>
              <a:gd name="connsiteX8" fmla="*/ 402431 w 2016919"/>
              <a:gd name="connsiteY8" fmla="*/ 2347913 h 3252788"/>
              <a:gd name="connsiteX9" fmla="*/ 478632 w 2016919"/>
              <a:gd name="connsiteY9" fmla="*/ 2526506 h 3252788"/>
              <a:gd name="connsiteX10" fmla="*/ 604838 w 2016919"/>
              <a:gd name="connsiteY10" fmla="*/ 2559844 h 3252788"/>
              <a:gd name="connsiteX11" fmla="*/ 700086 w 2016919"/>
              <a:gd name="connsiteY11" fmla="*/ 2443162 h 3252788"/>
              <a:gd name="connsiteX12" fmla="*/ 731044 w 2016919"/>
              <a:gd name="connsiteY12" fmla="*/ 2190750 h 3252788"/>
              <a:gd name="connsiteX13" fmla="*/ 745331 w 2016919"/>
              <a:gd name="connsiteY13" fmla="*/ 1628775 h 3252788"/>
              <a:gd name="connsiteX14" fmla="*/ 764381 w 2016919"/>
              <a:gd name="connsiteY14" fmla="*/ 1288257 h 3252788"/>
              <a:gd name="connsiteX15" fmla="*/ 783431 w 2016919"/>
              <a:gd name="connsiteY15" fmla="*/ 1076326 h 3252788"/>
              <a:gd name="connsiteX16" fmla="*/ 816769 w 2016919"/>
              <a:gd name="connsiteY16" fmla="*/ 1000125 h 3252788"/>
              <a:gd name="connsiteX17" fmla="*/ 866774 w 2016919"/>
              <a:gd name="connsiteY17" fmla="*/ 1062037 h 3252788"/>
              <a:gd name="connsiteX18" fmla="*/ 928687 w 2016919"/>
              <a:gd name="connsiteY18" fmla="*/ 1300163 h 3252788"/>
              <a:gd name="connsiteX19" fmla="*/ 978694 w 2016919"/>
              <a:gd name="connsiteY19" fmla="*/ 1497806 h 3252788"/>
              <a:gd name="connsiteX20" fmla="*/ 1071562 w 2016919"/>
              <a:gd name="connsiteY20" fmla="*/ 1750219 h 3252788"/>
              <a:gd name="connsiteX21" fmla="*/ 1207294 w 2016919"/>
              <a:gd name="connsiteY21" fmla="*/ 1781175 h 3252788"/>
              <a:gd name="connsiteX22" fmla="*/ 1300163 w 2016919"/>
              <a:gd name="connsiteY22" fmla="*/ 1650207 h 3252788"/>
              <a:gd name="connsiteX23" fmla="*/ 1359694 w 2016919"/>
              <a:gd name="connsiteY23" fmla="*/ 1290638 h 3252788"/>
              <a:gd name="connsiteX24" fmla="*/ 1388269 w 2016919"/>
              <a:gd name="connsiteY24" fmla="*/ 633413 h 3252788"/>
              <a:gd name="connsiteX25" fmla="*/ 1404937 w 2016919"/>
              <a:gd name="connsiteY25" fmla="*/ 290513 h 3252788"/>
              <a:gd name="connsiteX26" fmla="*/ 1459706 w 2016919"/>
              <a:gd name="connsiteY26" fmla="*/ 200025 h 3252788"/>
              <a:gd name="connsiteX27" fmla="*/ 1521619 w 2016919"/>
              <a:gd name="connsiteY27" fmla="*/ 283370 h 3252788"/>
              <a:gd name="connsiteX28" fmla="*/ 1557338 w 2016919"/>
              <a:gd name="connsiteY28" fmla="*/ 519113 h 3252788"/>
              <a:gd name="connsiteX29" fmla="*/ 1604963 w 2016919"/>
              <a:gd name="connsiteY29" fmla="*/ 742950 h 3252788"/>
              <a:gd name="connsiteX30" fmla="*/ 1702594 w 2016919"/>
              <a:gd name="connsiteY30" fmla="*/ 804863 h 3252788"/>
              <a:gd name="connsiteX31" fmla="*/ 1797844 w 2016919"/>
              <a:gd name="connsiteY31" fmla="*/ 738188 h 3252788"/>
              <a:gd name="connsiteX32" fmla="*/ 1847850 w 2016919"/>
              <a:gd name="connsiteY32" fmla="*/ 440532 h 3252788"/>
              <a:gd name="connsiteX33" fmla="*/ 1902619 w 2016919"/>
              <a:gd name="connsiteY33" fmla="*/ 207170 h 3252788"/>
              <a:gd name="connsiteX34" fmla="*/ 2016919 w 2016919"/>
              <a:gd name="connsiteY34" fmla="*/ 0 h 3252788"/>
              <a:gd name="connsiteX0" fmla="*/ 0 w 1847808"/>
              <a:gd name="connsiteY0" fmla="*/ 2510162 h 2565501"/>
              <a:gd name="connsiteX1" fmla="*/ 30915 w 1847808"/>
              <a:gd name="connsiteY1" fmla="*/ 2270015 h 2565501"/>
              <a:gd name="connsiteX2" fmla="*/ 61870 w 1847808"/>
              <a:gd name="connsiteY2" fmla="*/ 2052638 h 2565501"/>
              <a:gd name="connsiteX3" fmla="*/ 80921 w 1847808"/>
              <a:gd name="connsiteY3" fmla="*/ 1976438 h 2565501"/>
              <a:gd name="connsiteX4" fmla="*/ 130927 w 1847808"/>
              <a:gd name="connsiteY4" fmla="*/ 1969294 h 2565501"/>
              <a:gd name="connsiteX5" fmla="*/ 157120 w 1847808"/>
              <a:gd name="connsiteY5" fmla="*/ 2024063 h 2565501"/>
              <a:gd name="connsiteX6" fmla="*/ 188076 w 1847808"/>
              <a:gd name="connsiteY6" fmla="*/ 2150270 h 2565501"/>
              <a:gd name="connsiteX7" fmla="*/ 233320 w 1847808"/>
              <a:gd name="connsiteY7" fmla="*/ 2347913 h 2565501"/>
              <a:gd name="connsiteX8" fmla="*/ 309521 w 1847808"/>
              <a:gd name="connsiteY8" fmla="*/ 2526506 h 2565501"/>
              <a:gd name="connsiteX9" fmla="*/ 435727 w 1847808"/>
              <a:gd name="connsiteY9" fmla="*/ 2559844 h 2565501"/>
              <a:gd name="connsiteX10" fmla="*/ 530975 w 1847808"/>
              <a:gd name="connsiteY10" fmla="*/ 2443162 h 2565501"/>
              <a:gd name="connsiteX11" fmla="*/ 561933 w 1847808"/>
              <a:gd name="connsiteY11" fmla="*/ 2190750 h 2565501"/>
              <a:gd name="connsiteX12" fmla="*/ 576220 w 1847808"/>
              <a:gd name="connsiteY12" fmla="*/ 1628775 h 2565501"/>
              <a:gd name="connsiteX13" fmla="*/ 595270 w 1847808"/>
              <a:gd name="connsiteY13" fmla="*/ 1288257 h 2565501"/>
              <a:gd name="connsiteX14" fmla="*/ 614320 w 1847808"/>
              <a:gd name="connsiteY14" fmla="*/ 1076326 h 2565501"/>
              <a:gd name="connsiteX15" fmla="*/ 647658 w 1847808"/>
              <a:gd name="connsiteY15" fmla="*/ 1000125 h 2565501"/>
              <a:gd name="connsiteX16" fmla="*/ 697663 w 1847808"/>
              <a:gd name="connsiteY16" fmla="*/ 1062037 h 2565501"/>
              <a:gd name="connsiteX17" fmla="*/ 759576 w 1847808"/>
              <a:gd name="connsiteY17" fmla="*/ 1300163 h 2565501"/>
              <a:gd name="connsiteX18" fmla="*/ 809583 w 1847808"/>
              <a:gd name="connsiteY18" fmla="*/ 1497806 h 2565501"/>
              <a:gd name="connsiteX19" fmla="*/ 902451 w 1847808"/>
              <a:gd name="connsiteY19" fmla="*/ 1750219 h 2565501"/>
              <a:gd name="connsiteX20" fmla="*/ 1038183 w 1847808"/>
              <a:gd name="connsiteY20" fmla="*/ 1781175 h 2565501"/>
              <a:gd name="connsiteX21" fmla="*/ 1131052 w 1847808"/>
              <a:gd name="connsiteY21" fmla="*/ 1650207 h 2565501"/>
              <a:gd name="connsiteX22" fmla="*/ 1190583 w 1847808"/>
              <a:gd name="connsiteY22" fmla="*/ 1290638 h 2565501"/>
              <a:gd name="connsiteX23" fmla="*/ 1219158 w 1847808"/>
              <a:gd name="connsiteY23" fmla="*/ 633413 h 2565501"/>
              <a:gd name="connsiteX24" fmla="*/ 1235826 w 1847808"/>
              <a:gd name="connsiteY24" fmla="*/ 290513 h 2565501"/>
              <a:gd name="connsiteX25" fmla="*/ 1290595 w 1847808"/>
              <a:gd name="connsiteY25" fmla="*/ 200025 h 2565501"/>
              <a:gd name="connsiteX26" fmla="*/ 1352508 w 1847808"/>
              <a:gd name="connsiteY26" fmla="*/ 283370 h 2565501"/>
              <a:gd name="connsiteX27" fmla="*/ 1388227 w 1847808"/>
              <a:gd name="connsiteY27" fmla="*/ 519113 h 2565501"/>
              <a:gd name="connsiteX28" fmla="*/ 1435852 w 1847808"/>
              <a:gd name="connsiteY28" fmla="*/ 742950 h 2565501"/>
              <a:gd name="connsiteX29" fmla="*/ 1533483 w 1847808"/>
              <a:gd name="connsiteY29" fmla="*/ 804863 h 2565501"/>
              <a:gd name="connsiteX30" fmla="*/ 1628733 w 1847808"/>
              <a:gd name="connsiteY30" fmla="*/ 738188 h 2565501"/>
              <a:gd name="connsiteX31" fmla="*/ 1678739 w 1847808"/>
              <a:gd name="connsiteY31" fmla="*/ 440532 h 2565501"/>
              <a:gd name="connsiteX32" fmla="*/ 1733508 w 1847808"/>
              <a:gd name="connsiteY32" fmla="*/ 207170 h 2565501"/>
              <a:gd name="connsiteX33" fmla="*/ 1847808 w 1847808"/>
              <a:gd name="connsiteY33" fmla="*/ 0 h 2565501"/>
              <a:gd name="connsiteX0" fmla="*/ 0 w 1896172"/>
              <a:gd name="connsiteY0" fmla="*/ 2518347 h 2565501"/>
              <a:gd name="connsiteX1" fmla="*/ 79279 w 1896172"/>
              <a:gd name="connsiteY1" fmla="*/ 2270015 h 2565501"/>
              <a:gd name="connsiteX2" fmla="*/ 110234 w 1896172"/>
              <a:gd name="connsiteY2" fmla="*/ 2052638 h 2565501"/>
              <a:gd name="connsiteX3" fmla="*/ 129285 w 1896172"/>
              <a:gd name="connsiteY3" fmla="*/ 1976438 h 2565501"/>
              <a:gd name="connsiteX4" fmla="*/ 179291 w 1896172"/>
              <a:gd name="connsiteY4" fmla="*/ 1969294 h 2565501"/>
              <a:gd name="connsiteX5" fmla="*/ 205484 w 1896172"/>
              <a:gd name="connsiteY5" fmla="*/ 2024063 h 2565501"/>
              <a:gd name="connsiteX6" fmla="*/ 236440 w 1896172"/>
              <a:gd name="connsiteY6" fmla="*/ 2150270 h 2565501"/>
              <a:gd name="connsiteX7" fmla="*/ 281684 w 1896172"/>
              <a:gd name="connsiteY7" fmla="*/ 2347913 h 2565501"/>
              <a:gd name="connsiteX8" fmla="*/ 357885 w 1896172"/>
              <a:gd name="connsiteY8" fmla="*/ 2526506 h 2565501"/>
              <a:gd name="connsiteX9" fmla="*/ 484091 w 1896172"/>
              <a:gd name="connsiteY9" fmla="*/ 2559844 h 2565501"/>
              <a:gd name="connsiteX10" fmla="*/ 579339 w 1896172"/>
              <a:gd name="connsiteY10" fmla="*/ 2443162 h 2565501"/>
              <a:gd name="connsiteX11" fmla="*/ 610297 w 1896172"/>
              <a:gd name="connsiteY11" fmla="*/ 2190750 h 2565501"/>
              <a:gd name="connsiteX12" fmla="*/ 624584 w 1896172"/>
              <a:gd name="connsiteY12" fmla="*/ 1628775 h 2565501"/>
              <a:gd name="connsiteX13" fmla="*/ 643634 w 1896172"/>
              <a:gd name="connsiteY13" fmla="*/ 1288257 h 2565501"/>
              <a:gd name="connsiteX14" fmla="*/ 662684 w 1896172"/>
              <a:gd name="connsiteY14" fmla="*/ 1076326 h 2565501"/>
              <a:gd name="connsiteX15" fmla="*/ 696022 w 1896172"/>
              <a:gd name="connsiteY15" fmla="*/ 1000125 h 2565501"/>
              <a:gd name="connsiteX16" fmla="*/ 746027 w 1896172"/>
              <a:gd name="connsiteY16" fmla="*/ 1062037 h 2565501"/>
              <a:gd name="connsiteX17" fmla="*/ 807940 w 1896172"/>
              <a:gd name="connsiteY17" fmla="*/ 1300163 h 2565501"/>
              <a:gd name="connsiteX18" fmla="*/ 857947 w 1896172"/>
              <a:gd name="connsiteY18" fmla="*/ 1497806 h 2565501"/>
              <a:gd name="connsiteX19" fmla="*/ 950815 w 1896172"/>
              <a:gd name="connsiteY19" fmla="*/ 1750219 h 2565501"/>
              <a:gd name="connsiteX20" fmla="*/ 1086547 w 1896172"/>
              <a:gd name="connsiteY20" fmla="*/ 1781175 h 2565501"/>
              <a:gd name="connsiteX21" fmla="*/ 1179416 w 1896172"/>
              <a:gd name="connsiteY21" fmla="*/ 1650207 h 2565501"/>
              <a:gd name="connsiteX22" fmla="*/ 1238947 w 1896172"/>
              <a:gd name="connsiteY22" fmla="*/ 1290638 h 2565501"/>
              <a:gd name="connsiteX23" fmla="*/ 1267522 w 1896172"/>
              <a:gd name="connsiteY23" fmla="*/ 633413 h 2565501"/>
              <a:gd name="connsiteX24" fmla="*/ 1284190 w 1896172"/>
              <a:gd name="connsiteY24" fmla="*/ 290513 h 2565501"/>
              <a:gd name="connsiteX25" fmla="*/ 1338959 w 1896172"/>
              <a:gd name="connsiteY25" fmla="*/ 200025 h 2565501"/>
              <a:gd name="connsiteX26" fmla="*/ 1400872 w 1896172"/>
              <a:gd name="connsiteY26" fmla="*/ 283370 h 2565501"/>
              <a:gd name="connsiteX27" fmla="*/ 1436591 w 1896172"/>
              <a:gd name="connsiteY27" fmla="*/ 519113 h 2565501"/>
              <a:gd name="connsiteX28" fmla="*/ 1484216 w 1896172"/>
              <a:gd name="connsiteY28" fmla="*/ 742950 h 2565501"/>
              <a:gd name="connsiteX29" fmla="*/ 1581847 w 1896172"/>
              <a:gd name="connsiteY29" fmla="*/ 804863 h 2565501"/>
              <a:gd name="connsiteX30" fmla="*/ 1677097 w 1896172"/>
              <a:gd name="connsiteY30" fmla="*/ 738188 h 2565501"/>
              <a:gd name="connsiteX31" fmla="*/ 1727103 w 1896172"/>
              <a:gd name="connsiteY31" fmla="*/ 440532 h 2565501"/>
              <a:gd name="connsiteX32" fmla="*/ 1781872 w 1896172"/>
              <a:gd name="connsiteY32" fmla="*/ 207170 h 2565501"/>
              <a:gd name="connsiteX33" fmla="*/ 1896172 w 1896172"/>
              <a:gd name="connsiteY33" fmla="*/ 0 h 2565501"/>
              <a:gd name="connsiteX0" fmla="*/ 0 w 1896172"/>
              <a:gd name="connsiteY0" fmla="*/ 2518347 h 2565501"/>
              <a:gd name="connsiteX1" fmla="*/ 79279 w 1896172"/>
              <a:gd name="connsiteY1" fmla="*/ 2270015 h 2565501"/>
              <a:gd name="connsiteX2" fmla="*/ 110234 w 1896172"/>
              <a:gd name="connsiteY2" fmla="*/ 2052638 h 2565501"/>
              <a:gd name="connsiteX3" fmla="*/ 129285 w 1896172"/>
              <a:gd name="connsiteY3" fmla="*/ 1976438 h 2565501"/>
              <a:gd name="connsiteX4" fmla="*/ 179291 w 1896172"/>
              <a:gd name="connsiteY4" fmla="*/ 1969294 h 2565501"/>
              <a:gd name="connsiteX5" fmla="*/ 205484 w 1896172"/>
              <a:gd name="connsiteY5" fmla="*/ 2024063 h 2565501"/>
              <a:gd name="connsiteX6" fmla="*/ 236440 w 1896172"/>
              <a:gd name="connsiteY6" fmla="*/ 2150270 h 2565501"/>
              <a:gd name="connsiteX7" fmla="*/ 281684 w 1896172"/>
              <a:gd name="connsiteY7" fmla="*/ 2347913 h 2565501"/>
              <a:gd name="connsiteX8" fmla="*/ 357885 w 1896172"/>
              <a:gd name="connsiteY8" fmla="*/ 2526506 h 2565501"/>
              <a:gd name="connsiteX9" fmla="*/ 484091 w 1896172"/>
              <a:gd name="connsiteY9" fmla="*/ 2559844 h 2565501"/>
              <a:gd name="connsiteX10" fmla="*/ 579339 w 1896172"/>
              <a:gd name="connsiteY10" fmla="*/ 2443162 h 2565501"/>
              <a:gd name="connsiteX11" fmla="*/ 610297 w 1896172"/>
              <a:gd name="connsiteY11" fmla="*/ 2190750 h 2565501"/>
              <a:gd name="connsiteX12" fmla="*/ 624584 w 1896172"/>
              <a:gd name="connsiteY12" fmla="*/ 1628775 h 2565501"/>
              <a:gd name="connsiteX13" fmla="*/ 643634 w 1896172"/>
              <a:gd name="connsiteY13" fmla="*/ 1288257 h 2565501"/>
              <a:gd name="connsiteX14" fmla="*/ 662684 w 1896172"/>
              <a:gd name="connsiteY14" fmla="*/ 1076326 h 2565501"/>
              <a:gd name="connsiteX15" fmla="*/ 696022 w 1896172"/>
              <a:gd name="connsiteY15" fmla="*/ 1000125 h 2565501"/>
              <a:gd name="connsiteX16" fmla="*/ 746027 w 1896172"/>
              <a:gd name="connsiteY16" fmla="*/ 1062037 h 2565501"/>
              <a:gd name="connsiteX17" fmla="*/ 807940 w 1896172"/>
              <a:gd name="connsiteY17" fmla="*/ 1300163 h 2565501"/>
              <a:gd name="connsiteX18" fmla="*/ 857947 w 1896172"/>
              <a:gd name="connsiteY18" fmla="*/ 1497806 h 2565501"/>
              <a:gd name="connsiteX19" fmla="*/ 950815 w 1896172"/>
              <a:gd name="connsiteY19" fmla="*/ 1750219 h 2565501"/>
              <a:gd name="connsiteX20" fmla="*/ 1086547 w 1896172"/>
              <a:gd name="connsiteY20" fmla="*/ 1781175 h 2565501"/>
              <a:gd name="connsiteX21" fmla="*/ 1179416 w 1896172"/>
              <a:gd name="connsiteY21" fmla="*/ 1650207 h 2565501"/>
              <a:gd name="connsiteX22" fmla="*/ 1238947 w 1896172"/>
              <a:gd name="connsiteY22" fmla="*/ 1290638 h 2565501"/>
              <a:gd name="connsiteX23" fmla="*/ 1267522 w 1896172"/>
              <a:gd name="connsiteY23" fmla="*/ 633413 h 2565501"/>
              <a:gd name="connsiteX24" fmla="*/ 1284190 w 1896172"/>
              <a:gd name="connsiteY24" fmla="*/ 290513 h 2565501"/>
              <a:gd name="connsiteX25" fmla="*/ 1338959 w 1896172"/>
              <a:gd name="connsiteY25" fmla="*/ 200025 h 2565501"/>
              <a:gd name="connsiteX26" fmla="*/ 1400872 w 1896172"/>
              <a:gd name="connsiteY26" fmla="*/ 283370 h 2565501"/>
              <a:gd name="connsiteX27" fmla="*/ 1436591 w 1896172"/>
              <a:gd name="connsiteY27" fmla="*/ 519113 h 2565501"/>
              <a:gd name="connsiteX28" fmla="*/ 1484216 w 1896172"/>
              <a:gd name="connsiteY28" fmla="*/ 742950 h 2565501"/>
              <a:gd name="connsiteX29" fmla="*/ 1581847 w 1896172"/>
              <a:gd name="connsiteY29" fmla="*/ 804863 h 2565501"/>
              <a:gd name="connsiteX30" fmla="*/ 1677097 w 1896172"/>
              <a:gd name="connsiteY30" fmla="*/ 738188 h 2565501"/>
              <a:gd name="connsiteX31" fmla="*/ 1727103 w 1896172"/>
              <a:gd name="connsiteY31" fmla="*/ 440532 h 2565501"/>
              <a:gd name="connsiteX32" fmla="*/ 1781872 w 1896172"/>
              <a:gd name="connsiteY32" fmla="*/ 207170 h 2565501"/>
              <a:gd name="connsiteX33" fmla="*/ 1896172 w 1896172"/>
              <a:gd name="connsiteY33" fmla="*/ 0 h 2565501"/>
              <a:gd name="connsiteX0" fmla="*/ 0 w 1901546"/>
              <a:gd name="connsiteY0" fmla="*/ 2515620 h 2565501"/>
              <a:gd name="connsiteX1" fmla="*/ 84653 w 1901546"/>
              <a:gd name="connsiteY1" fmla="*/ 2270015 h 2565501"/>
              <a:gd name="connsiteX2" fmla="*/ 115608 w 1901546"/>
              <a:gd name="connsiteY2" fmla="*/ 2052638 h 2565501"/>
              <a:gd name="connsiteX3" fmla="*/ 134659 w 1901546"/>
              <a:gd name="connsiteY3" fmla="*/ 1976438 h 2565501"/>
              <a:gd name="connsiteX4" fmla="*/ 184665 w 1901546"/>
              <a:gd name="connsiteY4" fmla="*/ 1969294 h 2565501"/>
              <a:gd name="connsiteX5" fmla="*/ 210858 w 1901546"/>
              <a:gd name="connsiteY5" fmla="*/ 2024063 h 2565501"/>
              <a:gd name="connsiteX6" fmla="*/ 241814 w 1901546"/>
              <a:gd name="connsiteY6" fmla="*/ 2150270 h 2565501"/>
              <a:gd name="connsiteX7" fmla="*/ 287058 w 1901546"/>
              <a:gd name="connsiteY7" fmla="*/ 2347913 h 2565501"/>
              <a:gd name="connsiteX8" fmla="*/ 363259 w 1901546"/>
              <a:gd name="connsiteY8" fmla="*/ 2526506 h 2565501"/>
              <a:gd name="connsiteX9" fmla="*/ 489465 w 1901546"/>
              <a:gd name="connsiteY9" fmla="*/ 2559844 h 2565501"/>
              <a:gd name="connsiteX10" fmla="*/ 584713 w 1901546"/>
              <a:gd name="connsiteY10" fmla="*/ 2443162 h 2565501"/>
              <a:gd name="connsiteX11" fmla="*/ 615671 w 1901546"/>
              <a:gd name="connsiteY11" fmla="*/ 2190750 h 2565501"/>
              <a:gd name="connsiteX12" fmla="*/ 629958 w 1901546"/>
              <a:gd name="connsiteY12" fmla="*/ 1628775 h 2565501"/>
              <a:gd name="connsiteX13" fmla="*/ 649008 w 1901546"/>
              <a:gd name="connsiteY13" fmla="*/ 1288257 h 2565501"/>
              <a:gd name="connsiteX14" fmla="*/ 668058 w 1901546"/>
              <a:gd name="connsiteY14" fmla="*/ 1076326 h 2565501"/>
              <a:gd name="connsiteX15" fmla="*/ 701396 w 1901546"/>
              <a:gd name="connsiteY15" fmla="*/ 1000125 h 2565501"/>
              <a:gd name="connsiteX16" fmla="*/ 751401 w 1901546"/>
              <a:gd name="connsiteY16" fmla="*/ 1062037 h 2565501"/>
              <a:gd name="connsiteX17" fmla="*/ 813314 w 1901546"/>
              <a:gd name="connsiteY17" fmla="*/ 1300163 h 2565501"/>
              <a:gd name="connsiteX18" fmla="*/ 863321 w 1901546"/>
              <a:gd name="connsiteY18" fmla="*/ 1497806 h 2565501"/>
              <a:gd name="connsiteX19" fmla="*/ 956189 w 1901546"/>
              <a:gd name="connsiteY19" fmla="*/ 1750219 h 2565501"/>
              <a:gd name="connsiteX20" fmla="*/ 1091921 w 1901546"/>
              <a:gd name="connsiteY20" fmla="*/ 1781175 h 2565501"/>
              <a:gd name="connsiteX21" fmla="*/ 1184790 w 1901546"/>
              <a:gd name="connsiteY21" fmla="*/ 1650207 h 2565501"/>
              <a:gd name="connsiteX22" fmla="*/ 1244321 w 1901546"/>
              <a:gd name="connsiteY22" fmla="*/ 1290638 h 2565501"/>
              <a:gd name="connsiteX23" fmla="*/ 1272896 w 1901546"/>
              <a:gd name="connsiteY23" fmla="*/ 633413 h 2565501"/>
              <a:gd name="connsiteX24" fmla="*/ 1289564 w 1901546"/>
              <a:gd name="connsiteY24" fmla="*/ 290513 h 2565501"/>
              <a:gd name="connsiteX25" fmla="*/ 1344333 w 1901546"/>
              <a:gd name="connsiteY25" fmla="*/ 200025 h 2565501"/>
              <a:gd name="connsiteX26" fmla="*/ 1406246 w 1901546"/>
              <a:gd name="connsiteY26" fmla="*/ 283370 h 2565501"/>
              <a:gd name="connsiteX27" fmla="*/ 1441965 w 1901546"/>
              <a:gd name="connsiteY27" fmla="*/ 519113 h 2565501"/>
              <a:gd name="connsiteX28" fmla="*/ 1489590 w 1901546"/>
              <a:gd name="connsiteY28" fmla="*/ 742950 h 2565501"/>
              <a:gd name="connsiteX29" fmla="*/ 1587221 w 1901546"/>
              <a:gd name="connsiteY29" fmla="*/ 804863 h 2565501"/>
              <a:gd name="connsiteX30" fmla="*/ 1682471 w 1901546"/>
              <a:gd name="connsiteY30" fmla="*/ 738188 h 2565501"/>
              <a:gd name="connsiteX31" fmla="*/ 1732477 w 1901546"/>
              <a:gd name="connsiteY31" fmla="*/ 440532 h 2565501"/>
              <a:gd name="connsiteX32" fmla="*/ 1787246 w 1901546"/>
              <a:gd name="connsiteY32" fmla="*/ 207170 h 2565501"/>
              <a:gd name="connsiteX33" fmla="*/ 1901546 w 1901546"/>
              <a:gd name="connsiteY33" fmla="*/ 0 h 2565501"/>
              <a:gd name="connsiteX0" fmla="*/ 0 w 1901546"/>
              <a:gd name="connsiteY0" fmla="*/ 2515620 h 2565501"/>
              <a:gd name="connsiteX1" fmla="*/ 84653 w 1901546"/>
              <a:gd name="connsiteY1" fmla="*/ 2270015 h 2565501"/>
              <a:gd name="connsiteX2" fmla="*/ 115608 w 1901546"/>
              <a:gd name="connsiteY2" fmla="*/ 2052638 h 2565501"/>
              <a:gd name="connsiteX3" fmla="*/ 134659 w 1901546"/>
              <a:gd name="connsiteY3" fmla="*/ 1976438 h 2565501"/>
              <a:gd name="connsiteX4" fmla="*/ 184665 w 1901546"/>
              <a:gd name="connsiteY4" fmla="*/ 1969294 h 2565501"/>
              <a:gd name="connsiteX5" fmla="*/ 210858 w 1901546"/>
              <a:gd name="connsiteY5" fmla="*/ 2024063 h 2565501"/>
              <a:gd name="connsiteX6" fmla="*/ 241814 w 1901546"/>
              <a:gd name="connsiteY6" fmla="*/ 2150270 h 2565501"/>
              <a:gd name="connsiteX7" fmla="*/ 287058 w 1901546"/>
              <a:gd name="connsiteY7" fmla="*/ 2347913 h 2565501"/>
              <a:gd name="connsiteX8" fmla="*/ 363259 w 1901546"/>
              <a:gd name="connsiteY8" fmla="*/ 2526506 h 2565501"/>
              <a:gd name="connsiteX9" fmla="*/ 489465 w 1901546"/>
              <a:gd name="connsiteY9" fmla="*/ 2559844 h 2565501"/>
              <a:gd name="connsiteX10" fmla="*/ 584713 w 1901546"/>
              <a:gd name="connsiteY10" fmla="*/ 2443162 h 2565501"/>
              <a:gd name="connsiteX11" fmla="*/ 615671 w 1901546"/>
              <a:gd name="connsiteY11" fmla="*/ 2190750 h 2565501"/>
              <a:gd name="connsiteX12" fmla="*/ 629958 w 1901546"/>
              <a:gd name="connsiteY12" fmla="*/ 1628775 h 2565501"/>
              <a:gd name="connsiteX13" fmla="*/ 649008 w 1901546"/>
              <a:gd name="connsiteY13" fmla="*/ 1288257 h 2565501"/>
              <a:gd name="connsiteX14" fmla="*/ 668058 w 1901546"/>
              <a:gd name="connsiteY14" fmla="*/ 1076326 h 2565501"/>
              <a:gd name="connsiteX15" fmla="*/ 701396 w 1901546"/>
              <a:gd name="connsiteY15" fmla="*/ 1000125 h 2565501"/>
              <a:gd name="connsiteX16" fmla="*/ 751401 w 1901546"/>
              <a:gd name="connsiteY16" fmla="*/ 1062037 h 2565501"/>
              <a:gd name="connsiteX17" fmla="*/ 813314 w 1901546"/>
              <a:gd name="connsiteY17" fmla="*/ 1300163 h 2565501"/>
              <a:gd name="connsiteX18" fmla="*/ 863321 w 1901546"/>
              <a:gd name="connsiteY18" fmla="*/ 1497806 h 2565501"/>
              <a:gd name="connsiteX19" fmla="*/ 956189 w 1901546"/>
              <a:gd name="connsiteY19" fmla="*/ 1750219 h 2565501"/>
              <a:gd name="connsiteX20" fmla="*/ 1091921 w 1901546"/>
              <a:gd name="connsiteY20" fmla="*/ 1781175 h 2565501"/>
              <a:gd name="connsiteX21" fmla="*/ 1184790 w 1901546"/>
              <a:gd name="connsiteY21" fmla="*/ 1650207 h 2565501"/>
              <a:gd name="connsiteX22" fmla="*/ 1244321 w 1901546"/>
              <a:gd name="connsiteY22" fmla="*/ 1290638 h 2565501"/>
              <a:gd name="connsiteX23" fmla="*/ 1272896 w 1901546"/>
              <a:gd name="connsiteY23" fmla="*/ 633413 h 2565501"/>
              <a:gd name="connsiteX24" fmla="*/ 1289564 w 1901546"/>
              <a:gd name="connsiteY24" fmla="*/ 290513 h 2565501"/>
              <a:gd name="connsiteX25" fmla="*/ 1344333 w 1901546"/>
              <a:gd name="connsiteY25" fmla="*/ 200025 h 2565501"/>
              <a:gd name="connsiteX26" fmla="*/ 1406246 w 1901546"/>
              <a:gd name="connsiteY26" fmla="*/ 283370 h 2565501"/>
              <a:gd name="connsiteX27" fmla="*/ 1441965 w 1901546"/>
              <a:gd name="connsiteY27" fmla="*/ 519113 h 2565501"/>
              <a:gd name="connsiteX28" fmla="*/ 1489590 w 1901546"/>
              <a:gd name="connsiteY28" fmla="*/ 742950 h 2565501"/>
              <a:gd name="connsiteX29" fmla="*/ 1587221 w 1901546"/>
              <a:gd name="connsiteY29" fmla="*/ 804863 h 2565501"/>
              <a:gd name="connsiteX30" fmla="*/ 1682471 w 1901546"/>
              <a:gd name="connsiteY30" fmla="*/ 738188 h 2565501"/>
              <a:gd name="connsiteX31" fmla="*/ 1732477 w 1901546"/>
              <a:gd name="connsiteY31" fmla="*/ 440532 h 2565501"/>
              <a:gd name="connsiteX32" fmla="*/ 1787246 w 1901546"/>
              <a:gd name="connsiteY32" fmla="*/ 207170 h 2565501"/>
              <a:gd name="connsiteX33" fmla="*/ 1901546 w 1901546"/>
              <a:gd name="connsiteY33" fmla="*/ 0 h 2565501"/>
              <a:gd name="connsiteX0" fmla="*/ 0 w 1995589"/>
              <a:gd name="connsiteY0" fmla="*/ 2531987 h 2565501"/>
              <a:gd name="connsiteX1" fmla="*/ 178696 w 1995589"/>
              <a:gd name="connsiteY1" fmla="*/ 2270015 h 2565501"/>
              <a:gd name="connsiteX2" fmla="*/ 209651 w 1995589"/>
              <a:gd name="connsiteY2" fmla="*/ 2052638 h 2565501"/>
              <a:gd name="connsiteX3" fmla="*/ 228702 w 1995589"/>
              <a:gd name="connsiteY3" fmla="*/ 1976438 h 2565501"/>
              <a:gd name="connsiteX4" fmla="*/ 278708 w 1995589"/>
              <a:gd name="connsiteY4" fmla="*/ 1969294 h 2565501"/>
              <a:gd name="connsiteX5" fmla="*/ 304901 w 1995589"/>
              <a:gd name="connsiteY5" fmla="*/ 2024063 h 2565501"/>
              <a:gd name="connsiteX6" fmla="*/ 335857 w 1995589"/>
              <a:gd name="connsiteY6" fmla="*/ 2150270 h 2565501"/>
              <a:gd name="connsiteX7" fmla="*/ 381101 w 1995589"/>
              <a:gd name="connsiteY7" fmla="*/ 2347913 h 2565501"/>
              <a:gd name="connsiteX8" fmla="*/ 457302 w 1995589"/>
              <a:gd name="connsiteY8" fmla="*/ 2526506 h 2565501"/>
              <a:gd name="connsiteX9" fmla="*/ 583508 w 1995589"/>
              <a:gd name="connsiteY9" fmla="*/ 2559844 h 2565501"/>
              <a:gd name="connsiteX10" fmla="*/ 678756 w 1995589"/>
              <a:gd name="connsiteY10" fmla="*/ 2443162 h 2565501"/>
              <a:gd name="connsiteX11" fmla="*/ 709714 w 1995589"/>
              <a:gd name="connsiteY11" fmla="*/ 2190750 h 2565501"/>
              <a:gd name="connsiteX12" fmla="*/ 724001 w 1995589"/>
              <a:gd name="connsiteY12" fmla="*/ 1628775 h 2565501"/>
              <a:gd name="connsiteX13" fmla="*/ 743051 w 1995589"/>
              <a:gd name="connsiteY13" fmla="*/ 1288257 h 2565501"/>
              <a:gd name="connsiteX14" fmla="*/ 762101 w 1995589"/>
              <a:gd name="connsiteY14" fmla="*/ 1076326 h 2565501"/>
              <a:gd name="connsiteX15" fmla="*/ 795439 w 1995589"/>
              <a:gd name="connsiteY15" fmla="*/ 1000125 h 2565501"/>
              <a:gd name="connsiteX16" fmla="*/ 845444 w 1995589"/>
              <a:gd name="connsiteY16" fmla="*/ 1062037 h 2565501"/>
              <a:gd name="connsiteX17" fmla="*/ 907357 w 1995589"/>
              <a:gd name="connsiteY17" fmla="*/ 1300163 h 2565501"/>
              <a:gd name="connsiteX18" fmla="*/ 957364 w 1995589"/>
              <a:gd name="connsiteY18" fmla="*/ 1497806 h 2565501"/>
              <a:gd name="connsiteX19" fmla="*/ 1050232 w 1995589"/>
              <a:gd name="connsiteY19" fmla="*/ 1750219 h 2565501"/>
              <a:gd name="connsiteX20" fmla="*/ 1185964 w 1995589"/>
              <a:gd name="connsiteY20" fmla="*/ 1781175 h 2565501"/>
              <a:gd name="connsiteX21" fmla="*/ 1278833 w 1995589"/>
              <a:gd name="connsiteY21" fmla="*/ 1650207 h 2565501"/>
              <a:gd name="connsiteX22" fmla="*/ 1338364 w 1995589"/>
              <a:gd name="connsiteY22" fmla="*/ 1290638 h 2565501"/>
              <a:gd name="connsiteX23" fmla="*/ 1366939 w 1995589"/>
              <a:gd name="connsiteY23" fmla="*/ 633413 h 2565501"/>
              <a:gd name="connsiteX24" fmla="*/ 1383607 w 1995589"/>
              <a:gd name="connsiteY24" fmla="*/ 290513 h 2565501"/>
              <a:gd name="connsiteX25" fmla="*/ 1438376 w 1995589"/>
              <a:gd name="connsiteY25" fmla="*/ 200025 h 2565501"/>
              <a:gd name="connsiteX26" fmla="*/ 1500289 w 1995589"/>
              <a:gd name="connsiteY26" fmla="*/ 283370 h 2565501"/>
              <a:gd name="connsiteX27" fmla="*/ 1536008 w 1995589"/>
              <a:gd name="connsiteY27" fmla="*/ 519113 h 2565501"/>
              <a:gd name="connsiteX28" fmla="*/ 1583633 w 1995589"/>
              <a:gd name="connsiteY28" fmla="*/ 742950 h 2565501"/>
              <a:gd name="connsiteX29" fmla="*/ 1681264 w 1995589"/>
              <a:gd name="connsiteY29" fmla="*/ 804863 h 2565501"/>
              <a:gd name="connsiteX30" fmla="*/ 1776514 w 1995589"/>
              <a:gd name="connsiteY30" fmla="*/ 738188 h 2565501"/>
              <a:gd name="connsiteX31" fmla="*/ 1826520 w 1995589"/>
              <a:gd name="connsiteY31" fmla="*/ 440532 h 2565501"/>
              <a:gd name="connsiteX32" fmla="*/ 1881289 w 1995589"/>
              <a:gd name="connsiteY32" fmla="*/ 207170 h 2565501"/>
              <a:gd name="connsiteX33" fmla="*/ 1995589 w 1995589"/>
              <a:gd name="connsiteY33" fmla="*/ 0 h 2565501"/>
              <a:gd name="connsiteX0" fmla="*/ 0 w 1995589"/>
              <a:gd name="connsiteY0" fmla="*/ 2531987 h 2565501"/>
              <a:gd name="connsiteX1" fmla="*/ 178696 w 1995589"/>
              <a:gd name="connsiteY1" fmla="*/ 2270015 h 2565501"/>
              <a:gd name="connsiteX2" fmla="*/ 209651 w 1995589"/>
              <a:gd name="connsiteY2" fmla="*/ 2052638 h 2565501"/>
              <a:gd name="connsiteX3" fmla="*/ 228702 w 1995589"/>
              <a:gd name="connsiteY3" fmla="*/ 1976438 h 2565501"/>
              <a:gd name="connsiteX4" fmla="*/ 278708 w 1995589"/>
              <a:gd name="connsiteY4" fmla="*/ 1969294 h 2565501"/>
              <a:gd name="connsiteX5" fmla="*/ 304901 w 1995589"/>
              <a:gd name="connsiteY5" fmla="*/ 2024063 h 2565501"/>
              <a:gd name="connsiteX6" fmla="*/ 335857 w 1995589"/>
              <a:gd name="connsiteY6" fmla="*/ 2150270 h 2565501"/>
              <a:gd name="connsiteX7" fmla="*/ 381101 w 1995589"/>
              <a:gd name="connsiteY7" fmla="*/ 2347913 h 2565501"/>
              <a:gd name="connsiteX8" fmla="*/ 457302 w 1995589"/>
              <a:gd name="connsiteY8" fmla="*/ 2526506 h 2565501"/>
              <a:gd name="connsiteX9" fmla="*/ 583508 w 1995589"/>
              <a:gd name="connsiteY9" fmla="*/ 2559844 h 2565501"/>
              <a:gd name="connsiteX10" fmla="*/ 678756 w 1995589"/>
              <a:gd name="connsiteY10" fmla="*/ 2443162 h 2565501"/>
              <a:gd name="connsiteX11" fmla="*/ 709714 w 1995589"/>
              <a:gd name="connsiteY11" fmla="*/ 2190750 h 2565501"/>
              <a:gd name="connsiteX12" fmla="*/ 724001 w 1995589"/>
              <a:gd name="connsiteY12" fmla="*/ 1628775 h 2565501"/>
              <a:gd name="connsiteX13" fmla="*/ 743051 w 1995589"/>
              <a:gd name="connsiteY13" fmla="*/ 1288257 h 2565501"/>
              <a:gd name="connsiteX14" fmla="*/ 762101 w 1995589"/>
              <a:gd name="connsiteY14" fmla="*/ 1076326 h 2565501"/>
              <a:gd name="connsiteX15" fmla="*/ 795439 w 1995589"/>
              <a:gd name="connsiteY15" fmla="*/ 1000125 h 2565501"/>
              <a:gd name="connsiteX16" fmla="*/ 845444 w 1995589"/>
              <a:gd name="connsiteY16" fmla="*/ 1062037 h 2565501"/>
              <a:gd name="connsiteX17" fmla="*/ 907357 w 1995589"/>
              <a:gd name="connsiteY17" fmla="*/ 1300163 h 2565501"/>
              <a:gd name="connsiteX18" fmla="*/ 957364 w 1995589"/>
              <a:gd name="connsiteY18" fmla="*/ 1497806 h 2565501"/>
              <a:gd name="connsiteX19" fmla="*/ 1050232 w 1995589"/>
              <a:gd name="connsiteY19" fmla="*/ 1750219 h 2565501"/>
              <a:gd name="connsiteX20" fmla="*/ 1185964 w 1995589"/>
              <a:gd name="connsiteY20" fmla="*/ 1781175 h 2565501"/>
              <a:gd name="connsiteX21" fmla="*/ 1278833 w 1995589"/>
              <a:gd name="connsiteY21" fmla="*/ 1650207 h 2565501"/>
              <a:gd name="connsiteX22" fmla="*/ 1338364 w 1995589"/>
              <a:gd name="connsiteY22" fmla="*/ 1290638 h 2565501"/>
              <a:gd name="connsiteX23" fmla="*/ 1366939 w 1995589"/>
              <a:gd name="connsiteY23" fmla="*/ 633413 h 2565501"/>
              <a:gd name="connsiteX24" fmla="*/ 1383607 w 1995589"/>
              <a:gd name="connsiteY24" fmla="*/ 290513 h 2565501"/>
              <a:gd name="connsiteX25" fmla="*/ 1438376 w 1995589"/>
              <a:gd name="connsiteY25" fmla="*/ 200025 h 2565501"/>
              <a:gd name="connsiteX26" fmla="*/ 1500289 w 1995589"/>
              <a:gd name="connsiteY26" fmla="*/ 283370 h 2565501"/>
              <a:gd name="connsiteX27" fmla="*/ 1536008 w 1995589"/>
              <a:gd name="connsiteY27" fmla="*/ 519113 h 2565501"/>
              <a:gd name="connsiteX28" fmla="*/ 1583633 w 1995589"/>
              <a:gd name="connsiteY28" fmla="*/ 742950 h 2565501"/>
              <a:gd name="connsiteX29" fmla="*/ 1681264 w 1995589"/>
              <a:gd name="connsiteY29" fmla="*/ 804863 h 2565501"/>
              <a:gd name="connsiteX30" fmla="*/ 1776514 w 1995589"/>
              <a:gd name="connsiteY30" fmla="*/ 738188 h 2565501"/>
              <a:gd name="connsiteX31" fmla="*/ 1826520 w 1995589"/>
              <a:gd name="connsiteY31" fmla="*/ 440532 h 2565501"/>
              <a:gd name="connsiteX32" fmla="*/ 1881289 w 1995589"/>
              <a:gd name="connsiteY32" fmla="*/ 207170 h 2565501"/>
              <a:gd name="connsiteX33" fmla="*/ 1995589 w 1995589"/>
              <a:gd name="connsiteY33" fmla="*/ 0 h 2565501"/>
              <a:gd name="connsiteX0" fmla="*/ 0 w 1995589"/>
              <a:gd name="connsiteY0" fmla="*/ 2531987 h 2565501"/>
              <a:gd name="connsiteX1" fmla="*/ 167948 w 1995589"/>
              <a:gd name="connsiteY1" fmla="*/ 2289111 h 2565501"/>
              <a:gd name="connsiteX2" fmla="*/ 209651 w 1995589"/>
              <a:gd name="connsiteY2" fmla="*/ 2052638 h 2565501"/>
              <a:gd name="connsiteX3" fmla="*/ 228702 w 1995589"/>
              <a:gd name="connsiteY3" fmla="*/ 1976438 h 2565501"/>
              <a:gd name="connsiteX4" fmla="*/ 278708 w 1995589"/>
              <a:gd name="connsiteY4" fmla="*/ 1969294 h 2565501"/>
              <a:gd name="connsiteX5" fmla="*/ 304901 w 1995589"/>
              <a:gd name="connsiteY5" fmla="*/ 2024063 h 2565501"/>
              <a:gd name="connsiteX6" fmla="*/ 335857 w 1995589"/>
              <a:gd name="connsiteY6" fmla="*/ 2150270 h 2565501"/>
              <a:gd name="connsiteX7" fmla="*/ 381101 w 1995589"/>
              <a:gd name="connsiteY7" fmla="*/ 2347913 h 2565501"/>
              <a:gd name="connsiteX8" fmla="*/ 457302 w 1995589"/>
              <a:gd name="connsiteY8" fmla="*/ 2526506 h 2565501"/>
              <a:gd name="connsiteX9" fmla="*/ 583508 w 1995589"/>
              <a:gd name="connsiteY9" fmla="*/ 2559844 h 2565501"/>
              <a:gd name="connsiteX10" fmla="*/ 678756 w 1995589"/>
              <a:gd name="connsiteY10" fmla="*/ 2443162 h 2565501"/>
              <a:gd name="connsiteX11" fmla="*/ 709714 w 1995589"/>
              <a:gd name="connsiteY11" fmla="*/ 2190750 h 2565501"/>
              <a:gd name="connsiteX12" fmla="*/ 724001 w 1995589"/>
              <a:gd name="connsiteY12" fmla="*/ 1628775 h 2565501"/>
              <a:gd name="connsiteX13" fmla="*/ 743051 w 1995589"/>
              <a:gd name="connsiteY13" fmla="*/ 1288257 h 2565501"/>
              <a:gd name="connsiteX14" fmla="*/ 762101 w 1995589"/>
              <a:gd name="connsiteY14" fmla="*/ 1076326 h 2565501"/>
              <a:gd name="connsiteX15" fmla="*/ 795439 w 1995589"/>
              <a:gd name="connsiteY15" fmla="*/ 1000125 h 2565501"/>
              <a:gd name="connsiteX16" fmla="*/ 845444 w 1995589"/>
              <a:gd name="connsiteY16" fmla="*/ 1062037 h 2565501"/>
              <a:gd name="connsiteX17" fmla="*/ 907357 w 1995589"/>
              <a:gd name="connsiteY17" fmla="*/ 1300163 h 2565501"/>
              <a:gd name="connsiteX18" fmla="*/ 957364 w 1995589"/>
              <a:gd name="connsiteY18" fmla="*/ 1497806 h 2565501"/>
              <a:gd name="connsiteX19" fmla="*/ 1050232 w 1995589"/>
              <a:gd name="connsiteY19" fmla="*/ 1750219 h 2565501"/>
              <a:gd name="connsiteX20" fmla="*/ 1185964 w 1995589"/>
              <a:gd name="connsiteY20" fmla="*/ 1781175 h 2565501"/>
              <a:gd name="connsiteX21" fmla="*/ 1278833 w 1995589"/>
              <a:gd name="connsiteY21" fmla="*/ 1650207 h 2565501"/>
              <a:gd name="connsiteX22" fmla="*/ 1338364 w 1995589"/>
              <a:gd name="connsiteY22" fmla="*/ 1290638 h 2565501"/>
              <a:gd name="connsiteX23" fmla="*/ 1366939 w 1995589"/>
              <a:gd name="connsiteY23" fmla="*/ 633413 h 2565501"/>
              <a:gd name="connsiteX24" fmla="*/ 1383607 w 1995589"/>
              <a:gd name="connsiteY24" fmla="*/ 290513 h 2565501"/>
              <a:gd name="connsiteX25" fmla="*/ 1438376 w 1995589"/>
              <a:gd name="connsiteY25" fmla="*/ 200025 h 2565501"/>
              <a:gd name="connsiteX26" fmla="*/ 1500289 w 1995589"/>
              <a:gd name="connsiteY26" fmla="*/ 283370 h 2565501"/>
              <a:gd name="connsiteX27" fmla="*/ 1536008 w 1995589"/>
              <a:gd name="connsiteY27" fmla="*/ 519113 h 2565501"/>
              <a:gd name="connsiteX28" fmla="*/ 1583633 w 1995589"/>
              <a:gd name="connsiteY28" fmla="*/ 742950 h 2565501"/>
              <a:gd name="connsiteX29" fmla="*/ 1681264 w 1995589"/>
              <a:gd name="connsiteY29" fmla="*/ 804863 h 2565501"/>
              <a:gd name="connsiteX30" fmla="*/ 1776514 w 1995589"/>
              <a:gd name="connsiteY30" fmla="*/ 738188 h 2565501"/>
              <a:gd name="connsiteX31" fmla="*/ 1826520 w 1995589"/>
              <a:gd name="connsiteY31" fmla="*/ 440532 h 2565501"/>
              <a:gd name="connsiteX32" fmla="*/ 1881289 w 1995589"/>
              <a:gd name="connsiteY32" fmla="*/ 207170 h 2565501"/>
              <a:gd name="connsiteX33" fmla="*/ 1995589 w 1995589"/>
              <a:gd name="connsiteY33" fmla="*/ 0 h 2565501"/>
              <a:gd name="connsiteX0" fmla="*/ 0 w 1995589"/>
              <a:gd name="connsiteY0" fmla="*/ 2531987 h 2565501"/>
              <a:gd name="connsiteX1" fmla="*/ 157200 w 1995589"/>
              <a:gd name="connsiteY1" fmla="*/ 2316389 h 2565501"/>
              <a:gd name="connsiteX2" fmla="*/ 209651 w 1995589"/>
              <a:gd name="connsiteY2" fmla="*/ 2052638 h 2565501"/>
              <a:gd name="connsiteX3" fmla="*/ 228702 w 1995589"/>
              <a:gd name="connsiteY3" fmla="*/ 1976438 h 2565501"/>
              <a:gd name="connsiteX4" fmla="*/ 278708 w 1995589"/>
              <a:gd name="connsiteY4" fmla="*/ 1969294 h 2565501"/>
              <a:gd name="connsiteX5" fmla="*/ 304901 w 1995589"/>
              <a:gd name="connsiteY5" fmla="*/ 2024063 h 2565501"/>
              <a:gd name="connsiteX6" fmla="*/ 335857 w 1995589"/>
              <a:gd name="connsiteY6" fmla="*/ 2150270 h 2565501"/>
              <a:gd name="connsiteX7" fmla="*/ 381101 w 1995589"/>
              <a:gd name="connsiteY7" fmla="*/ 2347913 h 2565501"/>
              <a:gd name="connsiteX8" fmla="*/ 457302 w 1995589"/>
              <a:gd name="connsiteY8" fmla="*/ 2526506 h 2565501"/>
              <a:gd name="connsiteX9" fmla="*/ 583508 w 1995589"/>
              <a:gd name="connsiteY9" fmla="*/ 2559844 h 2565501"/>
              <a:gd name="connsiteX10" fmla="*/ 678756 w 1995589"/>
              <a:gd name="connsiteY10" fmla="*/ 2443162 h 2565501"/>
              <a:gd name="connsiteX11" fmla="*/ 709714 w 1995589"/>
              <a:gd name="connsiteY11" fmla="*/ 2190750 h 2565501"/>
              <a:gd name="connsiteX12" fmla="*/ 724001 w 1995589"/>
              <a:gd name="connsiteY12" fmla="*/ 1628775 h 2565501"/>
              <a:gd name="connsiteX13" fmla="*/ 743051 w 1995589"/>
              <a:gd name="connsiteY13" fmla="*/ 1288257 h 2565501"/>
              <a:gd name="connsiteX14" fmla="*/ 762101 w 1995589"/>
              <a:gd name="connsiteY14" fmla="*/ 1076326 h 2565501"/>
              <a:gd name="connsiteX15" fmla="*/ 795439 w 1995589"/>
              <a:gd name="connsiteY15" fmla="*/ 1000125 h 2565501"/>
              <a:gd name="connsiteX16" fmla="*/ 845444 w 1995589"/>
              <a:gd name="connsiteY16" fmla="*/ 1062037 h 2565501"/>
              <a:gd name="connsiteX17" fmla="*/ 907357 w 1995589"/>
              <a:gd name="connsiteY17" fmla="*/ 1300163 h 2565501"/>
              <a:gd name="connsiteX18" fmla="*/ 957364 w 1995589"/>
              <a:gd name="connsiteY18" fmla="*/ 1497806 h 2565501"/>
              <a:gd name="connsiteX19" fmla="*/ 1050232 w 1995589"/>
              <a:gd name="connsiteY19" fmla="*/ 1750219 h 2565501"/>
              <a:gd name="connsiteX20" fmla="*/ 1185964 w 1995589"/>
              <a:gd name="connsiteY20" fmla="*/ 1781175 h 2565501"/>
              <a:gd name="connsiteX21" fmla="*/ 1278833 w 1995589"/>
              <a:gd name="connsiteY21" fmla="*/ 1650207 h 2565501"/>
              <a:gd name="connsiteX22" fmla="*/ 1338364 w 1995589"/>
              <a:gd name="connsiteY22" fmla="*/ 1290638 h 2565501"/>
              <a:gd name="connsiteX23" fmla="*/ 1366939 w 1995589"/>
              <a:gd name="connsiteY23" fmla="*/ 633413 h 2565501"/>
              <a:gd name="connsiteX24" fmla="*/ 1383607 w 1995589"/>
              <a:gd name="connsiteY24" fmla="*/ 290513 h 2565501"/>
              <a:gd name="connsiteX25" fmla="*/ 1438376 w 1995589"/>
              <a:gd name="connsiteY25" fmla="*/ 200025 h 2565501"/>
              <a:gd name="connsiteX26" fmla="*/ 1500289 w 1995589"/>
              <a:gd name="connsiteY26" fmla="*/ 283370 h 2565501"/>
              <a:gd name="connsiteX27" fmla="*/ 1536008 w 1995589"/>
              <a:gd name="connsiteY27" fmla="*/ 519113 h 2565501"/>
              <a:gd name="connsiteX28" fmla="*/ 1583633 w 1995589"/>
              <a:gd name="connsiteY28" fmla="*/ 742950 h 2565501"/>
              <a:gd name="connsiteX29" fmla="*/ 1681264 w 1995589"/>
              <a:gd name="connsiteY29" fmla="*/ 804863 h 2565501"/>
              <a:gd name="connsiteX30" fmla="*/ 1776514 w 1995589"/>
              <a:gd name="connsiteY30" fmla="*/ 738188 h 2565501"/>
              <a:gd name="connsiteX31" fmla="*/ 1826520 w 1995589"/>
              <a:gd name="connsiteY31" fmla="*/ 440532 h 2565501"/>
              <a:gd name="connsiteX32" fmla="*/ 1881289 w 1995589"/>
              <a:gd name="connsiteY32" fmla="*/ 207170 h 2565501"/>
              <a:gd name="connsiteX33" fmla="*/ 1995589 w 1995589"/>
              <a:gd name="connsiteY33" fmla="*/ 0 h 2565501"/>
              <a:gd name="connsiteX0" fmla="*/ 0 w 2025146"/>
              <a:gd name="connsiteY0" fmla="*/ 2518348 h 2565501"/>
              <a:gd name="connsiteX1" fmla="*/ 186757 w 2025146"/>
              <a:gd name="connsiteY1" fmla="*/ 2316389 h 2565501"/>
              <a:gd name="connsiteX2" fmla="*/ 239208 w 2025146"/>
              <a:gd name="connsiteY2" fmla="*/ 2052638 h 2565501"/>
              <a:gd name="connsiteX3" fmla="*/ 258259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39271 w 2025146"/>
              <a:gd name="connsiteY11" fmla="*/ 2190750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86757 w 2025146"/>
              <a:gd name="connsiteY1" fmla="*/ 2316389 h 2565501"/>
              <a:gd name="connsiteX2" fmla="*/ 239208 w 2025146"/>
              <a:gd name="connsiteY2" fmla="*/ 2052638 h 2565501"/>
              <a:gd name="connsiteX3" fmla="*/ 258259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39271 w 2025146"/>
              <a:gd name="connsiteY11" fmla="*/ 2190750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86757 w 2025146"/>
              <a:gd name="connsiteY1" fmla="*/ 2367308 h 2565501"/>
              <a:gd name="connsiteX2" fmla="*/ 239208 w 2025146"/>
              <a:gd name="connsiteY2" fmla="*/ 2052638 h 2565501"/>
              <a:gd name="connsiteX3" fmla="*/ 258259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39271 w 2025146"/>
              <a:gd name="connsiteY11" fmla="*/ 2190750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86757 w 2025146"/>
              <a:gd name="connsiteY1" fmla="*/ 2367308 h 2565501"/>
              <a:gd name="connsiteX2" fmla="*/ 239208 w 2025146"/>
              <a:gd name="connsiteY2" fmla="*/ 2052638 h 2565501"/>
              <a:gd name="connsiteX3" fmla="*/ 258259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41952 w 2025146"/>
              <a:gd name="connsiteY11" fmla="*/ 2125281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86757 w 2025146"/>
              <a:gd name="connsiteY1" fmla="*/ 2367308 h 2565501"/>
              <a:gd name="connsiteX2" fmla="*/ 239208 w 2025146"/>
              <a:gd name="connsiteY2" fmla="*/ 2052638 h 2565501"/>
              <a:gd name="connsiteX3" fmla="*/ 258259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41952 w 2025146"/>
              <a:gd name="connsiteY11" fmla="*/ 2125281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86757 w 2025146"/>
              <a:gd name="connsiteY1" fmla="*/ 2367308 h 2565501"/>
              <a:gd name="connsiteX2" fmla="*/ 239208 w 2025146"/>
              <a:gd name="connsiteY2" fmla="*/ 2052638 h 2565501"/>
              <a:gd name="connsiteX3" fmla="*/ 273342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41952 w 2025146"/>
              <a:gd name="connsiteY11" fmla="*/ 2125281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91785 w 2025146"/>
              <a:gd name="connsiteY1" fmla="*/ 2396406 h 2565501"/>
              <a:gd name="connsiteX2" fmla="*/ 239208 w 2025146"/>
              <a:gd name="connsiteY2" fmla="*/ 2052638 h 2565501"/>
              <a:gd name="connsiteX3" fmla="*/ 273342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41952 w 2025146"/>
              <a:gd name="connsiteY11" fmla="*/ 2125281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5501"/>
              <a:gd name="connsiteX1" fmla="*/ 191785 w 2025146"/>
              <a:gd name="connsiteY1" fmla="*/ 2396406 h 2565501"/>
              <a:gd name="connsiteX2" fmla="*/ 244235 w 2025146"/>
              <a:gd name="connsiteY2" fmla="*/ 2081735 h 2565501"/>
              <a:gd name="connsiteX3" fmla="*/ 273342 w 2025146"/>
              <a:gd name="connsiteY3" fmla="*/ 1976438 h 2565501"/>
              <a:gd name="connsiteX4" fmla="*/ 308265 w 2025146"/>
              <a:gd name="connsiteY4" fmla="*/ 1969294 h 2565501"/>
              <a:gd name="connsiteX5" fmla="*/ 334458 w 2025146"/>
              <a:gd name="connsiteY5" fmla="*/ 2024063 h 2565501"/>
              <a:gd name="connsiteX6" fmla="*/ 365414 w 2025146"/>
              <a:gd name="connsiteY6" fmla="*/ 2150270 h 2565501"/>
              <a:gd name="connsiteX7" fmla="*/ 410658 w 2025146"/>
              <a:gd name="connsiteY7" fmla="*/ 2347913 h 2565501"/>
              <a:gd name="connsiteX8" fmla="*/ 486859 w 2025146"/>
              <a:gd name="connsiteY8" fmla="*/ 2526506 h 2565501"/>
              <a:gd name="connsiteX9" fmla="*/ 613065 w 2025146"/>
              <a:gd name="connsiteY9" fmla="*/ 2559844 h 2565501"/>
              <a:gd name="connsiteX10" fmla="*/ 708313 w 2025146"/>
              <a:gd name="connsiteY10" fmla="*/ 2443162 h 2565501"/>
              <a:gd name="connsiteX11" fmla="*/ 741952 w 2025146"/>
              <a:gd name="connsiteY11" fmla="*/ 2125281 h 2565501"/>
              <a:gd name="connsiteX12" fmla="*/ 753558 w 2025146"/>
              <a:gd name="connsiteY12" fmla="*/ 1628775 h 2565501"/>
              <a:gd name="connsiteX13" fmla="*/ 772608 w 2025146"/>
              <a:gd name="connsiteY13" fmla="*/ 1288257 h 2565501"/>
              <a:gd name="connsiteX14" fmla="*/ 791658 w 2025146"/>
              <a:gd name="connsiteY14" fmla="*/ 1076326 h 2565501"/>
              <a:gd name="connsiteX15" fmla="*/ 824996 w 2025146"/>
              <a:gd name="connsiteY15" fmla="*/ 1000125 h 2565501"/>
              <a:gd name="connsiteX16" fmla="*/ 875001 w 2025146"/>
              <a:gd name="connsiteY16" fmla="*/ 1062037 h 2565501"/>
              <a:gd name="connsiteX17" fmla="*/ 936914 w 2025146"/>
              <a:gd name="connsiteY17" fmla="*/ 1300163 h 2565501"/>
              <a:gd name="connsiteX18" fmla="*/ 986921 w 2025146"/>
              <a:gd name="connsiteY18" fmla="*/ 1497806 h 2565501"/>
              <a:gd name="connsiteX19" fmla="*/ 1079789 w 2025146"/>
              <a:gd name="connsiteY19" fmla="*/ 1750219 h 2565501"/>
              <a:gd name="connsiteX20" fmla="*/ 1215521 w 2025146"/>
              <a:gd name="connsiteY20" fmla="*/ 1781175 h 2565501"/>
              <a:gd name="connsiteX21" fmla="*/ 1308390 w 2025146"/>
              <a:gd name="connsiteY21" fmla="*/ 1650207 h 2565501"/>
              <a:gd name="connsiteX22" fmla="*/ 1367921 w 2025146"/>
              <a:gd name="connsiteY22" fmla="*/ 1290638 h 2565501"/>
              <a:gd name="connsiteX23" fmla="*/ 1396496 w 2025146"/>
              <a:gd name="connsiteY23" fmla="*/ 633413 h 2565501"/>
              <a:gd name="connsiteX24" fmla="*/ 1413164 w 2025146"/>
              <a:gd name="connsiteY24" fmla="*/ 290513 h 2565501"/>
              <a:gd name="connsiteX25" fmla="*/ 1467933 w 2025146"/>
              <a:gd name="connsiteY25" fmla="*/ 200025 h 2565501"/>
              <a:gd name="connsiteX26" fmla="*/ 1529846 w 2025146"/>
              <a:gd name="connsiteY26" fmla="*/ 283370 h 2565501"/>
              <a:gd name="connsiteX27" fmla="*/ 1565565 w 2025146"/>
              <a:gd name="connsiteY27" fmla="*/ 519113 h 2565501"/>
              <a:gd name="connsiteX28" fmla="*/ 1613190 w 2025146"/>
              <a:gd name="connsiteY28" fmla="*/ 742950 h 2565501"/>
              <a:gd name="connsiteX29" fmla="*/ 1710821 w 2025146"/>
              <a:gd name="connsiteY29" fmla="*/ 804863 h 2565501"/>
              <a:gd name="connsiteX30" fmla="*/ 1806071 w 2025146"/>
              <a:gd name="connsiteY30" fmla="*/ 738188 h 2565501"/>
              <a:gd name="connsiteX31" fmla="*/ 1856077 w 2025146"/>
              <a:gd name="connsiteY31" fmla="*/ 440532 h 2565501"/>
              <a:gd name="connsiteX32" fmla="*/ 1910846 w 2025146"/>
              <a:gd name="connsiteY32" fmla="*/ 207170 h 2565501"/>
              <a:gd name="connsiteX33" fmla="*/ 2025146 w 2025146"/>
              <a:gd name="connsiteY33" fmla="*/ 0 h 2565501"/>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41952 w 2025146"/>
              <a:gd name="connsiteY11" fmla="*/ 2125281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41952 w 2025146"/>
              <a:gd name="connsiteY11" fmla="*/ 2052538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34411 w 2025146"/>
              <a:gd name="connsiteY11" fmla="*/ 2103458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34411 w 2025146"/>
              <a:gd name="connsiteY11" fmla="*/ 2103458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34411 w 2025146"/>
              <a:gd name="connsiteY11" fmla="*/ 2103458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34411 w 2025146"/>
              <a:gd name="connsiteY11" fmla="*/ 2103458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64455"/>
              <a:gd name="connsiteX1" fmla="*/ 191785 w 2025146"/>
              <a:gd name="connsiteY1" fmla="*/ 2396406 h 2564455"/>
              <a:gd name="connsiteX2" fmla="*/ 244235 w 2025146"/>
              <a:gd name="connsiteY2" fmla="*/ 2081735 h 2564455"/>
              <a:gd name="connsiteX3" fmla="*/ 273342 w 2025146"/>
              <a:gd name="connsiteY3" fmla="*/ 1976438 h 2564455"/>
              <a:gd name="connsiteX4" fmla="*/ 308265 w 2025146"/>
              <a:gd name="connsiteY4" fmla="*/ 1969294 h 2564455"/>
              <a:gd name="connsiteX5" fmla="*/ 334458 w 2025146"/>
              <a:gd name="connsiteY5" fmla="*/ 2024063 h 2564455"/>
              <a:gd name="connsiteX6" fmla="*/ 365414 w 2025146"/>
              <a:gd name="connsiteY6" fmla="*/ 2150270 h 2564455"/>
              <a:gd name="connsiteX7" fmla="*/ 410658 w 2025146"/>
              <a:gd name="connsiteY7" fmla="*/ 2347913 h 2564455"/>
              <a:gd name="connsiteX8" fmla="*/ 486859 w 2025146"/>
              <a:gd name="connsiteY8" fmla="*/ 2526506 h 2564455"/>
              <a:gd name="connsiteX9" fmla="*/ 613065 w 2025146"/>
              <a:gd name="connsiteY9" fmla="*/ 2559844 h 2564455"/>
              <a:gd name="connsiteX10" fmla="*/ 698258 w 2025146"/>
              <a:gd name="connsiteY10" fmla="*/ 2457711 h 2564455"/>
              <a:gd name="connsiteX11" fmla="*/ 734411 w 2025146"/>
              <a:gd name="connsiteY11" fmla="*/ 2103458 h 2564455"/>
              <a:gd name="connsiteX12" fmla="*/ 753558 w 2025146"/>
              <a:gd name="connsiteY12" fmla="*/ 1628775 h 2564455"/>
              <a:gd name="connsiteX13" fmla="*/ 772608 w 2025146"/>
              <a:gd name="connsiteY13" fmla="*/ 1288257 h 2564455"/>
              <a:gd name="connsiteX14" fmla="*/ 791658 w 2025146"/>
              <a:gd name="connsiteY14" fmla="*/ 1076326 h 2564455"/>
              <a:gd name="connsiteX15" fmla="*/ 824996 w 2025146"/>
              <a:gd name="connsiteY15" fmla="*/ 1000125 h 2564455"/>
              <a:gd name="connsiteX16" fmla="*/ 875001 w 2025146"/>
              <a:gd name="connsiteY16" fmla="*/ 1062037 h 2564455"/>
              <a:gd name="connsiteX17" fmla="*/ 936914 w 2025146"/>
              <a:gd name="connsiteY17" fmla="*/ 1300163 h 2564455"/>
              <a:gd name="connsiteX18" fmla="*/ 986921 w 2025146"/>
              <a:gd name="connsiteY18" fmla="*/ 1497806 h 2564455"/>
              <a:gd name="connsiteX19" fmla="*/ 1079789 w 2025146"/>
              <a:gd name="connsiteY19" fmla="*/ 1750219 h 2564455"/>
              <a:gd name="connsiteX20" fmla="*/ 1215521 w 2025146"/>
              <a:gd name="connsiteY20" fmla="*/ 1781175 h 2564455"/>
              <a:gd name="connsiteX21" fmla="*/ 1308390 w 2025146"/>
              <a:gd name="connsiteY21" fmla="*/ 1650207 h 2564455"/>
              <a:gd name="connsiteX22" fmla="*/ 1367921 w 2025146"/>
              <a:gd name="connsiteY22" fmla="*/ 1290638 h 2564455"/>
              <a:gd name="connsiteX23" fmla="*/ 1396496 w 2025146"/>
              <a:gd name="connsiteY23" fmla="*/ 633413 h 2564455"/>
              <a:gd name="connsiteX24" fmla="*/ 1413164 w 2025146"/>
              <a:gd name="connsiteY24" fmla="*/ 290513 h 2564455"/>
              <a:gd name="connsiteX25" fmla="*/ 1467933 w 2025146"/>
              <a:gd name="connsiteY25" fmla="*/ 200025 h 2564455"/>
              <a:gd name="connsiteX26" fmla="*/ 1529846 w 2025146"/>
              <a:gd name="connsiteY26" fmla="*/ 283370 h 2564455"/>
              <a:gd name="connsiteX27" fmla="*/ 1565565 w 2025146"/>
              <a:gd name="connsiteY27" fmla="*/ 519113 h 2564455"/>
              <a:gd name="connsiteX28" fmla="*/ 1613190 w 2025146"/>
              <a:gd name="connsiteY28" fmla="*/ 742950 h 2564455"/>
              <a:gd name="connsiteX29" fmla="*/ 1710821 w 2025146"/>
              <a:gd name="connsiteY29" fmla="*/ 804863 h 2564455"/>
              <a:gd name="connsiteX30" fmla="*/ 1806071 w 2025146"/>
              <a:gd name="connsiteY30" fmla="*/ 738188 h 2564455"/>
              <a:gd name="connsiteX31" fmla="*/ 1856077 w 2025146"/>
              <a:gd name="connsiteY31" fmla="*/ 440532 h 2564455"/>
              <a:gd name="connsiteX32" fmla="*/ 1910846 w 2025146"/>
              <a:gd name="connsiteY32" fmla="*/ 207170 h 2564455"/>
              <a:gd name="connsiteX33" fmla="*/ 2025146 w 2025146"/>
              <a:gd name="connsiteY33" fmla="*/ 0 h 2564455"/>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79789 w 2025146"/>
              <a:gd name="connsiteY19" fmla="*/ 1750219 h 2591209"/>
              <a:gd name="connsiteX20" fmla="*/ 1215521 w 2025146"/>
              <a:gd name="connsiteY20" fmla="*/ 1781175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13164 w 2025146"/>
              <a:gd name="connsiteY24" fmla="*/ 290513 h 2591209"/>
              <a:gd name="connsiteX25" fmla="*/ 1467933 w 2025146"/>
              <a:gd name="connsiteY25" fmla="*/ 200025 h 2591209"/>
              <a:gd name="connsiteX26" fmla="*/ 1529846 w 2025146"/>
              <a:gd name="connsiteY26" fmla="*/ 283370 h 2591209"/>
              <a:gd name="connsiteX27" fmla="*/ 1565565 w 2025146"/>
              <a:gd name="connsiteY27" fmla="*/ 519113 h 2591209"/>
              <a:gd name="connsiteX28" fmla="*/ 1613190 w 2025146"/>
              <a:gd name="connsiteY28" fmla="*/ 742950 h 2591209"/>
              <a:gd name="connsiteX29" fmla="*/ 1710821 w 2025146"/>
              <a:gd name="connsiteY29" fmla="*/ 804863 h 2591209"/>
              <a:gd name="connsiteX30" fmla="*/ 1806071 w 2025146"/>
              <a:gd name="connsiteY30" fmla="*/ 738188 h 2591209"/>
              <a:gd name="connsiteX31" fmla="*/ 1856077 w 2025146"/>
              <a:gd name="connsiteY31" fmla="*/ 440532 h 2591209"/>
              <a:gd name="connsiteX32" fmla="*/ 1910846 w 2025146"/>
              <a:gd name="connsiteY32" fmla="*/ 207170 h 2591209"/>
              <a:gd name="connsiteX33" fmla="*/ 2025146 w 2025146"/>
              <a:gd name="connsiteY33"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79789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13164 w 2025146"/>
              <a:gd name="connsiteY24" fmla="*/ 290513 h 2591209"/>
              <a:gd name="connsiteX25" fmla="*/ 1467933 w 2025146"/>
              <a:gd name="connsiteY25" fmla="*/ 200025 h 2591209"/>
              <a:gd name="connsiteX26" fmla="*/ 1529846 w 2025146"/>
              <a:gd name="connsiteY26" fmla="*/ 283370 h 2591209"/>
              <a:gd name="connsiteX27" fmla="*/ 1565565 w 2025146"/>
              <a:gd name="connsiteY27" fmla="*/ 519113 h 2591209"/>
              <a:gd name="connsiteX28" fmla="*/ 1613190 w 2025146"/>
              <a:gd name="connsiteY28" fmla="*/ 742950 h 2591209"/>
              <a:gd name="connsiteX29" fmla="*/ 1710821 w 2025146"/>
              <a:gd name="connsiteY29" fmla="*/ 804863 h 2591209"/>
              <a:gd name="connsiteX30" fmla="*/ 1806071 w 2025146"/>
              <a:gd name="connsiteY30" fmla="*/ 738188 h 2591209"/>
              <a:gd name="connsiteX31" fmla="*/ 1856077 w 2025146"/>
              <a:gd name="connsiteY31" fmla="*/ 440532 h 2591209"/>
              <a:gd name="connsiteX32" fmla="*/ 1910846 w 2025146"/>
              <a:gd name="connsiteY32" fmla="*/ 207170 h 2591209"/>
              <a:gd name="connsiteX33" fmla="*/ 2025146 w 2025146"/>
              <a:gd name="connsiteY33"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13164 w 2025146"/>
              <a:gd name="connsiteY24" fmla="*/ 290513 h 2591209"/>
              <a:gd name="connsiteX25" fmla="*/ 1467933 w 2025146"/>
              <a:gd name="connsiteY25" fmla="*/ 200025 h 2591209"/>
              <a:gd name="connsiteX26" fmla="*/ 1529846 w 2025146"/>
              <a:gd name="connsiteY26" fmla="*/ 283370 h 2591209"/>
              <a:gd name="connsiteX27" fmla="*/ 1565565 w 2025146"/>
              <a:gd name="connsiteY27" fmla="*/ 519113 h 2591209"/>
              <a:gd name="connsiteX28" fmla="*/ 1613190 w 2025146"/>
              <a:gd name="connsiteY28" fmla="*/ 742950 h 2591209"/>
              <a:gd name="connsiteX29" fmla="*/ 1710821 w 2025146"/>
              <a:gd name="connsiteY29" fmla="*/ 804863 h 2591209"/>
              <a:gd name="connsiteX30" fmla="*/ 1806071 w 2025146"/>
              <a:gd name="connsiteY30" fmla="*/ 738188 h 2591209"/>
              <a:gd name="connsiteX31" fmla="*/ 1856077 w 2025146"/>
              <a:gd name="connsiteY31" fmla="*/ 440532 h 2591209"/>
              <a:gd name="connsiteX32" fmla="*/ 1910846 w 2025146"/>
              <a:gd name="connsiteY32" fmla="*/ 207170 h 2591209"/>
              <a:gd name="connsiteX33" fmla="*/ 2025146 w 2025146"/>
              <a:gd name="connsiteY33"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13164 w 2025146"/>
              <a:gd name="connsiteY24" fmla="*/ 290513 h 2591209"/>
              <a:gd name="connsiteX25" fmla="*/ 1467933 w 2025146"/>
              <a:gd name="connsiteY25" fmla="*/ 200025 h 2591209"/>
              <a:gd name="connsiteX26" fmla="*/ 1565565 w 2025146"/>
              <a:gd name="connsiteY26" fmla="*/ 519113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13164 w 2025146"/>
              <a:gd name="connsiteY24" fmla="*/ 290513 h 2591209"/>
              <a:gd name="connsiteX25" fmla="*/ 1498099 w 2025146"/>
              <a:gd name="connsiteY25" fmla="*/ 192751 h 2591209"/>
              <a:gd name="connsiteX26" fmla="*/ 1565565 w 2025146"/>
              <a:gd name="connsiteY26" fmla="*/ 519113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33274 w 2025146"/>
              <a:gd name="connsiteY24" fmla="*/ 268690 h 2591209"/>
              <a:gd name="connsiteX25" fmla="*/ 1498099 w 2025146"/>
              <a:gd name="connsiteY25" fmla="*/ 192751 h 2591209"/>
              <a:gd name="connsiteX26" fmla="*/ 1565565 w 2025146"/>
              <a:gd name="connsiteY26" fmla="*/ 519113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33274 w 2025146"/>
              <a:gd name="connsiteY24" fmla="*/ 268690 h 2591209"/>
              <a:gd name="connsiteX25" fmla="*/ 1498099 w 2025146"/>
              <a:gd name="connsiteY25" fmla="*/ 207300 h 2591209"/>
              <a:gd name="connsiteX26" fmla="*/ 1565565 w 2025146"/>
              <a:gd name="connsiteY26" fmla="*/ 519113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33274 w 2025146"/>
              <a:gd name="connsiteY24" fmla="*/ 268690 h 2591209"/>
              <a:gd name="connsiteX25" fmla="*/ 1498099 w 2025146"/>
              <a:gd name="connsiteY25" fmla="*/ 207300 h 2591209"/>
              <a:gd name="connsiteX26" fmla="*/ 1555510 w 2025146"/>
              <a:gd name="connsiteY26" fmla="*/ 555484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33274 w 2025146"/>
              <a:gd name="connsiteY24" fmla="*/ 268690 h 2591209"/>
              <a:gd name="connsiteX25" fmla="*/ 1488044 w 2025146"/>
              <a:gd name="connsiteY25" fmla="*/ 207300 h 2591209"/>
              <a:gd name="connsiteX26" fmla="*/ 1555510 w 2025146"/>
              <a:gd name="connsiteY26" fmla="*/ 555484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88044 w 2025146"/>
              <a:gd name="connsiteY25" fmla="*/ 207300 h 2591209"/>
              <a:gd name="connsiteX26" fmla="*/ 1555510 w 2025146"/>
              <a:gd name="connsiteY26" fmla="*/ 555484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710821 w 2025146"/>
              <a:gd name="connsiteY28" fmla="*/ 804863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703280 w 2025146"/>
              <a:gd name="connsiteY28" fmla="*/ 812138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806071 w 2025146"/>
              <a:gd name="connsiteY29" fmla="*/ 738188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790988 w 2025146"/>
              <a:gd name="connsiteY29" fmla="*/ 752736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790988 w 2025146"/>
              <a:gd name="connsiteY29" fmla="*/ 752736 h 2591209"/>
              <a:gd name="connsiteX30" fmla="*/ 1856077 w 2025146"/>
              <a:gd name="connsiteY30" fmla="*/ 440532 h 2591209"/>
              <a:gd name="connsiteX31" fmla="*/ 1910846 w 2025146"/>
              <a:gd name="connsiteY31" fmla="*/ 207170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790988 w 2025146"/>
              <a:gd name="connsiteY29" fmla="*/ 752736 h 2591209"/>
              <a:gd name="connsiteX30" fmla="*/ 1856077 w 2025146"/>
              <a:gd name="connsiteY30" fmla="*/ 440532 h 2591209"/>
              <a:gd name="connsiteX31" fmla="*/ 1920901 w 2025146"/>
              <a:gd name="connsiteY31" fmla="*/ 214444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790988 w 2025146"/>
              <a:gd name="connsiteY29" fmla="*/ 752736 h 2591209"/>
              <a:gd name="connsiteX30" fmla="*/ 1856077 w 2025146"/>
              <a:gd name="connsiteY30" fmla="*/ 440532 h 2591209"/>
              <a:gd name="connsiteX31" fmla="*/ 1920901 w 2025146"/>
              <a:gd name="connsiteY31" fmla="*/ 214444 h 2591209"/>
              <a:gd name="connsiteX32" fmla="*/ 2025146 w 2025146"/>
              <a:gd name="connsiteY32" fmla="*/ 0 h 2591209"/>
              <a:gd name="connsiteX0" fmla="*/ 0 w 2025146"/>
              <a:gd name="connsiteY0" fmla="*/ 2518348 h 2591209"/>
              <a:gd name="connsiteX1" fmla="*/ 191785 w 2025146"/>
              <a:gd name="connsiteY1" fmla="*/ 2396406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790988 w 2025146"/>
              <a:gd name="connsiteY29" fmla="*/ 752736 h 2591209"/>
              <a:gd name="connsiteX30" fmla="*/ 1856077 w 2025146"/>
              <a:gd name="connsiteY30" fmla="*/ 440532 h 2591209"/>
              <a:gd name="connsiteX31" fmla="*/ 1920901 w 2025146"/>
              <a:gd name="connsiteY31" fmla="*/ 214444 h 2591209"/>
              <a:gd name="connsiteX32" fmla="*/ 2025146 w 2025146"/>
              <a:gd name="connsiteY32" fmla="*/ 0 h 2591209"/>
              <a:gd name="connsiteX0" fmla="*/ 0 w 2025146"/>
              <a:gd name="connsiteY0" fmla="*/ 2518348 h 2591209"/>
              <a:gd name="connsiteX1" fmla="*/ 176702 w 2025146"/>
              <a:gd name="connsiteY1" fmla="*/ 2423684 h 2591209"/>
              <a:gd name="connsiteX2" fmla="*/ 244235 w 2025146"/>
              <a:gd name="connsiteY2" fmla="*/ 2081735 h 2591209"/>
              <a:gd name="connsiteX3" fmla="*/ 273342 w 2025146"/>
              <a:gd name="connsiteY3" fmla="*/ 1976438 h 2591209"/>
              <a:gd name="connsiteX4" fmla="*/ 308265 w 2025146"/>
              <a:gd name="connsiteY4" fmla="*/ 1969294 h 2591209"/>
              <a:gd name="connsiteX5" fmla="*/ 334458 w 2025146"/>
              <a:gd name="connsiteY5" fmla="*/ 2024063 h 2591209"/>
              <a:gd name="connsiteX6" fmla="*/ 365414 w 2025146"/>
              <a:gd name="connsiteY6" fmla="*/ 2150270 h 2591209"/>
              <a:gd name="connsiteX7" fmla="*/ 410658 w 2025146"/>
              <a:gd name="connsiteY7" fmla="*/ 2347913 h 2591209"/>
              <a:gd name="connsiteX8" fmla="*/ 486859 w 2025146"/>
              <a:gd name="connsiteY8" fmla="*/ 2526506 h 2591209"/>
              <a:gd name="connsiteX9" fmla="*/ 585413 w 2025146"/>
              <a:gd name="connsiteY9" fmla="*/ 2588941 h 2591209"/>
              <a:gd name="connsiteX10" fmla="*/ 698258 w 2025146"/>
              <a:gd name="connsiteY10" fmla="*/ 2457711 h 2591209"/>
              <a:gd name="connsiteX11" fmla="*/ 734411 w 2025146"/>
              <a:gd name="connsiteY11" fmla="*/ 2103458 h 2591209"/>
              <a:gd name="connsiteX12" fmla="*/ 753558 w 2025146"/>
              <a:gd name="connsiteY12" fmla="*/ 1628775 h 2591209"/>
              <a:gd name="connsiteX13" fmla="*/ 772608 w 2025146"/>
              <a:gd name="connsiteY13" fmla="*/ 1288257 h 2591209"/>
              <a:gd name="connsiteX14" fmla="*/ 791658 w 2025146"/>
              <a:gd name="connsiteY14" fmla="*/ 1076326 h 2591209"/>
              <a:gd name="connsiteX15" fmla="*/ 824996 w 2025146"/>
              <a:gd name="connsiteY15" fmla="*/ 1000125 h 2591209"/>
              <a:gd name="connsiteX16" fmla="*/ 875001 w 2025146"/>
              <a:gd name="connsiteY16" fmla="*/ 1062037 h 2591209"/>
              <a:gd name="connsiteX17" fmla="*/ 936914 w 2025146"/>
              <a:gd name="connsiteY17" fmla="*/ 1300163 h 2591209"/>
              <a:gd name="connsiteX18" fmla="*/ 986921 w 2025146"/>
              <a:gd name="connsiteY18" fmla="*/ 1497806 h 2591209"/>
              <a:gd name="connsiteX19" fmla="*/ 1069734 w 2025146"/>
              <a:gd name="connsiteY19" fmla="*/ 1750219 h 2591209"/>
              <a:gd name="connsiteX20" fmla="*/ 1205466 w 2025146"/>
              <a:gd name="connsiteY20" fmla="*/ 1788450 h 2591209"/>
              <a:gd name="connsiteX21" fmla="*/ 1308390 w 2025146"/>
              <a:gd name="connsiteY21" fmla="*/ 1650207 h 2591209"/>
              <a:gd name="connsiteX22" fmla="*/ 1367921 w 2025146"/>
              <a:gd name="connsiteY22" fmla="*/ 1290638 h 2591209"/>
              <a:gd name="connsiteX23" fmla="*/ 1396496 w 2025146"/>
              <a:gd name="connsiteY23" fmla="*/ 633413 h 2591209"/>
              <a:gd name="connsiteX24" fmla="*/ 1423219 w 2025146"/>
              <a:gd name="connsiteY24" fmla="*/ 268690 h 2591209"/>
              <a:gd name="connsiteX25" fmla="*/ 1490558 w 2025146"/>
              <a:gd name="connsiteY25" fmla="*/ 221848 h 2591209"/>
              <a:gd name="connsiteX26" fmla="*/ 1555510 w 2025146"/>
              <a:gd name="connsiteY26" fmla="*/ 555484 h 2591209"/>
              <a:gd name="connsiteX27" fmla="*/ 1613190 w 2025146"/>
              <a:gd name="connsiteY27" fmla="*/ 742950 h 2591209"/>
              <a:gd name="connsiteX28" fmla="*/ 1690711 w 2025146"/>
              <a:gd name="connsiteY28" fmla="*/ 819412 h 2591209"/>
              <a:gd name="connsiteX29" fmla="*/ 1790988 w 2025146"/>
              <a:gd name="connsiteY29" fmla="*/ 752736 h 2591209"/>
              <a:gd name="connsiteX30" fmla="*/ 1856077 w 2025146"/>
              <a:gd name="connsiteY30" fmla="*/ 440532 h 2591209"/>
              <a:gd name="connsiteX31" fmla="*/ 1920901 w 2025146"/>
              <a:gd name="connsiteY31" fmla="*/ 214444 h 2591209"/>
              <a:gd name="connsiteX32" fmla="*/ 2025146 w 2025146"/>
              <a:gd name="connsiteY32" fmla="*/ 0 h 2591209"/>
              <a:gd name="connsiteX0" fmla="*/ 0 w 2028917"/>
              <a:gd name="connsiteY0" fmla="*/ 2537442 h 2591209"/>
              <a:gd name="connsiteX1" fmla="*/ 180473 w 2028917"/>
              <a:gd name="connsiteY1" fmla="*/ 2423684 h 2591209"/>
              <a:gd name="connsiteX2" fmla="*/ 248006 w 2028917"/>
              <a:gd name="connsiteY2" fmla="*/ 2081735 h 2591209"/>
              <a:gd name="connsiteX3" fmla="*/ 277113 w 2028917"/>
              <a:gd name="connsiteY3" fmla="*/ 1976438 h 2591209"/>
              <a:gd name="connsiteX4" fmla="*/ 312036 w 2028917"/>
              <a:gd name="connsiteY4" fmla="*/ 1969294 h 2591209"/>
              <a:gd name="connsiteX5" fmla="*/ 338229 w 2028917"/>
              <a:gd name="connsiteY5" fmla="*/ 2024063 h 2591209"/>
              <a:gd name="connsiteX6" fmla="*/ 369185 w 2028917"/>
              <a:gd name="connsiteY6" fmla="*/ 2150270 h 2591209"/>
              <a:gd name="connsiteX7" fmla="*/ 414429 w 2028917"/>
              <a:gd name="connsiteY7" fmla="*/ 2347913 h 2591209"/>
              <a:gd name="connsiteX8" fmla="*/ 490630 w 2028917"/>
              <a:gd name="connsiteY8" fmla="*/ 2526506 h 2591209"/>
              <a:gd name="connsiteX9" fmla="*/ 589184 w 2028917"/>
              <a:gd name="connsiteY9" fmla="*/ 2588941 h 2591209"/>
              <a:gd name="connsiteX10" fmla="*/ 702029 w 2028917"/>
              <a:gd name="connsiteY10" fmla="*/ 2457711 h 2591209"/>
              <a:gd name="connsiteX11" fmla="*/ 738182 w 2028917"/>
              <a:gd name="connsiteY11" fmla="*/ 2103458 h 2591209"/>
              <a:gd name="connsiteX12" fmla="*/ 757329 w 2028917"/>
              <a:gd name="connsiteY12" fmla="*/ 1628775 h 2591209"/>
              <a:gd name="connsiteX13" fmla="*/ 776379 w 2028917"/>
              <a:gd name="connsiteY13" fmla="*/ 1288257 h 2591209"/>
              <a:gd name="connsiteX14" fmla="*/ 795429 w 2028917"/>
              <a:gd name="connsiteY14" fmla="*/ 1076326 h 2591209"/>
              <a:gd name="connsiteX15" fmla="*/ 828767 w 2028917"/>
              <a:gd name="connsiteY15" fmla="*/ 1000125 h 2591209"/>
              <a:gd name="connsiteX16" fmla="*/ 878772 w 2028917"/>
              <a:gd name="connsiteY16" fmla="*/ 1062037 h 2591209"/>
              <a:gd name="connsiteX17" fmla="*/ 940685 w 2028917"/>
              <a:gd name="connsiteY17" fmla="*/ 1300163 h 2591209"/>
              <a:gd name="connsiteX18" fmla="*/ 990692 w 2028917"/>
              <a:gd name="connsiteY18" fmla="*/ 1497806 h 2591209"/>
              <a:gd name="connsiteX19" fmla="*/ 1073505 w 2028917"/>
              <a:gd name="connsiteY19" fmla="*/ 1750219 h 2591209"/>
              <a:gd name="connsiteX20" fmla="*/ 1209237 w 2028917"/>
              <a:gd name="connsiteY20" fmla="*/ 1788450 h 2591209"/>
              <a:gd name="connsiteX21" fmla="*/ 1312161 w 2028917"/>
              <a:gd name="connsiteY21" fmla="*/ 1650207 h 2591209"/>
              <a:gd name="connsiteX22" fmla="*/ 1371692 w 2028917"/>
              <a:gd name="connsiteY22" fmla="*/ 1290638 h 2591209"/>
              <a:gd name="connsiteX23" fmla="*/ 1400267 w 2028917"/>
              <a:gd name="connsiteY23" fmla="*/ 633413 h 2591209"/>
              <a:gd name="connsiteX24" fmla="*/ 1426990 w 2028917"/>
              <a:gd name="connsiteY24" fmla="*/ 268690 h 2591209"/>
              <a:gd name="connsiteX25" fmla="*/ 1494329 w 2028917"/>
              <a:gd name="connsiteY25" fmla="*/ 221848 h 2591209"/>
              <a:gd name="connsiteX26" fmla="*/ 1559281 w 2028917"/>
              <a:gd name="connsiteY26" fmla="*/ 555484 h 2591209"/>
              <a:gd name="connsiteX27" fmla="*/ 1616961 w 2028917"/>
              <a:gd name="connsiteY27" fmla="*/ 742950 h 2591209"/>
              <a:gd name="connsiteX28" fmla="*/ 1694482 w 2028917"/>
              <a:gd name="connsiteY28" fmla="*/ 819412 h 2591209"/>
              <a:gd name="connsiteX29" fmla="*/ 1794759 w 2028917"/>
              <a:gd name="connsiteY29" fmla="*/ 752736 h 2591209"/>
              <a:gd name="connsiteX30" fmla="*/ 1859848 w 2028917"/>
              <a:gd name="connsiteY30" fmla="*/ 440532 h 2591209"/>
              <a:gd name="connsiteX31" fmla="*/ 1924672 w 2028917"/>
              <a:gd name="connsiteY31" fmla="*/ 214444 h 2591209"/>
              <a:gd name="connsiteX32" fmla="*/ 2028917 w 2028917"/>
              <a:gd name="connsiteY32" fmla="*/ 0 h 2591209"/>
              <a:gd name="connsiteX0" fmla="*/ 0 w 2022318"/>
              <a:gd name="connsiteY0" fmla="*/ 2534715 h 2591209"/>
              <a:gd name="connsiteX1" fmla="*/ 173874 w 2022318"/>
              <a:gd name="connsiteY1" fmla="*/ 2423684 h 2591209"/>
              <a:gd name="connsiteX2" fmla="*/ 241407 w 2022318"/>
              <a:gd name="connsiteY2" fmla="*/ 2081735 h 2591209"/>
              <a:gd name="connsiteX3" fmla="*/ 270514 w 2022318"/>
              <a:gd name="connsiteY3" fmla="*/ 1976438 h 2591209"/>
              <a:gd name="connsiteX4" fmla="*/ 305437 w 2022318"/>
              <a:gd name="connsiteY4" fmla="*/ 1969294 h 2591209"/>
              <a:gd name="connsiteX5" fmla="*/ 331630 w 2022318"/>
              <a:gd name="connsiteY5" fmla="*/ 2024063 h 2591209"/>
              <a:gd name="connsiteX6" fmla="*/ 362586 w 2022318"/>
              <a:gd name="connsiteY6" fmla="*/ 2150270 h 2591209"/>
              <a:gd name="connsiteX7" fmla="*/ 407830 w 2022318"/>
              <a:gd name="connsiteY7" fmla="*/ 2347913 h 2591209"/>
              <a:gd name="connsiteX8" fmla="*/ 484031 w 2022318"/>
              <a:gd name="connsiteY8" fmla="*/ 2526506 h 2591209"/>
              <a:gd name="connsiteX9" fmla="*/ 582585 w 2022318"/>
              <a:gd name="connsiteY9" fmla="*/ 2588941 h 2591209"/>
              <a:gd name="connsiteX10" fmla="*/ 695430 w 2022318"/>
              <a:gd name="connsiteY10" fmla="*/ 2457711 h 2591209"/>
              <a:gd name="connsiteX11" fmla="*/ 731583 w 2022318"/>
              <a:gd name="connsiteY11" fmla="*/ 2103458 h 2591209"/>
              <a:gd name="connsiteX12" fmla="*/ 750730 w 2022318"/>
              <a:gd name="connsiteY12" fmla="*/ 1628775 h 2591209"/>
              <a:gd name="connsiteX13" fmla="*/ 769780 w 2022318"/>
              <a:gd name="connsiteY13" fmla="*/ 1288257 h 2591209"/>
              <a:gd name="connsiteX14" fmla="*/ 788830 w 2022318"/>
              <a:gd name="connsiteY14" fmla="*/ 1076326 h 2591209"/>
              <a:gd name="connsiteX15" fmla="*/ 822168 w 2022318"/>
              <a:gd name="connsiteY15" fmla="*/ 1000125 h 2591209"/>
              <a:gd name="connsiteX16" fmla="*/ 872173 w 2022318"/>
              <a:gd name="connsiteY16" fmla="*/ 1062037 h 2591209"/>
              <a:gd name="connsiteX17" fmla="*/ 934086 w 2022318"/>
              <a:gd name="connsiteY17" fmla="*/ 1300163 h 2591209"/>
              <a:gd name="connsiteX18" fmla="*/ 984093 w 2022318"/>
              <a:gd name="connsiteY18" fmla="*/ 1497806 h 2591209"/>
              <a:gd name="connsiteX19" fmla="*/ 1066906 w 2022318"/>
              <a:gd name="connsiteY19" fmla="*/ 1750219 h 2591209"/>
              <a:gd name="connsiteX20" fmla="*/ 1202638 w 2022318"/>
              <a:gd name="connsiteY20" fmla="*/ 1788450 h 2591209"/>
              <a:gd name="connsiteX21" fmla="*/ 1305562 w 2022318"/>
              <a:gd name="connsiteY21" fmla="*/ 1650207 h 2591209"/>
              <a:gd name="connsiteX22" fmla="*/ 1365093 w 2022318"/>
              <a:gd name="connsiteY22" fmla="*/ 1290638 h 2591209"/>
              <a:gd name="connsiteX23" fmla="*/ 1393668 w 2022318"/>
              <a:gd name="connsiteY23" fmla="*/ 633413 h 2591209"/>
              <a:gd name="connsiteX24" fmla="*/ 1420391 w 2022318"/>
              <a:gd name="connsiteY24" fmla="*/ 268690 h 2591209"/>
              <a:gd name="connsiteX25" fmla="*/ 1487730 w 2022318"/>
              <a:gd name="connsiteY25" fmla="*/ 221848 h 2591209"/>
              <a:gd name="connsiteX26" fmla="*/ 1552682 w 2022318"/>
              <a:gd name="connsiteY26" fmla="*/ 555484 h 2591209"/>
              <a:gd name="connsiteX27" fmla="*/ 1610362 w 2022318"/>
              <a:gd name="connsiteY27" fmla="*/ 742950 h 2591209"/>
              <a:gd name="connsiteX28" fmla="*/ 1687883 w 2022318"/>
              <a:gd name="connsiteY28" fmla="*/ 819412 h 2591209"/>
              <a:gd name="connsiteX29" fmla="*/ 1788160 w 2022318"/>
              <a:gd name="connsiteY29" fmla="*/ 752736 h 2591209"/>
              <a:gd name="connsiteX30" fmla="*/ 1853249 w 2022318"/>
              <a:gd name="connsiteY30" fmla="*/ 440532 h 2591209"/>
              <a:gd name="connsiteX31" fmla="*/ 1918073 w 2022318"/>
              <a:gd name="connsiteY31" fmla="*/ 214444 h 2591209"/>
              <a:gd name="connsiteX32" fmla="*/ 2022318 w 2022318"/>
              <a:gd name="connsiteY32" fmla="*/ 0 h 2591209"/>
              <a:gd name="connsiteX0" fmla="*/ 0 w 2030802"/>
              <a:gd name="connsiteY0" fmla="*/ 2534715 h 2591209"/>
              <a:gd name="connsiteX1" fmla="*/ 182358 w 2030802"/>
              <a:gd name="connsiteY1" fmla="*/ 2423684 h 2591209"/>
              <a:gd name="connsiteX2" fmla="*/ 249891 w 2030802"/>
              <a:gd name="connsiteY2" fmla="*/ 2081735 h 2591209"/>
              <a:gd name="connsiteX3" fmla="*/ 278998 w 2030802"/>
              <a:gd name="connsiteY3" fmla="*/ 1976438 h 2591209"/>
              <a:gd name="connsiteX4" fmla="*/ 313921 w 2030802"/>
              <a:gd name="connsiteY4" fmla="*/ 1969294 h 2591209"/>
              <a:gd name="connsiteX5" fmla="*/ 340114 w 2030802"/>
              <a:gd name="connsiteY5" fmla="*/ 2024063 h 2591209"/>
              <a:gd name="connsiteX6" fmla="*/ 371070 w 2030802"/>
              <a:gd name="connsiteY6" fmla="*/ 2150270 h 2591209"/>
              <a:gd name="connsiteX7" fmla="*/ 416314 w 2030802"/>
              <a:gd name="connsiteY7" fmla="*/ 2347913 h 2591209"/>
              <a:gd name="connsiteX8" fmla="*/ 492515 w 2030802"/>
              <a:gd name="connsiteY8" fmla="*/ 2526506 h 2591209"/>
              <a:gd name="connsiteX9" fmla="*/ 591069 w 2030802"/>
              <a:gd name="connsiteY9" fmla="*/ 2588941 h 2591209"/>
              <a:gd name="connsiteX10" fmla="*/ 703914 w 2030802"/>
              <a:gd name="connsiteY10" fmla="*/ 2457711 h 2591209"/>
              <a:gd name="connsiteX11" fmla="*/ 740067 w 2030802"/>
              <a:gd name="connsiteY11" fmla="*/ 2103458 h 2591209"/>
              <a:gd name="connsiteX12" fmla="*/ 759214 w 2030802"/>
              <a:gd name="connsiteY12" fmla="*/ 1628775 h 2591209"/>
              <a:gd name="connsiteX13" fmla="*/ 778264 w 2030802"/>
              <a:gd name="connsiteY13" fmla="*/ 1288257 h 2591209"/>
              <a:gd name="connsiteX14" fmla="*/ 797314 w 2030802"/>
              <a:gd name="connsiteY14" fmla="*/ 1076326 h 2591209"/>
              <a:gd name="connsiteX15" fmla="*/ 830652 w 2030802"/>
              <a:gd name="connsiteY15" fmla="*/ 1000125 h 2591209"/>
              <a:gd name="connsiteX16" fmla="*/ 880657 w 2030802"/>
              <a:gd name="connsiteY16" fmla="*/ 1062037 h 2591209"/>
              <a:gd name="connsiteX17" fmla="*/ 942570 w 2030802"/>
              <a:gd name="connsiteY17" fmla="*/ 1300163 h 2591209"/>
              <a:gd name="connsiteX18" fmla="*/ 992577 w 2030802"/>
              <a:gd name="connsiteY18" fmla="*/ 1497806 h 2591209"/>
              <a:gd name="connsiteX19" fmla="*/ 1075390 w 2030802"/>
              <a:gd name="connsiteY19" fmla="*/ 1750219 h 2591209"/>
              <a:gd name="connsiteX20" fmla="*/ 1211122 w 2030802"/>
              <a:gd name="connsiteY20" fmla="*/ 1788450 h 2591209"/>
              <a:gd name="connsiteX21" fmla="*/ 1314046 w 2030802"/>
              <a:gd name="connsiteY21" fmla="*/ 1650207 h 2591209"/>
              <a:gd name="connsiteX22" fmla="*/ 1373577 w 2030802"/>
              <a:gd name="connsiteY22" fmla="*/ 1290638 h 2591209"/>
              <a:gd name="connsiteX23" fmla="*/ 1402152 w 2030802"/>
              <a:gd name="connsiteY23" fmla="*/ 633413 h 2591209"/>
              <a:gd name="connsiteX24" fmla="*/ 1428875 w 2030802"/>
              <a:gd name="connsiteY24" fmla="*/ 268690 h 2591209"/>
              <a:gd name="connsiteX25" fmla="*/ 1496214 w 2030802"/>
              <a:gd name="connsiteY25" fmla="*/ 221848 h 2591209"/>
              <a:gd name="connsiteX26" fmla="*/ 1561166 w 2030802"/>
              <a:gd name="connsiteY26" fmla="*/ 555484 h 2591209"/>
              <a:gd name="connsiteX27" fmla="*/ 1618846 w 2030802"/>
              <a:gd name="connsiteY27" fmla="*/ 742950 h 2591209"/>
              <a:gd name="connsiteX28" fmla="*/ 1696367 w 2030802"/>
              <a:gd name="connsiteY28" fmla="*/ 819412 h 2591209"/>
              <a:gd name="connsiteX29" fmla="*/ 1796644 w 2030802"/>
              <a:gd name="connsiteY29" fmla="*/ 752736 h 2591209"/>
              <a:gd name="connsiteX30" fmla="*/ 1861733 w 2030802"/>
              <a:gd name="connsiteY30" fmla="*/ 440532 h 2591209"/>
              <a:gd name="connsiteX31" fmla="*/ 1926557 w 2030802"/>
              <a:gd name="connsiteY31" fmla="*/ 214444 h 2591209"/>
              <a:gd name="connsiteX32" fmla="*/ 2030802 w 2030802"/>
              <a:gd name="connsiteY32" fmla="*/ 0 h 2591209"/>
              <a:gd name="connsiteX0" fmla="*/ 0 w 2029859"/>
              <a:gd name="connsiteY0" fmla="*/ 2534715 h 2591209"/>
              <a:gd name="connsiteX1" fmla="*/ 181415 w 2029859"/>
              <a:gd name="connsiteY1" fmla="*/ 2423684 h 2591209"/>
              <a:gd name="connsiteX2" fmla="*/ 248948 w 2029859"/>
              <a:gd name="connsiteY2" fmla="*/ 2081735 h 2591209"/>
              <a:gd name="connsiteX3" fmla="*/ 278055 w 2029859"/>
              <a:gd name="connsiteY3" fmla="*/ 1976438 h 2591209"/>
              <a:gd name="connsiteX4" fmla="*/ 312978 w 2029859"/>
              <a:gd name="connsiteY4" fmla="*/ 1969294 h 2591209"/>
              <a:gd name="connsiteX5" fmla="*/ 339171 w 2029859"/>
              <a:gd name="connsiteY5" fmla="*/ 2024063 h 2591209"/>
              <a:gd name="connsiteX6" fmla="*/ 370127 w 2029859"/>
              <a:gd name="connsiteY6" fmla="*/ 2150270 h 2591209"/>
              <a:gd name="connsiteX7" fmla="*/ 415371 w 2029859"/>
              <a:gd name="connsiteY7" fmla="*/ 2347913 h 2591209"/>
              <a:gd name="connsiteX8" fmla="*/ 491572 w 2029859"/>
              <a:gd name="connsiteY8" fmla="*/ 2526506 h 2591209"/>
              <a:gd name="connsiteX9" fmla="*/ 590126 w 2029859"/>
              <a:gd name="connsiteY9" fmla="*/ 2588941 h 2591209"/>
              <a:gd name="connsiteX10" fmla="*/ 702971 w 2029859"/>
              <a:gd name="connsiteY10" fmla="*/ 2457711 h 2591209"/>
              <a:gd name="connsiteX11" fmla="*/ 739124 w 2029859"/>
              <a:gd name="connsiteY11" fmla="*/ 2103458 h 2591209"/>
              <a:gd name="connsiteX12" fmla="*/ 758271 w 2029859"/>
              <a:gd name="connsiteY12" fmla="*/ 1628775 h 2591209"/>
              <a:gd name="connsiteX13" fmla="*/ 777321 w 2029859"/>
              <a:gd name="connsiteY13" fmla="*/ 1288257 h 2591209"/>
              <a:gd name="connsiteX14" fmla="*/ 796371 w 2029859"/>
              <a:gd name="connsiteY14" fmla="*/ 1076326 h 2591209"/>
              <a:gd name="connsiteX15" fmla="*/ 829709 w 2029859"/>
              <a:gd name="connsiteY15" fmla="*/ 1000125 h 2591209"/>
              <a:gd name="connsiteX16" fmla="*/ 879714 w 2029859"/>
              <a:gd name="connsiteY16" fmla="*/ 1062037 h 2591209"/>
              <a:gd name="connsiteX17" fmla="*/ 941627 w 2029859"/>
              <a:gd name="connsiteY17" fmla="*/ 1300163 h 2591209"/>
              <a:gd name="connsiteX18" fmla="*/ 991634 w 2029859"/>
              <a:gd name="connsiteY18" fmla="*/ 1497806 h 2591209"/>
              <a:gd name="connsiteX19" fmla="*/ 1074447 w 2029859"/>
              <a:gd name="connsiteY19" fmla="*/ 1750219 h 2591209"/>
              <a:gd name="connsiteX20" fmla="*/ 1210179 w 2029859"/>
              <a:gd name="connsiteY20" fmla="*/ 1788450 h 2591209"/>
              <a:gd name="connsiteX21" fmla="*/ 1313103 w 2029859"/>
              <a:gd name="connsiteY21" fmla="*/ 1650207 h 2591209"/>
              <a:gd name="connsiteX22" fmla="*/ 1372634 w 2029859"/>
              <a:gd name="connsiteY22" fmla="*/ 1290638 h 2591209"/>
              <a:gd name="connsiteX23" fmla="*/ 1401209 w 2029859"/>
              <a:gd name="connsiteY23" fmla="*/ 633413 h 2591209"/>
              <a:gd name="connsiteX24" fmla="*/ 1427932 w 2029859"/>
              <a:gd name="connsiteY24" fmla="*/ 268690 h 2591209"/>
              <a:gd name="connsiteX25" fmla="*/ 1495271 w 2029859"/>
              <a:gd name="connsiteY25" fmla="*/ 221848 h 2591209"/>
              <a:gd name="connsiteX26" fmla="*/ 1560223 w 2029859"/>
              <a:gd name="connsiteY26" fmla="*/ 555484 h 2591209"/>
              <a:gd name="connsiteX27" fmla="*/ 1617903 w 2029859"/>
              <a:gd name="connsiteY27" fmla="*/ 742950 h 2591209"/>
              <a:gd name="connsiteX28" fmla="*/ 1695424 w 2029859"/>
              <a:gd name="connsiteY28" fmla="*/ 819412 h 2591209"/>
              <a:gd name="connsiteX29" fmla="*/ 1795701 w 2029859"/>
              <a:gd name="connsiteY29" fmla="*/ 752736 h 2591209"/>
              <a:gd name="connsiteX30" fmla="*/ 1860790 w 2029859"/>
              <a:gd name="connsiteY30" fmla="*/ 440532 h 2591209"/>
              <a:gd name="connsiteX31" fmla="*/ 1925614 w 2029859"/>
              <a:gd name="connsiteY31" fmla="*/ 214444 h 2591209"/>
              <a:gd name="connsiteX32" fmla="*/ 2029859 w 2029859"/>
              <a:gd name="connsiteY32" fmla="*/ 0 h 2591209"/>
              <a:gd name="connsiteX0" fmla="*/ 0 w 2027974"/>
              <a:gd name="connsiteY0" fmla="*/ 2529259 h 2591209"/>
              <a:gd name="connsiteX1" fmla="*/ 179530 w 2027974"/>
              <a:gd name="connsiteY1" fmla="*/ 2423684 h 2591209"/>
              <a:gd name="connsiteX2" fmla="*/ 247063 w 2027974"/>
              <a:gd name="connsiteY2" fmla="*/ 2081735 h 2591209"/>
              <a:gd name="connsiteX3" fmla="*/ 276170 w 2027974"/>
              <a:gd name="connsiteY3" fmla="*/ 1976438 h 2591209"/>
              <a:gd name="connsiteX4" fmla="*/ 311093 w 2027974"/>
              <a:gd name="connsiteY4" fmla="*/ 1969294 h 2591209"/>
              <a:gd name="connsiteX5" fmla="*/ 337286 w 2027974"/>
              <a:gd name="connsiteY5" fmla="*/ 2024063 h 2591209"/>
              <a:gd name="connsiteX6" fmla="*/ 368242 w 2027974"/>
              <a:gd name="connsiteY6" fmla="*/ 2150270 h 2591209"/>
              <a:gd name="connsiteX7" fmla="*/ 413486 w 2027974"/>
              <a:gd name="connsiteY7" fmla="*/ 2347913 h 2591209"/>
              <a:gd name="connsiteX8" fmla="*/ 489687 w 2027974"/>
              <a:gd name="connsiteY8" fmla="*/ 2526506 h 2591209"/>
              <a:gd name="connsiteX9" fmla="*/ 588241 w 2027974"/>
              <a:gd name="connsiteY9" fmla="*/ 2588941 h 2591209"/>
              <a:gd name="connsiteX10" fmla="*/ 701086 w 2027974"/>
              <a:gd name="connsiteY10" fmla="*/ 2457711 h 2591209"/>
              <a:gd name="connsiteX11" fmla="*/ 737239 w 2027974"/>
              <a:gd name="connsiteY11" fmla="*/ 2103458 h 2591209"/>
              <a:gd name="connsiteX12" fmla="*/ 756386 w 2027974"/>
              <a:gd name="connsiteY12" fmla="*/ 1628775 h 2591209"/>
              <a:gd name="connsiteX13" fmla="*/ 775436 w 2027974"/>
              <a:gd name="connsiteY13" fmla="*/ 1288257 h 2591209"/>
              <a:gd name="connsiteX14" fmla="*/ 794486 w 2027974"/>
              <a:gd name="connsiteY14" fmla="*/ 1076326 h 2591209"/>
              <a:gd name="connsiteX15" fmla="*/ 827824 w 2027974"/>
              <a:gd name="connsiteY15" fmla="*/ 1000125 h 2591209"/>
              <a:gd name="connsiteX16" fmla="*/ 877829 w 2027974"/>
              <a:gd name="connsiteY16" fmla="*/ 1062037 h 2591209"/>
              <a:gd name="connsiteX17" fmla="*/ 939742 w 2027974"/>
              <a:gd name="connsiteY17" fmla="*/ 1300163 h 2591209"/>
              <a:gd name="connsiteX18" fmla="*/ 989749 w 2027974"/>
              <a:gd name="connsiteY18" fmla="*/ 1497806 h 2591209"/>
              <a:gd name="connsiteX19" fmla="*/ 1072562 w 2027974"/>
              <a:gd name="connsiteY19" fmla="*/ 1750219 h 2591209"/>
              <a:gd name="connsiteX20" fmla="*/ 1208294 w 2027974"/>
              <a:gd name="connsiteY20" fmla="*/ 1788450 h 2591209"/>
              <a:gd name="connsiteX21" fmla="*/ 1311218 w 2027974"/>
              <a:gd name="connsiteY21" fmla="*/ 1650207 h 2591209"/>
              <a:gd name="connsiteX22" fmla="*/ 1370749 w 2027974"/>
              <a:gd name="connsiteY22" fmla="*/ 1290638 h 2591209"/>
              <a:gd name="connsiteX23" fmla="*/ 1399324 w 2027974"/>
              <a:gd name="connsiteY23" fmla="*/ 633413 h 2591209"/>
              <a:gd name="connsiteX24" fmla="*/ 1426047 w 2027974"/>
              <a:gd name="connsiteY24" fmla="*/ 268690 h 2591209"/>
              <a:gd name="connsiteX25" fmla="*/ 1493386 w 2027974"/>
              <a:gd name="connsiteY25" fmla="*/ 221848 h 2591209"/>
              <a:gd name="connsiteX26" fmla="*/ 1558338 w 2027974"/>
              <a:gd name="connsiteY26" fmla="*/ 555484 h 2591209"/>
              <a:gd name="connsiteX27" fmla="*/ 1616018 w 2027974"/>
              <a:gd name="connsiteY27" fmla="*/ 742950 h 2591209"/>
              <a:gd name="connsiteX28" fmla="*/ 1693539 w 2027974"/>
              <a:gd name="connsiteY28" fmla="*/ 819412 h 2591209"/>
              <a:gd name="connsiteX29" fmla="*/ 1793816 w 2027974"/>
              <a:gd name="connsiteY29" fmla="*/ 752736 h 2591209"/>
              <a:gd name="connsiteX30" fmla="*/ 1858905 w 2027974"/>
              <a:gd name="connsiteY30" fmla="*/ 440532 h 2591209"/>
              <a:gd name="connsiteX31" fmla="*/ 1923729 w 2027974"/>
              <a:gd name="connsiteY31" fmla="*/ 214444 h 2591209"/>
              <a:gd name="connsiteX32" fmla="*/ 2027974 w 2027974"/>
              <a:gd name="connsiteY32" fmla="*/ 0 h 2591209"/>
              <a:gd name="connsiteX0" fmla="*/ 0 w 2027974"/>
              <a:gd name="connsiteY0" fmla="*/ 2529259 h 2591209"/>
              <a:gd name="connsiteX1" fmla="*/ 179530 w 2027974"/>
              <a:gd name="connsiteY1" fmla="*/ 2423684 h 2591209"/>
              <a:gd name="connsiteX2" fmla="*/ 247063 w 2027974"/>
              <a:gd name="connsiteY2" fmla="*/ 2081735 h 2591209"/>
              <a:gd name="connsiteX3" fmla="*/ 276170 w 2027974"/>
              <a:gd name="connsiteY3" fmla="*/ 1976438 h 2591209"/>
              <a:gd name="connsiteX4" fmla="*/ 311093 w 2027974"/>
              <a:gd name="connsiteY4" fmla="*/ 1969294 h 2591209"/>
              <a:gd name="connsiteX5" fmla="*/ 337286 w 2027974"/>
              <a:gd name="connsiteY5" fmla="*/ 2024063 h 2591209"/>
              <a:gd name="connsiteX6" fmla="*/ 368242 w 2027974"/>
              <a:gd name="connsiteY6" fmla="*/ 2150270 h 2591209"/>
              <a:gd name="connsiteX7" fmla="*/ 413486 w 2027974"/>
              <a:gd name="connsiteY7" fmla="*/ 2347913 h 2591209"/>
              <a:gd name="connsiteX8" fmla="*/ 489687 w 2027974"/>
              <a:gd name="connsiteY8" fmla="*/ 2526506 h 2591209"/>
              <a:gd name="connsiteX9" fmla="*/ 588241 w 2027974"/>
              <a:gd name="connsiteY9" fmla="*/ 2588941 h 2591209"/>
              <a:gd name="connsiteX10" fmla="*/ 701086 w 2027974"/>
              <a:gd name="connsiteY10" fmla="*/ 2457711 h 2591209"/>
              <a:gd name="connsiteX11" fmla="*/ 737239 w 2027974"/>
              <a:gd name="connsiteY11" fmla="*/ 2103458 h 2591209"/>
              <a:gd name="connsiteX12" fmla="*/ 756386 w 2027974"/>
              <a:gd name="connsiteY12" fmla="*/ 1628775 h 2591209"/>
              <a:gd name="connsiteX13" fmla="*/ 775436 w 2027974"/>
              <a:gd name="connsiteY13" fmla="*/ 1288257 h 2591209"/>
              <a:gd name="connsiteX14" fmla="*/ 794486 w 2027974"/>
              <a:gd name="connsiteY14" fmla="*/ 1076326 h 2591209"/>
              <a:gd name="connsiteX15" fmla="*/ 827824 w 2027974"/>
              <a:gd name="connsiteY15" fmla="*/ 1000125 h 2591209"/>
              <a:gd name="connsiteX16" fmla="*/ 877829 w 2027974"/>
              <a:gd name="connsiteY16" fmla="*/ 1062037 h 2591209"/>
              <a:gd name="connsiteX17" fmla="*/ 939742 w 2027974"/>
              <a:gd name="connsiteY17" fmla="*/ 1300163 h 2591209"/>
              <a:gd name="connsiteX18" fmla="*/ 989749 w 2027974"/>
              <a:gd name="connsiteY18" fmla="*/ 1497806 h 2591209"/>
              <a:gd name="connsiteX19" fmla="*/ 1072562 w 2027974"/>
              <a:gd name="connsiteY19" fmla="*/ 1750219 h 2591209"/>
              <a:gd name="connsiteX20" fmla="*/ 1208294 w 2027974"/>
              <a:gd name="connsiteY20" fmla="*/ 1788450 h 2591209"/>
              <a:gd name="connsiteX21" fmla="*/ 1311218 w 2027974"/>
              <a:gd name="connsiteY21" fmla="*/ 1650207 h 2591209"/>
              <a:gd name="connsiteX22" fmla="*/ 1370749 w 2027974"/>
              <a:gd name="connsiteY22" fmla="*/ 1290638 h 2591209"/>
              <a:gd name="connsiteX23" fmla="*/ 1399324 w 2027974"/>
              <a:gd name="connsiteY23" fmla="*/ 633413 h 2591209"/>
              <a:gd name="connsiteX24" fmla="*/ 1426047 w 2027974"/>
              <a:gd name="connsiteY24" fmla="*/ 268690 h 2591209"/>
              <a:gd name="connsiteX25" fmla="*/ 1493386 w 2027974"/>
              <a:gd name="connsiteY25" fmla="*/ 221848 h 2591209"/>
              <a:gd name="connsiteX26" fmla="*/ 1558338 w 2027974"/>
              <a:gd name="connsiteY26" fmla="*/ 555484 h 2591209"/>
              <a:gd name="connsiteX27" fmla="*/ 1616018 w 2027974"/>
              <a:gd name="connsiteY27" fmla="*/ 742950 h 2591209"/>
              <a:gd name="connsiteX28" fmla="*/ 1693539 w 2027974"/>
              <a:gd name="connsiteY28" fmla="*/ 819412 h 2591209"/>
              <a:gd name="connsiteX29" fmla="*/ 1793816 w 2027974"/>
              <a:gd name="connsiteY29" fmla="*/ 752736 h 2591209"/>
              <a:gd name="connsiteX30" fmla="*/ 1858905 w 2027974"/>
              <a:gd name="connsiteY30" fmla="*/ 440532 h 2591209"/>
              <a:gd name="connsiteX31" fmla="*/ 1923729 w 2027974"/>
              <a:gd name="connsiteY31" fmla="*/ 214444 h 2591209"/>
              <a:gd name="connsiteX32" fmla="*/ 2027974 w 2027974"/>
              <a:gd name="connsiteY32" fmla="*/ 0 h 2591209"/>
              <a:gd name="connsiteX0" fmla="*/ 0 w 2027974"/>
              <a:gd name="connsiteY0" fmla="*/ 2529259 h 2591209"/>
              <a:gd name="connsiteX1" fmla="*/ 179530 w 2027974"/>
              <a:gd name="connsiteY1" fmla="*/ 2423684 h 2591209"/>
              <a:gd name="connsiteX2" fmla="*/ 247063 w 2027974"/>
              <a:gd name="connsiteY2" fmla="*/ 2081735 h 2591209"/>
              <a:gd name="connsiteX3" fmla="*/ 276170 w 2027974"/>
              <a:gd name="connsiteY3" fmla="*/ 1976438 h 2591209"/>
              <a:gd name="connsiteX4" fmla="*/ 311093 w 2027974"/>
              <a:gd name="connsiteY4" fmla="*/ 1969294 h 2591209"/>
              <a:gd name="connsiteX5" fmla="*/ 337286 w 2027974"/>
              <a:gd name="connsiteY5" fmla="*/ 2024063 h 2591209"/>
              <a:gd name="connsiteX6" fmla="*/ 368242 w 2027974"/>
              <a:gd name="connsiteY6" fmla="*/ 2150270 h 2591209"/>
              <a:gd name="connsiteX7" fmla="*/ 413486 w 2027974"/>
              <a:gd name="connsiteY7" fmla="*/ 2347913 h 2591209"/>
              <a:gd name="connsiteX8" fmla="*/ 489687 w 2027974"/>
              <a:gd name="connsiteY8" fmla="*/ 2526506 h 2591209"/>
              <a:gd name="connsiteX9" fmla="*/ 588241 w 2027974"/>
              <a:gd name="connsiteY9" fmla="*/ 2588941 h 2591209"/>
              <a:gd name="connsiteX10" fmla="*/ 701086 w 2027974"/>
              <a:gd name="connsiteY10" fmla="*/ 2457711 h 2591209"/>
              <a:gd name="connsiteX11" fmla="*/ 737239 w 2027974"/>
              <a:gd name="connsiteY11" fmla="*/ 2103458 h 2591209"/>
              <a:gd name="connsiteX12" fmla="*/ 756386 w 2027974"/>
              <a:gd name="connsiteY12" fmla="*/ 1628775 h 2591209"/>
              <a:gd name="connsiteX13" fmla="*/ 775436 w 2027974"/>
              <a:gd name="connsiteY13" fmla="*/ 1288257 h 2591209"/>
              <a:gd name="connsiteX14" fmla="*/ 794486 w 2027974"/>
              <a:gd name="connsiteY14" fmla="*/ 1076326 h 2591209"/>
              <a:gd name="connsiteX15" fmla="*/ 827824 w 2027974"/>
              <a:gd name="connsiteY15" fmla="*/ 1000125 h 2591209"/>
              <a:gd name="connsiteX16" fmla="*/ 877829 w 2027974"/>
              <a:gd name="connsiteY16" fmla="*/ 1062037 h 2591209"/>
              <a:gd name="connsiteX17" fmla="*/ 939742 w 2027974"/>
              <a:gd name="connsiteY17" fmla="*/ 1300163 h 2591209"/>
              <a:gd name="connsiteX18" fmla="*/ 989749 w 2027974"/>
              <a:gd name="connsiteY18" fmla="*/ 1497806 h 2591209"/>
              <a:gd name="connsiteX19" fmla="*/ 1072562 w 2027974"/>
              <a:gd name="connsiteY19" fmla="*/ 1750219 h 2591209"/>
              <a:gd name="connsiteX20" fmla="*/ 1208294 w 2027974"/>
              <a:gd name="connsiteY20" fmla="*/ 1788450 h 2591209"/>
              <a:gd name="connsiteX21" fmla="*/ 1311218 w 2027974"/>
              <a:gd name="connsiteY21" fmla="*/ 1650207 h 2591209"/>
              <a:gd name="connsiteX22" fmla="*/ 1370749 w 2027974"/>
              <a:gd name="connsiteY22" fmla="*/ 1290638 h 2591209"/>
              <a:gd name="connsiteX23" fmla="*/ 1399324 w 2027974"/>
              <a:gd name="connsiteY23" fmla="*/ 633413 h 2591209"/>
              <a:gd name="connsiteX24" fmla="*/ 1426047 w 2027974"/>
              <a:gd name="connsiteY24" fmla="*/ 268690 h 2591209"/>
              <a:gd name="connsiteX25" fmla="*/ 1493386 w 2027974"/>
              <a:gd name="connsiteY25" fmla="*/ 221848 h 2591209"/>
              <a:gd name="connsiteX26" fmla="*/ 1558338 w 2027974"/>
              <a:gd name="connsiteY26" fmla="*/ 555484 h 2591209"/>
              <a:gd name="connsiteX27" fmla="*/ 1616018 w 2027974"/>
              <a:gd name="connsiteY27" fmla="*/ 742950 h 2591209"/>
              <a:gd name="connsiteX28" fmla="*/ 1693539 w 2027974"/>
              <a:gd name="connsiteY28" fmla="*/ 819412 h 2591209"/>
              <a:gd name="connsiteX29" fmla="*/ 1793816 w 2027974"/>
              <a:gd name="connsiteY29" fmla="*/ 752736 h 2591209"/>
              <a:gd name="connsiteX30" fmla="*/ 1858905 w 2027974"/>
              <a:gd name="connsiteY30" fmla="*/ 440532 h 2591209"/>
              <a:gd name="connsiteX31" fmla="*/ 1923729 w 2027974"/>
              <a:gd name="connsiteY31" fmla="*/ 214444 h 2591209"/>
              <a:gd name="connsiteX32" fmla="*/ 2027974 w 2027974"/>
              <a:gd name="connsiteY32" fmla="*/ 0 h 2591209"/>
              <a:gd name="connsiteX0" fmla="*/ 0 w 2027974"/>
              <a:gd name="connsiteY0" fmla="*/ 2529259 h 2591209"/>
              <a:gd name="connsiteX1" fmla="*/ 179530 w 2027974"/>
              <a:gd name="connsiteY1" fmla="*/ 2423684 h 2591209"/>
              <a:gd name="connsiteX2" fmla="*/ 247063 w 2027974"/>
              <a:gd name="connsiteY2" fmla="*/ 2081735 h 2591209"/>
              <a:gd name="connsiteX3" fmla="*/ 276170 w 2027974"/>
              <a:gd name="connsiteY3" fmla="*/ 1976438 h 2591209"/>
              <a:gd name="connsiteX4" fmla="*/ 311093 w 2027974"/>
              <a:gd name="connsiteY4" fmla="*/ 1969294 h 2591209"/>
              <a:gd name="connsiteX5" fmla="*/ 337286 w 2027974"/>
              <a:gd name="connsiteY5" fmla="*/ 2024063 h 2591209"/>
              <a:gd name="connsiteX6" fmla="*/ 368242 w 2027974"/>
              <a:gd name="connsiteY6" fmla="*/ 2150270 h 2591209"/>
              <a:gd name="connsiteX7" fmla="*/ 413486 w 2027974"/>
              <a:gd name="connsiteY7" fmla="*/ 2347913 h 2591209"/>
              <a:gd name="connsiteX8" fmla="*/ 489687 w 2027974"/>
              <a:gd name="connsiteY8" fmla="*/ 2526506 h 2591209"/>
              <a:gd name="connsiteX9" fmla="*/ 588241 w 2027974"/>
              <a:gd name="connsiteY9" fmla="*/ 2588941 h 2591209"/>
              <a:gd name="connsiteX10" fmla="*/ 701086 w 2027974"/>
              <a:gd name="connsiteY10" fmla="*/ 2457711 h 2591209"/>
              <a:gd name="connsiteX11" fmla="*/ 737239 w 2027974"/>
              <a:gd name="connsiteY11" fmla="*/ 2103458 h 2591209"/>
              <a:gd name="connsiteX12" fmla="*/ 756386 w 2027974"/>
              <a:gd name="connsiteY12" fmla="*/ 1628775 h 2591209"/>
              <a:gd name="connsiteX13" fmla="*/ 775436 w 2027974"/>
              <a:gd name="connsiteY13" fmla="*/ 1288257 h 2591209"/>
              <a:gd name="connsiteX14" fmla="*/ 794486 w 2027974"/>
              <a:gd name="connsiteY14" fmla="*/ 1076326 h 2591209"/>
              <a:gd name="connsiteX15" fmla="*/ 827824 w 2027974"/>
              <a:gd name="connsiteY15" fmla="*/ 1000125 h 2591209"/>
              <a:gd name="connsiteX16" fmla="*/ 877829 w 2027974"/>
              <a:gd name="connsiteY16" fmla="*/ 1062037 h 2591209"/>
              <a:gd name="connsiteX17" fmla="*/ 939742 w 2027974"/>
              <a:gd name="connsiteY17" fmla="*/ 1300163 h 2591209"/>
              <a:gd name="connsiteX18" fmla="*/ 989749 w 2027974"/>
              <a:gd name="connsiteY18" fmla="*/ 1497806 h 2591209"/>
              <a:gd name="connsiteX19" fmla="*/ 1072562 w 2027974"/>
              <a:gd name="connsiteY19" fmla="*/ 1750219 h 2591209"/>
              <a:gd name="connsiteX20" fmla="*/ 1208294 w 2027974"/>
              <a:gd name="connsiteY20" fmla="*/ 1788450 h 2591209"/>
              <a:gd name="connsiteX21" fmla="*/ 1311218 w 2027974"/>
              <a:gd name="connsiteY21" fmla="*/ 1650207 h 2591209"/>
              <a:gd name="connsiteX22" fmla="*/ 1370749 w 2027974"/>
              <a:gd name="connsiteY22" fmla="*/ 1290638 h 2591209"/>
              <a:gd name="connsiteX23" fmla="*/ 1399324 w 2027974"/>
              <a:gd name="connsiteY23" fmla="*/ 633413 h 2591209"/>
              <a:gd name="connsiteX24" fmla="*/ 1426047 w 2027974"/>
              <a:gd name="connsiteY24" fmla="*/ 268690 h 2591209"/>
              <a:gd name="connsiteX25" fmla="*/ 1493386 w 2027974"/>
              <a:gd name="connsiteY25" fmla="*/ 221848 h 2591209"/>
              <a:gd name="connsiteX26" fmla="*/ 1558338 w 2027974"/>
              <a:gd name="connsiteY26" fmla="*/ 555484 h 2591209"/>
              <a:gd name="connsiteX27" fmla="*/ 1616018 w 2027974"/>
              <a:gd name="connsiteY27" fmla="*/ 742950 h 2591209"/>
              <a:gd name="connsiteX28" fmla="*/ 1693539 w 2027974"/>
              <a:gd name="connsiteY28" fmla="*/ 819412 h 2591209"/>
              <a:gd name="connsiteX29" fmla="*/ 1793816 w 2027974"/>
              <a:gd name="connsiteY29" fmla="*/ 752736 h 2591209"/>
              <a:gd name="connsiteX30" fmla="*/ 1858905 w 2027974"/>
              <a:gd name="connsiteY30" fmla="*/ 440532 h 2591209"/>
              <a:gd name="connsiteX31" fmla="*/ 1923729 w 2027974"/>
              <a:gd name="connsiteY31" fmla="*/ 214444 h 2591209"/>
              <a:gd name="connsiteX32" fmla="*/ 2027974 w 2027974"/>
              <a:gd name="connsiteY32" fmla="*/ 0 h 2591209"/>
              <a:gd name="connsiteX0" fmla="*/ 0 w 2023261"/>
              <a:gd name="connsiteY0" fmla="*/ 2534716 h 2591209"/>
              <a:gd name="connsiteX1" fmla="*/ 174817 w 2023261"/>
              <a:gd name="connsiteY1" fmla="*/ 2423684 h 2591209"/>
              <a:gd name="connsiteX2" fmla="*/ 242350 w 2023261"/>
              <a:gd name="connsiteY2" fmla="*/ 2081735 h 2591209"/>
              <a:gd name="connsiteX3" fmla="*/ 271457 w 2023261"/>
              <a:gd name="connsiteY3" fmla="*/ 1976438 h 2591209"/>
              <a:gd name="connsiteX4" fmla="*/ 306380 w 2023261"/>
              <a:gd name="connsiteY4" fmla="*/ 1969294 h 2591209"/>
              <a:gd name="connsiteX5" fmla="*/ 332573 w 2023261"/>
              <a:gd name="connsiteY5" fmla="*/ 2024063 h 2591209"/>
              <a:gd name="connsiteX6" fmla="*/ 363529 w 2023261"/>
              <a:gd name="connsiteY6" fmla="*/ 2150270 h 2591209"/>
              <a:gd name="connsiteX7" fmla="*/ 408773 w 2023261"/>
              <a:gd name="connsiteY7" fmla="*/ 2347913 h 2591209"/>
              <a:gd name="connsiteX8" fmla="*/ 484974 w 2023261"/>
              <a:gd name="connsiteY8" fmla="*/ 2526506 h 2591209"/>
              <a:gd name="connsiteX9" fmla="*/ 583528 w 2023261"/>
              <a:gd name="connsiteY9" fmla="*/ 2588941 h 2591209"/>
              <a:gd name="connsiteX10" fmla="*/ 696373 w 2023261"/>
              <a:gd name="connsiteY10" fmla="*/ 2457711 h 2591209"/>
              <a:gd name="connsiteX11" fmla="*/ 732526 w 2023261"/>
              <a:gd name="connsiteY11" fmla="*/ 2103458 h 2591209"/>
              <a:gd name="connsiteX12" fmla="*/ 751673 w 2023261"/>
              <a:gd name="connsiteY12" fmla="*/ 1628775 h 2591209"/>
              <a:gd name="connsiteX13" fmla="*/ 770723 w 2023261"/>
              <a:gd name="connsiteY13" fmla="*/ 1288257 h 2591209"/>
              <a:gd name="connsiteX14" fmla="*/ 789773 w 2023261"/>
              <a:gd name="connsiteY14" fmla="*/ 1076326 h 2591209"/>
              <a:gd name="connsiteX15" fmla="*/ 823111 w 2023261"/>
              <a:gd name="connsiteY15" fmla="*/ 1000125 h 2591209"/>
              <a:gd name="connsiteX16" fmla="*/ 873116 w 2023261"/>
              <a:gd name="connsiteY16" fmla="*/ 1062037 h 2591209"/>
              <a:gd name="connsiteX17" fmla="*/ 935029 w 2023261"/>
              <a:gd name="connsiteY17" fmla="*/ 1300163 h 2591209"/>
              <a:gd name="connsiteX18" fmla="*/ 985036 w 2023261"/>
              <a:gd name="connsiteY18" fmla="*/ 1497806 h 2591209"/>
              <a:gd name="connsiteX19" fmla="*/ 1067849 w 2023261"/>
              <a:gd name="connsiteY19" fmla="*/ 1750219 h 2591209"/>
              <a:gd name="connsiteX20" fmla="*/ 1203581 w 2023261"/>
              <a:gd name="connsiteY20" fmla="*/ 1788450 h 2591209"/>
              <a:gd name="connsiteX21" fmla="*/ 1306505 w 2023261"/>
              <a:gd name="connsiteY21" fmla="*/ 1650207 h 2591209"/>
              <a:gd name="connsiteX22" fmla="*/ 1366036 w 2023261"/>
              <a:gd name="connsiteY22" fmla="*/ 1290638 h 2591209"/>
              <a:gd name="connsiteX23" fmla="*/ 1394611 w 2023261"/>
              <a:gd name="connsiteY23" fmla="*/ 633413 h 2591209"/>
              <a:gd name="connsiteX24" fmla="*/ 1421334 w 2023261"/>
              <a:gd name="connsiteY24" fmla="*/ 268690 h 2591209"/>
              <a:gd name="connsiteX25" fmla="*/ 1488673 w 2023261"/>
              <a:gd name="connsiteY25" fmla="*/ 221848 h 2591209"/>
              <a:gd name="connsiteX26" fmla="*/ 1553625 w 2023261"/>
              <a:gd name="connsiteY26" fmla="*/ 555484 h 2591209"/>
              <a:gd name="connsiteX27" fmla="*/ 1611305 w 2023261"/>
              <a:gd name="connsiteY27" fmla="*/ 742950 h 2591209"/>
              <a:gd name="connsiteX28" fmla="*/ 1688826 w 2023261"/>
              <a:gd name="connsiteY28" fmla="*/ 819412 h 2591209"/>
              <a:gd name="connsiteX29" fmla="*/ 1789103 w 2023261"/>
              <a:gd name="connsiteY29" fmla="*/ 752736 h 2591209"/>
              <a:gd name="connsiteX30" fmla="*/ 1854192 w 2023261"/>
              <a:gd name="connsiteY30" fmla="*/ 440532 h 2591209"/>
              <a:gd name="connsiteX31" fmla="*/ 1919016 w 2023261"/>
              <a:gd name="connsiteY31" fmla="*/ 214444 h 2591209"/>
              <a:gd name="connsiteX32" fmla="*/ 2023261 w 2023261"/>
              <a:gd name="connsiteY32" fmla="*/ 0 h 2591209"/>
              <a:gd name="connsiteX0" fmla="*/ 0 w 2023261"/>
              <a:gd name="connsiteY0" fmla="*/ 2534716 h 2591209"/>
              <a:gd name="connsiteX1" fmla="*/ 174817 w 2023261"/>
              <a:gd name="connsiteY1" fmla="*/ 2423684 h 2591209"/>
              <a:gd name="connsiteX2" fmla="*/ 242350 w 2023261"/>
              <a:gd name="connsiteY2" fmla="*/ 2081735 h 2591209"/>
              <a:gd name="connsiteX3" fmla="*/ 271457 w 2023261"/>
              <a:gd name="connsiteY3" fmla="*/ 1976438 h 2591209"/>
              <a:gd name="connsiteX4" fmla="*/ 306380 w 2023261"/>
              <a:gd name="connsiteY4" fmla="*/ 1969294 h 2591209"/>
              <a:gd name="connsiteX5" fmla="*/ 332573 w 2023261"/>
              <a:gd name="connsiteY5" fmla="*/ 2024063 h 2591209"/>
              <a:gd name="connsiteX6" fmla="*/ 363529 w 2023261"/>
              <a:gd name="connsiteY6" fmla="*/ 2150270 h 2591209"/>
              <a:gd name="connsiteX7" fmla="*/ 408773 w 2023261"/>
              <a:gd name="connsiteY7" fmla="*/ 2347913 h 2591209"/>
              <a:gd name="connsiteX8" fmla="*/ 484974 w 2023261"/>
              <a:gd name="connsiteY8" fmla="*/ 2526506 h 2591209"/>
              <a:gd name="connsiteX9" fmla="*/ 583528 w 2023261"/>
              <a:gd name="connsiteY9" fmla="*/ 2588941 h 2591209"/>
              <a:gd name="connsiteX10" fmla="*/ 696373 w 2023261"/>
              <a:gd name="connsiteY10" fmla="*/ 2457711 h 2591209"/>
              <a:gd name="connsiteX11" fmla="*/ 732526 w 2023261"/>
              <a:gd name="connsiteY11" fmla="*/ 2103458 h 2591209"/>
              <a:gd name="connsiteX12" fmla="*/ 751673 w 2023261"/>
              <a:gd name="connsiteY12" fmla="*/ 1628775 h 2591209"/>
              <a:gd name="connsiteX13" fmla="*/ 770723 w 2023261"/>
              <a:gd name="connsiteY13" fmla="*/ 1288257 h 2591209"/>
              <a:gd name="connsiteX14" fmla="*/ 789773 w 2023261"/>
              <a:gd name="connsiteY14" fmla="*/ 1076326 h 2591209"/>
              <a:gd name="connsiteX15" fmla="*/ 823111 w 2023261"/>
              <a:gd name="connsiteY15" fmla="*/ 1000125 h 2591209"/>
              <a:gd name="connsiteX16" fmla="*/ 873116 w 2023261"/>
              <a:gd name="connsiteY16" fmla="*/ 1062037 h 2591209"/>
              <a:gd name="connsiteX17" fmla="*/ 935029 w 2023261"/>
              <a:gd name="connsiteY17" fmla="*/ 1300163 h 2591209"/>
              <a:gd name="connsiteX18" fmla="*/ 985036 w 2023261"/>
              <a:gd name="connsiteY18" fmla="*/ 1497806 h 2591209"/>
              <a:gd name="connsiteX19" fmla="*/ 1067849 w 2023261"/>
              <a:gd name="connsiteY19" fmla="*/ 1750219 h 2591209"/>
              <a:gd name="connsiteX20" fmla="*/ 1203581 w 2023261"/>
              <a:gd name="connsiteY20" fmla="*/ 1788450 h 2591209"/>
              <a:gd name="connsiteX21" fmla="*/ 1306505 w 2023261"/>
              <a:gd name="connsiteY21" fmla="*/ 1650207 h 2591209"/>
              <a:gd name="connsiteX22" fmla="*/ 1366036 w 2023261"/>
              <a:gd name="connsiteY22" fmla="*/ 1290638 h 2591209"/>
              <a:gd name="connsiteX23" fmla="*/ 1394611 w 2023261"/>
              <a:gd name="connsiteY23" fmla="*/ 633413 h 2591209"/>
              <a:gd name="connsiteX24" fmla="*/ 1421334 w 2023261"/>
              <a:gd name="connsiteY24" fmla="*/ 268690 h 2591209"/>
              <a:gd name="connsiteX25" fmla="*/ 1488673 w 2023261"/>
              <a:gd name="connsiteY25" fmla="*/ 221848 h 2591209"/>
              <a:gd name="connsiteX26" fmla="*/ 1553625 w 2023261"/>
              <a:gd name="connsiteY26" fmla="*/ 555484 h 2591209"/>
              <a:gd name="connsiteX27" fmla="*/ 1611305 w 2023261"/>
              <a:gd name="connsiteY27" fmla="*/ 742950 h 2591209"/>
              <a:gd name="connsiteX28" fmla="*/ 1688826 w 2023261"/>
              <a:gd name="connsiteY28" fmla="*/ 819412 h 2591209"/>
              <a:gd name="connsiteX29" fmla="*/ 1789103 w 2023261"/>
              <a:gd name="connsiteY29" fmla="*/ 752736 h 2591209"/>
              <a:gd name="connsiteX30" fmla="*/ 1854192 w 2023261"/>
              <a:gd name="connsiteY30" fmla="*/ 440532 h 2591209"/>
              <a:gd name="connsiteX31" fmla="*/ 1919016 w 2023261"/>
              <a:gd name="connsiteY31" fmla="*/ 214444 h 2591209"/>
              <a:gd name="connsiteX32" fmla="*/ 2023261 w 2023261"/>
              <a:gd name="connsiteY32" fmla="*/ 0 h 2591209"/>
              <a:gd name="connsiteX0" fmla="*/ 0 w 2023261"/>
              <a:gd name="connsiteY0" fmla="*/ 2534716 h 2591209"/>
              <a:gd name="connsiteX1" fmla="*/ 171989 w 2023261"/>
              <a:gd name="connsiteY1" fmla="*/ 2440052 h 2591209"/>
              <a:gd name="connsiteX2" fmla="*/ 242350 w 2023261"/>
              <a:gd name="connsiteY2" fmla="*/ 2081735 h 2591209"/>
              <a:gd name="connsiteX3" fmla="*/ 271457 w 2023261"/>
              <a:gd name="connsiteY3" fmla="*/ 1976438 h 2591209"/>
              <a:gd name="connsiteX4" fmla="*/ 306380 w 2023261"/>
              <a:gd name="connsiteY4" fmla="*/ 1969294 h 2591209"/>
              <a:gd name="connsiteX5" fmla="*/ 332573 w 2023261"/>
              <a:gd name="connsiteY5" fmla="*/ 2024063 h 2591209"/>
              <a:gd name="connsiteX6" fmla="*/ 363529 w 2023261"/>
              <a:gd name="connsiteY6" fmla="*/ 2150270 h 2591209"/>
              <a:gd name="connsiteX7" fmla="*/ 408773 w 2023261"/>
              <a:gd name="connsiteY7" fmla="*/ 2347913 h 2591209"/>
              <a:gd name="connsiteX8" fmla="*/ 484974 w 2023261"/>
              <a:gd name="connsiteY8" fmla="*/ 2526506 h 2591209"/>
              <a:gd name="connsiteX9" fmla="*/ 583528 w 2023261"/>
              <a:gd name="connsiteY9" fmla="*/ 2588941 h 2591209"/>
              <a:gd name="connsiteX10" fmla="*/ 696373 w 2023261"/>
              <a:gd name="connsiteY10" fmla="*/ 2457711 h 2591209"/>
              <a:gd name="connsiteX11" fmla="*/ 732526 w 2023261"/>
              <a:gd name="connsiteY11" fmla="*/ 2103458 h 2591209"/>
              <a:gd name="connsiteX12" fmla="*/ 751673 w 2023261"/>
              <a:gd name="connsiteY12" fmla="*/ 1628775 h 2591209"/>
              <a:gd name="connsiteX13" fmla="*/ 770723 w 2023261"/>
              <a:gd name="connsiteY13" fmla="*/ 1288257 h 2591209"/>
              <a:gd name="connsiteX14" fmla="*/ 789773 w 2023261"/>
              <a:gd name="connsiteY14" fmla="*/ 1076326 h 2591209"/>
              <a:gd name="connsiteX15" fmla="*/ 823111 w 2023261"/>
              <a:gd name="connsiteY15" fmla="*/ 1000125 h 2591209"/>
              <a:gd name="connsiteX16" fmla="*/ 873116 w 2023261"/>
              <a:gd name="connsiteY16" fmla="*/ 1062037 h 2591209"/>
              <a:gd name="connsiteX17" fmla="*/ 935029 w 2023261"/>
              <a:gd name="connsiteY17" fmla="*/ 1300163 h 2591209"/>
              <a:gd name="connsiteX18" fmla="*/ 985036 w 2023261"/>
              <a:gd name="connsiteY18" fmla="*/ 1497806 h 2591209"/>
              <a:gd name="connsiteX19" fmla="*/ 1067849 w 2023261"/>
              <a:gd name="connsiteY19" fmla="*/ 1750219 h 2591209"/>
              <a:gd name="connsiteX20" fmla="*/ 1203581 w 2023261"/>
              <a:gd name="connsiteY20" fmla="*/ 1788450 h 2591209"/>
              <a:gd name="connsiteX21" fmla="*/ 1306505 w 2023261"/>
              <a:gd name="connsiteY21" fmla="*/ 1650207 h 2591209"/>
              <a:gd name="connsiteX22" fmla="*/ 1366036 w 2023261"/>
              <a:gd name="connsiteY22" fmla="*/ 1290638 h 2591209"/>
              <a:gd name="connsiteX23" fmla="*/ 1394611 w 2023261"/>
              <a:gd name="connsiteY23" fmla="*/ 633413 h 2591209"/>
              <a:gd name="connsiteX24" fmla="*/ 1421334 w 2023261"/>
              <a:gd name="connsiteY24" fmla="*/ 268690 h 2591209"/>
              <a:gd name="connsiteX25" fmla="*/ 1488673 w 2023261"/>
              <a:gd name="connsiteY25" fmla="*/ 221848 h 2591209"/>
              <a:gd name="connsiteX26" fmla="*/ 1553625 w 2023261"/>
              <a:gd name="connsiteY26" fmla="*/ 555484 h 2591209"/>
              <a:gd name="connsiteX27" fmla="*/ 1611305 w 2023261"/>
              <a:gd name="connsiteY27" fmla="*/ 742950 h 2591209"/>
              <a:gd name="connsiteX28" fmla="*/ 1688826 w 2023261"/>
              <a:gd name="connsiteY28" fmla="*/ 819412 h 2591209"/>
              <a:gd name="connsiteX29" fmla="*/ 1789103 w 2023261"/>
              <a:gd name="connsiteY29" fmla="*/ 752736 h 2591209"/>
              <a:gd name="connsiteX30" fmla="*/ 1854192 w 2023261"/>
              <a:gd name="connsiteY30" fmla="*/ 440532 h 2591209"/>
              <a:gd name="connsiteX31" fmla="*/ 1919016 w 2023261"/>
              <a:gd name="connsiteY31" fmla="*/ 214444 h 2591209"/>
              <a:gd name="connsiteX32" fmla="*/ 2023261 w 2023261"/>
              <a:gd name="connsiteY32" fmla="*/ 0 h 2591209"/>
              <a:gd name="connsiteX0" fmla="*/ 0 w 2023261"/>
              <a:gd name="connsiteY0" fmla="*/ 2534716 h 2591027"/>
              <a:gd name="connsiteX1" fmla="*/ 171989 w 2023261"/>
              <a:gd name="connsiteY1" fmla="*/ 2440052 h 2591027"/>
              <a:gd name="connsiteX2" fmla="*/ 242350 w 2023261"/>
              <a:gd name="connsiteY2" fmla="*/ 2081735 h 2591027"/>
              <a:gd name="connsiteX3" fmla="*/ 271457 w 2023261"/>
              <a:gd name="connsiteY3" fmla="*/ 1976438 h 2591027"/>
              <a:gd name="connsiteX4" fmla="*/ 306380 w 2023261"/>
              <a:gd name="connsiteY4" fmla="*/ 1969294 h 2591027"/>
              <a:gd name="connsiteX5" fmla="*/ 332573 w 2023261"/>
              <a:gd name="connsiteY5" fmla="*/ 2024063 h 2591027"/>
              <a:gd name="connsiteX6" fmla="*/ 363529 w 2023261"/>
              <a:gd name="connsiteY6" fmla="*/ 2150270 h 2591027"/>
              <a:gd name="connsiteX7" fmla="*/ 408773 w 2023261"/>
              <a:gd name="connsiteY7" fmla="*/ 2347913 h 2591027"/>
              <a:gd name="connsiteX8" fmla="*/ 484974 w 2023261"/>
              <a:gd name="connsiteY8" fmla="*/ 2526506 h 2591027"/>
              <a:gd name="connsiteX9" fmla="*/ 583528 w 2023261"/>
              <a:gd name="connsiteY9" fmla="*/ 2588941 h 2591027"/>
              <a:gd name="connsiteX10" fmla="*/ 687575 w 2023261"/>
              <a:gd name="connsiteY10" fmla="*/ 2461348 h 2591027"/>
              <a:gd name="connsiteX11" fmla="*/ 732526 w 2023261"/>
              <a:gd name="connsiteY11" fmla="*/ 2103458 h 2591027"/>
              <a:gd name="connsiteX12" fmla="*/ 751673 w 2023261"/>
              <a:gd name="connsiteY12" fmla="*/ 1628775 h 2591027"/>
              <a:gd name="connsiteX13" fmla="*/ 770723 w 2023261"/>
              <a:gd name="connsiteY13" fmla="*/ 1288257 h 2591027"/>
              <a:gd name="connsiteX14" fmla="*/ 789773 w 2023261"/>
              <a:gd name="connsiteY14" fmla="*/ 1076326 h 2591027"/>
              <a:gd name="connsiteX15" fmla="*/ 823111 w 2023261"/>
              <a:gd name="connsiteY15" fmla="*/ 1000125 h 2591027"/>
              <a:gd name="connsiteX16" fmla="*/ 873116 w 2023261"/>
              <a:gd name="connsiteY16" fmla="*/ 1062037 h 2591027"/>
              <a:gd name="connsiteX17" fmla="*/ 935029 w 2023261"/>
              <a:gd name="connsiteY17" fmla="*/ 1300163 h 2591027"/>
              <a:gd name="connsiteX18" fmla="*/ 985036 w 2023261"/>
              <a:gd name="connsiteY18" fmla="*/ 1497806 h 2591027"/>
              <a:gd name="connsiteX19" fmla="*/ 1067849 w 2023261"/>
              <a:gd name="connsiteY19" fmla="*/ 1750219 h 2591027"/>
              <a:gd name="connsiteX20" fmla="*/ 1203581 w 2023261"/>
              <a:gd name="connsiteY20" fmla="*/ 1788450 h 2591027"/>
              <a:gd name="connsiteX21" fmla="*/ 1306505 w 2023261"/>
              <a:gd name="connsiteY21" fmla="*/ 1650207 h 2591027"/>
              <a:gd name="connsiteX22" fmla="*/ 1366036 w 2023261"/>
              <a:gd name="connsiteY22" fmla="*/ 1290638 h 2591027"/>
              <a:gd name="connsiteX23" fmla="*/ 1394611 w 2023261"/>
              <a:gd name="connsiteY23" fmla="*/ 633413 h 2591027"/>
              <a:gd name="connsiteX24" fmla="*/ 1421334 w 2023261"/>
              <a:gd name="connsiteY24" fmla="*/ 268690 h 2591027"/>
              <a:gd name="connsiteX25" fmla="*/ 1488673 w 2023261"/>
              <a:gd name="connsiteY25" fmla="*/ 221848 h 2591027"/>
              <a:gd name="connsiteX26" fmla="*/ 1553625 w 2023261"/>
              <a:gd name="connsiteY26" fmla="*/ 555484 h 2591027"/>
              <a:gd name="connsiteX27" fmla="*/ 1611305 w 2023261"/>
              <a:gd name="connsiteY27" fmla="*/ 742950 h 2591027"/>
              <a:gd name="connsiteX28" fmla="*/ 1688826 w 2023261"/>
              <a:gd name="connsiteY28" fmla="*/ 819412 h 2591027"/>
              <a:gd name="connsiteX29" fmla="*/ 1789103 w 2023261"/>
              <a:gd name="connsiteY29" fmla="*/ 752736 h 2591027"/>
              <a:gd name="connsiteX30" fmla="*/ 1854192 w 2023261"/>
              <a:gd name="connsiteY30" fmla="*/ 440532 h 2591027"/>
              <a:gd name="connsiteX31" fmla="*/ 1919016 w 2023261"/>
              <a:gd name="connsiteY31" fmla="*/ 214444 h 2591027"/>
              <a:gd name="connsiteX32" fmla="*/ 2023261 w 2023261"/>
              <a:gd name="connsiteY32" fmla="*/ 0 h 2591027"/>
              <a:gd name="connsiteX0" fmla="*/ 0 w 2023261"/>
              <a:gd name="connsiteY0" fmla="*/ 2534716 h 2592166"/>
              <a:gd name="connsiteX1" fmla="*/ 171989 w 2023261"/>
              <a:gd name="connsiteY1" fmla="*/ 2440052 h 2592166"/>
              <a:gd name="connsiteX2" fmla="*/ 242350 w 2023261"/>
              <a:gd name="connsiteY2" fmla="*/ 2081735 h 2592166"/>
              <a:gd name="connsiteX3" fmla="*/ 271457 w 2023261"/>
              <a:gd name="connsiteY3" fmla="*/ 1976438 h 2592166"/>
              <a:gd name="connsiteX4" fmla="*/ 306380 w 2023261"/>
              <a:gd name="connsiteY4" fmla="*/ 1969294 h 2592166"/>
              <a:gd name="connsiteX5" fmla="*/ 332573 w 2023261"/>
              <a:gd name="connsiteY5" fmla="*/ 2024063 h 2592166"/>
              <a:gd name="connsiteX6" fmla="*/ 363529 w 2023261"/>
              <a:gd name="connsiteY6" fmla="*/ 2150270 h 2592166"/>
              <a:gd name="connsiteX7" fmla="*/ 408773 w 2023261"/>
              <a:gd name="connsiteY7" fmla="*/ 2347913 h 2592166"/>
              <a:gd name="connsiteX8" fmla="*/ 484974 w 2023261"/>
              <a:gd name="connsiteY8" fmla="*/ 2526506 h 2592166"/>
              <a:gd name="connsiteX9" fmla="*/ 583528 w 2023261"/>
              <a:gd name="connsiteY9" fmla="*/ 2588941 h 2592166"/>
              <a:gd name="connsiteX10" fmla="*/ 686318 w 2023261"/>
              <a:gd name="connsiteY10" fmla="*/ 2439525 h 2592166"/>
              <a:gd name="connsiteX11" fmla="*/ 732526 w 2023261"/>
              <a:gd name="connsiteY11" fmla="*/ 2103458 h 2592166"/>
              <a:gd name="connsiteX12" fmla="*/ 751673 w 2023261"/>
              <a:gd name="connsiteY12" fmla="*/ 1628775 h 2592166"/>
              <a:gd name="connsiteX13" fmla="*/ 770723 w 2023261"/>
              <a:gd name="connsiteY13" fmla="*/ 1288257 h 2592166"/>
              <a:gd name="connsiteX14" fmla="*/ 789773 w 2023261"/>
              <a:gd name="connsiteY14" fmla="*/ 1076326 h 2592166"/>
              <a:gd name="connsiteX15" fmla="*/ 823111 w 2023261"/>
              <a:gd name="connsiteY15" fmla="*/ 1000125 h 2592166"/>
              <a:gd name="connsiteX16" fmla="*/ 873116 w 2023261"/>
              <a:gd name="connsiteY16" fmla="*/ 1062037 h 2592166"/>
              <a:gd name="connsiteX17" fmla="*/ 935029 w 2023261"/>
              <a:gd name="connsiteY17" fmla="*/ 1300163 h 2592166"/>
              <a:gd name="connsiteX18" fmla="*/ 985036 w 2023261"/>
              <a:gd name="connsiteY18" fmla="*/ 1497806 h 2592166"/>
              <a:gd name="connsiteX19" fmla="*/ 1067849 w 2023261"/>
              <a:gd name="connsiteY19" fmla="*/ 1750219 h 2592166"/>
              <a:gd name="connsiteX20" fmla="*/ 1203581 w 2023261"/>
              <a:gd name="connsiteY20" fmla="*/ 1788450 h 2592166"/>
              <a:gd name="connsiteX21" fmla="*/ 1306505 w 2023261"/>
              <a:gd name="connsiteY21" fmla="*/ 1650207 h 2592166"/>
              <a:gd name="connsiteX22" fmla="*/ 1366036 w 2023261"/>
              <a:gd name="connsiteY22" fmla="*/ 1290638 h 2592166"/>
              <a:gd name="connsiteX23" fmla="*/ 1394611 w 2023261"/>
              <a:gd name="connsiteY23" fmla="*/ 633413 h 2592166"/>
              <a:gd name="connsiteX24" fmla="*/ 1421334 w 2023261"/>
              <a:gd name="connsiteY24" fmla="*/ 268690 h 2592166"/>
              <a:gd name="connsiteX25" fmla="*/ 1488673 w 2023261"/>
              <a:gd name="connsiteY25" fmla="*/ 221848 h 2592166"/>
              <a:gd name="connsiteX26" fmla="*/ 1553625 w 2023261"/>
              <a:gd name="connsiteY26" fmla="*/ 555484 h 2592166"/>
              <a:gd name="connsiteX27" fmla="*/ 1611305 w 2023261"/>
              <a:gd name="connsiteY27" fmla="*/ 742950 h 2592166"/>
              <a:gd name="connsiteX28" fmla="*/ 1688826 w 2023261"/>
              <a:gd name="connsiteY28" fmla="*/ 819412 h 2592166"/>
              <a:gd name="connsiteX29" fmla="*/ 1789103 w 2023261"/>
              <a:gd name="connsiteY29" fmla="*/ 752736 h 2592166"/>
              <a:gd name="connsiteX30" fmla="*/ 1854192 w 2023261"/>
              <a:gd name="connsiteY30" fmla="*/ 440532 h 2592166"/>
              <a:gd name="connsiteX31" fmla="*/ 1919016 w 2023261"/>
              <a:gd name="connsiteY31" fmla="*/ 214444 h 2592166"/>
              <a:gd name="connsiteX32" fmla="*/ 2023261 w 2023261"/>
              <a:gd name="connsiteY32" fmla="*/ 0 h 2592166"/>
              <a:gd name="connsiteX0" fmla="*/ 0 w 2023261"/>
              <a:gd name="connsiteY0" fmla="*/ 2534716 h 2594048"/>
              <a:gd name="connsiteX1" fmla="*/ 171989 w 2023261"/>
              <a:gd name="connsiteY1" fmla="*/ 2440052 h 2594048"/>
              <a:gd name="connsiteX2" fmla="*/ 242350 w 2023261"/>
              <a:gd name="connsiteY2" fmla="*/ 2081735 h 2594048"/>
              <a:gd name="connsiteX3" fmla="*/ 271457 w 2023261"/>
              <a:gd name="connsiteY3" fmla="*/ 1976438 h 2594048"/>
              <a:gd name="connsiteX4" fmla="*/ 306380 w 2023261"/>
              <a:gd name="connsiteY4" fmla="*/ 1969294 h 2594048"/>
              <a:gd name="connsiteX5" fmla="*/ 332573 w 2023261"/>
              <a:gd name="connsiteY5" fmla="*/ 2024063 h 2594048"/>
              <a:gd name="connsiteX6" fmla="*/ 363529 w 2023261"/>
              <a:gd name="connsiteY6" fmla="*/ 2150270 h 2594048"/>
              <a:gd name="connsiteX7" fmla="*/ 408773 w 2023261"/>
              <a:gd name="connsiteY7" fmla="*/ 2347913 h 2594048"/>
              <a:gd name="connsiteX8" fmla="*/ 484974 w 2023261"/>
              <a:gd name="connsiteY8" fmla="*/ 2526506 h 2594048"/>
              <a:gd name="connsiteX9" fmla="*/ 583528 w 2023261"/>
              <a:gd name="connsiteY9" fmla="*/ 2588941 h 2594048"/>
              <a:gd name="connsiteX10" fmla="*/ 686318 w 2023261"/>
              <a:gd name="connsiteY10" fmla="*/ 2406791 h 2594048"/>
              <a:gd name="connsiteX11" fmla="*/ 732526 w 2023261"/>
              <a:gd name="connsiteY11" fmla="*/ 2103458 h 2594048"/>
              <a:gd name="connsiteX12" fmla="*/ 751673 w 2023261"/>
              <a:gd name="connsiteY12" fmla="*/ 1628775 h 2594048"/>
              <a:gd name="connsiteX13" fmla="*/ 770723 w 2023261"/>
              <a:gd name="connsiteY13" fmla="*/ 1288257 h 2594048"/>
              <a:gd name="connsiteX14" fmla="*/ 789773 w 2023261"/>
              <a:gd name="connsiteY14" fmla="*/ 1076326 h 2594048"/>
              <a:gd name="connsiteX15" fmla="*/ 823111 w 2023261"/>
              <a:gd name="connsiteY15" fmla="*/ 1000125 h 2594048"/>
              <a:gd name="connsiteX16" fmla="*/ 873116 w 2023261"/>
              <a:gd name="connsiteY16" fmla="*/ 1062037 h 2594048"/>
              <a:gd name="connsiteX17" fmla="*/ 935029 w 2023261"/>
              <a:gd name="connsiteY17" fmla="*/ 1300163 h 2594048"/>
              <a:gd name="connsiteX18" fmla="*/ 985036 w 2023261"/>
              <a:gd name="connsiteY18" fmla="*/ 1497806 h 2594048"/>
              <a:gd name="connsiteX19" fmla="*/ 1067849 w 2023261"/>
              <a:gd name="connsiteY19" fmla="*/ 1750219 h 2594048"/>
              <a:gd name="connsiteX20" fmla="*/ 1203581 w 2023261"/>
              <a:gd name="connsiteY20" fmla="*/ 1788450 h 2594048"/>
              <a:gd name="connsiteX21" fmla="*/ 1306505 w 2023261"/>
              <a:gd name="connsiteY21" fmla="*/ 1650207 h 2594048"/>
              <a:gd name="connsiteX22" fmla="*/ 1366036 w 2023261"/>
              <a:gd name="connsiteY22" fmla="*/ 1290638 h 2594048"/>
              <a:gd name="connsiteX23" fmla="*/ 1394611 w 2023261"/>
              <a:gd name="connsiteY23" fmla="*/ 633413 h 2594048"/>
              <a:gd name="connsiteX24" fmla="*/ 1421334 w 2023261"/>
              <a:gd name="connsiteY24" fmla="*/ 268690 h 2594048"/>
              <a:gd name="connsiteX25" fmla="*/ 1488673 w 2023261"/>
              <a:gd name="connsiteY25" fmla="*/ 221848 h 2594048"/>
              <a:gd name="connsiteX26" fmla="*/ 1553625 w 2023261"/>
              <a:gd name="connsiteY26" fmla="*/ 555484 h 2594048"/>
              <a:gd name="connsiteX27" fmla="*/ 1611305 w 2023261"/>
              <a:gd name="connsiteY27" fmla="*/ 742950 h 2594048"/>
              <a:gd name="connsiteX28" fmla="*/ 1688826 w 2023261"/>
              <a:gd name="connsiteY28" fmla="*/ 819412 h 2594048"/>
              <a:gd name="connsiteX29" fmla="*/ 1789103 w 2023261"/>
              <a:gd name="connsiteY29" fmla="*/ 752736 h 2594048"/>
              <a:gd name="connsiteX30" fmla="*/ 1854192 w 2023261"/>
              <a:gd name="connsiteY30" fmla="*/ 440532 h 2594048"/>
              <a:gd name="connsiteX31" fmla="*/ 1919016 w 2023261"/>
              <a:gd name="connsiteY31" fmla="*/ 214444 h 2594048"/>
              <a:gd name="connsiteX32" fmla="*/ 2023261 w 2023261"/>
              <a:gd name="connsiteY32" fmla="*/ 0 h 2594048"/>
              <a:gd name="connsiteX0" fmla="*/ 0 w 2023261"/>
              <a:gd name="connsiteY0" fmla="*/ 2534716 h 2594048"/>
              <a:gd name="connsiteX1" fmla="*/ 171989 w 2023261"/>
              <a:gd name="connsiteY1" fmla="*/ 2440052 h 2594048"/>
              <a:gd name="connsiteX2" fmla="*/ 242350 w 2023261"/>
              <a:gd name="connsiteY2" fmla="*/ 2081735 h 2594048"/>
              <a:gd name="connsiteX3" fmla="*/ 271457 w 2023261"/>
              <a:gd name="connsiteY3" fmla="*/ 1976438 h 2594048"/>
              <a:gd name="connsiteX4" fmla="*/ 306380 w 2023261"/>
              <a:gd name="connsiteY4" fmla="*/ 1969294 h 2594048"/>
              <a:gd name="connsiteX5" fmla="*/ 332573 w 2023261"/>
              <a:gd name="connsiteY5" fmla="*/ 2024063 h 2594048"/>
              <a:gd name="connsiteX6" fmla="*/ 363529 w 2023261"/>
              <a:gd name="connsiteY6" fmla="*/ 2150270 h 2594048"/>
              <a:gd name="connsiteX7" fmla="*/ 408773 w 2023261"/>
              <a:gd name="connsiteY7" fmla="*/ 2347913 h 2594048"/>
              <a:gd name="connsiteX8" fmla="*/ 484974 w 2023261"/>
              <a:gd name="connsiteY8" fmla="*/ 2526506 h 2594048"/>
              <a:gd name="connsiteX9" fmla="*/ 582271 w 2023261"/>
              <a:gd name="connsiteY9" fmla="*/ 2588941 h 2594048"/>
              <a:gd name="connsiteX10" fmla="*/ 686318 w 2023261"/>
              <a:gd name="connsiteY10" fmla="*/ 2406791 h 2594048"/>
              <a:gd name="connsiteX11" fmla="*/ 732526 w 2023261"/>
              <a:gd name="connsiteY11" fmla="*/ 2103458 h 2594048"/>
              <a:gd name="connsiteX12" fmla="*/ 751673 w 2023261"/>
              <a:gd name="connsiteY12" fmla="*/ 1628775 h 2594048"/>
              <a:gd name="connsiteX13" fmla="*/ 770723 w 2023261"/>
              <a:gd name="connsiteY13" fmla="*/ 1288257 h 2594048"/>
              <a:gd name="connsiteX14" fmla="*/ 789773 w 2023261"/>
              <a:gd name="connsiteY14" fmla="*/ 1076326 h 2594048"/>
              <a:gd name="connsiteX15" fmla="*/ 823111 w 2023261"/>
              <a:gd name="connsiteY15" fmla="*/ 1000125 h 2594048"/>
              <a:gd name="connsiteX16" fmla="*/ 873116 w 2023261"/>
              <a:gd name="connsiteY16" fmla="*/ 1062037 h 2594048"/>
              <a:gd name="connsiteX17" fmla="*/ 935029 w 2023261"/>
              <a:gd name="connsiteY17" fmla="*/ 1300163 h 2594048"/>
              <a:gd name="connsiteX18" fmla="*/ 985036 w 2023261"/>
              <a:gd name="connsiteY18" fmla="*/ 1497806 h 2594048"/>
              <a:gd name="connsiteX19" fmla="*/ 1067849 w 2023261"/>
              <a:gd name="connsiteY19" fmla="*/ 1750219 h 2594048"/>
              <a:gd name="connsiteX20" fmla="*/ 1203581 w 2023261"/>
              <a:gd name="connsiteY20" fmla="*/ 1788450 h 2594048"/>
              <a:gd name="connsiteX21" fmla="*/ 1306505 w 2023261"/>
              <a:gd name="connsiteY21" fmla="*/ 1650207 h 2594048"/>
              <a:gd name="connsiteX22" fmla="*/ 1366036 w 2023261"/>
              <a:gd name="connsiteY22" fmla="*/ 1290638 h 2594048"/>
              <a:gd name="connsiteX23" fmla="*/ 1394611 w 2023261"/>
              <a:gd name="connsiteY23" fmla="*/ 633413 h 2594048"/>
              <a:gd name="connsiteX24" fmla="*/ 1421334 w 2023261"/>
              <a:gd name="connsiteY24" fmla="*/ 268690 h 2594048"/>
              <a:gd name="connsiteX25" fmla="*/ 1488673 w 2023261"/>
              <a:gd name="connsiteY25" fmla="*/ 221848 h 2594048"/>
              <a:gd name="connsiteX26" fmla="*/ 1553625 w 2023261"/>
              <a:gd name="connsiteY26" fmla="*/ 555484 h 2594048"/>
              <a:gd name="connsiteX27" fmla="*/ 1611305 w 2023261"/>
              <a:gd name="connsiteY27" fmla="*/ 742950 h 2594048"/>
              <a:gd name="connsiteX28" fmla="*/ 1688826 w 2023261"/>
              <a:gd name="connsiteY28" fmla="*/ 819412 h 2594048"/>
              <a:gd name="connsiteX29" fmla="*/ 1789103 w 2023261"/>
              <a:gd name="connsiteY29" fmla="*/ 752736 h 2594048"/>
              <a:gd name="connsiteX30" fmla="*/ 1854192 w 2023261"/>
              <a:gd name="connsiteY30" fmla="*/ 440532 h 2594048"/>
              <a:gd name="connsiteX31" fmla="*/ 1919016 w 2023261"/>
              <a:gd name="connsiteY31" fmla="*/ 214444 h 2594048"/>
              <a:gd name="connsiteX32" fmla="*/ 2023261 w 2023261"/>
              <a:gd name="connsiteY32" fmla="*/ 0 h 2594048"/>
              <a:gd name="connsiteX0" fmla="*/ 0 w 2023261"/>
              <a:gd name="connsiteY0" fmla="*/ 2534716 h 2595836"/>
              <a:gd name="connsiteX1" fmla="*/ 171989 w 2023261"/>
              <a:gd name="connsiteY1" fmla="*/ 2440052 h 2595836"/>
              <a:gd name="connsiteX2" fmla="*/ 242350 w 2023261"/>
              <a:gd name="connsiteY2" fmla="*/ 2081735 h 2595836"/>
              <a:gd name="connsiteX3" fmla="*/ 271457 w 2023261"/>
              <a:gd name="connsiteY3" fmla="*/ 1976438 h 2595836"/>
              <a:gd name="connsiteX4" fmla="*/ 306380 w 2023261"/>
              <a:gd name="connsiteY4" fmla="*/ 1969294 h 2595836"/>
              <a:gd name="connsiteX5" fmla="*/ 332573 w 2023261"/>
              <a:gd name="connsiteY5" fmla="*/ 2024063 h 2595836"/>
              <a:gd name="connsiteX6" fmla="*/ 363529 w 2023261"/>
              <a:gd name="connsiteY6" fmla="*/ 2150270 h 2595836"/>
              <a:gd name="connsiteX7" fmla="*/ 408773 w 2023261"/>
              <a:gd name="connsiteY7" fmla="*/ 2347913 h 2595836"/>
              <a:gd name="connsiteX8" fmla="*/ 484974 w 2023261"/>
              <a:gd name="connsiteY8" fmla="*/ 2526506 h 2595836"/>
              <a:gd name="connsiteX9" fmla="*/ 582271 w 2023261"/>
              <a:gd name="connsiteY9" fmla="*/ 2588941 h 2595836"/>
              <a:gd name="connsiteX10" fmla="*/ 686318 w 2023261"/>
              <a:gd name="connsiteY10" fmla="*/ 2377694 h 2595836"/>
              <a:gd name="connsiteX11" fmla="*/ 732526 w 2023261"/>
              <a:gd name="connsiteY11" fmla="*/ 2103458 h 2595836"/>
              <a:gd name="connsiteX12" fmla="*/ 751673 w 2023261"/>
              <a:gd name="connsiteY12" fmla="*/ 1628775 h 2595836"/>
              <a:gd name="connsiteX13" fmla="*/ 770723 w 2023261"/>
              <a:gd name="connsiteY13" fmla="*/ 1288257 h 2595836"/>
              <a:gd name="connsiteX14" fmla="*/ 789773 w 2023261"/>
              <a:gd name="connsiteY14" fmla="*/ 1076326 h 2595836"/>
              <a:gd name="connsiteX15" fmla="*/ 823111 w 2023261"/>
              <a:gd name="connsiteY15" fmla="*/ 1000125 h 2595836"/>
              <a:gd name="connsiteX16" fmla="*/ 873116 w 2023261"/>
              <a:gd name="connsiteY16" fmla="*/ 1062037 h 2595836"/>
              <a:gd name="connsiteX17" fmla="*/ 935029 w 2023261"/>
              <a:gd name="connsiteY17" fmla="*/ 1300163 h 2595836"/>
              <a:gd name="connsiteX18" fmla="*/ 985036 w 2023261"/>
              <a:gd name="connsiteY18" fmla="*/ 1497806 h 2595836"/>
              <a:gd name="connsiteX19" fmla="*/ 1067849 w 2023261"/>
              <a:gd name="connsiteY19" fmla="*/ 1750219 h 2595836"/>
              <a:gd name="connsiteX20" fmla="*/ 1203581 w 2023261"/>
              <a:gd name="connsiteY20" fmla="*/ 1788450 h 2595836"/>
              <a:gd name="connsiteX21" fmla="*/ 1306505 w 2023261"/>
              <a:gd name="connsiteY21" fmla="*/ 1650207 h 2595836"/>
              <a:gd name="connsiteX22" fmla="*/ 1366036 w 2023261"/>
              <a:gd name="connsiteY22" fmla="*/ 1290638 h 2595836"/>
              <a:gd name="connsiteX23" fmla="*/ 1394611 w 2023261"/>
              <a:gd name="connsiteY23" fmla="*/ 633413 h 2595836"/>
              <a:gd name="connsiteX24" fmla="*/ 1421334 w 2023261"/>
              <a:gd name="connsiteY24" fmla="*/ 268690 h 2595836"/>
              <a:gd name="connsiteX25" fmla="*/ 1488673 w 2023261"/>
              <a:gd name="connsiteY25" fmla="*/ 221848 h 2595836"/>
              <a:gd name="connsiteX26" fmla="*/ 1553625 w 2023261"/>
              <a:gd name="connsiteY26" fmla="*/ 555484 h 2595836"/>
              <a:gd name="connsiteX27" fmla="*/ 1611305 w 2023261"/>
              <a:gd name="connsiteY27" fmla="*/ 742950 h 2595836"/>
              <a:gd name="connsiteX28" fmla="*/ 1688826 w 2023261"/>
              <a:gd name="connsiteY28" fmla="*/ 819412 h 2595836"/>
              <a:gd name="connsiteX29" fmla="*/ 1789103 w 2023261"/>
              <a:gd name="connsiteY29" fmla="*/ 752736 h 2595836"/>
              <a:gd name="connsiteX30" fmla="*/ 1854192 w 2023261"/>
              <a:gd name="connsiteY30" fmla="*/ 440532 h 2595836"/>
              <a:gd name="connsiteX31" fmla="*/ 1919016 w 2023261"/>
              <a:gd name="connsiteY31" fmla="*/ 214444 h 2595836"/>
              <a:gd name="connsiteX32" fmla="*/ 2023261 w 2023261"/>
              <a:gd name="connsiteY32" fmla="*/ 0 h 2595836"/>
              <a:gd name="connsiteX0" fmla="*/ 0 w 2023261"/>
              <a:gd name="connsiteY0" fmla="*/ 2534716 h 2595836"/>
              <a:gd name="connsiteX1" fmla="*/ 171989 w 2023261"/>
              <a:gd name="connsiteY1" fmla="*/ 2440052 h 2595836"/>
              <a:gd name="connsiteX2" fmla="*/ 242350 w 2023261"/>
              <a:gd name="connsiteY2" fmla="*/ 2081735 h 2595836"/>
              <a:gd name="connsiteX3" fmla="*/ 271457 w 2023261"/>
              <a:gd name="connsiteY3" fmla="*/ 1976438 h 2595836"/>
              <a:gd name="connsiteX4" fmla="*/ 306380 w 2023261"/>
              <a:gd name="connsiteY4" fmla="*/ 1969294 h 2595836"/>
              <a:gd name="connsiteX5" fmla="*/ 332573 w 2023261"/>
              <a:gd name="connsiteY5" fmla="*/ 2024063 h 2595836"/>
              <a:gd name="connsiteX6" fmla="*/ 363529 w 2023261"/>
              <a:gd name="connsiteY6" fmla="*/ 2150270 h 2595836"/>
              <a:gd name="connsiteX7" fmla="*/ 408773 w 2023261"/>
              <a:gd name="connsiteY7" fmla="*/ 2347913 h 2595836"/>
              <a:gd name="connsiteX8" fmla="*/ 484974 w 2023261"/>
              <a:gd name="connsiteY8" fmla="*/ 2526506 h 2595836"/>
              <a:gd name="connsiteX9" fmla="*/ 582271 w 2023261"/>
              <a:gd name="connsiteY9" fmla="*/ 2588941 h 2595836"/>
              <a:gd name="connsiteX10" fmla="*/ 686318 w 2023261"/>
              <a:gd name="connsiteY10" fmla="*/ 2377694 h 2595836"/>
              <a:gd name="connsiteX11" fmla="*/ 731269 w 2023261"/>
              <a:gd name="connsiteY11" fmla="*/ 2059812 h 2595836"/>
              <a:gd name="connsiteX12" fmla="*/ 751673 w 2023261"/>
              <a:gd name="connsiteY12" fmla="*/ 1628775 h 2595836"/>
              <a:gd name="connsiteX13" fmla="*/ 770723 w 2023261"/>
              <a:gd name="connsiteY13" fmla="*/ 1288257 h 2595836"/>
              <a:gd name="connsiteX14" fmla="*/ 789773 w 2023261"/>
              <a:gd name="connsiteY14" fmla="*/ 1076326 h 2595836"/>
              <a:gd name="connsiteX15" fmla="*/ 823111 w 2023261"/>
              <a:gd name="connsiteY15" fmla="*/ 1000125 h 2595836"/>
              <a:gd name="connsiteX16" fmla="*/ 873116 w 2023261"/>
              <a:gd name="connsiteY16" fmla="*/ 1062037 h 2595836"/>
              <a:gd name="connsiteX17" fmla="*/ 935029 w 2023261"/>
              <a:gd name="connsiteY17" fmla="*/ 1300163 h 2595836"/>
              <a:gd name="connsiteX18" fmla="*/ 985036 w 2023261"/>
              <a:gd name="connsiteY18" fmla="*/ 1497806 h 2595836"/>
              <a:gd name="connsiteX19" fmla="*/ 1067849 w 2023261"/>
              <a:gd name="connsiteY19" fmla="*/ 1750219 h 2595836"/>
              <a:gd name="connsiteX20" fmla="*/ 1203581 w 2023261"/>
              <a:gd name="connsiteY20" fmla="*/ 1788450 h 2595836"/>
              <a:gd name="connsiteX21" fmla="*/ 1306505 w 2023261"/>
              <a:gd name="connsiteY21" fmla="*/ 1650207 h 2595836"/>
              <a:gd name="connsiteX22" fmla="*/ 1366036 w 2023261"/>
              <a:gd name="connsiteY22" fmla="*/ 1290638 h 2595836"/>
              <a:gd name="connsiteX23" fmla="*/ 1394611 w 2023261"/>
              <a:gd name="connsiteY23" fmla="*/ 633413 h 2595836"/>
              <a:gd name="connsiteX24" fmla="*/ 1421334 w 2023261"/>
              <a:gd name="connsiteY24" fmla="*/ 268690 h 2595836"/>
              <a:gd name="connsiteX25" fmla="*/ 1488673 w 2023261"/>
              <a:gd name="connsiteY25" fmla="*/ 221848 h 2595836"/>
              <a:gd name="connsiteX26" fmla="*/ 1553625 w 2023261"/>
              <a:gd name="connsiteY26" fmla="*/ 555484 h 2595836"/>
              <a:gd name="connsiteX27" fmla="*/ 1611305 w 2023261"/>
              <a:gd name="connsiteY27" fmla="*/ 742950 h 2595836"/>
              <a:gd name="connsiteX28" fmla="*/ 1688826 w 2023261"/>
              <a:gd name="connsiteY28" fmla="*/ 819412 h 2595836"/>
              <a:gd name="connsiteX29" fmla="*/ 1789103 w 2023261"/>
              <a:gd name="connsiteY29" fmla="*/ 752736 h 2595836"/>
              <a:gd name="connsiteX30" fmla="*/ 1854192 w 2023261"/>
              <a:gd name="connsiteY30" fmla="*/ 440532 h 2595836"/>
              <a:gd name="connsiteX31" fmla="*/ 1919016 w 2023261"/>
              <a:gd name="connsiteY31" fmla="*/ 214444 h 2595836"/>
              <a:gd name="connsiteX32" fmla="*/ 2023261 w 2023261"/>
              <a:gd name="connsiteY32" fmla="*/ 0 h 2595836"/>
              <a:gd name="connsiteX0" fmla="*/ 0 w 2023261"/>
              <a:gd name="connsiteY0" fmla="*/ 2534716 h 2595836"/>
              <a:gd name="connsiteX1" fmla="*/ 171989 w 2023261"/>
              <a:gd name="connsiteY1" fmla="*/ 2440052 h 2595836"/>
              <a:gd name="connsiteX2" fmla="*/ 242350 w 2023261"/>
              <a:gd name="connsiteY2" fmla="*/ 2081735 h 2595836"/>
              <a:gd name="connsiteX3" fmla="*/ 271457 w 2023261"/>
              <a:gd name="connsiteY3" fmla="*/ 1976438 h 2595836"/>
              <a:gd name="connsiteX4" fmla="*/ 306380 w 2023261"/>
              <a:gd name="connsiteY4" fmla="*/ 1969294 h 2595836"/>
              <a:gd name="connsiteX5" fmla="*/ 332573 w 2023261"/>
              <a:gd name="connsiteY5" fmla="*/ 2024063 h 2595836"/>
              <a:gd name="connsiteX6" fmla="*/ 363529 w 2023261"/>
              <a:gd name="connsiteY6" fmla="*/ 2150270 h 2595836"/>
              <a:gd name="connsiteX7" fmla="*/ 408773 w 2023261"/>
              <a:gd name="connsiteY7" fmla="*/ 2347913 h 2595836"/>
              <a:gd name="connsiteX8" fmla="*/ 484974 w 2023261"/>
              <a:gd name="connsiteY8" fmla="*/ 2526506 h 2595836"/>
              <a:gd name="connsiteX9" fmla="*/ 582271 w 2023261"/>
              <a:gd name="connsiteY9" fmla="*/ 2588941 h 2595836"/>
              <a:gd name="connsiteX10" fmla="*/ 686318 w 2023261"/>
              <a:gd name="connsiteY10" fmla="*/ 2377694 h 2595836"/>
              <a:gd name="connsiteX11" fmla="*/ 731269 w 2023261"/>
              <a:gd name="connsiteY11" fmla="*/ 2059812 h 2595836"/>
              <a:gd name="connsiteX12" fmla="*/ 751673 w 2023261"/>
              <a:gd name="connsiteY12" fmla="*/ 1628775 h 2595836"/>
              <a:gd name="connsiteX13" fmla="*/ 770723 w 2023261"/>
              <a:gd name="connsiteY13" fmla="*/ 1288257 h 2595836"/>
              <a:gd name="connsiteX14" fmla="*/ 789773 w 2023261"/>
              <a:gd name="connsiteY14" fmla="*/ 1076326 h 2595836"/>
              <a:gd name="connsiteX15" fmla="*/ 823111 w 2023261"/>
              <a:gd name="connsiteY15" fmla="*/ 1000125 h 2595836"/>
              <a:gd name="connsiteX16" fmla="*/ 873116 w 2023261"/>
              <a:gd name="connsiteY16" fmla="*/ 1062037 h 2595836"/>
              <a:gd name="connsiteX17" fmla="*/ 935029 w 2023261"/>
              <a:gd name="connsiteY17" fmla="*/ 1300163 h 2595836"/>
              <a:gd name="connsiteX18" fmla="*/ 985036 w 2023261"/>
              <a:gd name="connsiteY18" fmla="*/ 1497806 h 2595836"/>
              <a:gd name="connsiteX19" fmla="*/ 1067849 w 2023261"/>
              <a:gd name="connsiteY19" fmla="*/ 1750219 h 2595836"/>
              <a:gd name="connsiteX20" fmla="*/ 1203581 w 2023261"/>
              <a:gd name="connsiteY20" fmla="*/ 1788450 h 2595836"/>
              <a:gd name="connsiteX21" fmla="*/ 1306505 w 2023261"/>
              <a:gd name="connsiteY21" fmla="*/ 1650207 h 2595836"/>
              <a:gd name="connsiteX22" fmla="*/ 1366036 w 2023261"/>
              <a:gd name="connsiteY22" fmla="*/ 1290638 h 2595836"/>
              <a:gd name="connsiteX23" fmla="*/ 1394611 w 2023261"/>
              <a:gd name="connsiteY23" fmla="*/ 633413 h 2595836"/>
              <a:gd name="connsiteX24" fmla="*/ 1421334 w 2023261"/>
              <a:gd name="connsiteY24" fmla="*/ 268690 h 2595836"/>
              <a:gd name="connsiteX25" fmla="*/ 1488673 w 2023261"/>
              <a:gd name="connsiteY25" fmla="*/ 221848 h 2595836"/>
              <a:gd name="connsiteX26" fmla="*/ 1553625 w 2023261"/>
              <a:gd name="connsiteY26" fmla="*/ 555484 h 2595836"/>
              <a:gd name="connsiteX27" fmla="*/ 1611305 w 2023261"/>
              <a:gd name="connsiteY27" fmla="*/ 742950 h 2595836"/>
              <a:gd name="connsiteX28" fmla="*/ 1688826 w 2023261"/>
              <a:gd name="connsiteY28" fmla="*/ 819412 h 2595836"/>
              <a:gd name="connsiteX29" fmla="*/ 1789103 w 2023261"/>
              <a:gd name="connsiteY29" fmla="*/ 752736 h 2595836"/>
              <a:gd name="connsiteX30" fmla="*/ 1854192 w 2023261"/>
              <a:gd name="connsiteY30" fmla="*/ 440532 h 2595836"/>
              <a:gd name="connsiteX31" fmla="*/ 1919016 w 2023261"/>
              <a:gd name="connsiteY31" fmla="*/ 214444 h 2595836"/>
              <a:gd name="connsiteX32" fmla="*/ 2023261 w 2023261"/>
              <a:gd name="connsiteY32" fmla="*/ 0 h 2595836"/>
              <a:gd name="connsiteX0" fmla="*/ 0 w 2023261"/>
              <a:gd name="connsiteY0" fmla="*/ 2534716 h 2585948"/>
              <a:gd name="connsiteX1" fmla="*/ 171989 w 2023261"/>
              <a:gd name="connsiteY1" fmla="*/ 2440052 h 2585948"/>
              <a:gd name="connsiteX2" fmla="*/ 242350 w 2023261"/>
              <a:gd name="connsiteY2" fmla="*/ 2081735 h 2585948"/>
              <a:gd name="connsiteX3" fmla="*/ 271457 w 2023261"/>
              <a:gd name="connsiteY3" fmla="*/ 1976438 h 2585948"/>
              <a:gd name="connsiteX4" fmla="*/ 306380 w 2023261"/>
              <a:gd name="connsiteY4" fmla="*/ 1969294 h 2585948"/>
              <a:gd name="connsiteX5" fmla="*/ 332573 w 2023261"/>
              <a:gd name="connsiteY5" fmla="*/ 2024063 h 2585948"/>
              <a:gd name="connsiteX6" fmla="*/ 363529 w 2023261"/>
              <a:gd name="connsiteY6" fmla="*/ 2150270 h 2585948"/>
              <a:gd name="connsiteX7" fmla="*/ 408773 w 2023261"/>
              <a:gd name="connsiteY7" fmla="*/ 2347913 h 2585948"/>
              <a:gd name="connsiteX8" fmla="*/ 484974 w 2023261"/>
              <a:gd name="connsiteY8" fmla="*/ 2526506 h 2585948"/>
              <a:gd name="connsiteX9" fmla="*/ 591069 w 2023261"/>
              <a:gd name="connsiteY9" fmla="*/ 2578029 h 2585948"/>
              <a:gd name="connsiteX10" fmla="*/ 686318 w 2023261"/>
              <a:gd name="connsiteY10" fmla="*/ 2377694 h 2585948"/>
              <a:gd name="connsiteX11" fmla="*/ 731269 w 2023261"/>
              <a:gd name="connsiteY11" fmla="*/ 2059812 h 2585948"/>
              <a:gd name="connsiteX12" fmla="*/ 751673 w 2023261"/>
              <a:gd name="connsiteY12" fmla="*/ 1628775 h 2585948"/>
              <a:gd name="connsiteX13" fmla="*/ 770723 w 2023261"/>
              <a:gd name="connsiteY13" fmla="*/ 1288257 h 2585948"/>
              <a:gd name="connsiteX14" fmla="*/ 789773 w 2023261"/>
              <a:gd name="connsiteY14" fmla="*/ 1076326 h 2585948"/>
              <a:gd name="connsiteX15" fmla="*/ 823111 w 2023261"/>
              <a:gd name="connsiteY15" fmla="*/ 1000125 h 2585948"/>
              <a:gd name="connsiteX16" fmla="*/ 873116 w 2023261"/>
              <a:gd name="connsiteY16" fmla="*/ 1062037 h 2585948"/>
              <a:gd name="connsiteX17" fmla="*/ 935029 w 2023261"/>
              <a:gd name="connsiteY17" fmla="*/ 1300163 h 2585948"/>
              <a:gd name="connsiteX18" fmla="*/ 985036 w 2023261"/>
              <a:gd name="connsiteY18" fmla="*/ 1497806 h 2585948"/>
              <a:gd name="connsiteX19" fmla="*/ 1067849 w 2023261"/>
              <a:gd name="connsiteY19" fmla="*/ 1750219 h 2585948"/>
              <a:gd name="connsiteX20" fmla="*/ 1203581 w 2023261"/>
              <a:gd name="connsiteY20" fmla="*/ 1788450 h 2585948"/>
              <a:gd name="connsiteX21" fmla="*/ 1306505 w 2023261"/>
              <a:gd name="connsiteY21" fmla="*/ 1650207 h 2585948"/>
              <a:gd name="connsiteX22" fmla="*/ 1366036 w 2023261"/>
              <a:gd name="connsiteY22" fmla="*/ 1290638 h 2585948"/>
              <a:gd name="connsiteX23" fmla="*/ 1394611 w 2023261"/>
              <a:gd name="connsiteY23" fmla="*/ 633413 h 2585948"/>
              <a:gd name="connsiteX24" fmla="*/ 1421334 w 2023261"/>
              <a:gd name="connsiteY24" fmla="*/ 268690 h 2585948"/>
              <a:gd name="connsiteX25" fmla="*/ 1488673 w 2023261"/>
              <a:gd name="connsiteY25" fmla="*/ 221848 h 2585948"/>
              <a:gd name="connsiteX26" fmla="*/ 1553625 w 2023261"/>
              <a:gd name="connsiteY26" fmla="*/ 555484 h 2585948"/>
              <a:gd name="connsiteX27" fmla="*/ 1611305 w 2023261"/>
              <a:gd name="connsiteY27" fmla="*/ 742950 h 2585948"/>
              <a:gd name="connsiteX28" fmla="*/ 1688826 w 2023261"/>
              <a:gd name="connsiteY28" fmla="*/ 819412 h 2585948"/>
              <a:gd name="connsiteX29" fmla="*/ 1789103 w 2023261"/>
              <a:gd name="connsiteY29" fmla="*/ 752736 h 2585948"/>
              <a:gd name="connsiteX30" fmla="*/ 1854192 w 2023261"/>
              <a:gd name="connsiteY30" fmla="*/ 440532 h 2585948"/>
              <a:gd name="connsiteX31" fmla="*/ 1919016 w 2023261"/>
              <a:gd name="connsiteY31" fmla="*/ 214444 h 2585948"/>
              <a:gd name="connsiteX32" fmla="*/ 2023261 w 2023261"/>
              <a:gd name="connsiteY32" fmla="*/ 0 h 2585948"/>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3111 w 2023261"/>
              <a:gd name="connsiteY15" fmla="*/ 1000125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67849 w 2023261"/>
              <a:gd name="connsiteY19" fmla="*/ 1750219 h 2570263"/>
              <a:gd name="connsiteX20" fmla="*/ 1203581 w 2023261"/>
              <a:gd name="connsiteY20" fmla="*/ 1788450 h 2570263"/>
              <a:gd name="connsiteX21" fmla="*/ 1306505 w 2023261"/>
              <a:gd name="connsiteY21" fmla="*/ 1650207 h 2570263"/>
              <a:gd name="connsiteX22" fmla="*/ 1366036 w 2023261"/>
              <a:gd name="connsiteY22" fmla="*/ 1290638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67849 w 2023261"/>
              <a:gd name="connsiteY19" fmla="*/ 1750219 h 2570263"/>
              <a:gd name="connsiteX20" fmla="*/ 1203581 w 2023261"/>
              <a:gd name="connsiteY20" fmla="*/ 1788450 h 2570263"/>
              <a:gd name="connsiteX21" fmla="*/ 1306505 w 2023261"/>
              <a:gd name="connsiteY21" fmla="*/ 1650207 h 2570263"/>
              <a:gd name="connsiteX22" fmla="*/ 1366036 w 2023261"/>
              <a:gd name="connsiteY22" fmla="*/ 1290638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306505 w 2023261"/>
              <a:gd name="connsiteY21" fmla="*/ 1650207 h 2570263"/>
              <a:gd name="connsiteX22" fmla="*/ 1366036 w 2023261"/>
              <a:gd name="connsiteY22" fmla="*/ 1290638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6036 w 2023261"/>
              <a:gd name="connsiteY22" fmla="*/ 1290638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3116 w 2023261"/>
              <a:gd name="connsiteY16" fmla="*/ 1062037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33166 w 2023261"/>
              <a:gd name="connsiteY15" fmla="*/ 989213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6567 w 2023261"/>
              <a:gd name="connsiteY15" fmla="*/ 981030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6567 w 2023261"/>
              <a:gd name="connsiteY15" fmla="*/ 981030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6567 w 2023261"/>
              <a:gd name="connsiteY15" fmla="*/ 981030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61851 w 2023261"/>
              <a:gd name="connsiteY16" fmla="*/ 1023913 h 2570263"/>
              <a:gd name="connsiteX17" fmla="*/ 877829 w 2023261"/>
              <a:gd name="connsiteY17" fmla="*/ 1083860 h 2570263"/>
              <a:gd name="connsiteX18" fmla="*/ 935029 w 2023261"/>
              <a:gd name="connsiteY18" fmla="*/ 1300163 h 2570263"/>
              <a:gd name="connsiteX19" fmla="*/ 985036 w 2023261"/>
              <a:gd name="connsiteY19" fmla="*/ 1497806 h 2570263"/>
              <a:gd name="connsiteX20" fmla="*/ 1081675 w 2023261"/>
              <a:gd name="connsiteY20" fmla="*/ 1761131 h 2570263"/>
              <a:gd name="connsiteX21" fmla="*/ 1203581 w 2023261"/>
              <a:gd name="connsiteY21" fmla="*/ 1788450 h 2570263"/>
              <a:gd name="connsiteX22" fmla="*/ 1297707 w 2023261"/>
              <a:gd name="connsiteY22" fmla="*/ 1646570 h 2570263"/>
              <a:gd name="connsiteX23" fmla="*/ 1363522 w 2023261"/>
              <a:gd name="connsiteY23" fmla="*/ 1257903 h 2570263"/>
              <a:gd name="connsiteX24" fmla="*/ 1394611 w 2023261"/>
              <a:gd name="connsiteY24" fmla="*/ 633413 h 2570263"/>
              <a:gd name="connsiteX25" fmla="*/ 1421334 w 2023261"/>
              <a:gd name="connsiteY25" fmla="*/ 268690 h 2570263"/>
              <a:gd name="connsiteX26" fmla="*/ 1488673 w 2023261"/>
              <a:gd name="connsiteY26" fmla="*/ 221848 h 2570263"/>
              <a:gd name="connsiteX27" fmla="*/ 1553625 w 2023261"/>
              <a:gd name="connsiteY27" fmla="*/ 555484 h 2570263"/>
              <a:gd name="connsiteX28" fmla="*/ 1611305 w 2023261"/>
              <a:gd name="connsiteY28" fmla="*/ 742950 h 2570263"/>
              <a:gd name="connsiteX29" fmla="*/ 1688826 w 2023261"/>
              <a:gd name="connsiteY29" fmla="*/ 819412 h 2570263"/>
              <a:gd name="connsiteX30" fmla="*/ 1789103 w 2023261"/>
              <a:gd name="connsiteY30" fmla="*/ 752736 h 2570263"/>
              <a:gd name="connsiteX31" fmla="*/ 1854192 w 2023261"/>
              <a:gd name="connsiteY31" fmla="*/ 440532 h 2570263"/>
              <a:gd name="connsiteX32" fmla="*/ 1919016 w 2023261"/>
              <a:gd name="connsiteY32" fmla="*/ 214444 h 2570263"/>
              <a:gd name="connsiteX33" fmla="*/ 2023261 w 2023261"/>
              <a:gd name="connsiteY33"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35029 w 2023261"/>
              <a:gd name="connsiteY17" fmla="*/ 1300163 h 2570263"/>
              <a:gd name="connsiteX18" fmla="*/ 985036 w 2023261"/>
              <a:gd name="connsiteY18" fmla="*/ 1497806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35029 w 2023261"/>
              <a:gd name="connsiteY17" fmla="*/ 1300163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11305 w 2023261"/>
              <a:gd name="connsiteY27" fmla="*/ 742950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53625 w 2023261"/>
              <a:gd name="connsiteY26" fmla="*/ 555484 h 2570263"/>
              <a:gd name="connsiteX27" fmla="*/ 1605649 w 2023261"/>
              <a:gd name="connsiteY27" fmla="*/ 764773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33413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89103 w 2023261"/>
              <a:gd name="connsiteY29" fmla="*/ 752736 h 2570263"/>
              <a:gd name="connsiteX30" fmla="*/ 1854192 w 2023261"/>
              <a:gd name="connsiteY30" fmla="*/ 440532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89103 w 2023261"/>
              <a:gd name="connsiteY29" fmla="*/ 752736 h 2570263"/>
              <a:gd name="connsiteX30" fmla="*/ 1844766 w 2023261"/>
              <a:gd name="connsiteY30" fmla="*/ 429621 h 2570263"/>
              <a:gd name="connsiteX31" fmla="*/ 1919016 w 2023261"/>
              <a:gd name="connsiteY31" fmla="*/ 214444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89103 w 2023261"/>
              <a:gd name="connsiteY29" fmla="*/ 752736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89103 w 2023261"/>
              <a:gd name="connsiteY29" fmla="*/ 725458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79676 w 2023261"/>
              <a:gd name="connsiteY29" fmla="*/ 730914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8673 w 2023261"/>
              <a:gd name="connsiteY25" fmla="*/ 221848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42313 w 2023261"/>
              <a:gd name="connsiteY26" fmla="*/ 528206 h 2570263"/>
              <a:gd name="connsiteX27" fmla="*/ 1605649 w 2023261"/>
              <a:gd name="connsiteY27" fmla="*/ 764773 h 2570263"/>
              <a:gd name="connsiteX28" fmla="*/ 1688826 w 2023261"/>
              <a:gd name="connsiteY28" fmla="*/ 819412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605649 w 2023261"/>
              <a:gd name="connsiteY27" fmla="*/ 764773 h 2570263"/>
              <a:gd name="connsiteX28" fmla="*/ 1688826 w 2023261"/>
              <a:gd name="connsiteY28" fmla="*/ 819412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88826 w 2023261"/>
              <a:gd name="connsiteY28" fmla="*/ 819412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3151 w 2023261"/>
              <a:gd name="connsiteY18" fmla="*/ 1557819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1266 w 2023261"/>
              <a:gd name="connsiteY18" fmla="*/ 1579642 h 2570263"/>
              <a:gd name="connsiteX19" fmla="*/ 1081675 w 2023261"/>
              <a:gd name="connsiteY19" fmla="*/ 1761131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77829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29395 w 2023261"/>
              <a:gd name="connsiteY15" fmla="*/ 975573 h 2570263"/>
              <a:gd name="connsiteX16" fmla="*/ 885370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89773 w 2023261"/>
              <a:gd name="connsiteY14" fmla="*/ 1076326 h 2570263"/>
              <a:gd name="connsiteX15" fmla="*/ 840707 w 2023261"/>
              <a:gd name="connsiteY15" fmla="*/ 975573 h 2570263"/>
              <a:gd name="connsiteX16" fmla="*/ 885370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93544 w 2023261"/>
              <a:gd name="connsiteY14" fmla="*/ 1076326 h 2570263"/>
              <a:gd name="connsiteX15" fmla="*/ 840707 w 2023261"/>
              <a:gd name="connsiteY15" fmla="*/ 975573 h 2570263"/>
              <a:gd name="connsiteX16" fmla="*/ 885370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93544 w 2023261"/>
              <a:gd name="connsiteY14" fmla="*/ 1076326 h 2570263"/>
              <a:gd name="connsiteX15" fmla="*/ 840707 w 2023261"/>
              <a:gd name="connsiteY15" fmla="*/ 975573 h 2570263"/>
              <a:gd name="connsiteX16" fmla="*/ 885370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93544 w 2023261"/>
              <a:gd name="connsiteY14" fmla="*/ 1076326 h 2570263"/>
              <a:gd name="connsiteX15" fmla="*/ 840707 w 2023261"/>
              <a:gd name="connsiteY15" fmla="*/ 975573 h 2570263"/>
              <a:gd name="connsiteX16" fmla="*/ 885370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70263"/>
              <a:gd name="connsiteX1" fmla="*/ 171989 w 2023261"/>
              <a:gd name="connsiteY1" fmla="*/ 2440052 h 2570263"/>
              <a:gd name="connsiteX2" fmla="*/ 242350 w 2023261"/>
              <a:gd name="connsiteY2" fmla="*/ 2081735 h 2570263"/>
              <a:gd name="connsiteX3" fmla="*/ 271457 w 2023261"/>
              <a:gd name="connsiteY3" fmla="*/ 1976438 h 2570263"/>
              <a:gd name="connsiteX4" fmla="*/ 306380 w 2023261"/>
              <a:gd name="connsiteY4" fmla="*/ 1969294 h 2570263"/>
              <a:gd name="connsiteX5" fmla="*/ 332573 w 2023261"/>
              <a:gd name="connsiteY5" fmla="*/ 2024063 h 2570263"/>
              <a:gd name="connsiteX6" fmla="*/ 363529 w 2023261"/>
              <a:gd name="connsiteY6" fmla="*/ 2150270 h 2570263"/>
              <a:gd name="connsiteX7" fmla="*/ 408773 w 2023261"/>
              <a:gd name="connsiteY7" fmla="*/ 2347913 h 2570263"/>
              <a:gd name="connsiteX8" fmla="*/ 484974 w 2023261"/>
              <a:gd name="connsiteY8" fmla="*/ 2526506 h 2570263"/>
              <a:gd name="connsiteX9" fmla="*/ 596097 w 2023261"/>
              <a:gd name="connsiteY9" fmla="*/ 2559843 h 2570263"/>
              <a:gd name="connsiteX10" fmla="*/ 686318 w 2023261"/>
              <a:gd name="connsiteY10" fmla="*/ 2377694 h 2570263"/>
              <a:gd name="connsiteX11" fmla="*/ 731269 w 2023261"/>
              <a:gd name="connsiteY11" fmla="*/ 2059812 h 2570263"/>
              <a:gd name="connsiteX12" fmla="*/ 751673 w 2023261"/>
              <a:gd name="connsiteY12" fmla="*/ 1628775 h 2570263"/>
              <a:gd name="connsiteX13" fmla="*/ 770723 w 2023261"/>
              <a:gd name="connsiteY13" fmla="*/ 1288257 h 2570263"/>
              <a:gd name="connsiteX14" fmla="*/ 793544 w 2023261"/>
              <a:gd name="connsiteY14" fmla="*/ 1076326 h 2570263"/>
              <a:gd name="connsiteX15" fmla="*/ 840707 w 2023261"/>
              <a:gd name="connsiteY15" fmla="*/ 975573 h 2570263"/>
              <a:gd name="connsiteX16" fmla="*/ 885370 w 2023261"/>
              <a:gd name="connsiteY16" fmla="*/ 1083860 h 2570263"/>
              <a:gd name="connsiteX17" fmla="*/ 918061 w 2023261"/>
              <a:gd name="connsiteY17" fmla="*/ 1267429 h 2570263"/>
              <a:gd name="connsiteX18" fmla="*/ 981266 w 2023261"/>
              <a:gd name="connsiteY18" fmla="*/ 1579642 h 2570263"/>
              <a:gd name="connsiteX19" fmla="*/ 1072248 w 2023261"/>
              <a:gd name="connsiteY19" fmla="*/ 1772042 h 2570263"/>
              <a:gd name="connsiteX20" fmla="*/ 1203581 w 2023261"/>
              <a:gd name="connsiteY20" fmla="*/ 1788450 h 2570263"/>
              <a:gd name="connsiteX21" fmla="*/ 1297707 w 2023261"/>
              <a:gd name="connsiteY21" fmla="*/ 1646570 h 2570263"/>
              <a:gd name="connsiteX22" fmla="*/ 1363522 w 2023261"/>
              <a:gd name="connsiteY22" fmla="*/ 1257903 h 2570263"/>
              <a:gd name="connsiteX23" fmla="*/ 1394611 w 2023261"/>
              <a:gd name="connsiteY23" fmla="*/ 677059 h 2570263"/>
              <a:gd name="connsiteX24" fmla="*/ 1421334 w 2023261"/>
              <a:gd name="connsiteY24" fmla="*/ 268690 h 2570263"/>
              <a:gd name="connsiteX25" fmla="*/ 1481132 w 2023261"/>
              <a:gd name="connsiteY25" fmla="*/ 227305 h 2570263"/>
              <a:gd name="connsiteX26" fmla="*/ 1538542 w 2023261"/>
              <a:gd name="connsiteY26" fmla="*/ 555484 h 2570263"/>
              <a:gd name="connsiteX27" fmla="*/ 1594337 w 2023261"/>
              <a:gd name="connsiteY27" fmla="*/ 775684 h 2570263"/>
              <a:gd name="connsiteX28" fmla="*/ 1696367 w 2023261"/>
              <a:gd name="connsiteY28" fmla="*/ 830324 h 2570263"/>
              <a:gd name="connsiteX29" fmla="*/ 1775905 w 2023261"/>
              <a:gd name="connsiteY29" fmla="*/ 725457 h 2570263"/>
              <a:gd name="connsiteX30" fmla="*/ 1844766 w 2023261"/>
              <a:gd name="connsiteY30" fmla="*/ 429621 h 2570263"/>
              <a:gd name="connsiteX31" fmla="*/ 1919016 w 2023261"/>
              <a:gd name="connsiteY31" fmla="*/ 192622 h 2570263"/>
              <a:gd name="connsiteX32" fmla="*/ 2023261 w 2023261"/>
              <a:gd name="connsiteY32" fmla="*/ 0 h 2570263"/>
              <a:gd name="connsiteX0" fmla="*/ 0 w 2023261"/>
              <a:gd name="connsiteY0" fmla="*/ 2534716 h 2569411"/>
              <a:gd name="connsiteX1" fmla="*/ 171989 w 2023261"/>
              <a:gd name="connsiteY1" fmla="*/ 2440052 h 2569411"/>
              <a:gd name="connsiteX2" fmla="*/ 242350 w 2023261"/>
              <a:gd name="connsiteY2" fmla="*/ 2081735 h 2569411"/>
              <a:gd name="connsiteX3" fmla="*/ 271457 w 2023261"/>
              <a:gd name="connsiteY3" fmla="*/ 1976438 h 2569411"/>
              <a:gd name="connsiteX4" fmla="*/ 306380 w 2023261"/>
              <a:gd name="connsiteY4" fmla="*/ 1969294 h 2569411"/>
              <a:gd name="connsiteX5" fmla="*/ 332573 w 2023261"/>
              <a:gd name="connsiteY5" fmla="*/ 2024063 h 2569411"/>
              <a:gd name="connsiteX6" fmla="*/ 363529 w 2023261"/>
              <a:gd name="connsiteY6" fmla="*/ 2150270 h 2569411"/>
              <a:gd name="connsiteX7" fmla="*/ 408773 w 2023261"/>
              <a:gd name="connsiteY7" fmla="*/ 2377920 h 2569411"/>
              <a:gd name="connsiteX8" fmla="*/ 484974 w 2023261"/>
              <a:gd name="connsiteY8" fmla="*/ 2526506 h 2569411"/>
              <a:gd name="connsiteX9" fmla="*/ 596097 w 2023261"/>
              <a:gd name="connsiteY9" fmla="*/ 2559843 h 2569411"/>
              <a:gd name="connsiteX10" fmla="*/ 686318 w 2023261"/>
              <a:gd name="connsiteY10" fmla="*/ 2377694 h 2569411"/>
              <a:gd name="connsiteX11" fmla="*/ 731269 w 2023261"/>
              <a:gd name="connsiteY11" fmla="*/ 2059812 h 2569411"/>
              <a:gd name="connsiteX12" fmla="*/ 751673 w 2023261"/>
              <a:gd name="connsiteY12" fmla="*/ 1628775 h 2569411"/>
              <a:gd name="connsiteX13" fmla="*/ 770723 w 2023261"/>
              <a:gd name="connsiteY13" fmla="*/ 1288257 h 2569411"/>
              <a:gd name="connsiteX14" fmla="*/ 793544 w 2023261"/>
              <a:gd name="connsiteY14" fmla="*/ 1076326 h 2569411"/>
              <a:gd name="connsiteX15" fmla="*/ 840707 w 2023261"/>
              <a:gd name="connsiteY15" fmla="*/ 975573 h 2569411"/>
              <a:gd name="connsiteX16" fmla="*/ 885370 w 2023261"/>
              <a:gd name="connsiteY16" fmla="*/ 1083860 h 2569411"/>
              <a:gd name="connsiteX17" fmla="*/ 918061 w 2023261"/>
              <a:gd name="connsiteY17" fmla="*/ 1267429 h 2569411"/>
              <a:gd name="connsiteX18" fmla="*/ 981266 w 2023261"/>
              <a:gd name="connsiteY18" fmla="*/ 1579642 h 2569411"/>
              <a:gd name="connsiteX19" fmla="*/ 1072248 w 2023261"/>
              <a:gd name="connsiteY19" fmla="*/ 1772042 h 2569411"/>
              <a:gd name="connsiteX20" fmla="*/ 1203581 w 2023261"/>
              <a:gd name="connsiteY20" fmla="*/ 1788450 h 2569411"/>
              <a:gd name="connsiteX21" fmla="*/ 1297707 w 2023261"/>
              <a:gd name="connsiteY21" fmla="*/ 1646570 h 2569411"/>
              <a:gd name="connsiteX22" fmla="*/ 1363522 w 2023261"/>
              <a:gd name="connsiteY22" fmla="*/ 1257903 h 2569411"/>
              <a:gd name="connsiteX23" fmla="*/ 1394611 w 2023261"/>
              <a:gd name="connsiteY23" fmla="*/ 677059 h 2569411"/>
              <a:gd name="connsiteX24" fmla="*/ 1421334 w 2023261"/>
              <a:gd name="connsiteY24" fmla="*/ 268690 h 2569411"/>
              <a:gd name="connsiteX25" fmla="*/ 1481132 w 2023261"/>
              <a:gd name="connsiteY25" fmla="*/ 227305 h 2569411"/>
              <a:gd name="connsiteX26" fmla="*/ 1538542 w 2023261"/>
              <a:gd name="connsiteY26" fmla="*/ 555484 h 2569411"/>
              <a:gd name="connsiteX27" fmla="*/ 1594337 w 2023261"/>
              <a:gd name="connsiteY27" fmla="*/ 775684 h 2569411"/>
              <a:gd name="connsiteX28" fmla="*/ 1696367 w 2023261"/>
              <a:gd name="connsiteY28" fmla="*/ 830324 h 2569411"/>
              <a:gd name="connsiteX29" fmla="*/ 1775905 w 2023261"/>
              <a:gd name="connsiteY29" fmla="*/ 725457 h 2569411"/>
              <a:gd name="connsiteX30" fmla="*/ 1844766 w 2023261"/>
              <a:gd name="connsiteY30" fmla="*/ 429621 h 2569411"/>
              <a:gd name="connsiteX31" fmla="*/ 1919016 w 2023261"/>
              <a:gd name="connsiteY31" fmla="*/ 192622 h 2569411"/>
              <a:gd name="connsiteX32" fmla="*/ 2023261 w 2023261"/>
              <a:gd name="connsiteY32" fmla="*/ 0 h 2569411"/>
              <a:gd name="connsiteX0" fmla="*/ 0 w 2023261"/>
              <a:gd name="connsiteY0" fmla="*/ 2534716 h 2550508"/>
              <a:gd name="connsiteX1" fmla="*/ 171989 w 2023261"/>
              <a:gd name="connsiteY1" fmla="*/ 2440052 h 2550508"/>
              <a:gd name="connsiteX2" fmla="*/ 242350 w 2023261"/>
              <a:gd name="connsiteY2" fmla="*/ 2081735 h 2550508"/>
              <a:gd name="connsiteX3" fmla="*/ 271457 w 2023261"/>
              <a:gd name="connsiteY3" fmla="*/ 1976438 h 2550508"/>
              <a:gd name="connsiteX4" fmla="*/ 306380 w 2023261"/>
              <a:gd name="connsiteY4" fmla="*/ 1969294 h 2550508"/>
              <a:gd name="connsiteX5" fmla="*/ 332573 w 2023261"/>
              <a:gd name="connsiteY5" fmla="*/ 2024063 h 2550508"/>
              <a:gd name="connsiteX6" fmla="*/ 363529 w 2023261"/>
              <a:gd name="connsiteY6" fmla="*/ 2150270 h 2550508"/>
              <a:gd name="connsiteX7" fmla="*/ 408773 w 2023261"/>
              <a:gd name="connsiteY7" fmla="*/ 2377920 h 2550508"/>
              <a:gd name="connsiteX8" fmla="*/ 484974 w 2023261"/>
              <a:gd name="connsiteY8" fmla="*/ 2526506 h 2550508"/>
              <a:gd name="connsiteX9" fmla="*/ 605524 w 2023261"/>
              <a:gd name="connsiteY9" fmla="*/ 2535293 h 2550508"/>
              <a:gd name="connsiteX10" fmla="*/ 686318 w 2023261"/>
              <a:gd name="connsiteY10" fmla="*/ 2377694 h 2550508"/>
              <a:gd name="connsiteX11" fmla="*/ 731269 w 2023261"/>
              <a:gd name="connsiteY11" fmla="*/ 2059812 h 2550508"/>
              <a:gd name="connsiteX12" fmla="*/ 751673 w 2023261"/>
              <a:gd name="connsiteY12" fmla="*/ 1628775 h 2550508"/>
              <a:gd name="connsiteX13" fmla="*/ 770723 w 2023261"/>
              <a:gd name="connsiteY13" fmla="*/ 1288257 h 2550508"/>
              <a:gd name="connsiteX14" fmla="*/ 793544 w 2023261"/>
              <a:gd name="connsiteY14" fmla="*/ 1076326 h 2550508"/>
              <a:gd name="connsiteX15" fmla="*/ 840707 w 2023261"/>
              <a:gd name="connsiteY15" fmla="*/ 975573 h 2550508"/>
              <a:gd name="connsiteX16" fmla="*/ 885370 w 2023261"/>
              <a:gd name="connsiteY16" fmla="*/ 1083860 h 2550508"/>
              <a:gd name="connsiteX17" fmla="*/ 918061 w 2023261"/>
              <a:gd name="connsiteY17" fmla="*/ 1267429 h 2550508"/>
              <a:gd name="connsiteX18" fmla="*/ 981266 w 2023261"/>
              <a:gd name="connsiteY18" fmla="*/ 1579642 h 2550508"/>
              <a:gd name="connsiteX19" fmla="*/ 1072248 w 2023261"/>
              <a:gd name="connsiteY19" fmla="*/ 1772042 h 2550508"/>
              <a:gd name="connsiteX20" fmla="*/ 1203581 w 2023261"/>
              <a:gd name="connsiteY20" fmla="*/ 1788450 h 2550508"/>
              <a:gd name="connsiteX21" fmla="*/ 1297707 w 2023261"/>
              <a:gd name="connsiteY21" fmla="*/ 1646570 h 2550508"/>
              <a:gd name="connsiteX22" fmla="*/ 1363522 w 2023261"/>
              <a:gd name="connsiteY22" fmla="*/ 1257903 h 2550508"/>
              <a:gd name="connsiteX23" fmla="*/ 1394611 w 2023261"/>
              <a:gd name="connsiteY23" fmla="*/ 677059 h 2550508"/>
              <a:gd name="connsiteX24" fmla="*/ 1421334 w 2023261"/>
              <a:gd name="connsiteY24" fmla="*/ 268690 h 2550508"/>
              <a:gd name="connsiteX25" fmla="*/ 1481132 w 2023261"/>
              <a:gd name="connsiteY25" fmla="*/ 227305 h 2550508"/>
              <a:gd name="connsiteX26" fmla="*/ 1538542 w 2023261"/>
              <a:gd name="connsiteY26" fmla="*/ 555484 h 2550508"/>
              <a:gd name="connsiteX27" fmla="*/ 1594337 w 2023261"/>
              <a:gd name="connsiteY27" fmla="*/ 775684 h 2550508"/>
              <a:gd name="connsiteX28" fmla="*/ 1696367 w 2023261"/>
              <a:gd name="connsiteY28" fmla="*/ 830324 h 2550508"/>
              <a:gd name="connsiteX29" fmla="*/ 1775905 w 2023261"/>
              <a:gd name="connsiteY29" fmla="*/ 725457 h 2550508"/>
              <a:gd name="connsiteX30" fmla="*/ 1844766 w 2023261"/>
              <a:gd name="connsiteY30" fmla="*/ 429621 h 2550508"/>
              <a:gd name="connsiteX31" fmla="*/ 1919016 w 2023261"/>
              <a:gd name="connsiteY31" fmla="*/ 192622 h 2550508"/>
              <a:gd name="connsiteX32" fmla="*/ 2023261 w 2023261"/>
              <a:gd name="connsiteY32" fmla="*/ 0 h 2550508"/>
              <a:gd name="connsiteX0" fmla="*/ 0 w 2023261"/>
              <a:gd name="connsiteY0" fmla="*/ 2534716 h 2543926"/>
              <a:gd name="connsiteX1" fmla="*/ 171989 w 2023261"/>
              <a:gd name="connsiteY1" fmla="*/ 2440052 h 2543926"/>
              <a:gd name="connsiteX2" fmla="*/ 242350 w 2023261"/>
              <a:gd name="connsiteY2" fmla="*/ 2081735 h 2543926"/>
              <a:gd name="connsiteX3" fmla="*/ 271457 w 2023261"/>
              <a:gd name="connsiteY3" fmla="*/ 1976438 h 2543926"/>
              <a:gd name="connsiteX4" fmla="*/ 306380 w 2023261"/>
              <a:gd name="connsiteY4" fmla="*/ 1969294 h 2543926"/>
              <a:gd name="connsiteX5" fmla="*/ 332573 w 2023261"/>
              <a:gd name="connsiteY5" fmla="*/ 2024063 h 2543926"/>
              <a:gd name="connsiteX6" fmla="*/ 363529 w 2023261"/>
              <a:gd name="connsiteY6" fmla="*/ 2150270 h 2543926"/>
              <a:gd name="connsiteX7" fmla="*/ 408773 w 2023261"/>
              <a:gd name="connsiteY7" fmla="*/ 2377920 h 2543926"/>
              <a:gd name="connsiteX8" fmla="*/ 484974 w 2023261"/>
              <a:gd name="connsiteY8" fmla="*/ 2526506 h 2543926"/>
              <a:gd name="connsiteX9" fmla="*/ 607410 w 2023261"/>
              <a:gd name="connsiteY9" fmla="*/ 2524381 h 2543926"/>
              <a:gd name="connsiteX10" fmla="*/ 686318 w 2023261"/>
              <a:gd name="connsiteY10" fmla="*/ 2377694 h 2543926"/>
              <a:gd name="connsiteX11" fmla="*/ 731269 w 2023261"/>
              <a:gd name="connsiteY11" fmla="*/ 2059812 h 2543926"/>
              <a:gd name="connsiteX12" fmla="*/ 751673 w 2023261"/>
              <a:gd name="connsiteY12" fmla="*/ 1628775 h 2543926"/>
              <a:gd name="connsiteX13" fmla="*/ 770723 w 2023261"/>
              <a:gd name="connsiteY13" fmla="*/ 1288257 h 2543926"/>
              <a:gd name="connsiteX14" fmla="*/ 793544 w 2023261"/>
              <a:gd name="connsiteY14" fmla="*/ 1076326 h 2543926"/>
              <a:gd name="connsiteX15" fmla="*/ 840707 w 2023261"/>
              <a:gd name="connsiteY15" fmla="*/ 975573 h 2543926"/>
              <a:gd name="connsiteX16" fmla="*/ 885370 w 2023261"/>
              <a:gd name="connsiteY16" fmla="*/ 1083860 h 2543926"/>
              <a:gd name="connsiteX17" fmla="*/ 918061 w 2023261"/>
              <a:gd name="connsiteY17" fmla="*/ 1267429 h 2543926"/>
              <a:gd name="connsiteX18" fmla="*/ 981266 w 2023261"/>
              <a:gd name="connsiteY18" fmla="*/ 1579642 h 2543926"/>
              <a:gd name="connsiteX19" fmla="*/ 1072248 w 2023261"/>
              <a:gd name="connsiteY19" fmla="*/ 1772042 h 2543926"/>
              <a:gd name="connsiteX20" fmla="*/ 1203581 w 2023261"/>
              <a:gd name="connsiteY20" fmla="*/ 1788450 h 2543926"/>
              <a:gd name="connsiteX21" fmla="*/ 1297707 w 2023261"/>
              <a:gd name="connsiteY21" fmla="*/ 1646570 h 2543926"/>
              <a:gd name="connsiteX22" fmla="*/ 1363522 w 2023261"/>
              <a:gd name="connsiteY22" fmla="*/ 1257903 h 2543926"/>
              <a:gd name="connsiteX23" fmla="*/ 1394611 w 2023261"/>
              <a:gd name="connsiteY23" fmla="*/ 677059 h 2543926"/>
              <a:gd name="connsiteX24" fmla="*/ 1421334 w 2023261"/>
              <a:gd name="connsiteY24" fmla="*/ 268690 h 2543926"/>
              <a:gd name="connsiteX25" fmla="*/ 1481132 w 2023261"/>
              <a:gd name="connsiteY25" fmla="*/ 227305 h 2543926"/>
              <a:gd name="connsiteX26" fmla="*/ 1538542 w 2023261"/>
              <a:gd name="connsiteY26" fmla="*/ 555484 h 2543926"/>
              <a:gd name="connsiteX27" fmla="*/ 1594337 w 2023261"/>
              <a:gd name="connsiteY27" fmla="*/ 775684 h 2543926"/>
              <a:gd name="connsiteX28" fmla="*/ 1696367 w 2023261"/>
              <a:gd name="connsiteY28" fmla="*/ 830324 h 2543926"/>
              <a:gd name="connsiteX29" fmla="*/ 1775905 w 2023261"/>
              <a:gd name="connsiteY29" fmla="*/ 725457 h 2543926"/>
              <a:gd name="connsiteX30" fmla="*/ 1844766 w 2023261"/>
              <a:gd name="connsiteY30" fmla="*/ 429621 h 2543926"/>
              <a:gd name="connsiteX31" fmla="*/ 1919016 w 2023261"/>
              <a:gd name="connsiteY31" fmla="*/ 192622 h 2543926"/>
              <a:gd name="connsiteX32" fmla="*/ 2023261 w 2023261"/>
              <a:gd name="connsiteY32" fmla="*/ 0 h 2543926"/>
              <a:gd name="connsiteX0" fmla="*/ 0 w 2023261"/>
              <a:gd name="connsiteY0" fmla="*/ 2534716 h 2550508"/>
              <a:gd name="connsiteX1" fmla="*/ 171989 w 2023261"/>
              <a:gd name="connsiteY1" fmla="*/ 2440052 h 2550508"/>
              <a:gd name="connsiteX2" fmla="*/ 242350 w 2023261"/>
              <a:gd name="connsiteY2" fmla="*/ 2081735 h 2550508"/>
              <a:gd name="connsiteX3" fmla="*/ 271457 w 2023261"/>
              <a:gd name="connsiteY3" fmla="*/ 1976438 h 2550508"/>
              <a:gd name="connsiteX4" fmla="*/ 306380 w 2023261"/>
              <a:gd name="connsiteY4" fmla="*/ 1969294 h 2550508"/>
              <a:gd name="connsiteX5" fmla="*/ 332573 w 2023261"/>
              <a:gd name="connsiteY5" fmla="*/ 2024063 h 2550508"/>
              <a:gd name="connsiteX6" fmla="*/ 363529 w 2023261"/>
              <a:gd name="connsiteY6" fmla="*/ 2150270 h 2550508"/>
              <a:gd name="connsiteX7" fmla="*/ 408773 w 2023261"/>
              <a:gd name="connsiteY7" fmla="*/ 2377920 h 2550508"/>
              <a:gd name="connsiteX8" fmla="*/ 484974 w 2023261"/>
              <a:gd name="connsiteY8" fmla="*/ 2526506 h 2550508"/>
              <a:gd name="connsiteX9" fmla="*/ 604582 w 2023261"/>
              <a:gd name="connsiteY9" fmla="*/ 2535293 h 2550508"/>
              <a:gd name="connsiteX10" fmla="*/ 686318 w 2023261"/>
              <a:gd name="connsiteY10" fmla="*/ 2377694 h 2550508"/>
              <a:gd name="connsiteX11" fmla="*/ 731269 w 2023261"/>
              <a:gd name="connsiteY11" fmla="*/ 2059812 h 2550508"/>
              <a:gd name="connsiteX12" fmla="*/ 751673 w 2023261"/>
              <a:gd name="connsiteY12" fmla="*/ 1628775 h 2550508"/>
              <a:gd name="connsiteX13" fmla="*/ 770723 w 2023261"/>
              <a:gd name="connsiteY13" fmla="*/ 1288257 h 2550508"/>
              <a:gd name="connsiteX14" fmla="*/ 793544 w 2023261"/>
              <a:gd name="connsiteY14" fmla="*/ 1076326 h 2550508"/>
              <a:gd name="connsiteX15" fmla="*/ 840707 w 2023261"/>
              <a:gd name="connsiteY15" fmla="*/ 975573 h 2550508"/>
              <a:gd name="connsiteX16" fmla="*/ 885370 w 2023261"/>
              <a:gd name="connsiteY16" fmla="*/ 1083860 h 2550508"/>
              <a:gd name="connsiteX17" fmla="*/ 918061 w 2023261"/>
              <a:gd name="connsiteY17" fmla="*/ 1267429 h 2550508"/>
              <a:gd name="connsiteX18" fmla="*/ 981266 w 2023261"/>
              <a:gd name="connsiteY18" fmla="*/ 1579642 h 2550508"/>
              <a:gd name="connsiteX19" fmla="*/ 1072248 w 2023261"/>
              <a:gd name="connsiteY19" fmla="*/ 1772042 h 2550508"/>
              <a:gd name="connsiteX20" fmla="*/ 1203581 w 2023261"/>
              <a:gd name="connsiteY20" fmla="*/ 1788450 h 2550508"/>
              <a:gd name="connsiteX21" fmla="*/ 1297707 w 2023261"/>
              <a:gd name="connsiteY21" fmla="*/ 1646570 h 2550508"/>
              <a:gd name="connsiteX22" fmla="*/ 1363522 w 2023261"/>
              <a:gd name="connsiteY22" fmla="*/ 1257903 h 2550508"/>
              <a:gd name="connsiteX23" fmla="*/ 1394611 w 2023261"/>
              <a:gd name="connsiteY23" fmla="*/ 677059 h 2550508"/>
              <a:gd name="connsiteX24" fmla="*/ 1421334 w 2023261"/>
              <a:gd name="connsiteY24" fmla="*/ 268690 h 2550508"/>
              <a:gd name="connsiteX25" fmla="*/ 1481132 w 2023261"/>
              <a:gd name="connsiteY25" fmla="*/ 227305 h 2550508"/>
              <a:gd name="connsiteX26" fmla="*/ 1538542 w 2023261"/>
              <a:gd name="connsiteY26" fmla="*/ 555484 h 2550508"/>
              <a:gd name="connsiteX27" fmla="*/ 1594337 w 2023261"/>
              <a:gd name="connsiteY27" fmla="*/ 775684 h 2550508"/>
              <a:gd name="connsiteX28" fmla="*/ 1696367 w 2023261"/>
              <a:gd name="connsiteY28" fmla="*/ 830324 h 2550508"/>
              <a:gd name="connsiteX29" fmla="*/ 1775905 w 2023261"/>
              <a:gd name="connsiteY29" fmla="*/ 725457 h 2550508"/>
              <a:gd name="connsiteX30" fmla="*/ 1844766 w 2023261"/>
              <a:gd name="connsiteY30" fmla="*/ 429621 h 2550508"/>
              <a:gd name="connsiteX31" fmla="*/ 1919016 w 2023261"/>
              <a:gd name="connsiteY31" fmla="*/ 192622 h 2550508"/>
              <a:gd name="connsiteX32" fmla="*/ 2023261 w 2023261"/>
              <a:gd name="connsiteY32" fmla="*/ 0 h 2550508"/>
              <a:gd name="connsiteX0" fmla="*/ 0 w 2023261"/>
              <a:gd name="connsiteY0" fmla="*/ 2534716 h 2553173"/>
              <a:gd name="connsiteX1" fmla="*/ 171989 w 2023261"/>
              <a:gd name="connsiteY1" fmla="*/ 2440052 h 2553173"/>
              <a:gd name="connsiteX2" fmla="*/ 242350 w 2023261"/>
              <a:gd name="connsiteY2" fmla="*/ 2081735 h 2553173"/>
              <a:gd name="connsiteX3" fmla="*/ 271457 w 2023261"/>
              <a:gd name="connsiteY3" fmla="*/ 1976438 h 2553173"/>
              <a:gd name="connsiteX4" fmla="*/ 306380 w 2023261"/>
              <a:gd name="connsiteY4" fmla="*/ 1969294 h 2553173"/>
              <a:gd name="connsiteX5" fmla="*/ 332573 w 2023261"/>
              <a:gd name="connsiteY5" fmla="*/ 2024063 h 2553173"/>
              <a:gd name="connsiteX6" fmla="*/ 363529 w 2023261"/>
              <a:gd name="connsiteY6" fmla="*/ 2150270 h 2553173"/>
              <a:gd name="connsiteX7" fmla="*/ 408773 w 2023261"/>
              <a:gd name="connsiteY7" fmla="*/ 2377920 h 2553173"/>
              <a:gd name="connsiteX8" fmla="*/ 495344 w 2023261"/>
              <a:gd name="connsiteY8" fmla="*/ 2531961 h 2553173"/>
              <a:gd name="connsiteX9" fmla="*/ 604582 w 2023261"/>
              <a:gd name="connsiteY9" fmla="*/ 2535293 h 2553173"/>
              <a:gd name="connsiteX10" fmla="*/ 686318 w 2023261"/>
              <a:gd name="connsiteY10" fmla="*/ 2377694 h 2553173"/>
              <a:gd name="connsiteX11" fmla="*/ 731269 w 2023261"/>
              <a:gd name="connsiteY11" fmla="*/ 2059812 h 2553173"/>
              <a:gd name="connsiteX12" fmla="*/ 751673 w 2023261"/>
              <a:gd name="connsiteY12" fmla="*/ 1628775 h 2553173"/>
              <a:gd name="connsiteX13" fmla="*/ 770723 w 2023261"/>
              <a:gd name="connsiteY13" fmla="*/ 1288257 h 2553173"/>
              <a:gd name="connsiteX14" fmla="*/ 793544 w 2023261"/>
              <a:gd name="connsiteY14" fmla="*/ 1076326 h 2553173"/>
              <a:gd name="connsiteX15" fmla="*/ 840707 w 2023261"/>
              <a:gd name="connsiteY15" fmla="*/ 975573 h 2553173"/>
              <a:gd name="connsiteX16" fmla="*/ 885370 w 2023261"/>
              <a:gd name="connsiteY16" fmla="*/ 1083860 h 2553173"/>
              <a:gd name="connsiteX17" fmla="*/ 918061 w 2023261"/>
              <a:gd name="connsiteY17" fmla="*/ 1267429 h 2553173"/>
              <a:gd name="connsiteX18" fmla="*/ 981266 w 2023261"/>
              <a:gd name="connsiteY18" fmla="*/ 1579642 h 2553173"/>
              <a:gd name="connsiteX19" fmla="*/ 1072248 w 2023261"/>
              <a:gd name="connsiteY19" fmla="*/ 1772042 h 2553173"/>
              <a:gd name="connsiteX20" fmla="*/ 1203581 w 2023261"/>
              <a:gd name="connsiteY20" fmla="*/ 1788450 h 2553173"/>
              <a:gd name="connsiteX21" fmla="*/ 1297707 w 2023261"/>
              <a:gd name="connsiteY21" fmla="*/ 1646570 h 2553173"/>
              <a:gd name="connsiteX22" fmla="*/ 1363522 w 2023261"/>
              <a:gd name="connsiteY22" fmla="*/ 1257903 h 2553173"/>
              <a:gd name="connsiteX23" fmla="*/ 1394611 w 2023261"/>
              <a:gd name="connsiteY23" fmla="*/ 677059 h 2553173"/>
              <a:gd name="connsiteX24" fmla="*/ 1421334 w 2023261"/>
              <a:gd name="connsiteY24" fmla="*/ 268690 h 2553173"/>
              <a:gd name="connsiteX25" fmla="*/ 1481132 w 2023261"/>
              <a:gd name="connsiteY25" fmla="*/ 227305 h 2553173"/>
              <a:gd name="connsiteX26" fmla="*/ 1538542 w 2023261"/>
              <a:gd name="connsiteY26" fmla="*/ 555484 h 2553173"/>
              <a:gd name="connsiteX27" fmla="*/ 1594337 w 2023261"/>
              <a:gd name="connsiteY27" fmla="*/ 775684 h 2553173"/>
              <a:gd name="connsiteX28" fmla="*/ 1696367 w 2023261"/>
              <a:gd name="connsiteY28" fmla="*/ 830324 h 2553173"/>
              <a:gd name="connsiteX29" fmla="*/ 1775905 w 2023261"/>
              <a:gd name="connsiteY29" fmla="*/ 725457 h 2553173"/>
              <a:gd name="connsiteX30" fmla="*/ 1844766 w 2023261"/>
              <a:gd name="connsiteY30" fmla="*/ 429621 h 2553173"/>
              <a:gd name="connsiteX31" fmla="*/ 1919016 w 2023261"/>
              <a:gd name="connsiteY31" fmla="*/ 192622 h 2553173"/>
              <a:gd name="connsiteX32" fmla="*/ 2023261 w 2023261"/>
              <a:gd name="connsiteY32" fmla="*/ 0 h 2553173"/>
              <a:gd name="connsiteX0" fmla="*/ 0 w 2023261"/>
              <a:gd name="connsiteY0" fmla="*/ 2534716 h 2553172"/>
              <a:gd name="connsiteX1" fmla="*/ 171989 w 2023261"/>
              <a:gd name="connsiteY1" fmla="*/ 2440052 h 2553172"/>
              <a:gd name="connsiteX2" fmla="*/ 242350 w 2023261"/>
              <a:gd name="connsiteY2" fmla="*/ 2081735 h 2553172"/>
              <a:gd name="connsiteX3" fmla="*/ 271457 w 2023261"/>
              <a:gd name="connsiteY3" fmla="*/ 1976438 h 2553172"/>
              <a:gd name="connsiteX4" fmla="*/ 306380 w 2023261"/>
              <a:gd name="connsiteY4" fmla="*/ 1969294 h 2553172"/>
              <a:gd name="connsiteX5" fmla="*/ 332573 w 2023261"/>
              <a:gd name="connsiteY5" fmla="*/ 2024063 h 2553172"/>
              <a:gd name="connsiteX6" fmla="*/ 363529 w 2023261"/>
              <a:gd name="connsiteY6" fmla="*/ 2150270 h 2553172"/>
              <a:gd name="connsiteX7" fmla="*/ 408773 w 2023261"/>
              <a:gd name="connsiteY7" fmla="*/ 2377920 h 2553172"/>
              <a:gd name="connsiteX8" fmla="*/ 493459 w 2023261"/>
              <a:gd name="connsiteY8" fmla="*/ 2531961 h 2553172"/>
              <a:gd name="connsiteX9" fmla="*/ 604582 w 2023261"/>
              <a:gd name="connsiteY9" fmla="*/ 2535293 h 2553172"/>
              <a:gd name="connsiteX10" fmla="*/ 686318 w 2023261"/>
              <a:gd name="connsiteY10" fmla="*/ 2377694 h 2553172"/>
              <a:gd name="connsiteX11" fmla="*/ 731269 w 2023261"/>
              <a:gd name="connsiteY11" fmla="*/ 2059812 h 2553172"/>
              <a:gd name="connsiteX12" fmla="*/ 751673 w 2023261"/>
              <a:gd name="connsiteY12" fmla="*/ 1628775 h 2553172"/>
              <a:gd name="connsiteX13" fmla="*/ 770723 w 2023261"/>
              <a:gd name="connsiteY13" fmla="*/ 1288257 h 2553172"/>
              <a:gd name="connsiteX14" fmla="*/ 793544 w 2023261"/>
              <a:gd name="connsiteY14" fmla="*/ 1076326 h 2553172"/>
              <a:gd name="connsiteX15" fmla="*/ 840707 w 2023261"/>
              <a:gd name="connsiteY15" fmla="*/ 975573 h 2553172"/>
              <a:gd name="connsiteX16" fmla="*/ 885370 w 2023261"/>
              <a:gd name="connsiteY16" fmla="*/ 1083860 h 2553172"/>
              <a:gd name="connsiteX17" fmla="*/ 918061 w 2023261"/>
              <a:gd name="connsiteY17" fmla="*/ 1267429 h 2553172"/>
              <a:gd name="connsiteX18" fmla="*/ 981266 w 2023261"/>
              <a:gd name="connsiteY18" fmla="*/ 1579642 h 2553172"/>
              <a:gd name="connsiteX19" fmla="*/ 1072248 w 2023261"/>
              <a:gd name="connsiteY19" fmla="*/ 1772042 h 2553172"/>
              <a:gd name="connsiteX20" fmla="*/ 1203581 w 2023261"/>
              <a:gd name="connsiteY20" fmla="*/ 1788450 h 2553172"/>
              <a:gd name="connsiteX21" fmla="*/ 1297707 w 2023261"/>
              <a:gd name="connsiteY21" fmla="*/ 1646570 h 2553172"/>
              <a:gd name="connsiteX22" fmla="*/ 1363522 w 2023261"/>
              <a:gd name="connsiteY22" fmla="*/ 1257903 h 2553172"/>
              <a:gd name="connsiteX23" fmla="*/ 1394611 w 2023261"/>
              <a:gd name="connsiteY23" fmla="*/ 677059 h 2553172"/>
              <a:gd name="connsiteX24" fmla="*/ 1421334 w 2023261"/>
              <a:gd name="connsiteY24" fmla="*/ 268690 h 2553172"/>
              <a:gd name="connsiteX25" fmla="*/ 1481132 w 2023261"/>
              <a:gd name="connsiteY25" fmla="*/ 227305 h 2553172"/>
              <a:gd name="connsiteX26" fmla="*/ 1538542 w 2023261"/>
              <a:gd name="connsiteY26" fmla="*/ 555484 h 2553172"/>
              <a:gd name="connsiteX27" fmla="*/ 1594337 w 2023261"/>
              <a:gd name="connsiteY27" fmla="*/ 775684 h 2553172"/>
              <a:gd name="connsiteX28" fmla="*/ 1696367 w 2023261"/>
              <a:gd name="connsiteY28" fmla="*/ 830324 h 2553172"/>
              <a:gd name="connsiteX29" fmla="*/ 1775905 w 2023261"/>
              <a:gd name="connsiteY29" fmla="*/ 725457 h 2553172"/>
              <a:gd name="connsiteX30" fmla="*/ 1844766 w 2023261"/>
              <a:gd name="connsiteY30" fmla="*/ 429621 h 2553172"/>
              <a:gd name="connsiteX31" fmla="*/ 1919016 w 2023261"/>
              <a:gd name="connsiteY31" fmla="*/ 192622 h 2553172"/>
              <a:gd name="connsiteX32" fmla="*/ 2023261 w 2023261"/>
              <a:gd name="connsiteY32" fmla="*/ 0 h 2553172"/>
              <a:gd name="connsiteX0" fmla="*/ 0 w 2023261"/>
              <a:gd name="connsiteY0" fmla="*/ 2534716 h 2554641"/>
              <a:gd name="connsiteX1" fmla="*/ 171989 w 2023261"/>
              <a:gd name="connsiteY1" fmla="*/ 2440052 h 2554641"/>
              <a:gd name="connsiteX2" fmla="*/ 242350 w 2023261"/>
              <a:gd name="connsiteY2" fmla="*/ 2081735 h 2554641"/>
              <a:gd name="connsiteX3" fmla="*/ 271457 w 2023261"/>
              <a:gd name="connsiteY3" fmla="*/ 1976438 h 2554641"/>
              <a:gd name="connsiteX4" fmla="*/ 306380 w 2023261"/>
              <a:gd name="connsiteY4" fmla="*/ 1969294 h 2554641"/>
              <a:gd name="connsiteX5" fmla="*/ 332573 w 2023261"/>
              <a:gd name="connsiteY5" fmla="*/ 2024063 h 2554641"/>
              <a:gd name="connsiteX6" fmla="*/ 363529 w 2023261"/>
              <a:gd name="connsiteY6" fmla="*/ 2150270 h 2554641"/>
              <a:gd name="connsiteX7" fmla="*/ 408773 w 2023261"/>
              <a:gd name="connsiteY7" fmla="*/ 2377920 h 2554641"/>
              <a:gd name="connsiteX8" fmla="*/ 488746 w 2023261"/>
              <a:gd name="connsiteY8" fmla="*/ 2534690 h 2554641"/>
              <a:gd name="connsiteX9" fmla="*/ 604582 w 2023261"/>
              <a:gd name="connsiteY9" fmla="*/ 2535293 h 2554641"/>
              <a:gd name="connsiteX10" fmla="*/ 686318 w 2023261"/>
              <a:gd name="connsiteY10" fmla="*/ 2377694 h 2554641"/>
              <a:gd name="connsiteX11" fmla="*/ 731269 w 2023261"/>
              <a:gd name="connsiteY11" fmla="*/ 2059812 h 2554641"/>
              <a:gd name="connsiteX12" fmla="*/ 751673 w 2023261"/>
              <a:gd name="connsiteY12" fmla="*/ 1628775 h 2554641"/>
              <a:gd name="connsiteX13" fmla="*/ 770723 w 2023261"/>
              <a:gd name="connsiteY13" fmla="*/ 1288257 h 2554641"/>
              <a:gd name="connsiteX14" fmla="*/ 793544 w 2023261"/>
              <a:gd name="connsiteY14" fmla="*/ 1076326 h 2554641"/>
              <a:gd name="connsiteX15" fmla="*/ 840707 w 2023261"/>
              <a:gd name="connsiteY15" fmla="*/ 975573 h 2554641"/>
              <a:gd name="connsiteX16" fmla="*/ 885370 w 2023261"/>
              <a:gd name="connsiteY16" fmla="*/ 1083860 h 2554641"/>
              <a:gd name="connsiteX17" fmla="*/ 918061 w 2023261"/>
              <a:gd name="connsiteY17" fmla="*/ 1267429 h 2554641"/>
              <a:gd name="connsiteX18" fmla="*/ 981266 w 2023261"/>
              <a:gd name="connsiteY18" fmla="*/ 1579642 h 2554641"/>
              <a:gd name="connsiteX19" fmla="*/ 1072248 w 2023261"/>
              <a:gd name="connsiteY19" fmla="*/ 1772042 h 2554641"/>
              <a:gd name="connsiteX20" fmla="*/ 1203581 w 2023261"/>
              <a:gd name="connsiteY20" fmla="*/ 1788450 h 2554641"/>
              <a:gd name="connsiteX21" fmla="*/ 1297707 w 2023261"/>
              <a:gd name="connsiteY21" fmla="*/ 1646570 h 2554641"/>
              <a:gd name="connsiteX22" fmla="*/ 1363522 w 2023261"/>
              <a:gd name="connsiteY22" fmla="*/ 1257903 h 2554641"/>
              <a:gd name="connsiteX23" fmla="*/ 1394611 w 2023261"/>
              <a:gd name="connsiteY23" fmla="*/ 677059 h 2554641"/>
              <a:gd name="connsiteX24" fmla="*/ 1421334 w 2023261"/>
              <a:gd name="connsiteY24" fmla="*/ 268690 h 2554641"/>
              <a:gd name="connsiteX25" fmla="*/ 1481132 w 2023261"/>
              <a:gd name="connsiteY25" fmla="*/ 227305 h 2554641"/>
              <a:gd name="connsiteX26" fmla="*/ 1538542 w 2023261"/>
              <a:gd name="connsiteY26" fmla="*/ 555484 h 2554641"/>
              <a:gd name="connsiteX27" fmla="*/ 1594337 w 2023261"/>
              <a:gd name="connsiteY27" fmla="*/ 775684 h 2554641"/>
              <a:gd name="connsiteX28" fmla="*/ 1696367 w 2023261"/>
              <a:gd name="connsiteY28" fmla="*/ 830324 h 2554641"/>
              <a:gd name="connsiteX29" fmla="*/ 1775905 w 2023261"/>
              <a:gd name="connsiteY29" fmla="*/ 725457 h 2554641"/>
              <a:gd name="connsiteX30" fmla="*/ 1844766 w 2023261"/>
              <a:gd name="connsiteY30" fmla="*/ 429621 h 2554641"/>
              <a:gd name="connsiteX31" fmla="*/ 1919016 w 2023261"/>
              <a:gd name="connsiteY31" fmla="*/ 192622 h 2554641"/>
              <a:gd name="connsiteX32" fmla="*/ 2023261 w 2023261"/>
              <a:gd name="connsiteY32" fmla="*/ 0 h 2554641"/>
              <a:gd name="connsiteX0" fmla="*/ 0 w 2023261"/>
              <a:gd name="connsiteY0" fmla="*/ 2534716 h 2546939"/>
              <a:gd name="connsiteX1" fmla="*/ 171989 w 2023261"/>
              <a:gd name="connsiteY1" fmla="*/ 2440052 h 2546939"/>
              <a:gd name="connsiteX2" fmla="*/ 242350 w 2023261"/>
              <a:gd name="connsiteY2" fmla="*/ 2081735 h 2546939"/>
              <a:gd name="connsiteX3" fmla="*/ 271457 w 2023261"/>
              <a:gd name="connsiteY3" fmla="*/ 1976438 h 2546939"/>
              <a:gd name="connsiteX4" fmla="*/ 306380 w 2023261"/>
              <a:gd name="connsiteY4" fmla="*/ 1969294 h 2546939"/>
              <a:gd name="connsiteX5" fmla="*/ 332573 w 2023261"/>
              <a:gd name="connsiteY5" fmla="*/ 2024063 h 2546939"/>
              <a:gd name="connsiteX6" fmla="*/ 363529 w 2023261"/>
              <a:gd name="connsiteY6" fmla="*/ 2150270 h 2546939"/>
              <a:gd name="connsiteX7" fmla="*/ 408773 w 2023261"/>
              <a:gd name="connsiteY7" fmla="*/ 2377920 h 2546939"/>
              <a:gd name="connsiteX8" fmla="*/ 488746 w 2023261"/>
              <a:gd name="connsiteY8" fmla="*/ 2534690 h 2546939"/>
              <a:gd name="connsiteX9" fmla="*/ 608353 w 2023261"/>
              <a:gd name="connsiteY9" fmla="*/ 2518926 h 2546939"/>
              <a:gd name="connsiteX10" fmla="*/ 686318 w 2023261"/>
              <a:gd name="connsiteY10" fmla="*/ 2377694 h 2546939"/>
              <a:gd name="connsiteX11" fmla="*/ 731269 w 2023261"/>
              <a:gd name="connsiteY11" fmla="*/ 2059812 h 2546939"/>
              <a:gd name="connsiteX12" fmla="*/ 751673 w 2023261"/>
              <a:gd name="connsiteY12" fmla="*/ 1628775 h 2546939"/>
              <a:gd name="connsiteX13" fmla="*/ 770723 w 2023261"/>
              <a:gd name="connsiteY13" fmla="*/ 1288257 h 2546939"/>
              <a:gd name="connsiteX14" fmla="*/ 793544 w 2023261"/>
              <a:gd name="connsiteY14" fmla="*/ 1076326 h 2546939"/>
              <a:gd name="connsiteX15" fmla="*/ 840707 w 2023261"/>
              <a:gd name="connsiteY15" fmla="*/ 975573 h 2546939"/>
              <a:gd name="connsiteX16" fmla="*/ 885370 w 2023261"/>
              <a:gd name="connsiteY16" fmla="*/ 1083860 h 2546939"/>
              <a:gd name="connsiteX17" fmla="*/ 918061 w 2023261"/>
              <a:gd name="connsiteY17" fmla="*/ 1267429 h 2546939"/>
              <a:gd name="connsiteX18" fmla="*/ 981266 w 2023261"/>
              <a:gd name="connsiteY18" fmla="*/ 1579642 h 2546939"/>
              <a:gd name="connsiteX19" fmla="*/ 1072248 w 2023261"/>
              <a:gd name="connsiteY19" fmla="*/ 1772042 h 2546939"/>
              <a:gd name="connsiteX20" fmla="*/ 1203581 w 2023261"/>
              <a:gd name="connsiteY20" fmla="*/ 1788450 h 2546939"/>
              <a:gd name="connsiteX21" fmla="*/ 1297707 w 2023261"/>
              <a:gd name="connsiteY21" fmla="*/ 1646570 h 2546939"/>
              <a:gd name="connsiteX22" fmla="*/ 1363522 w 2023261"/>
              <a:gd name="connsiteY22" fmla="*/ 1257903 h 2546939"/>
              <a:gd name="connsiteX23" fmla="*/ 1394611 w 2023261"/>
              <a:gd name="connsiteY23" fmla="*/ 677059 h 2546939"/>
              <a:gd name="connsiteX24" fmla="*/ 1421334 w 2023261"/>
              <a:gd name="connsiteY24" fmla="*/ 268690 h 2546939"/>
              <a:gd name="connsiteX25" fmla="*/ 1481132 w 2023261"/>
              <a:gd name="connsiteY25" fmla="*/ 227305 h 2546939"/>
              <a:gd name="connsiteX26" fmla="*/ 1538542 w 2023261"/>
              <a:gd name="connsiteY26" fmla="*/ 555484 h 2546939"/>
              <a:gd name="connsiteX27" fmla="*/ 1594337 w 2023261"/>
              <a:gd name="connsiteY27" fmla="*/ 775684 h 2546939"/>
              <a:gd name="connsiteX28" fmla="*/ 1696367 w 2023261"/>
              <a:gd name="connsiteY28" fmla="*/ 830324 h 2546939"/>
              <a:gd name="connsiteX29" fmla="*/ 1775905 w 2023261"/>
              <a:gd name="connsiteY29" fmla="*/ 725457 h 2546939"/>
              <a:gd name="connsiteX30" fmla="*/ 1844766 w 2023261"/>
              <a:gd name="connsiteY30" fmla="*/ 429621 h 2546939"/>
              <a:gd name="connsiteX31" fmla="*/ 1919016 w 2023261"/>
              <a:gd name="connsiteY31" fmla="*/ 192622 h 2546939"/>
              <a:gd name="connsiteX32" fmla="*/ 2023261 w 2023261"/>
              <a:gd name="connsiteY32" fmla="*/ 0 h 2546939"/>
              <a:gd name="connsiteX0" fmla="*/ 0 w 2023261"/>
              <a:gd name="connsiteY0" fmla="*/ 2534716 h 2548022"/>
              <a:gd name="connsiteX1" fmla="*/ 171989 w 2023261"/>
              <a:gd name="connsiteY1" fmla="*/ 2440052 h 2548022"/>
              <a:gd name="connsiteX2" fmla="*/ 242350 w 2023261"/>
              <a:gd name="connsiteY2" fmla="*/ 2081735 h 2548022"/>
              <a:gd name="connsiteX3" fmla="*/ 271457 w 2023261"/>
              <a:gd name="connsiteY3" fmla="*/ 1976438 h 2548022"/>
              <a:gd name="connsiteX4" fmla="*/ 306380 w 2023261"/>
              <a:gd name="connsiteY4" fmla="*/ 1969294 h 2548022"/>
              <a:gd name="connsiteX5" fmla="*/ 332573 w 2023261"/>
              <a:gd name="connsiteY5" fmla="*/ 2024063 h 2548022"/>
              <a:gd name="connsiteX6" fmla="*/ 363529 w 2023261"/>
              <a:gd name="connsiteY6" fmla="*/ 2150270 h 2548022"/>
              <a:gd name="connsiteX7" fmla="*/ 408773 w 2023261"/>
              <a:gd name="connsiteY7" fmla="*/ 2377920 h 2548022"/>
              <a:gd name="connsiteX8" fmla="*/ 488746 w 2023261"/>
              <a:gd name="connsiteY8" fmla="*/ 2534690 h 2548022"/>
              <a:gd name="connsiteX9" fmla="*/ 608353 w 2023261"/>
              <a:gd name="connsiteY9" fmla="*/ 2518926 h 2548022"/>
              <a:gd name="connsiteX10" fmla="*/ 688203 w 2023261"/>
              <a:gd name="connsiteY10" fmla="*/ 2353143 h 2548022"/>
              <a:gd name="connsiteX11" fmla="*/ 731269 w 2023261"/>
              <a:gd name="connsiteY11" fmla="*/ 2059812 h 2548022"/>
              <a:gd name="connsiteX12" fmla="*/ 751673 w 2023261"/>
              <a:gd name="connsiteY12" fmla="*/ 1628775 h 2548022"/>
              <a:gd name="connsiteX13" fmla="*/ 770723 w 2023261"/>
              <a:gd name="connsiteY13" fmla="*/ 1288257 h 2548022"/>
              <a:gd name="connsiteX14" fmla="*/ 793544 w 2023261"/>
              <a:gd name="connsiteY14" fmla="*/ 1076326 h 2548022"/>
              <a:gd name="connsiteX15" fmla="*/ 840707 w 2023261"/>
              <a:gd name="connsiteY15" fmla="*/ 975573 h 2548022"/>
              <a:gd name="connsiteX16" fmla="*/ 885370 w 2023261"/>
              <a:gd name="connsiteY16" fmla="*/ 1083860 h 2548022"/>
              <a:gd name="connsiteX17" fmla="*/ 918061 w 2023261"/>
              <a:gd name="connsiteY17" fmla="*/ 1267429 h 2548022"/>
              <a:gd name="connsiteX18" fmla="*/ 981266 w 2023261"/>
              <a:gd name="connsiteY18" fmla="*/ 1579642 h 2548022"/>
              <a:gd name="connsiteX19" fmla="*/ 1072248 w 2023261"/>
              <a:gd name="connsiteY19" fmla="*/ 1772042 h 2548022"/>
              <a:gd name="connsiteX20" fmla="*/ 1203581 w 2023261"/>
              <a:gd name="connsiteY20" fmla="*/ 1788450 h 2548022"/>
              <a:gd name="connsiteX21" fmla="*/ 1297707 w 2023261"/>
              <a:gd name="connsiteY21" fmla="*/ 1646570 h 2548022"/>
              <a:gd name="connsiteX22" fmla="*/ 1363522 w 2023261"/>
              <a:gd name="connsiteY22" fmla="*/ 1257903 h 2548022"/>
              <a:gd name="connsiteX23" fmla="*/ 1394611 w 2023261"/>
              <a:gd name="connsiteY23" fmla="*/ 677059 h 2548022"/>
              <a:gd name="connsiteX24" fmla="*/ 1421334 w 2023261"/>
              <a:gd name="connsiteY24" fmla="*/ 268690 h 2548022"/>
              <a:gd name="connsiteX25" fmla="*/ 1481132 w 2023261"/>
              <a:gd name="connsiteY25" fmla="*/ 227305 h 2548022"/>
              <a:gd name="connsiteX26" fmla="*/ 1538542 w 2023261"/>
              <a:gd name="connsiteY26" fmla="*/ 555484 h 2548022"/>
              <a:gd name="connsiteX27" fmla="*/ 1594337 w 2023261"/>
              <a:gd name="connsiteY27" fmla="*/ 775684 h 2548022"/>
              <a:gd name="connsiteX28" fmla="*/ 1696367 w 2023261"/>
              <a:gd name="connsiteY28" fmla="*/ 830324 h 2548022"/>
              <a:gd name="connsiteX29" fmla="*/ 1775905 w 2023261"/>
              <a:gd name="connsiteY29" fmla="*/ 725457 h 2548022"/>
              <a:gd name="connsiteX30" fmla="*/ 1844766 w 2023261"/>
              <a:gd name="connsiteY30" fmla="*/ 429621 h 2548022"/>
              <a:gd name="connsiteX31" fmla="*/ 1919016 w 2023261"/>
              <a:gd name="connsiteY31" fmla="*/ 192622 h 2548022"/>
              <a:gd name="connsiteX32" fmla="*/ 2023261 w 2023261"/>
              <a:gd name="connsiteY32" fmla="*/ 0 h 2548022"/>
              <a:gd name="connsiteX0" fmla="*/ 0 w 2023261"/>
              <a:gd name="connsiteY0" fmla="*/ 2534716 h 2553200"/>
              <a:gd name="connsiteX1" fmla="*/ 171989 w 2023261"/>
              <a:gd name="connsiteY1" fmla="*/ 2440052 h 2553200"/>
              <a:gd name="connsiteX2" fmla="*/ 242350 w 2023261"/>
              <a:gd name="connsiteY2" fmla="*/ 2081735 h 2553200"/>
              <a:gd name="connsiteX3" fmla="*/ 271457 w 2023261"/>
              <a:gd name="connsiteY3" fmla="*/ 1976438 h 2553200"/>
              <a:gd name="connsiteX4" fmla="*/ 306380 w 2023261"/>
              <a:gd name="connsiteY4" fmla="*/ 1969294 h 2553200"/>
              <a:gd name="connsiteX5" fmla="*/ 332573 w 2023261"/>
              <a:gd name="connsiteY5" fmla="*/ 2024063 h 2553200"/>
              <a:gd name="connsiteX6" fmla="*/ 363529 w 2023261"/>
              <a:gd name="connsiteY6" fmla="*/ 2150270 h 2553200"/>
              <a:gd name="connsiteX7" fmla="*/ 408773 w 2023261"/>
              <a:gd name="connsiteY7" fmla="*/ 2377920 h 2553200"/>
              <a:gd name="connsiteX8" fmla="*/ 488746 w 2023261"/>
              <a:gd name="connsiteY8" fmla="*/ 2534690 h 2553200"/>
              <a:gd name="connsiteX9" fmla="*/ 608353 w 2023261"/>
              <a:gd name="connsiteY9" fmla="*/ 2518926 h 2553200"/>
              <a:gd name="connsiteX10" fmla="*/ 688203 w 2023261"/>
              <a:gd name="connsiteY10" fmla="*/ 2353143 h 2553200"/>
              <a:gd name="connsiteX11" fmla="*/ 731269 w 2023261"/>
              <a:gd name="connsiteY11" fmla="*/ 2059812 h 2553200"/>
              <a:gd name="connsiteX12" fmla="*/ 751673 w 2023261"/>
              <a:gd name="connsiteY12" fmla="*/ 1628775 h 2553200"/>
              <a:gd name="connsiteX13" fmla="*/ 770723 w 2023261"/>
              <a:gd name="connsiteY13" fmla="*/ 1288257 h 2553200"/>
              <a:gd name="connsiteX14" fmla="*/ 793544 w 2023261"/>
              <a:gd name="connsiteY14" fmla="*/ 1076326 h 2553200"/>
              <a:gd name="connsiteX15" fmla="*/ 840707 w 2023261"/>
              <a:gd name="connsiteY15" fmla="*/ 975573 h 2553200"/>
              <a:gd name="connsiteX16" fmla="*/ 885370 w 2023261"/>
              <a:gd name="connsiteY16" fmla="*/ 1083860 h 2553200"/>
              <a:gd name="connsiteX17" fmla="*/ 918061 w 2023261"/>
              <a:gd name="connsiteY17" fmla="*/ 1267429 h 2553200"/>
              <a:gd name="connsiteX18" fmla="*/ 981266 w 2023261"/>
              <a:gd name="connsiteY18" fmla="*/ 1579642 h 2553200"/>
              <a:gd name="connsiteX19" fmla="*/ 1072248 w 2023261"/>
              <a:gd name="connsiteY19" fmla="*/ 1772042 h 2553200"/>
              <a:gd name="connsiteX20" fmla="*/ 1203581 w 2023261"/>
              <a:gd name="connsiteY20" fmla="*/ 1788450 h 2553200"/>
              <a:gd name="connsiteX21" fmla="*/ 1297707 w 2023261"/>
              <a:gd name="connsiteY21" fmla="*/ 1646570 h 2553200"/>
              <a:gd name="connsiteX22" fmla="*/ 1363522 w 2023261"/>
              <a:gd name="connsiteY22" fmla="*/ 1257903 h 2553200"/>
              <a:gd name="connsiteX23" fmla="*/ 1394611 w 2023261"/>
              <a:gd name="connsiteY23" fmla="*/ 677059 h 2553200"/>
              <a:gd name="connsiteX24" fmla="*/ 1421334 w 2023261"/>
              <a:gd name="connsiteY24" fmla="*/ 268690 h 2553200"/>
              <a:gd name="connsiteX25" fmla="*/ 1481132 w 2023261"/>
              <a:gd name="connsiteY25" fmla="*/ 227305 h 2553200"/>
              <a:gd name="connsiteX26" fmla="*/ 1538542 w 2023261"/>
              <a:gd name="connsiteY26" fmla="*/ 555484 h 2553200"/>
              <a:gd name="connsiteX27" fmla="*/ 1594337 w 2023261"/>
              <a:gd name="connsiteY27" fmla="*/ 775684 h 2553200"/>
              <a:gd name="connsiteX28" fmla="*/ 1696367 w 2023261"/>
              <a:gd name="connsiteY28" fmla="*/ 830324 h 2553200"/>
              <a:gd name="connsiteX29" fmla="*/ 1775905 w 2023261"/>
              <a:gd name="connsiteY29" fmla="*/ 725457 h 2553200"/>
              <a:gd name="connsiteX30" fmla="*/ 1844766 w 2023261"/>
              <a:gd name="connsiteY30" fmla="*/ 429621 h 2553200"/>
              <a:gd name="connsiteX31" fmla="*/ 1919016 w 2023261"/>
              <a:gd name="connsiteY31" fmla="*/ 192622 h 2553200"/>
              <a:gd name="connsiteX32" fmla="*/ 2023261 w 2023261"/>
              <a:gd name="connsiteY32" fmla="*/ 0 h 2553200"/>
              <a:gd name="connsiteX0" fmla="*/ 0 w 2023261"/>
              <a:gd name="connsiteY0" fmla="*/ 2534716 h 2559415"/>
              <a:gd name="connsiteX1" fmla="*/ 171989 w 2023261"/>
              <a:gd name="connsiteY1" fmla="*/ 2440052 h 2559415"/>
              <a:gd name="connsiteX2" fmla="*/ 242350 w 2023261"/>
              <a:gd name="connsiteY2" fmla="*/ 2081735 h 2559415"/>
              <a:gd name="connsiteX3" fmla="*/ 271457 w 2023261"/>
              <a:gd name="connsiteY3" fmla="*/ 1976438 h 2559415"/>
              <a:gd name="connsiteX4" fmla="*/ 306380 w 2023261"/>
              <a:gd name="connsiteY4" fmla="*/ 1969294 h 2559415"/>
              <a:gd name="connsiteX5" fmla="*/ 332573 w 2023261"/>
              <a:gd name="connsiteY5" fmla="*/ 2024063 h 2559415"/>
              <a:gd name="connsiteX6" fmla="*/ 363529 w 2023261"/>
              <a:gd name="connsiteY6" fmla="*/ 2150270 h 2559415"/>
              <a:gd name="connsiteX7" fmla="*/ 408773 w 2023261"/>
              <a:gd name="connsiteY7" fmla="*/ 2377920 h 2559415"/>
              <a:gd name="connsiteX8" fmla="*/ 488746 w 2023261"/>
              <a:gd name="connsiteY8" fmla="*/ 2534690 h 2559415"/>
              <a:gd name="connsiteX9" fmla="*/ 602697 w 2023261"/>
              <a:gd name="connsiteY9" fmla="*/ 2529838 h 2559415"/>
              <a:gd name="connsiteX10" fmla="*/ 688203 w 2023261"/>
              <a:gd name="connsiteY10" fmla="*/ 2353143 h 2559415"/>
              <a:gd name="connsiteX11" fmla="*/ 731269 w 2023261"/>
              <a:gd name="connsiteY11" fmla="*/ 2059812 h 2559415"/>
              <a:gd name="connsiteX12" fmla="*/ 751673 w 2023261"/>
              <a:gd name="connsiteY12" fmla="*/ 1628775 h 2559415"/>
              <a:gd name="connsiteX13" fmla="*/ 770723 w 2023261"/>
              <a:gd name="connsiteY13" fmla="*/ 1288257 h 2559415"/>
              <a:gd name="connsiteX14" fmla="*/ 793544 w 2023261"/>
              <a:gd name="connsiteY14" fmla="*/ 1076326 h 2559415"/>
              <a:gd name="connsiteX15" fmla="*/ 840707 w 2023261"/>
              <a:gd name="connsiteY15" fmla="*/ 975573 h 2559415"/>
              <a:gd name="connsiteX16" fmla="*/ 885370 w 2023261"/>
              <a:gd name="connsiteY16" fmla="*/ 1083860 h 2559415"/>
              <a:gd name="connsiteX17" fmla="*/ 918061 w 2023261"/>
              <a:gd name="connsiteY17" fmla="*/ 1267429 h 2559415"/>
              <a:gd name="connsiteX18" fmla="*/ 981266 w 2023261"/>
              <a:gd name="connsiteY18" fmla="*/ 1579642 h 2559415"/>
              <a:gd name="connsiteX19" fmla="*/ 1072248 w 2023261"/>
              <a:gd name="connsiteY19" fmla="*/ 1772042 h 2559415"/>
              <a:gd name="connsiteX20" fmla="*/ 1203581 w 2023261"/>
              <a:gd name="connsiteY20" fmla="*/ 1788450 h 2559415"/>
              <a:gd name="connsiteX21" fmla="*/ 1297707 w 2023261"/>
              <a:gd name="connsiteY21" fmla="*/ 1646570 h 2559415"/>
              <a:gd name="connsiteX22" fmla="*/ 1363522 w 2023261"/>
              <a:gd name="connsiteY22" fmla="*/ 1257903 h 2559415"/>
              <a:gd name="connsiteX23" fmla="*/ 1394611 w 2023261"/>
              <a:gd name="connsiteY23" fmla="*/ 677059 h 2559415"/>
              <a:gd name="connsiteX24" fmla="*/ 1421334 w 2023261"/>
              <a:gd name="connsiteY24" fmla="*/ 268690 h 2559415"/>
              <a:gd name="connsiteX25" fmla="*/ 1481132 w 2023261"/>
              <a:gd name="connsiteY25" fmla="*/ 227305 h 2559415"/>
              <a:gd name="connsiteX26" fmla="*/ 1538542 w 2023261"/>
              <a:gd name="connsiteY26" fmla="*/ 555484 h 2559415"/>
              <a:gd name="connsiteX27" fmla="*/ 1594337 w 2023261"/>
              <a:gd name="connsiteY27" fmla="*/ 775684 h 2559415"/>
              <a:gd name="connsiteX28" fmla="*/ 1696367 w 2023261"/>
              <a:gd name="connsiteY28" fmla="*/ 830324 h 2559415"/>
              <a:gd name="connsiteX29" fmla="*/ 1775905 w 2023261"/>
              <a:gd name="connsiteY29" fmla="*/ 725457 h 2559415"/>
              <a:gd name="connsiteX30" fmla="*/ 1844766 w 2023261"/>
              <a:gd name="connsiteY30" fmla="*/ 429621 h 2559415"/>
              <a:gd name="connsiteX31" fmla="*/ 1919016 w 2023261"/>
              <a:gd name="connsiteY31" fmla="*/ 192622 h 2559415"/>
              <a:gd name="connsiteX32" fmla="*/ 2023261 w 2023261"/>
              <a:gd name="connsiteY32" fmla="*/ 0 h 2559415"/>
              <a:gd name="connsiteX0" fmla="*/ 0 w 2030452"/>
              <a:gd name="connsiteY0" fmla="*/ 2551241 h 2575940"/>
              <a:gd name="connsiteX1" fmla="*/ 171989 w 2030452"/>
              <a:gd name="connsiteY1" fmla="*/ 2456577 h 2575940"/>
              <a:gd name="connsiteX2" fmla="*/ 242350 w 2030452"/>
              <a:gd name="connsiteY2" fmla="*/ 2098260 h 2575940"/>
              <a:gd name="connsiteX3" fmla="*/ 271457 w 2030452"/>
              <a:gd name="connsiteY3" fmla="*/ 1992963 h 2575940"/>
              <a:gd name="connsiteX4" fmla="*/ 306380 w 2030452"/>
              <a:gd name="connsiteY4" fmla="*/ 1985819 h 2575940"/>
              <a:gd name="connsiteX5" fmla="*/ 332573 w 2030452"/>
              <a:gd name="connsiteY5" fmla="*/ 2040588 h 2575940"/>
              <a:gd name="connsiteX6" fmla="*/ 363529 w 2030452"/>
              <a:gd name="connsiteY6" fmla="*/ 2166795 h 2575940"/>
              <a:gd name="connsiteX7" fmla="*/ 408773 w 2030452"/>
              <a:gd name="connsiteY7" fmla="*/ 2394445 h 2575940"/>
              <a:gd name="connsiteX8" fmla="*/ 488746 w 2030452"/>
              <a:gd name="connsiteY8" fmla="*/ 2551215 h 2575940"/>
              <a:gd name="connsiteX9" fmla="*/ 602697 w 2030452"/>
              <a:gd name="connsiteY9" fmla="*/ 2546363 h 2575940"/>
              <a:gd name="connsiteX10" fmla="*/ 688203 w 2030452"/>
              <a:gd name="connsiteY10" fmla="*/ 2369668 h 2575940"/>
              <a:gd name="connsiteX11" fmla="*/ 731269 w 2030452"/>
              <a:gd name="connsiteY11" fmla="*/ 2076337 h 2575940"/>
              <a:gd name="connsiteX12" fmla="*/ 751673 w 2030452"/>
              <a:gd name="connsiteY12" fmla="*/ 1645300 h 2575940"/>
              <a:gd name="connsiteX13" fmla="*/ 770723 w 2030452"/>
              <a:gd name="connsiteY13" fmla="*/ 1304782 h 2575940"/>
              <a:gd name="connsiteX14" fmla="*/ 793544 w 2030452"/>
              <a:gd name="connsiteY14" fmla="*/ 1092851 h 2575940"/>
              <a:gd name="connsiteX15" fmla="*/ 840707 w 2030452"/>
              <a:gd name="connsiteY15" fmla="*/ 992098 h 2575940"/>
              <a:gd name="connsiteX16" fmla="*/ 885370 w 2030452"/>
              <a:gd name="connsiteY16" fmla="*/ 1100385 h 2575940"/>
              <a:gd name="connsiteX17" fmla="*/ 918061 w 2030452"/>
              <a:gd name="connsiteY17" fmla="*/ 1283954 h 2575940"/>
              <a:gd name="connsiteX18" fmla="*/ 981266 w 2030452"/>
              <a:gd name="connsiteY18" fmla="*/ 1596167 h 2575940"/>
              <a:gd name="connsiteX19" fmla="*/ 1072248 w 2030452"/>
              <a:gd name="connsiteY19" fmla="*/ 1788567 h 2575940"/>
              <a:gd name="connsiteX20" fmla="*/ 1203581 w 2030452"/>
              <a:gd name="connsiteY20" fmla="*/ 1804975 h 2575940"/>
              <a:gd name="connsiteX21" fmla="*/ 1297707 w 2030452"/>
              <a:gd name="connsiteY21" fmla="*/ 1663095 h 2575940"/>
              <a:gd name="connsiteX22" fmla="*/ 1363522 w 2030452"/>
              <a:gd name="connsiteY22" fmla="*/ 1274428 h 2575940"/>
              <a:gd name="connsiteX23" fmla="*/ 1394611 w 2030452"/>
              <a:gd name="connsiteY23" fmla="*/ 693584 h 2575940"/>
              <a:gd name="connsiteX24" fmla="*/ 1421334 w 2030452"/>
              <a:gd name="connsiteY24" fmla="*/ 285215 h 2575940"/>
              <a:gd name="connsiteX25" fmla="*/ 1481132 w 2030452"/>
              <a:gd name="connsiteY25" fmla="*/ 243830 h 2575940"/>
              <a:gd name="connsiteX26" fmla="*/ 1538542 w 2030452"/>
              <a:gd name="connsiteY26" fmla="*/ 572009 h 2575940"/>
              <a:gd name="connsiteX27" fmla="*/ 1594337 w 2030452"/>
              <a:gd name="connsiteY27" fmla="*/ 792209 h 2575940"/>
              <a:gd name="connsiteX28" fmla="*/ 1696367 w 2030452"/>
              <a:gd name="connsiteY28" fmla="*/ 846849 h 2575940"/>
              <a:gd name="connsiteX29" fmla="*/ 1775905 w 2030452"/>
              <a:gd name="connsiteY29" fmla="*/ 741982 h 2575940"/>
              <a:gd name="connsiteX30" fmla="*/ 1844766 w 2030452"/>
              <a:gd name="connsiteY30" fmla="*/ 446146 h 2575940"/>
              <a:gd name="connsiteX31" fmla="*/ 1919016 w 2030452"/>
              <a:gd name="connsiteY31" fmla="*/ 209147 h 2575940"/>
              <a:gd name="connsiteX32" fmla="*/ 2023261 w 2030452"/>
              <a:gd name="connsiteY32" fmla="*/ 16525 h 2575940"/>
              <a:gd name="connsiteX33" fmla="*/ 2021340 w 2030452"/>
              <a:gd name="connsiteY33" fmla="*/ 9310 h 2575940"/>
              <a:gd name="connsiteX0" fmla="*/ 0 w 2370130"/>
              <a:gd name="connsiteY0" fmla="*/ 2776526 h 2801225"/>
              <a:gd name="connsiteX1" fmla="*/ 171989 w 2370130"/>
              <a:gd name="connsiteY1" fmla="*/ 2681862 h 2801225"/>
              <a:gd name="connsiteX2" fmla="*/ 242350 w 2370130"/>
              <a:gd name="connsiteY2" fmla="*/ 2323545 h 2801225"/>
              <a:gd name="connsiteX3" fmla="*/ 271457 w 2370130"/>
              <a:gd name="connsiteY3" fmla="*/ 2218248 h 2801225"/>
              <a:gd name="connsiteX4" fmla="*/ 306380 w 2370130"/>
              <a:gd name="connsiteY4" fmla="*/ 2211104 h 2801225"/>
              <a:gd name="connsiteX5" fmla="*/ 332573 w 2370130"/>
              <a:gd name="connsiteY5" fmla="*/ 2265873 h 2801225"/>
              <a:gd name="connsiteX6" fmla="*/ 363529 w 2370130"/>
              <a:gd name="connsiteY6" fmla="*/ 2392080 h 2801225"/>
              <a:gd name="connsiteX7" fmla="*/ 408773 w 2370130"/>
              <a:gd name="connsiteY7" fmla="*/ 2619730 h 2801225"/>
              <a:gd name="connsiteX8" fmla="*/ 488746 w 2370130"/>
              <a:gd name="connsiteY8" fmla="*/ 2776500 h 2801225"/>
              <a:gd name="connsiteX9" fmla="*/ 602697 w 2370130"/>
              <a:gd name="connsiteY9" fmla="*/ 2771648 h 2801225"/>
              <a:gd name="connsiteX10" fmla="*/ 688203 w 2370130"/>
              <a:gd name="connsiteY10" fmla="*/ 2594953 h 2801225"/>
              <a:gd name="connsiteX11" fmla="*/ 731269 w 2370130"/>
              <a:gd name="connsiteY11" fmla="*/ 2301622 h 2801225"/>
              <a:gd name="connsiteX12" fmla="*/ 751673 w 2370130"/>
              <a:gd name="connsiteY12" fmla="*/ 1870585 h 2801225"/>
              <a:gd name="connsiteX13" fmla="*/ 770723 w 2370130"/>
              <a:gd name="connsiteY13" fmla="*/ 1530067 h 2801225"/>
              <a:gd name="connsiteX14" fmla="*/ 793544 w 2370130"/>
              <a:gd name="connsiteY14" fmla="*/ 1318136 h 2801225"/>
              <a:gd name="connsiteX15" fmla="*/ 840707 w 2370130"/>
              <a:gd name="connsiteY15" fmla="*/ 1217383 h 2801225"/>
              <a:gd name="connsiteX16" fmla="*/ 885370 w 2370130"/>
              <a:gd name="connsiteY16" fmla="*/ 1325670 h 2801225"/>
              <a:gd name="connsiteX17" fmla="*/ 918061 w 2370130"/>
              <a:gd name="connsiteY17" fmla="*/ 1509239 h 2801225"/>
              <a:gd name="connsiteX18" fmla="*/ 981266 w 2370130"/>
              <a:gd name="connsiteY18" fmla="*/ 1821452 h 2801225"/>
              <a:gd name="connsiteX19" fmla="*/ 1072248 w 2370130"/>
              <a:gd name="connsiteY19" fmla="*/ 2013852 h 2801225"/>
              <a:gd name="connsiteX20" fmla="*/ 1203581 w 2370130"/>
              <a:gd name="connsiteY20" fmla="*/ 2030260 h 2801225"/>
              <a:gd name="connsiteX21" fmla="*/ 1297707 w 2370130"/>
              <a:gd name="connsiteY21" fmla="*/ 1888380 h 2801225"/>
              <a:gd name="connsiteX22" fmla="*/ 1363522 w 2370130"/>
              <a:gd name="connsiteY22" fmla="*/ 1499713 h 2801225"/>
              <a:gd name="connsiteX23" fmla="*/ 1394611 w 2370130"/>
              <a:gd name="connsiteY23" fmla="*/ 918869 h 2801225"/>
              <a:gd name="connsiteX24" fmla="*/ 1421334 w 2370130"/>
              <a:gd name="connsiteY24" fmla="*/ 510500 h 2801225"/>
              <a:gd name="connsiteX25" fmla="*/ 1481132 w 2370130"/>
              <a:gd name="connsiteY25" fmla="*/ 469115 h 2801225"/>
              <a:gd name="connsiteX26" fmla="*/ 1538542 w 2370130"/>
              <a:gd name="connsiteY26" fmla="*/ 797294 h 2801225"/>
              <a:gd name="connsiteX27" fmla="*/ 1594337 w 2370130"/>
              <a:gd name="connsiteY27" fmla="*/ 1017494 h 2801225"/>
              <a:gd name="connsiteX28" fmla="*/ 1696367 w 2370130"/>
              <a:gd name="connsiteY28" fmla="*/ 1072134 h 2801225"/>
              <a:gd name="connsiteX29" fmla="*/ 1775905 w 2370130"/>
              <a:gd name="connsiteY29" fmla="*/ 967267 h 2801225"/>
              <a:gd name="connsiteX30" fmla="*/ 1844766 w 2370130"/>
              <a:gd name="connsiteY30" fmla="*/ 671431 h 2801225"/>
              <a:gd name="connsiteX31" fmla="*/ 1919016 w 2370130"/>
              <a:gd name="connsiteY31" fmla="*/ 434432 h 2801225"/>
              <a:gd name="connsiteX32" fmla="*/ 2023261 w 2370130"/>
              <a:gd name="connsiteY32" fmla="*/ 241810 h 2801225"/>
              <a:gd name="connsiteX33" fmla="*/ 2370130 w 2370130"/>
              <a:gd name="connsiteY33" fmla="*/ 0 h 2801225"/>
              <a:gd name="connsiteX0" fmla="*/ 0 w 2079788"/>
              <a:gd name="connsiteY0" fmla="*/ 2629221 h 2653920"/>
              <a:gd name="connsiteX1" fmla="*/ 171989 w 2079788"/>
              <a:gd name="connsiteY1" fmla="*/ 2534557 h 2653920"/>
              <a:gd name="connsiteX2" fmla="*/ 242350 w 2079788"/>
              <a:gd name="connsiteY2" fmla="*/ 2176240 h 2653920"/>
              <a:gd name="connsiteX3" fmla="*/ 271457 w 2079788"/>
              <a:gd name="connsiteY3" fmla="*/ 2070943 h 2653920"/>
              <a:gd name="connsiteX4" fmla="*/ 306380 w 2079788"/>
              <a:gd name="connsiteY4" fmla="*/ 2063799 h 2653920"/>
              <a:gd name="connsiteX5" fmla="*/ 332573 w 2079788"/>
              <a:gd name="connsiteY5" fmla="*/ 2118568 h 2653920"/>
              <a:gd name="connsiteX6" fmla="*/ 363529 w 2079788"/>
              <a:gd name="connsiteY6" fmla="*/ 2244775 h 2653920"/>
              <a:gd name="connsiteX7" fmla="*/ 408773 w 2079788"/>
              <a:gd name="connsiteY7" fmla="*/ 2472425 h 2653920"/>
              <a:gd name="connsiteX8" fmla="*/ 488746 w 2079788"/>
              <a:gd name="connsiteY8" fmla="*/ 2629195 h 2653920"/>
              <a:gd name="connsiteX9" fmla="*/ 602697 w 2079788"/>
              <a:gd name="connsiteY9" fmla="*/ 2624343 h 2653920"/>
              <a:gd name="connsiteX10" fmla="*/ 688203 w 2079788"/>
              <a:gd name="connsiteY10" fmla="*/ 2447648 h 2653920"/>
              <a:gd name="connsiteX11" fmla="*/ 731269 w 2079788"/>
              <a:gd name="connsiteY11" fmla="*/ 2154317 h 2653920"/>
              <a:gd name="connsiteX12" fmla="*/ 751673 w 2079788"/>
              <a:gd name="connsiteY12" fmla="*/ 1723280 h 2653920"/>
              <a:gd name="connsiteX13" fmla="*/ 770723 w 2079788"/>
              <a:gd name="connsiteY13" fmla="*/ 1382762 h 2653920"/>
              <a:gd name="connsiteX14" fmla="*/ 793544 w 2079788"/>
              <a:gd name="connsiteY14" fmla="*/ 1170831 h 2653920"/>
              <a:gd name="connsiteX15" fmla="*/ 840707 w 2079788"/>
              <a:gd name="connsiteY15" fmla="*/ 1070078 h 2653920"/>
              <a:gd name="connsiteX16" fmla="*/ 885370 w 2079788"/>
              <a:gd name="connsiteY16" fmla="*/ 1178365 h 2653920"/>
              <a:gd name="connsiteX17" fmla="*/ 918061 w 2079788"/>
              <a:gd name="connsiteY17" fmla="*/ 1361934 h 2653920"/>
              <a:gd name="connsiteX18" fmla="*/ 981266 w 2079788"/>
              <a:gd name="connsiteY18" fmla="*/ 1674147 h 2653920"/>
              <a:gd name="connsiteX19" fmla="*/ 1072248 w 2079788"/>
              <a:gd name="connsiteY19" fmla="*/ 1866547 h 2653920"/>
              <a:gd name="connsiteX20" fmla="*/ 1203581 w 2079788"/>
              <a:gd name="connsiteY20" fmla="*/ 1882955 h 2653920"/>
              <a:gd name="connsiteX21" fmla="*/ 1297707 w 2079788"/>
              <a:gd name="connsiteY21" fmla="*/ 1741075 h 2653920"/>
              <a:gd name="connsiteX22" fmla="*/ 1363522 w 2079788"/>
              <a:gd name="connsiteY22" fmla="*/ 1352408 h 2653920"/>
              <a:gd name="connsiteX23" fmla="*/ 1394611 w 2079788"/>
              <a:gd name="connsiteY23" fmla="*/ 771564 h 2653920"/>
              <a:gd name="connsiteX24" fmla="*/ 1421334 w 2079788"/>
              <a:gd name="connsiteY24" fmla="*/ 363195 h 2653920"/>
              <a:gd name="connsiteX25" fmla="*/ 1481132 w 2079788"/>
              <a:gd name="connsiteY25" fmla="*/ 321810 h 2653920"/>
              <a:gd name="connsiteX26" fmla="*/ 1538542 w 2079788"/>
              <a:gd name="connsiteY26" fmla="*/ 649989 h 2653920"/>
              <a:gd name="connsiteX27" fmla="*/ 1594337 w 2079788"/>
              <a:gd name="connsiteY27" fmla="*/ 870189 h 2653920"/>
              <a:gd name="connsiteX28" fmla="*/ 1696367 w 2079788"/>
              <a:gd name="connsiteY28" fmla="*/ 924829 h 2653920"/>
              <a:gd name="connsiteX29" fmla="*/ 1775905 w 2079788"/>
              <a:gd name="connsiteY29" fmla="*/ 819962 h 2653920"/>
              <a:gd name="connsiteX30" fmla="*/ 1844766 w 2079788"/>
              <a:gd name="connsiteY30" fmla="*/ 524126 h 2653920"/>
              <a:gd name="connsiteX31" fmla="*/ 1919016 w 2079788"/>
              <a:gd name="connsiteY31" fmla="*/ 287127 h 2653920"/>
              <a:gd name="connsiteX32" fmla="*/ 2023261 w 2079788"/>
              <a:gd name="connsiteY32" fmla="*/ 94505 h 2653920"/>
              <a:gd name="connsiteX33" fmla="*/ 2079786 w 2079788"/>
              <a:gd name="connsiteY33" fmla="*/ 0 h 2653920"/>
              <a:gd name="connsiteX0" fmla="*/ 0 w 2028288"/>
              <a:gd name="connsiteY0" fmla="*/ 2787437 h 2812136"/>
              <a:gd name="connsiteX1" fmla="*/ 171989 w 2028288"/>
              <a:gd name="connsiteY1" fmla="*/ 2692773 h 2812136"/>
              <a:gd name="connsiteX2" fmla="*/ 242350 w 2028288"/>
              <a:gd name="connsiteY2" fmla="*/ 2334456 h 2812136"/>
              <a:gd name="connsiteX3" fmla="*/ 271457 w 2028288"/>
              <a:gd name="connsiteY3" fmla="*/ 2229159 h 2812136"/>
              <a:gd name="connsiteX4" fmla="*/ 306380 w 2028288"/>
              <a:gd name="connsiteY4" fmla="*/ 2222015 h 2812136"/>
              <a:gd name="connsiteX5" fmla="*/ 332573 w 2028288"/>
              <a:gd name="connsiteY5" fmla="*/ 2276784 h 2812136"/>
              <a:gd name="connsiteX6" fmla="*/ 363529 w 2028288"/>
              <a:gd name="connsiteY6" fmla="*/ 2402991 h 2812136"/>
              <a:gd name="connsiteX7" fmla="*/ 408773 w 2028288"/>
              <a:gd name="connsiteY7" fmla="*/ 2630641 h 2812136"/>
              <a:gd name="connsiteX8" fmla="*/ 488746 w 2028288"/>
              <a:gd name="connsiteY8" fmla="*/ 2787411 h 2812136"/>
              <a:gd name="connsiteX9" fmla="*/ 602697 w 2028288"/>
              <a:gd name="connsiteY9" fmla="*/ 2782559 h 2812136"/>
              <a:gd name="connsiteX10" fmla="*/ 688203 w 2028288"/>
              <a:gd name="connsiteY10" fmla="*/ 2605864 h 2812136"/>
              <a:gd name="connsiteX11" fmla="*/ 731269 w 2028288"/>
              <a:gd name="connsiteY11" fmla="*/ 2312533 h 2812136"/>
              <a:gd name="connsiteX12" fmla="*/ 751673 w 2028288"/>
              <a:gd name="connsiteY12" fmla="*/ 1881496 h 2812136"/>
              <a:gd name="connsiteX13" fmla="*/ 770723 w 2028288"/>
              <a:gd name="connsiteY13" fmla="*/ 1540978 h 2812136"/>
              <a:gd name="connsiteX14" fmla="*/ 793544 w 2028288"/>
              <a:gd name="connsiteY14" fmla="*/ 1329047 h 2812136"/>
              <a:gd name="connsiteX15" fmla="*/ 840707 w 2028288"/>
              <a:gd name="connsiteY15" fmla="*/ 1228294 h 2812136"/>
              <a:gd name="connsiteX16" fmla="*/ 885370 w 2028288"/>
              <a:gd name="connsiteY16" fmla="*/ 1336581 h 2812136"/>
              <a:gd name="connsiteX17" fmla="*/ 918061 w 2028288"/>
              <a:gd name="connsiteY17" fmla="*/ 1520150 h 2812136"/>
              <a:gd name="connsiteX18" fmla="*/ 981266 w 2028288"/>
              <a:gd name="connsiteY18" fmla="*/ 1832363 h 2812136"/>
              <a:gd name="connsiteX19" fmla="*/ 1072248 w 2028288"/>
              <a:gd name="connsiteY19" fmla="*/ 2024763 h 2812136"/>
              <a:gd name="connsiteX20" fmla="*/ 1203581 w 2028288"/>
              <a:gd name="connsiteY20" fmla="*/ 2041171 h 2812136"/>
              <a:gd name="connsiteX21" fmla="*/ 1297707 w 2028288"/>
              <a:gd name="connsiteY21" fmla="*/ 1899291 h 2812136"/>
              <a:gd name="connsiteX22" fmla="*/ 1363522 w 2028288"/>
              <a:gd name="connsiteY22" fmla="*/ 1510624 h 2812136"/>
              <a:gd name="connsiteX23" fmla="*/ 1394611 w 2028288"/>
              <a:gd name="connsiteY23" fmla="*/ 929780 h 2812136"/>
              <a:gd name="connsiteX24" fmla="*/ 1421334 w 2028288"/>
              <a:gd name="connsiteY24" fmla="*/ 521411 h 2812136"/>
              <a:gd name="connsiteX25" fmla="*/ 1481132 w 2028288"/>
              <a:gd name="connsiteY25" fmla="*/ 480026 h 2812136"/>
              <a:gd name="connsiteX26" fmla="*/ 1538542 w 2028288"/>
              <a:gd name="connsiteY26" fmla="*/ 808205 h 2812136"/>
              <a:gd name="connsiteX27" fmla="*/ 1594337 w 2028288"/>
              <a:gd name="connsiteY27" fmla="*/ 1028405 h 2812136"/>
              <a:gd name="connsiteX28" fmla="*/ 1696367 w 2028288"/>
              <a:gd name="connsiteY28" fmla="*/ 1083045 h 2812136"/>
              <a:gd name="connsiteX29" fmla="*/ 1775905 w 2028288"/>
              <a:gd name="connsiteY29" fmla="*/ 978178 h 2812136"/>
              <a:gd name="connsiteX30" fmla="*/ 1844766 w 2028288"/>
              <a:gd name="connsiteY30" fmla="*/ 682342 h 2812136"/>
              <a:gd name="connsiteX31" fmla="*/ 1919016 w 2028288"/>
              <a:gd name="connsiteY31" fmla="*/ 445343 h 2812136"/>
              <a:gd name="connsiteX32" fmla="*/ 2023261 w 2028288"/>
              <a:gd name="connsiteY32" fmla="*/ 252721 h 2812136"/>
              <a:gd name="connsiteX33" fmla="*/ 2008143 w 2028288"/>
              <a:gd name="connsiteY33" fmla="*/ 0 h 2812136"/>
              <a:gd name="connsiteX0" fmla="*/ 0 w 2073986"/>
              <a:gd name="connsiteY0" fmla="*/ 2794265 h 2818964"/>
              <a:gd name="connsiteX1" fmla="*/ 171989 w 2073986"/>
              <a:gd name="connsiteY1" fmla="*/ 2699601 h 2818964"/>
              <a:gd name="connsiteX2" fmla="*/ 242350 w 2073986"/>
              <a:gd name="connsiteY2" fmla="*/ 2341284 h 2818964"/>
              <a:gd name="connsiteX3" fmla="*/ 271457 w 2073986"/>
              <a:gd name="connsiteY3" fmla="*/ 2235987 h 2818964"/>
              <a:gd name="connsiteX4" fmla="*/ 306380 w 2073986"/>
              <a:gd name="connsiteY4" fmla="*/ 2228843 h 2818964"/>
              <a:gd name="connsiteX5" fmla="*/ 332573 w 2073986"/>
              <a:gd name="connsiteY5" fmla="*/ 2283612 h 2818964"/>
              <a:gd name="connsiteX6" fmla="*/ 363529 w 2073986"/>
              <a:gd name="connsiteY6" fmla="*/ 2409819 h 2818964"/>
              <a:gd name="connsiteX7" fmla="*/ 408773 w 2073986"/>
              <a:gd name="connsiteY7" fmla="*/ 2637469 h 2818964"/>
              <a:gd name="connsiteX8" fmla="*/ 488746 w 2073986"/>
              <a:gd name="connsiteY8" fmla="*/ 2794239 h 2818964"/>
              <a:gd name="connsiteX9" fmla="*/ 602697 w 2073986"/>
              <a:gd name="connsiteY9" fmla="*/ 2789387 h 2818964"/>
              <a:gd name="connsiteX10" fmla="*/ 688203 w 2073986"/>
              <a:gd name="connsiteY10" fmla="*/ 2612692 h 2818964"/>
              <a:gd name="connsiteX11" fmla="*/ 731269 w 2073986"/>
              <a:gd name="connsiteY11" fmla="*/ 2319361 h 2818964"/>
              <a:gd name="connsiteX12" fmla="*/ 751673 w 2073986"/>
              <a:gd name="connsiteY12" fmla="*/ 1888324 h 2818964"/>
              <a:gd name="connsiteX13" fmla="*/ 770723 w 2073986"/>
              <a:gd name="connsiteY13" fmla="*/ 1547806 h 2818964"/>
              <a:gd name="connsiteX14" fmla="*/ 793544 w 2073986"/>
              <a:gd name="connsiteY14" fmla="*/ 1335875 h 2818964"/>
              <a:gd name="connsiteX15" fmla="*/ 840707 w 2073986"/>
              <a:gd name="connsiteY15" fmla="*/ 1235122 h 2818964"/>
              <a:gd name="connsiteX16" fmla="*/ 885370 w 2073986"/>
              <a:gd name="connsiteY16" fmla="*/ 1343409 h 2818964"/>
              <a:gd name="connsiteX17" fmla="*/ 918061 w 2073986"/>
              <a:gd name="connsiteY17" fmla="*/ 1526978 h 2818964"/>
              <a:gd name="connsiteX18" fmla="*/ 981266 w 2073986"/>
              <a:gd name="connsiteY18" fmla="*/ 1839191 h 2818964"/>
              <a:gd name="connsiteX19" fmla="*/ 1072248 w 2073986"/>
              <a:gd name="connsiteY19" fmla="*/ 2031591 h 2818964"/>
              <a:gd name="connsiteX20" fmla="*/ 1203581 w 2073986"/>
              <a:gd name="connsiteY20" fmla="*/ 2047999 h 2818964"/>
              <a:gd name="connsiteX21" fmla="*/ 1297707 w 2073986"/>
              <a:gd name="connsiteY21" fmla="*/ 1906119 h 2818964"/>
              <a:gd name="connsiteX22" fmla="*/ 1363522 w 2073986"/>
              <a:gd name="connsiteY22" fmla="*/ 1517452 h 2818964"/>
              <a:gd name="connsiteX23" fmla="*/ 1394611 w 2073986"/>
              <a:gd name="connsiteY23" fmla="*/ 936608 h 2818964"/>
              <a:gd name="connsiteX24" fmla="*/ 1421334 w 2073986"/>
              <a:gd name="connsiteY24" fmla="*/ 528239 h 2818964"/>
              <a:gd name="connsiteX25" fmla="*/ 1481132 w 2073986"/>
              <a:gd name="connsiteY25" fmla="*/ 486854 h 2818964"/>
              <a:gd name="connsiteX26" fmla="*/ 1538542 w 2073986"/>
              <a:gd name="connsiteY26" fmla="*/ 815033 h 2818964"/>
              <a:gd name="connsiteX27" fmla="*/ 1594337 w 2073986"/>
              <a:gd name="connsiteY27" fmla="*/ 1035233 h 2818964"/>
              <a:gd name="connsiteX28" fmla="*/ 1696367 w 2073986"/>
              <a:gd name="connsiteY28" fmla="*/ 1089873 h 2818964"/>
              <a:gd name="connsiteX29" fmla="*/ 1775905 w 2073986"/>
              <a:gd name="connsiteY29" fmla="*/ 985006 h 2818964"/>
              <a:gd name="connsiteX30" fmla="*/ 1844766 w 2073986"/>
              <a:gd name="connsiteY30" fmla="*/ 689170 h 2818964"/>
              <a:gd name="connsiteX31" fmla="*/ 1919016 w 2073986"/>
              <a:gd name="connsiteY31" fmla="*/ 452171 h 2818964"/>
              <a:gd name="connsiteX32" fmla="*/ 2023261 w 2073986"/>
              <a:gd name="connsiteY32" fmla="*/ 259549 h 2818964"/>
              <a:gd name="connsiteX33" fmla="*/ 2008143 w 2073986"/>
              <a:gd name="connsiteY33" fmla="*/ 6828 h 2818964"/>
              <a:gd name="connsiteX0" fmla="*/ 0 w 2434550"/>
              <a:gd name="connsiteY0" fmla="*/ 2799603 h 2824302"/>
              <a:gd name="connsiteX1" fmla="*/ 171989 w 2434550"/>
              <a:gd name="connsiteY1" fmla="*/ 2704939 h 2824302"/>
              <a:gd name="connsiteX2" fmla="*/ 242350 w 2434550"/>
              <a:gd name="connsiteY2" fmla="*/ 2346622 h 2824302"/>
              <a:gd name="connsiteX3" fmla="*/ 271457 w 2434550"/>
              <a:gd name="connsiteY3" fmla="*/ 2241325 h 2824302"/>
              <a:gd name="connsiteX4" fmla="*/ 306380 w 2434550"/>
              <a:gd name="connsiteY4" fmla="*/ 2234181 h 2824302"/>
              <a:gd name="connsiteX5" fmla="*/ 332573 w 2434550"/>
              <a:gd name="connsiteY5" fmla="*/ 2288950 h 2824302"/>
              <a:gd name="connsiteX6" fmla="*/ 363529 w 2434550"/>
              <a:gd name="connsiteY6" fmla="*/ 2415157 h 2824302"/>
              <a:gd name="connsiteX7" fmla="*/ 408773 w 2434550"/>
              <a:gd name="connsiteY7" fmla="*/ 2642807 h 2824302"/>
              <a:gd name="connsiteX8" fmla="*/ 488746 w 2434550"/>
              <a:gd name="connsiteY8" fmla="*/ 2799577 h 2824302"/>
              <a:gd name="connsiteX9" fmla="*/ 602697 w 2434550"/>
              <a:gd name="connsiteY9" fmla="*/ 2794725 h 2824302"/>
              <a:gd name="connsiteX10" fmla="*/ 688203 w 2434550"/>
              <a:gd name="connsiteY10" fmla="*/ 2618030 h 2824302"/>
              <a:gd name="connsiteX11" fmla="*/ 731269 w 2434550"/>
              <a:gd name="connsiteY11" fmla="*/ 2324699 h 2824302"/>
              <a:gd name="connsiteX12" fmla="*/ 751673 w 2434550"/>
              <a:gd name="connsiteY12" fmla="*/ 1893662 h 2824302"/>
              <a:gd name="connsiteX13" fmla="*/ 770723 w 2434550"/>
              <a:gd name="connsiteY13" fmla="*/ 1553144 h 2824302"/>
              <a:gd name="connsiteX14" fmla="*/ 793544 w 2434550"/>
              <a:gd name="connsiteY14" fmla="*/ 1341213 h 2824302"/>
              <a:gd name="connsiteX15" fmla="*/ 840707 w 2434550"/>
              <a:gd name="connsiteY15" fmla="*/ 1240460 h 2824302"/>
              <a:gd name="connsiteX16" fmla="*/ 885370 w 2434550"/>
              <a:gd name="connsiteY16" fmla="*/ 1348747 h 2824302"/>
              <a:gd name="connsiteX17" fmla="*/ 918061 w 2434550"/>
              <a:gd name="connsiteY17" fmla="*/ 1532316 h 2824302"/>
              <a:gd name="connsiteX18" fmla="*/ 981266 w 2434550"/>
              <a:gd name="connsiteY18" fmla="*/ 1844529 h 2824302"/>
              <a:gd name="connsiteX19" fmla="*/ 1072248 w 2434550"/>
              <a:gd name="connsiteY19" fmla="*/ 2036929 h 2824302"/>
              <a:gd name="connsiteX20" fmla="*/ 1203581 w 2434550"/>
              <a:gd name="connsiteY20" fmla="*/ 2053337 h 2824302"/>
              <a:gd name="connsiteX21" fmla="*/ 1297707 w 2434550"/>
              <a:gd name="connsiteY21" fmla="*/ 1911457 h 2824302"/>
              <a:gd name="connsiteX22" fmla="*/ 1363522 w 2434550"/>
              <a:gd name="connsiteY22" fmla="*/ 1522790 h 2824302"/>
              <a:gd name="connsiteX23" fmla="*/ 1394611 w 2434550"/>
              <a:gd name="connsiteY23" fmla="*/ 941946 h 2824302"/>
              <a:gd name="connsiteX24" fmla="*/ 1421334 w 2434550"/>
              <a:gd name="connsiteY24" fmla="*/ 533577 h 2824302"/>
              <a:gd name="connsiteX25" fmla="*/ 1481132 w 2434550"/>
              <a:gd name="connsiteY25" fmla="*/ 492192 h 2824302"/>
              <a:gd name="connsiteX26" fmla="*/ 1538542 w 2434550"/>
              <a:gd name="connsiteY26" fmla="*/ 820371 h 2824302"/>
              <a:gd name="connsiteX27" fmla="*/ 1594337 w 2434550"/>
              <a:gd name="connsiteY27" fmla="*/ 1040571 h 2824302"/>
              <a:gd name="connsiteX28" fmla="*/ 1696367 w 2434550"/>
              <a:gd name="connsiteY28" fmla="*/ 1095211 h 2824302"/>
              <a:gd name="connsiteX29" fmla="*/ 1775905 w 2434550"/>
              <a:gd name="connsiteY29" fmla="*/ 990344 h 2824302"/>
              <a:gd name="connsiteX30" fmla="*/ 1844766 w 2434550"/>
              <a:gd name="connsiteY30" fmla="*/ 694508 h 2824302"/>
              <a:gd name="connsiteX31" fmla="*/ 1919016 w 2434550"/>
              <a:gd name="connsiteY31" fmla="*/ 457509 h 2824302"/>
              <a:gd name="connsiteX32" fmla="*/ 2023261 w 2434550"/>
              <a:gd name="connsiteY32" fmla="*/ 264887 h 2824302"/>
              <a:gd name="connsiteX33" fmla="*/ 2413493 w 2434550"/>
              <a:gd name="connsiteY33" fmla="*/ 6710 h 2824302"/>
              <a:gd name="connsiteX0" fmla="*/ 0 w 2413493"/>
              <a:gd name="connsiteY0" fmla="*/ 2794088 h 2818787"/>
              <a:gd name="connsiteX1" fmla="*/ 171989 w 2413493"/>
              <a:gd name="connsiteY1" fmla="*/ 2699424 h 2818787"/>
              <a:gd name="connsiteX2" fmla="*/ 242350 w 2413493"/>
              <a:gd name="connsiteY2" fmla="*/ 2341107 h 2818787"/>
              <a:gd name="connsiteX3" fmla="*/ 271457 w 2413493"/>
              <a:gd name="connsiteY3" fmla="*/ 2235810 h 2818787"/>
              <a:gd name="connsiteX4" fmla="*/ 306380 w 2413493"/>
              <a:gd name="connsiteY4" fmla="*/ 2228666 h 2818787"/>
              <a:gd name="connsiteX5" fmla="*/ 332573 w 2413493"/>
              <a:gd name="connsiteY5" fmla="*/ 2283435 h 2818787"/>
              <a:gd name="connsiteX6" fmla="*/ 363529 w 2413493"/>
              <a:gd name="connsiteY6" fmla="*/ 2409642 h 2818787"/>
              <a:gd name="connsiteX7" fmla="*/ 408773 w 2413493"/>
              <a:gd name="connsiteY7" fmla="*/ 2637292 h 2818787"/>
              <a:gd name="connsiteX8" fmla="*/ 488746 w 2413493"/>
              <a:gd name="connsiteY8" fmla="*/ 2794062 h 2818787"/>
              <a:gd name="connsiteX9" fmla="*/ 602697 w 2413493"/>
              <a:gd name="connsiteY9" fmla="*/ 2789210 h 2818787"/>
              <a:gd name="connsiteX10" fmla="*/ 688203 w 2413493"/>
              <a:gd name="connsiteY10" fmla="*/ 2612515 h 2818787"/>
              <a:gd name="connsiteX11" fmla="*/ 731269 w 2413493"/>
              <a:gd name="connsiteY11" fmla="*/ 2319184 h 2818787"/>
              <a:gd name="connsiteX12" fmla="*/ 751673 w 2413493"/>
              <a:gd name="connsiteY12" fmla="*/ 1888147 h 2818787"/>
              <a:gd name="connsiteX13" fmla="*/ 770723 w 2413493"/>
              <a:gd name="connsiteY13" fmla="*/ 1547629 h 2818787"/>
              <a:gd name="connsiteX14" fmla="*/ 793544 w 2413493"/>
              <a:gd name="connsiteY14" fmla="*/ 1335698 h 2818787"/>
              <a:gd name="connsiteX15" fmla="*/ 840707 w 2413493"/>
              <a:gd name="connsiteY15" fmla="*/ 1234945 h 2818787"/>
              <a:gd name="connsiteX16" fmla="*/ 885370 w 2413493"/>
              <a:gd name="connsiteY16" fmla="*/ 1343232 h 2818787"/>
              <a:gd name="connsiteX17" fmla="*/ 918061 w 2413493"/>
              <a:gd name="connsiteY17" fmla="*/ 1526801 h 2818787"/>
              <a:gd name="connsiteX18" fmla="*/ 981266 w 2413493"/>
              <a:gd name="connsiteY18" fmla="*/ 1839014 h 2818787"/>
              <a:gd name="connsiteX19" fmla="*/ 1072248 w 2413493"/>
              <a:gd name="connsiteY19" fmla="*/ 2031414 h 2818787"/>
              <a:gd name="connsiteX20" fmla="*/ 1203581 w 2413493"/>
              <a:gd name="connsiteY20" fmla="*/ 2047822 h 2818787"/>
              <a:gd name="connsiteX21" fmla="*/ 1297707 w 2413493"/>
              <a:gd name="connsiteY21" fmla="*/ 1905942 h 2818787"/>
              <a:gd name="connsiteX22" fmla="*/ 1363522 w 2413493"/>
              <a:gd name="connsiteY22" fmla="*/ 1517275 h 2818787"/>
              <a:gd name="connsiteX23" fmla="*/ 1394611 w 2413493"/>
              <a:gd name="connsiteY23" fmla="*/ 936431 h 2818787"/>
              <a:gd name="connsiteX24" fmla="*/ 1421334 w 2413493"/>
              <a:gd name="connsiteY24" fmla="*/ 528062 h 2818787"/>
              <a:gd name="connsiteX25" fmla="*/ 1481132 w 2413493"/>
              <a:gd name="connsiteY25" fmla="*/ 486677 h 2818787"/>
              <a:gd name="connsiteX26" fmla="*/ 1538542 w 2413493"/>
              <a:gd name="connsiteY26" fmla="*/ 814856 h 2818787"/>
              <a:gd name="connsiteX27" fmla="*/ 1594337 w 2413493"/>
              <a:gd name="connsiteY27" fmla="*/ 1035056 h 2818787"/>
              <a:gd name="connsiteX28" fmla="*/ 1696367 w 2413493"/>
              <a:gd name="connsiteY28" fmla="*/ 1089696 h 2818787"/>
              <a:gd name="connsiteX29" fmla="*/ 1775905 w 2413493"/>
              <a:gd name="connsiteY29" fmla="*/ 984829 h 2818787"/>
              <a:gd name="connsiteX30" fmla="*/ 1844766 w 2413493"/>
              <a:gd name="connsiteY30" fmla="*/ 688993 h 2818787"/>
              <a:gd name="connsiteX31" fmla="*/ 1919016 w 2413493"/>
              <a:gd name="connsiteY31" fmla="*/ 451994 h 2818787"/>
              <a:gd name="connsiteX32" fmla="*/ 2023261 w 2413493"/>
              <a:gd name="connsiteY32" fmla="*/ 259372 h 2818787"/>
              <a:gd name="connsiteX33" fmla="*/ 2413493 w 2413493"/>
              <a:gd name="connsiteY33" fmla="*/ 1195 h 2818787"/>
              <a:gd name="connsiteX0" fmla="*/ 0 w 2413493"/>
              <a:gd name="connsiteY0" fmla="*/ 2794088 h 2818787"/>
              <a:gd name="connsiteX1" fmla="*/ 171989 w 2413493"/>
              <a:gd name="connsiteY1" fmla="*/ 2699424 h 2818787"/>
              <a:gd name="connsiteX2" fmla="*/ 242350 w 2413493"/>
              <a:gd name="connsiteY2" fmla="*/ 2341107 h 2818787"/>
              <a:gd name="connsiteX3" fmla="*/ 271457 w 2413493"/>
              <a:gd name="connsiteY3" fmla="*/ 2235810 h 2818787"/>
              <a:gd name="connsiteX4" fmla="*/ 306380 w 2413493"/>
              <a:gd name="connsiteY4" fmla="*/ 2228666 h 2818787"/>
              <a:gd name="connsiteX5" fmla="*/ 332573 w 2413493"/>
              <a:gd name="connsiteY5" fmla="*/ 2283435 h 2818787"/>
              <a:gd name="connsiteX6" fmla="*/ 363529 w 2413493"/>
              <a:gd name="connsiteY6" fmla="*/ 2409642 h 2818787"/>
              <a:gd name="connsiteX7" fmla="*/ 408773 w 2413493"/>
              <a:gd name="connsiteY7" fmla="*/ 2637292 h 2818787"/>
              <a:gd name="connsiteX8" fmla="*/ 488746 w 2413493"/>
              <a:gd name="connsiteY8" fmla="*/ 2794062 h 2818787"/>
              <a:gd name="connsiteX9" fmla="*/ 602697 w 2413493"/>
              <a:gd name="connsiteY9" fmla="*/ 2789210 h 2818787"/>
              <a:gd name="connsiteX10" fmla="*/ 688203 w 2413493"/>
              <a:gd name="connsiteY10" fmla="*/ 2612515 h 2818787"/>
              <a:gd name="connsiteX11" fmla="*/ 731269 w 2413493"/>
              <a:gd name="connsiteY11" fmla="*/ 2319184 h 2818787"/>
              <a:gd name="connsiteX12" fmla="*/ 751673 w 2413493"/>
              <a:gd name="connsiteY12" fmla="*/ 1888147 h 2818787"/>
              <a:gd name="connsiteX13" fmla="*/ 770723 w 2413493"/>
              <a:gd name="connsiteY13" fmla="*/ 1547629 h 2818787"/>
              <a:gd name="connsiteX14" fmla="*/ 793544 w 2413493"/>
              <a:gd name="connsiteY14" fmla="*/ 1335698 h 2818787"/>
              <a:gd name="connsiteX15" fmla="*/ 840707 w 2413493"/>
              <a:gd name="connsiteY15" fmla="*/ 1234945 h 2818787"/>
              <a:gd name="connsiteX16" fmla="*/ 885370 w 2413493"/>
              <a:gd name="connsiteY16" fmla="*/ 1343232 h 2818787"/>
              <a:gd name="connsiteX17" fmla="*/ 918061 w 2413493"/>
              <a:gd name="connsiteY17" fmla="*/ 1526801 h 2818787"/>
              <a:gd name="connsiteX18" fmla="*/ 981266 w 2413493"/>
              <a:gd name="connsiteY18" fmla="*/ 1839014 h 2818787"/>
              <a:gd name="connsiteX19" fmla="*/ 1072248 w 2413493"/>
              <a:gd name="connsiteY19" fmla="*/ 2031414 h 2818787"/>
              <a:gd name="connsiteX20" fmla="*/ 1203581 w 2413493"/>
              <a:gd name="connsiteY20" fmla="*/ 2047822 h 2818787"/>
              <a:gd name="connsiteX21" fmla="*/ 1297707 w 2413493"/>
              <a:gd name="connsiteY21" fmla="*/ 1905942 h 2818787"/>
              <a:gd name="connsiteX22" fmla="*/ 1363522 w 2413493"/>
              <a:gd name="connsiteY22" fmla="*/ 1517275 h 2818787"/>
              <a:gd name="connsiteX23" fmla="*/ 1394611 w 2413493"/>
              <a:gd name="connsiteY23" fmla="*/ 936431 h 2818787"/>
              <a:gd name="connsiteX24" fmla="*/ 1421334 w 2413493"/>
              <a:gd name="connsiteY24" fmla="*/ 528062 h 2818787"/>
              <a:gd name="connsiteX25" fmla="*/ 1481132 w 2413493"/>
              <a:gd name="connsiteY25" fmla="*/ 486677 h 2818787"/>
              <a:gd name="connsiteX26" fmla="*/ 1538542 w 2413493"/>
              <a:gd name="connsiteY26" fmla="*/ 814856 h 2818787"/>
              <a:gd name="connsiteX27" fmla="*/ 1594337 w 2413493"/>
              <a:gd name="connsiteY27" fmla="*/ 1035056 h 2818787"/>
              <a:gd name="connsiteX28" fmla="*/ 1696367 w 2413493"/>
              <a:gd name="connsiteY28" fmla="*/ 1089696 h 2818787"/>
              <a:gd name="connsiteX29" fmla="*/ 1775905 w 2413493"/>
              <a:gd name="connsiteY29" fmla="*/ 984829 h 2818787"/>
              <a:gd name="connsiteX30" fmla="*/ 1844766 w 2413493"/>
              <a:gd name="connsiteY30" fmla="*/ 688993 h 2818787"/>
              <a:gd name="connsiteX31" fmla="*/ 1919016 w 2413493"/>
              <a:gd name="connsiteY31" fmla="*/ 451994 h 2818787"/>
              <a:gd name="connsiteX32" fmla="*/ 2023261 w 2413493"/>
              <a:gd name="connsiteY32" fmla="*/ 259372 h 2818787"/>
              <a:gd name="connsiteX33" fmla="*/ 2413493 w 2413493"/>
              <a:gd name="connsiteY33" fmla="*/ 1195 h 2818787"/>
              <a:gd name="connsiteX0" fmla="*/ 0 w 2413493"/>
              <a:gd name="connsiteY0" fmla="*/ 2794397 h 2819096"/>
              <a:gd name="connsiteX1" fmla="*/ 171989 w 2413493"/>
              <a:gd name="connsiteY1" fmla="*/ 2699733 h 2819096"/>
              <a:gd name="connsiteX2" fmla="*/ 242350 w 2413493"/>
              <a:gd name="connsiteY2" fmla="*/ 2341416 h 2819096"/>
              <a:gd name="connsiteX3" fmla="*/ 271457 w 2413493"/>
              <a:gd name="connsiteY3" fmla="*/ 2236119 h 2819096"/>
              <a:gd name="connsiteX4" fmla="*/ 306380 w 2413493"/>
              <a:gd name="connsiteY4" fmla="*/ 2228975 h 2819096"/>
              <a:gd name="connsiteX5" fmla="*/ 332573 w 2413493"/>
              <a:gd name="connsiteY5" fmla="*/ 2283744 h 2819096"/>
              <a:gd name="connsiteX6" fmla="*/ 363529 w 2413493"/>
              <a:gd name="connsiteY6" fmla="*/ 2409951 h 2819096"/>
              <a:gd name="connsiteX7" fmla="*/ 408773 w 2413493"/>
              <a:gd name="connsiteY7" fmla="*/ 2637601 h 2819096"/>
              <a:gd name="connsiteX8" fmla="*/ 488746 w 2413493"/>
              <a:gd name="connsiteY8" fmla="*/ 2794371 h 2819096"/>
              <a:gd name="connsiteX9" fmla="*/ 602697 w 2413493"/>
              <a:gd name="connsiteY9" fmla="*/ 2789519 h 2819096"/>
              <a:gd name="connsiteX10" fmla="*/ 688203 w 2413493"/>
              <a:gd name="connsiteY10" fmla="*/ 2612824 h 2819096"/>
              <a:gd name="connsiteX11" fmla="*/ 731269 w 2413493"/>
              <a:gd name="connsiteY11" fmla="*/ 2319493 h 2819096"/>
              <a:gd name="connsiteX12" fmla="*/ 751673 w 2413493"/>
              <a:gd name="connsiteY12" fmla="*/ 1888456 h 2819096"/>
              <a:gd name="connsiteX13" fmla="*/ 770723 w 2413493"/>
              <a:gd name="connsiteY13" fmla="*/ 1547938 h 2819096"/>
              <a:gd name="connsiteX14" fmla="*/ 793544 w 2413493"/>
              <a:gd name="connsiteY14" fmla="*/ 1336007 h 2819096"/>
              <a:gd name="connsiteX15" fmla="*/ 840707 w 2413493"/>
              <a:gd name="connsiteY15" fmla="*/ 1235254 h 2819096"/>
              <a:gd name="connsiteX16" fmla="*/ 885370 w 2413493"/>
              <a:gd name="connsiteY16" fmla="*/ 1343541 h 2819096"/>
              <a:gd name="connsiteX17" fmla="*/ 918061 w 2413493"/>
              <a:gd name="connsiteY17" fmla="*/ 1527110 h 2819096"/>
              <a:gd name="connsiteX18" fmla="*/ 981266 w 2413493"/>
              <a:gd name="connsiteY18" fmla="*/ 1839323 h 2819096"/>
              <a:gd name="connsiteX19" fmla="*/ 1072248 w 2413493"/>
              <a:gd name="connsiteY19" fmla="*/ 2031723 h 2819096"/>
              <a:gd name="connsiteX20" fmla="*/ 1203581 w 2413493"/>
              <a:gd name="connsiteY20" fmla="*/ 2048131 h 2819096"/>
              <a:gd name="connsiteX21" fmla="*/ 1297707 w 2413493"/>
              <a:gd name="connsiteY21" fmla="*/ 1906251 h 2819096"/>
              <a:gd name="connsiteX22" fmla="*/ 1363522 w 2413493"/>
              <a:gd name="connsiteY22" fmla="*/ 1517584 h 2819096"/>
              <a:gd name="connsiteX23" fmla="*/ 1394611 w 2413493"/>
              <a:gd name="connsiteY23" fmla="*/ 936740 h 2819096"/>
              <a:gd name="connsiteX24" fmla="*/ 1421334 w 2413493"/>
              <a:gd name="connsiteY24" fmla="*/ 528371 h 2819096"/>
              <a:gd name="connsiteX25" fmla="*/ 1481132 w 2413493"/>
              <a:gd name="connsiteY25" fmla="*/ 486986 h 2819096"/>
              <a:gd name="connsiteX26" fmla="*/ 1538542 w 2413493"/>
              <a:gd name="connsiteY26" fmla="*/ 815165 h 2819096"/>
              <a:gd name="connsiteX27" fmla="*/ 1594337 w 2413493"/>
              <a:gd name="connsiteY27" fmla="*/ 1035365 h 2819096"/>
              <a:gd name="connsiteX28" fmla="*/ 1696367 w 2413493"/>
              <a:gd name="connsiteY28" fmla="*/ 1090005 h 2819096"/>
              <a:gd name="connsiteX29" fmla="*/ 1775905 w 2413493"/>
              <a:gd name="connsiteY29" fmla="*/ 985138 h 2819096"/>
              <a:gd name="connsiteX30" fmla="*/ 1844766 w 2413493"/>
              <a:gd name="connsiteY30" fmla="*/ 689302 h 2819096"/>
              <a:gd name="connsiteX31" fmla="*/ 1919016 w 2413493"/>
              <a:gd name="connsiteY31" fmla="*/ 452303 h 2819096"/>
              <a:gd name="connsiteX32" fmla="*/ 2023261 w 2413493"/>
              <a:gd name="connsiteY32" fmla="*/ 259681 h 2819096"/>
              <a:gd name="connsiteX33" fmla="*/ 2413493 w 2413493"/>
              <a:gd name="connsiteY33" fmla="*/ 1504 h 2819096"/>
              <a:gd name="connsiteX0" fmla="*/ 0 w 2413493"/>
              <a:gd name="connsiteY0" fmla="*/ 2794526 h 2819225"/>
              <a:gd name="connsiteX1" fmla="*/ 171989 w 2413493"/>
              <a:gd name="connsiteY1" fmla="*/ 2699862 h 2819225"/>
              <a:gd name="connsiteX2" fmla="*/ 242350 w 2413493"/>
              <a:gd name="connsiteY2" fmla="*/ 2341545 h 2819225"/>
              <a:gd name="connsiteX3" fmla="*/ 271457 w 2413493"/>
              <a:gd name="connsiteY3" fmla="*/ 2236248 h 2819225"/>
              <a:gd name="connsiteX4" fmla="*/ 306380 w 2413493"/>
              <a:gd name="connsiteY4" fmla="*/ 2229104 h 2819225"/>
              <a:gd name="connsiteX5" fmla="*/ 332573 w 2413493"/>
              <a:gd name="connsiteY5" fmla="*/ 2283873 h 2819225"/>
              <a:gd name="connsiteX6" fmla="*/ 363529 w 2413493"/>
              <a:gd name="connsiteY6" fmla="*/ 2410080 h 2819225"/>
              <a:gd name="connsiteX7" fmla="*/ 408773 w 2413493"/>
              <a:gd name="connsiteY7" fmla="*/ 2637730 h 2819225"/>
              <a:gd name="connsiteX8" fmla="*/ 488746 w 2413493"/>
              <a:gd name="connsiteY8" fmla="*/ 2794500 h 2819225"/>
              <a:gd name="connsiteX9" fmla="*/ 602697 w 2413493"/>
              <a:gd name="connsiteY9" fmla="*/ 2789648 h 2819225"/>
              <a:gd name="connsiteX10" fmla="*/ 688203 w 2413493"/>
              <a:gd name="connsiteY10" fmla="*/ 2612953 h 2819225"/>
              <a:gd name="connsiteX11" fmla="*/ 731269 w 2413493"/>
              <a:gd name="connsiteY11" fmla="*/ 2319622 h 2819225"/>
              <a:gd name="connsiteX12" fmla="*/ 751673 w 2413493"/>
              <a:gd name="connsiteY12" fmla="*/ 1888585 h 2819225"/>
              <a:gd name="connsiteX13" fmla="*/ 770723 w 2413493"/>
              <a:gd name="connsiteY13" fmla="*/ 1548067 h 2819225"/>
              <a:gd name="connsiteX14" fmla="*/ 793544 w 2413493"/>
              <a:gd name="connsiteY14" fmla="*/ 1336136 h 2819225"/>
              <a:gd name="connsiteX15" fmla="*/ 840707 w 2413493"/>
              <a:gd name="connsiteY15" fmla="*/ 1235383 h 2819225"/>
              <a:gd name="connsiteX16" fmla="*/ 885370 w 2413493"/>
              <a:gd name="connsiteY16" fmla="*/ 1343670 h 2819225"/>
              <a:gd name="connsiteX17" fmla="*/ 918061 w 2413493"/>
              <a:gd name="connsiteY17" fmla="*/ 1527239 h 2819225"/>
              <a:gd name="connsiteX18" fmla="*/ 981266 w 2413493"/>
              <a:gd name="connsiteY18" fmla="*/ 1839452 h 2819225"/>
              <a:gd name="connsiteX19" fmla="*/ 1072248 w 2413493"/>
              <a:gd name="connsiteY19" fmla="*/ 2031852 h 2819225"/>
              <a:gd name="connsiteX20" fmla="*/ 1203581 w 2413493"/>
              <a:gd name="connsiteY20" fmla="*/ 2048260 h 2819225"/>
              <a:gd name="connsiteX21" fmla="*/ 1297707 w 2413493"/>
              <a:gd name="connsiteY21" fmla="*/ 1906380 h 2819225"/>
              <a:gd name="connsiteX22" fmla="*/ 1363522 w 2413493"/>
              <a:gd name="connsiteY22" fmla="*/ 1517713 h 2819225"/>
              <a:gd name="connsiteX23" fmla="*/ 1394611 w 2413493"/>
              <a:gd name="connsiteY23" fmla="*/ 936869 h 2819225"/>
              <a:gd name="connsiteX24" fmla="*/ 1421334 w 2413493"/>
              <a:gd name="connsiteY24" fmla="*/ 528500 h 2819225"/>
              <a:gd name="connsiteX25" fmla="*/ 1481132 w 2413493"/>
              <a:gd name="connsiteY25" fmla="*/ 487115 h 2819225"/>
              <a:gd name="connsiteX26" fmla="*/ 1538542 w 2413493"/>
              <a:gd name="connsiteY26" fmla="*/ 815294 h 2819225"/>
              <a:gd name="connsiteX27" fmla="*/ 1594337 w 2413493"/>
              <a:gd name="connsiteY27" fmla="*/ 1035494 h 2819225"/>
              <a:gd name="connsiteX28" fmla="*/ 1696367 w 2413493"/>
              <a:gd name="connsiteY28" fmla="*/ 1090134 h 2819225"/>
              <a:gd name="connsiteX29" fmla="*/ 1775905 w 2413493"/>
              <a:gd name="connsiteY29" fmla="*/ 985267 h 2819225"/>
              <a:gd name="connsiteX30" fmla="*/ 1844766 w 2413493"/>
              <a:gd name="connsiteY30" fmla="*/ 689431 h 2819225"/>
              <a:gd name="connsiteX31" fmla="*/ 1919016 w 2413493"/>
              <a:gd name="connsiteY31" fmla="*/ 452432 h 2819225"/>
              <a:gd name="connsiteX32" fmla="*/ 2023261 w 2413493"/>
              <a:gd name="connsiteY32" fmla="*/ 243443 h 2819225"/>
              <a:gd name="connsiteX33" fmla="*/ 2413493 w 2413493"/>
              <a:gd name="connsiteY33" fmla="*/ 1633 h 2819225"/>
              <a:gd name="connsiteX0" fmla="*/ 0 w 2413493"/>
              <a:gd name="connsiteY0" fmla="*/ 2794398 h 2819097"/>
              <a:gd name="connsiteX1" fmla="*/ 171989 w 2413493"/>
              <a:gd name="connsiteY1" fmla="*/ 2699734 h 2819097"/>
              <a:gd name="connsiteX2" fmla="*/ 242350 w 2413493"/>
              <a:gd name="connsiteY2" fmla="*/ 2341417 h 2819097"/>
              <a:gd name="connsiteX3" fmla="*/ 271457 w 2413493"/>
              <a:gd name="connsiteY3" fmla="*/ 2236120 h 2819097"/>
              <a:gd name="connsiteX4" fmla="*/ 306380 w 2413493"/>
              <a:gd name="connsiteY4" fmla="*/ 2228976 h 2819097"/>
              <a:gd name="connsiteX5" fmla="*/ 332573 w 2413493"/>
              <a:gd name="connsiteY5" fmla="*/ 2283745 h 2819097"/>
              <a:gd name="connsiteX6" fmla="*/ 363529 w 2413493"/>
              <a:gd name="connsiteY6" fmla="*/ 2409952 h 2819097"/>
              <a:gd name="connsiteX7" fmla="*/ 408773 w 2413493"/>
              <a:gd name="connsiteY7" fmla="*/ 2637602 h 2819097"/>
              <a:gd name="connsiteX8" fmla="*/ 488746 w 2413493"/>
              <a:gd name="connsiteY8" fmla="*/ 2794372 h 2819097"/>
              <a:gd name="connsiteX9" fmla="*/ 602697 w 2413493"/>
              <a:gd name="connsiteY9" fmla="*/ 2789520 h 2819097"/>
              <a:gd name="connsiteX10" fmla="*/ 688203 w 2413493"/>
              <a:gd name="connsiteY10" fmla="*/ 2612825 h 2819097"/>
              <a:gd name="connsiteX11" fmla="*/ 731269 w 2413493"/>
              <a:gd name="connsiteY11" fmla="*/ 2319494 h 2819097"/>
              <a:gd name="connsiteX12" fmla="*/ 751673 w 2413493"/>
              <a:gd name="connsiteY12" fmla="*/ 1888457 h 2819097"/>
              <a:gd name="connsiteX13" fmla="*/ 770723 w 2413493"/>
              <a:gd name="connsiteY13" fmla="*/ 1547939 h 2819097"/>
              <a:gd name="connsiteX14" fmla="*/ 793544 w 2413493"/>
              <a:gd name="connsiteY14" fmla="*/ 1336008 h 2819097"/>
              <a:gd name="connsiteX15" fmla="*/ 840707 w 2413493"/>
              <a:gd name="connsiteY15" fmla="*/ 1235255 h 2819097"/>
              <a:gd name="connsiteX16" fmla="*/ 885370 w 2413493"/>
              <a:gd name="connsiteY16" fmla="*/ 1343542 h 2819097"/>
              <a:gd name="connsiteX17" fmla="*/ 918061 w 2413493"/>
              <a:gd name="connsiteY17" fmla="*/ 1527111 h 2819097"/>
              <a:gd name="connsiteX18" fmla="*/ 981266 w 2413493"/>
              <a:gd name="connsiteY18" fmla="*/ 1839324 h 2819097"/>
              <a:gd name="connsiteX19" fmla="*/ 1072248 w 2413493"/>
              <a:gd name="connsiteY19" fmla="*/ 2031724 h 2819097"/>
              <a:gd name="connsiteX20" fmla="*/ 1203581 w 2413493"/>
              <a:gd name="connsiteY20" fmla="*/ 2048132 h 2819097"/>
              <a:gd name="connsiteX21" fmla="*/ 1297707 w 2413493"/>
              <a:gd name="connsiteY21" fmla="*/ 1906252 h 2819097"/>
              <a:gd name="connsiteX22" fmla="*/ 1363522 w 2413493"/>
              <a:gd name="connsiteY22" fmla="*/ 1517585 h 2819097"/>
              <a:gd name="connsiteX23" fmla="*/ 1394611 w 2413493"/>
              <a:gd name="connsiteY23" fmla="*/ 936741 h 2819097"/>
              <a:gd name="connsiteX24" fmla="*/ 1421334 w 2413493"/>
              <a:gd name="connsiteY24" fmla="*/ 528372 h 2819097"/>
              <a:gd name="connsiteX25" fmla="*/ 1481132 w 2413493"/>
              <a:gd name="connsiteY25" fmla="*/ 486987 h 2819097"/>
              <a:gd name="connsiteX26" fmla="*/ 1538542 w 2413493"/>
              <a:gd name="connsiteY26" fmla="*/ 815166 h 2819097"/>
              <a:gd name="connsiteX27" fmla="*/ 1594337 w 2413493"/>
              <a:gd name="connsiteY27" fmla="*/ 1035366 h 2819097"/>
              <a:gd name="connsiteX28" fmla="*/ 1696367 w 2413493"/>
              <a:gd name="connsiteY28" fmla="*/ 1090006 h 2819097"/>
              <a:gd name="connsiteX29" fmla="*/ 1775905 w 2413493"/>
              <a:gd name="connsiteY29" fmla="*/ 985139 h 2819097"/>
              <a:gd name="connsiteX30" fmla="*/ 1844766 w 2413493"/>
              <a:gd name="connsiteY30" fmla="*/ 689303 h 2819097"/>
              <a:gd name="connsiteX31" fmla="*/ 1919016 w 2413493"/>
              <a:gd name="connsiteY31" fmla="*/ 452304 h 2819097"/>
              <a:gd name="connsiteX32" fmla="*/ 2023261 w 2413493"/>
              <a:gd name="connsiteY32" fmla="*/ 259683 h 2819097"/>
              <a:gd name="connsiteX33" fmla="*/ 2413493 w 2413493"/>
              <a:gd name="connsiteY33" fmla="*/ 1505 h 2819097"/>
              <a:gd name="connsiteX0" fmla="*/ 0 w 2390869"/>
              <a:gd name="connsiteY0" fmla="*/ 2794398 h 2819097"/>
              <a:gd name="connsiteX1" fmla="*/ 171989 w 2390869"/>
              <a:gd name="connsiteY1" fmla="*/ 2699734 h 2819097"/>
              <a:gd name="connsiteX2" fmla="*/ 242350 w 2390869"/>
              <a:gd name="connsiteY2" fmla="*/ 2341417 h 2819097"/>
              <a:gd name="connsiteX3" fmla="*/ 271457 w 2390869"/>
              <a:gd name="connsiteY3" fmla="*/ 2236120 h 2819097"/>
              <a:gd name="connsiteX4" fmla="*/ 306380 w 2390869"/>
              <a:gd name="connsiteY4" fmla="*/ 2228976 h 2819097"/>
              <a:gd name="connsiteX5" fmla="*/ 332573 w 2390869"/>
              <a:gd name="connsiteY5" fmla="*/ 2283745 h 2819097"/>
              <a:gd name="connsiteX6" fmla="*/ 363529 w 2390869"/>
              <a:gd name="connsiteY6" fmla="*/ 2409952 h 2819097"/>
              <a:gd name="connsiteX7" fmla="*/ 408773 w 2390869"/>
              <a:gd name="connsiteY7" fmla="*/ 2637602 h 2819097"/>
              <a:gd name="connsiteX8" fmla="*/ 488746 w 2390869"/>
              <a:gd name="connsiteY8" fmla="*/ 2794372 h 2819097"/>
              <a:gd name="connsiteX9" fmla="*/ 602697 w 2390869"/>
              <a:gd name="connsiteY9" fmla="*/ 2789520 h 2819097"/>
              <a:gd name="connsiteX10" fmla="*/ 688203 w 2390869"/>
              <a:gd name="connsiteY10" fmla="*/ 2612825 h 2819097"/>
              <a:gd name="connsiteX11" fmla="*/ 731269 w 2390869"/>
              <a:gd name="connsiteY11" fmla="*/ 2319494 h 2819097"/>
              <a:gd name="connsiteX12" fmla="*/ 751673 w 2390869"/>
              <a:gd name="connsiteY12" fmla="*/ 1888457 h 2819097"/>
              <a:gd name="connsiteX13" fmla="*/ 770723 w 2390869"/>
              <a:gd name="connsiteY13" fmla="*/ 1547939 h 2819097"/>
              <a:gd name="connsiteX14" fmla="*/ 793544 w 2390869"/>
              <a:gd name="connsiteY14" fmla="*/ 1336008 h 2819097"/>
              <a:gd name="connsiteX15" fmla="*/ 840707 w 2390869"/>
              <a:gd name="connsiteY15" fmla="*/ 1235255 h 2819097"/>
              <a:gd name="connsiteX16" fmla="*/ 885370 w 2390869"/>
              <a:gd name="connsiteY16" fmla="*/ 1343542 h 2819097"/>
              <a:gd name="connsiteX17" fmla="*/ 918061 w 2390869"/>
              <a:gd name="connsiteY17" fmla="*/ 1527111 h 2819097"/>
              <a:gd name="connsiteX18" fmla="*/ 981266 w 2390869"/>
              <a:gd name="connsiteY18" fmla="*/ 1839324 h 2819097"/>
              <a:gd name="connsiteX19" fmla="*/ 1072248 w 2390869"/>
              <a:gd name="connsiteY19" fmla="*/ 2031724 h 2819097"/>
              <a:gd name="connsiteX20" fmla="*/ 1203581 w 2390869"/>
              <a:gd name="connsiteY20" fmla="*/ 2048132 h 2819097"/>
              <a:gd name="connsiteX21" fmla="*/ 1297707 w 2390869"/>
              <a:gd name="connsiteY21" fmla="*/ 1906252 h 2819097"/>
              <a:gd name="connsiteX22" fmla="*/ 1363522 w 2390869"/>
              <a:gd name="connsiteY22" fmla="*/ 1517585 h 2819097"/>
              <a:gd name="connsiteX23" fmla="*/ 1394611 w 2390869"/>
              <a:gd name="connsiteY23" fmla="*/ 936741 h 2819097"/>
              <a:gd name="connsiteX24" fmla="*/ 1421334 w 2390869"/>
              <a:gd name="connsiteY24" fmla="*/ 528372 h 2819097"/>
              <a:gd name="connsiteX25" fmla="*/ 1481132 w 2390869"/>
              <a:gd name="connsiteY25" fmla="*/ 486987 h 2819097"/>
              <a:gd name="connsiteX26" fmla="*/ 1538542 w 2390869"/>
              <a:gd name="connsiteY26" fmla="*/ 815166 h 2819097"/>
              <a:gd name="connsiteX27" fmla="*/ 1594337 w 2390869"/>
              <a:gd name="connsiteY27" fmla="*/ 1035366 h 2819097"/>
              <a:gd name="connsiteX28" fmla="*/ 1696367 w 2390869"/>
              <a:gd name="connsiteY28" fmla="*/ 1090006 h 2819097"/>
              <a:gd name="connsiteX29" fmla="*/ 1775905 w 2390869"/>
              <a:gd name="connsiteY29" fmla="*/ 985139 h 2819097"/>
              <a:gd name="connsiteX30" fmla="*/ 1844766 w 2390869"/>
              <a:gd name="connsiteY30" fmla="*/ 689303 h 2819097"/>
              <a:gd name="connsiteX31" fmla="*/ 1919016 w 2390869"/>
              <a:gd name="connsiteY31" fmla="*/ 452304 h 2819097"/>
              <a:gd name="connsiteX32" fmla="*/ 2023261 w 2390869"/>
              <a:gd name="connsiteY32" fmla="*/ 259683 h 2819097"/>
              <a:gd name="connsiteX33" fmla="*/ 2390869 w 2390869"/>
              <a:gd name="connsiteY33" fmla="*/ 1505 h 2819097"/>
              <a:gd name="connsiteX0" fmla="*/ 0 w 2396525"/>
              <a:gd name="connsiteY0" fmla="*/ 2799814 h 2824513"/>
              <a:gd name="connsiteX1" fmla="*/ 171989 w 2396525"/>
              <a:gd name="connsiteY1" fmla="*/ 2705150 h 2824513"/>
              <a:gd name="connsiteX2" fmla="*/ 242350 w 2396525"/>
              <a:gd name="connsiteY2" fmla="*/ 2346833 h 2824513"/>
              <a:gd name="connsiteX3" fmla="*/ 271457 w 2396525"/>
              <a:gd name="connsiteY3" fmla="*/ 2241536 h 2824513"/>
              <a:gd name="connsiteX4" fmla="*/ 306380 w 2396525"/>
              <a:gd name="connsiteY4" fmla="*/ 2234392 h 2824513"/>
              <a:gd name="connsiteX5" fmla="*/ 332573 w 2396525"/>
              <a:gd name="connsiteY5" fmla="*/ 2289161 h 2824513"/>
              <a:gd name="connsiteX6" fmla="*/ 363529 w 2396525"/>
              <a:gd name="connsiteY6" fmla="*/ 2415368 h 2824513"/>
              <a:gd name="connsiteX7" fmla="*/ 408773 w 2396525"/>
              <a:gd name="connsiteY7" fmla="*/ 2643018 h 2824513"/>
              <a:gd name="connsiteX8" fmla="*/ 488746 w 2396525"/>
              <a:gd name="connsiteY8" fmla="*/ 2799788 h 2824513"/>
              <a:gd name="connsiteX9" fmla="*/ 602697 w 2396525"/>
              <a:gd name="connsiteY9" fmla="*/ 2794936 h 2824513"/>
              <a:gd name="connsiteX10" fmla="*/ 688203 w 2396525"/>
              <a:gd name="connsiteY10" fmla="*/ 2618241 h 2824513"/>
              <a:gd name="connsiteX11" fmla="*/ 731269 w 2396525"/>
              <a:gd name="connsiteY11" fmla="*/ 2324910 h 2824513"/>
              <a:gd name="connsiteX12" fmla="*/ 751673 w 2396525"/>
              <a:gd name="connsiteY12" fmla="*/ 1893873 h 2824513"/>
              <a:gd name="connsiteX13" fmla="*/ 770723 w 2396525"/>
              <a:gd name="connsiteY13" fmla="*/ 1553355 h 2824513"/>
              <a:gd name="connsiteX14" fmla="*/ 793544 w 2396525"/>
              <a:gd name="connsiteY14" fmla="*/ 1341424 h 2824513"/>
              <a:gd name="connsiteX15" fmla="*/ 840707 w 2396525"/>
              <a:gd name="connsiteY15" fmla="*/ 1240671 h 2824513"/>
              <a:gd name="connsiteX16" fmla="*/ 885370 w 2396525"/>
              <a:gd name="connsiteY16" fmla="*/ 1348958 h 2824513"/>
              <a:gd name="connsiteX17" fmla="*/ 918061 w 2396525"/>
              <a:gd name="connsiteY17" fmla="*/ 1532527 h 2824513"/>
              <a:gd name="connsiteX18" fmla="*/ 981266 w 2396525"/>
              <a:gd name="connsiteY18" fmla="*/ 1844740 h 2824513"/>
              <a:gd name="connsiteX19" fmla="*/ 1072248 w 2396525"/>
              <a:gd name="connsiteY19" fmla="*/ 2037140 h 2824513"/>
              <a:gd name="connsiteX20" fmla="*/ 1203581 w 2396525"/>
              <a:gd name="connsiteY20" fmla="*/ 2053548 h 2824513"/>
              <a:gd name="connsiteX21" fmla="*/ 1297707 w 2396525"/>
              <a:gd name="connsiteY21" fmla="*/ 1911668 h 2824513"/>
              <a:gd name="connsiteX22" fmla="*/ 1363522 w 2396525"/>
              <a:gd name="connsiteY22" fmla="*/ 1523001 h 2824513"/>
              <a:gd name="connsiteX23" fmla="*/ 1394611 w 2396525"/>
              <a:gd name="connsiteY23" fmla="*/ 942157 h 2824513"/>
              <a:gd name="connsiteX24" fmla="*/ 1421334 w 2396525"/>
              <a:gd name="connsiteY24" fmla="*/ 533788 h 2824513"/>
              <a:gd name="connsiteX25" fmla="*/ 1481132 w 2396525"/>
              <a:gd name="connsiteY25" fmla="*/ 492403 h 2824513"/>
              <a:gd name="connsiteX26" fmla="*/ 1538542 w 2396525"/>
              <a:gd name="connsiteY26" fmla="*/ 820582 h 2824513"/>
              <a:gd name="connsiteX27" fmla="*/ 1594337 w 2396525"/>
              <a:gd name="connsiteY27" fmla="*/ 1040782 h 2824513"/>
              <a:gd name="connsiteX28" fmla="*/ 1696367 w 2396525"/>
              <a:gd name="connsiteY28" fmla="*/ 1095422 h 2824513"/>
              <a:gd name="connsiteX29" fmla="*/ 1775905 w 2396525"/>
              <a:gd name="connsiteY29" fmla="*/ 990555 h 2824513"/>
              <a:gd name="connsiteX30" fmla="*/ 1844766 w 2396525"/>
              <a:gd name="connsiteY30" fmla="*/ 694719 h 2824513"/>
              <a:gd name="connsiteX31" fmla="*/ 1919016 w 2396525"/>
              <a:gd name="connsiteY31" fmla="*/ 457720 h 2824513"/>
              <a:gd name="connsiteX32" fmla="*/ 2023261 w 2396525"/>
              <a:gd name="connsiteY32" fmla="*/ 265099 h 2824513"/>
              <a:gd name="connsiteX33" fmla="*/ 2396525 w 2396525"/>
              <a:gd name="connsiteY33" fmla="*/ 1466 h 2824513"/>
              <a:gd name="connsiteX0" fmla="*/ 0 w 2396525"/>
              <a:gd name="connsiteY0" fmla="*/ 2799710 h 2824409"/>
              <a:gd name="connsiteX1" fmla="*/ 171989 w 2396525"/>
              <a:gd name="connsiteY1" fmla="*/ 2705046 h 2824409"/>
              <a:gd name="connsiteX2" fmla="*/ 242350 w 2396525"/>
              <a:gd name="connsiteY2" fmla="*/ 2346729 h 2824409"/>
              <a:gd name="connsiteX3" fmla="*/ 271457 w 2396525"/>
              <a:gd name="connsiteY3" fmla="*/ 2241432 h 2824409"/>
              <a:gd name="connsiteX4" fmla="*/ 306380 w 2396525"/>
              <a:gd name="connsiteY4" fmla="*/ 2234288 h 2824409"/>
              <a:gd name="connsiteX5" fmla="*/ 332573 w 2396525"/>
              <a:gd name="connsiteY5" fmla="*/ 2289057 h 2824409"/>
              <a:gd name="connsiteX6" fmla="*/ 363529 w 2396525"/>
              <a:gd name="connsiteY6" fmla="*/ 2415264 h 2824409"/>
              <a:gd name="connsiteX7" fmla="*/ 408773 w 2396525"/>
              <a:gd name="connsiteY7" fmla="*/ 2642914 h 2824409"/>
              <a:gd name="connsiteX8" fmla="*/ 488746 w 2396525"/>
              <a:gd name="connsiteY8" fmla="*/ 2799684 h 2824409"/>
              <a:gd name="connsiteX9" fmla="*/ 602697 w 2396525"/>
              <a:gd name="connsiteY9" fmla="*/ 2794832 h 2824409"/>
              <a:gd name="connsiteX10" fmla="*/ 688203 w 2396525"/>
              <a:gd name="connsiteY10" fmla="*/ 2618137 h 2824409"/>
              <a:gd name="connsiteX11" fmla="*/ 731269 w 2396525"/>
              <a:gd name="connsiteY11" fmla="*/ 2324806 h 2824409"/>
              <a:gd name="connsiteX12" fmla="*/ 751673 w 2396525"/>
              <a:gd name="connsiteY12" fmla="*/ 1893769 h 2824409"/>
              <a:gd name="connsiteX13" fmla="*/ 770723 w 2396525"/>
              <a:gd name="connsiteY13" fmla="*/ 1553251 h 2824409"/>
              <a:gd name="connsiteX14" fmla="*/ 793544 w 2396525"/>
              <a:gd name="connsiteY14" fmla="*/ 1341320 h 2824409"/>
              <a:gd name="connsiteX15" fmla="*/ 840707 w 2396525"/>
              <a:gd name="connsiteY15" fmla="*/ 1240567 h 2824409"/>
              <a:gd name="connsiteX16" fmla="*/ 885370 w 2396525"/>
              <a:gd name="connsiteY16" fmla="*/ 1348854 h 2824409"/>
              <a:gd name="connsiteX17" fmla="*/ 918061 w 2396525"/>
              <a:gd name="connsiteY17" fmla="*/ 1532423 h 2824409"/>
              <a:gd name="connsiteX18" fmla="*/ 981266 w 2396525"/>
              <a:gd name="connsiteY18" fmla="*/ 1844636 h 2824409"/>
              <a:gd name="connsiteX19" fmla="*/ 1072248 w 2396525"/>
              <a:gd name="connsiteY19" fmla="*/ 2037036 h 2824409"/>
              <a:gd name="connsiteX20" fmla="*/ 1203581 w 2396525"/>
              <a:gd name="connsiteY20" fmla="*/ 2053444 h 2824409"/>
              <a:gd name="connsiteX21" fmla="*/ 1297707 w 2396525"/>
              <a:gd name="connsiteY21" fmla="*/ 1911564 h 2824409"/>
              <a:gd name="connsiteX22" fmla="*/ 1363522 w 2396525"/>
              <a:gd name="connsiteY22" fmla="*/ 1522897 h 2824409"/>
              <a:gd name="connsiteX23" fmla="*/ 1394611 w 2396525"/>
              <a:gd name="connsiteY23" fmla="*/ 942053 h 2824409"/>
              <a:gd name="connsiteX24" fmla="*/ 1421334 w 2396525"/>
              <a:gd name="connsiteY24" fmla="*/ 533684 h 2824409"/>
              <a:gd name="connsiteX25" fmla="*/ 1481132 w 2396525"/>
              <a:gd name="connsiteY25" fmla="*/ 492299 h 2824409"/>
              <a:gd name="connsiteX26" fmla="*/ 1538542 w 2396525"/>
              <a:gd name="connsiteY26" fmla="*/ 820478 h 2824409"/>
              <a:gd name="connsiteX27" fmla="*/ 1594337 w 2396525"/>
              <a:gd name="connsiteY27" fmla="*/ 1040678 h 2824409"/>
              <a:gd name="connsiteX28" fmla="*/ 1696367 w 2396525"/>
              <a:gd name="connsiteY28" fmla="*/ 1095318 h 2824409"/>
              <a:gd name="connsiteX29" fmla="*/ 1775905 w 2396525"/>
              <a:gd name="connsiteY29" fmla="*/ 990451 h 2824409"/>
              <a:gd name="connsiteX30" fmla="*/ 1844766 w 2396525"/>
              <a:gd name="connsiteY30" fmla="*/ 694615 h 2824409"/>
              <a:gd name="connsiteX31" fmla="*/ 1919016 w 2396525"/>
              <a:gd name="connsiteY31" fmla="*/ 457616 h 2824409"/>
              <a:gd name="connsiteX32" fmla="*/ 2011949 w 2396525"/>
              <a:gd name="connsiteY32" fmla="*/ 281362 h 2824409"/>
              <a:gd name="connsiteX33" fmla="*/ 2396525 w 2396525"/>
              <a:gd name="connsiteY33" fmla="*/ 1362 h 2824409"/>
              <a:gd name="connsiteX0" fmla="*/ 0 w 2396525"/>
              <a:gd name="connsiteY0" fmla="*/ 2799981 h 2824680"/>
              <a:gd name="connsiteX1" fmla="*/ 171989 w 2396525"/>
              <a:gd name="connsiteY1" fmla="*/ 2705317 h 2824680"/>
              <a:gd name="connsiteX2" fmla="*/ 242350 w 2396525"/>
              <a:gd name="connsiteY2" fmla="*/ 2347000 h 2824680"/>
              <a:gd name="connsiteX3" fmla="*/ 271457 w 2396525"/>
              <a:gd name="connsiteY3" fmla="*/ 2241703 h 2824680"/>
              <a:gd name="connsiteX4" fmla="*/ 306380 w 2396525"/>
              <a:gd name="connsiteY4" fmla="*/ 2234559 h 2824680"/>
              <a:gd name="connsiteX5" fmla="*/ 332573 w 2396525"/>
              <a:gd name="connsiteY5" fmla="*/ 2289328 h 2824680"/>
              <a:gd name="connsiteX6" fmla="*/ 363529 w 2396525"/>
              <a:gd name="connsiteY6" fmla="*/ 2415535 h 2824680"/>
              <a:gd name="connsiteX7" fmla="*/ 408773 w 2396525"/>
              <a:gd name="connsiteY7" fmla="*/ 2643185 h 2824680"/>
              <a:gd name="connsiteX8" fmla="*/ 488746 w 2396525"/>
              <a:gd name="connsiteY8" fmla="*/ 2799955 h 2824680"/>
              <a:gd name="connsiteX9" fmla="*/ 602697 w 2396525"/>
              <a:gd name="connsiteY9" fmla="*/ 2795103 h 2824680"/>
              <a:gd name="connsiteX10" fmla="*/ 688203 w 2396525"/>
              <a:gd name="connsiteY10" fmla="*/ 2618408 h 2824680"/>
              <a:gd name="connsiteX11" fmla="*/ 731269 w 2396525"/>
              <a:gd name="connsiteY11" fmla="*/ 2325077 h 2824680"/>
              <a:gd name="connsiteX12" fmla="*/ 751673 w 2396525"/>
              <a:gd name="connsiteY12" fmla="*/ 1894040 h 2824680"/>
              <a:gd name="connsiteX13" fmla="*/ 770723 w 2396525"/>
              <a:gd name="connsiteY13" fmla="*/ 1553522 h 2824680"/>
              <a:gd name="connsiteX14" fmla="*/ 793544 w 2396525"/>
              <a:gd name="connsiteY14" fmla="*/ 1341591 h 2824680"/>
              <a:gd name="connsiteX15" fmla="*/ 840707 w 2396525"/>
              <a:gd name="connsiteY15" fmla="*/ 1240838 h 2824680"/>
              <a:gd name="connsiteX16" fmla="*/ 885370 w 2396525"/>
              <a:gd name="connsiteY16" fmla="*/ 1349125 h 2824680"/>
              <a:gd name="connsiteX17" fmla="*/ 918061 w 2396525"/>
              <a:gd name="connsiteY17" fmla="*/ 1532694 h 2824680"/>
              <a:gd name="connsiteX18" fmla="*/ 981266 w 2396525"/>
              <a:gd name="connsiteY18" fmla="*/ 1844907 h 2824680"/>
              <a:gd name="connsiteX19" fmla="*/ 1072248 w 2396525"/>
              <a:gd name="connsiteY19" fmla="*/ 2037307 h 2824680"/>
              <a:gd name="connsiteX20" fmla="*/ 1203581 w 2396525"/>
              <a:gd name="connsiteY20" fmla="*/ 2053715 h 2824680"/>
              <a:gd name="connsiteX21" fmla="*/ 1297707 w 2396525"/>
              <a:gd name="connsiteY21" fmla="*/ 1911835 h 2824680"/>
              <a:gd name="connsiteX22" fmla="*/ 1363522 w 2396525"/>
              <a:gd name="connsiteY22" fmla="*/ 1523168 h 2824680"/>
              <a:gd name="connsiteX23" fmla="*/ 1394611 w 2396525"/>
              <a:gd name="connsiteY23" fmla="*/ 942324 h 2824680"/>
              <a:gd name="connsiteX24" fmla="*/ 1421334 w 2396525"/>
              <a:gd name="connsiteY24" fmla="*/ 533955 h 2824680"/>
              <a:gd name="connsiteX25" fmla="*/ 1481132 w 2396525"/>
              <a:gd name="connsiteY25" fmla="*/ 492570 h 2824680"/>
              <a:gd name="connsiteX26" fmla="*/ 1538542 w 2396525"/>
              <a:gd name="connsiteY26" fmla="*/ 820749 h 2824680"/>
              <a:gd name="connsiteX27" fmla="*/ 1594337 w 2396525"/>
              <a:gd name="connsiteY27" fmla="*/ 1040949 h 2824680"/>
              <a:gd name="connsiteX28" fmla="*/ 1696367 w 2396525"/>
              <a:gd name="connsiteY28" fmla="*/ 1095589 h 2824680"/>
              <a:gd name="connsiteX29" fmla="*/ 1775905 w 2396525"/>
              <a:gd name="connsiteY29" fmla="*/ 990722 h 2824680"/>
              <a:gd name="connsiteX30" fmla="*/ 1844766 w 2396525"/>
              <a:gd name="connsiteY30" fmla="*/ 694886 h 2824680"/>
              <a:gd name="connsiteX31" fmla="*/ 1919016 w 2396525"/>
              <a:gd name="connsiteY31" fmla="*/ 457887 h 2824680"/>
              <a:gd name="connsiteX32" fmla="*/ 2015720 w 2396525"/>
              <a:gd name="connsiteY32" fmla="*/ 243444 h 2824680"/>
              <a:gd name="connsiteX33" fmla="*/ 2396525 w 2396525"/>
              <a:gd name="connsiteY33" fmla="*/ 1633 h 2824680"/>
              <a:gd name="connsiteX0" fmla="*/ 0 w 2396525"/>
              <a:gd name="connsiteY0" fmla="*/ 2799981 h 2801295"/>
              <a:gd name="connsiteX1" fmla="*/ 171989 w 2396525"/>
              <a:gd name="connsiteY1" fmla="*/ 2705317 h 2801295"/>
              <a:gd name="connsiteX2" fmla="*/ 242350 w 2396525"/>
              <a:gd name="connsiteY2" fmla="*/ 2347000 h 2801295"/>
              <a:gd name="connsiteX3" fmla="*/ 271457 w 2396525"/>
              <a:gd name="connsiteY3" fmla="*/ 2241703 h 2801295"/>
              <a:gd name="connsiteX4" fmla="*/ 306380 w 2396525"/>
              <a:gd name="connsiteY4" fmla="*/ 2234559 h 2801295"/>
              <a:gd name="connsiteX5" fmla="*/ 332573 w 2396525"/>
              <a:gd name="connsiteY5" fmla="*/ 2289328 h 2801295"/>
              <a:gd name="connsiteX6" fmla="*/ 363529 w 2396525"/>
              <a:gd name="connsiteY6" fmla="*/ 2415535 h 2801295"/>
              <a:gd name="connsiteX7" fmla="*/ 408773 w 2396525"/>
              <a:gd name="connsiteY7" fmla="*/ 2643185 h 2801295"/>
              <a:gd name="connsiteX8" fmla="*/ 488746 w 2396525"/>
              <a:gd name="connsiteY8" fmla="*/ 2799955 h 2801295"/>
              <a:gd name="connsiteX9" fmla="*/ 580073 w 2396525"/>
              <a:gd name="connsiteY9" fmla="*/ 2707812 h 2801295"/>
              <a:gd name="connsiteX10" fmla="*/ 688203 w 2396525"/>
              <a:gd name="connsiteY10" fmla="*/ 2618408 h 2801295"/>
              <a:gd name="connsiteX11" fmla="*/ 731269 w 2396525"/>
              <a:gd name="connsiteY11" fmla="*/ 2325077 h 2801295"/>
              <a:gd name="connsiteX12" fmla="*/ 751673 w 2396525"/>
              <a:gd name="connsiteY12" fmla="*/ 1894040 h 2801295"/>
              <a:gd name="connsiteX13" fmla="*/ 770723 w 2396525"/>
              <a:gd name="connsiteY13" fmla="*/ 1553522 h 2801295"/>
              <a:gd name="connsiteX14" fmla="*/ 793544 w 2396525"/>
              <a:gd name="connsiteY14" fmla="*/ 1341591 h 2801295"/>
              <a:gd name="connsiteX15" fmla="*/ 840707 w 2396525"/>
              <a:gd name="connsiteY15" fmla="*/ 1240838 h 2801295"/>
              <a:gd name="connsiteX16" fmla="*/ 885370 w 2396525"/>
              <a:gd name="connsiteY16" fmla="*/ 1349125 h 2801295"/>
              <a:gd name="connsiteX17" fmla="*/ 918061 w 2396525"/>
              <a:gd name="connsiteY17" fmla="*/ 1532694 h 2801295"/>
              <a:gd name="connsiteX18" fmla="*/ 981266 w 2396525"/>
              <a:gd name="connsiteY18" fmla="*/ 1844907 h 2801295"/>
              <a:gd name="connsiteX19" fmla="*/ 1072248 w 2396525"/>
              <a:gd name="connsiteY19" fmla="*/ 2037307 h 2801295"/>
              <a:gd name="connsiteX20" fmla="*/ 1203581 w 2396525"/>
              <a:gd name="connsiteY20" fmla="*/ 2053715 h 2801295"/>
              <a:gd name="connsiteX21" fmla="*/ 1297707 w 2396525"/>
              <a:gd name="connsiteY21" fmla="*/ 1911835 h 2801295"/>
              <a:gd name="connsiteX22" fmla="*/ 1363522 w 2396525"/>
              <a:gd name="connsiteY22" fmla="*/ 1523168 h 2801295"/>
              <a:gd name="connsiteX23" fmla="*/ 1394611 w 2396525"/>
              <a:gd name="connsiteY23" fmla="*/ 942324 h 2801295"/>
              <a:gd name="connsiteX24" fmla="*/ 1421334 w 2396525"/>
              <a:gd name="connsiteY24" fmla="*/ 533955 h 2801295"/>
              <a:gd name="connsiteX25" fmla="*/ 1481132 w 2396525"/>
              <a:gd name="connsiteY25" fmla="*/ 492570 h 2801295"/>
              <a:gd name="connsiteX26" fmla="*/ 1538542 w 2396525"/>
              <a:gd name="connsiteY26" fmla="*/ 820749 h 2801295"/>
              <a:gd name="connsiteX27" fmla="*/ 1594337 w 2396525"/>
              <a:gd name="connsiteY27" fmla="*/ 1040949 h 2801295"/>
              <a:gd name="connsiteX28" fmla="*/ 1696367 w 2396525"/>
              <a:gd name="connsiteY28" fmla="*/ 1095589 h 2801295"/>
              <a:gd name="connsiteX29" fmla="*/ 1775905 w 2396525"/>
              <a:gd name="connsiteY29" fmla="*/ 990722 h 2801295"/>
              <a:gd name="connsiteX30" fmla="*/ 1844766 w 2396525"/>
              <a:gd name="connsiteY30" fmla="*/ 694886 h 2801295"/>
              <a:gd name="connsiteX31" fmla="*/ 1919016 w 2396525"/>
              <a:gd name="connsiteY31" fmla="*/ 457887 h 2801295"/>
              <a:gd name="connsiteX32" fmla="*/ 2015720 w 2396525"/>
              <a:gd name="connsiteY32" fmla="*/ 243444 h 2801295"/>
              <a:gd name="connsiteX33" fmla="*/ 2396525 w 2396525"/>
              <a:gd name="connsiteY33" fmla="*/ 1633 h 2801295"/>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643185 h 2800372"/>
              <a:gd name="connsiteX8" fmla="*/ 477434 w 2396525"/>
              <a:gd name="connsiteY8" fmla="*/ 2679929 h 2800372"/>
              <a:gd name="connsiteX9" fmla="*/ 580073 w 2396525"/>
              <a:gd name="connsiteY9" fmla="*/ 2707812 h 2800372"/>
              <a:gd name="connsiteX10" fmla="*/ 688203 w 2396525"/>
              <a:gd name="connsiteY10" fmla="*/ 2618408 h 2800372"/>
              <a:gd name="connsiteX11" fmla="*/ 731269 w 2396525"/>
              <a:gd name="connsiteY11" fmla="*/ 2325077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577717 h 2800372"/>
              <a:gd name="connsiteX8" fmla="*/ 477434 w 2396525"/>
              <a:gd name="connsiteY8" fmla="*/ 2679929 h 2800372"/>
              <a:gd name="connsiteX9" fmla="*/ 580073 w 2396525"/>
              <a:gd name="connsiteY9" fmla="*/ 2707812 h 2800372"/>
              <a:gd name="connsiteX10" fmla="*/ 688203 w 2396525"/>
              <a:gd name="connsiteY10" fmla="*/ 2618408 h 2800372"/>
              <a:gd name="connsiteX11" fmla="*/ 731269 w 2396525"/>
              <a:gd name="connsiteY11" fmla="*/ 2325077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577717 h 2800372"/>
              <a:gd name="connsiteX8" fmla="*/ 477434 w 2396525"/>
              <a:gd name="connsiteY8" fmla="*/ 2679929 h 2800372"/>
              <a:gd name="connsiteX9" fmla="*/ 568761 w 2396525"/>
              <a:gd name="connsiteY9" fmla="*/ 2653255 h 2800372"/>
              <a:gd name="connsiteX10" fmla="*/ 688203 w 2396525"/>
              <a:gd name="connsiteY10" fmla="*/ 2618408 h 2800372"/>
              <a:gd name="connsiteX11" fmla="*/ 731269 w 2396525"/>
              <a:gd name="connsiteY11" fmla="*/ 2325077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577717 h 2800372"/>
              <a:gd name="connsiteX8" fmla="*/ 473663 w 2396525"/>
              <a:gd name="connsiteY8" fmla="*/ 2603549 h 2800372"/>
              <a:gd name="connsiteX9" fmla="*/ 568761 w 2396525"/>
              <a:gd name="connsiteY9" fmla="*/ 2653255 h 2800372"/>
              <a:gd name="connsiteX10" fmla="*/ 688203 w 2396525"/>
              <a:gd name="connsiteY10" fmla="*/ 2618408 h 2800372"/>
              <a:gd name="connsiteX11" fmla="*/ 731269 w 2396525"/>
              <a:gd name="connsiteY11" fmla="*/ 2325077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577717 h 2800372"/>
              <a:gd name="connsiteX8" fmla="*/ 473663 w 2396525"/>
              <a:gd name="connsiteY8" fmla="*/ 2603549 h 2800372"/>
              <a:gd name="connsiteX9" fmla="*/ 568761 w 2396525"/>
              <a:gd name="connsiteY9" fmla="*/ 2653255 h 2800372"/>
              <a:gd name="connsiteX10" fmla="*/ 676891 w 2396525"/>
              <a:gd name="connsiteY10" fmla="*/ 2542029 h 2800372"/>
              <a:gd name="connsiteX11" fmla="*/ 731269 w 2396525"/>
              <a:gd name="connsiteY11" fmla="*/ 2325077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577717 h 2800372"/>
              <a:gd name="connsiteX8" fmla="*/ 473663 w 2396525"/>
              <a:gd name="connsiteY8" fmla="*/ 2603549 h 2800372"/>
              <a:gd name="connsiteX9" fmla="*/ 568761 w 2396525"/>
              <a:gd name="connsiteY9" fmla="*/ 2653255 h 2800372"/>
              <a:gd name="connsiteX10" fmla="*/ 676891 w 2396525"/>
              <a:gd name="connsiteY10" fmla="*/ 2542029 h 2800372"/>
              <a:gd name="connsiteX11" fmla="*/ 708645 w 2396525"/>
              <a:gd name="connsiteY11" fmla="*/ 2303255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8773 w 2396525"/>
              <a:gd name="connsiteY7" fmla="*/ 2490426 h 2800372"/>
              <a:gd name="connsiteX8" fmla="*/ 473663 w 2396525"/>
              <a:gd name="connsiteY8" fmla="*/ 2603549 h 2800372"/>
              <a:gd name="connsiteX9" fmla="*/ 568761 w 2396525"/>
              <a:gd name="connsiteY9" fmla="*/ 2653255 h 2800372"/>
              <a:gd name="connsiteX10" fmla="*/ 676891 w 2396525"/>
              <a:gd name="connsiteY10" fmla="*/ 2542029 h 2800372"/>
              <a:gd name="connsiteX11" fmla="*/ 708645 w 2396525"/>
              <a:gd name="connsiteY11" fmla="*/ 2303255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402478 w 2396525"/>
              <a:gd name="connsiteY7" fmla="*/ 2535969 h 2800372"/>
              <a:gd name="connsiteX8" fmla="*/ 473663 w 2396525"/>
              <a:gd name="connsiteY8" fmla="*/ 2603549 h 2800372"/>
              <a:gd name="connsiteX9" fmla="*/ 568761 w 2396525"/>
              <a:gd name="connsiteY9" fmla="*/ 2653255 h 2800372"/>
              <a:gd name="connsiteX10" fmla="*/ 676891 w 2396525"/>
              <a:gd name="connsiteY10" fmla="*/ 2542029 h 2800372"/>
              <a:gd name="connsiteX11" fmla="*/ 708645 w 2396525"/>
              <a:gd name="connsiteY11" fmla="*/ 2303255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397757 w 2396525"/>
              <a:gd name="connsiteY7" fmla="*/ 2563296 h 2800372"/>
              <a:gd name="connsiteX8" fmla="*/ 473663 w 2396525"/>
              <a:gd name="connsiteY8" fmla="*/ 2603549 h 2800372"/>
              <a:gd name="connsiteX9" fmla="*/ 568761 w 2396525"/>
              <a:gd name="connsiteY9" fmla="*/ 2653255 h 2800372"/>
              <a:gd name="connsiteX10" fmla="*/ 676891 w 2396525"/>
              <a:gd name="connsiteY10" fmla="*/ 2542029 h 2800372"/>
              <a:gd name="connsiteX11" fmla="*/ 708645 w 2396525"/>
              <a:gd name="connsiteY11" fmla="*/ 2303255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 name="connsiteX0" fmla="*/ 0 w 2396525"/>
              <a:gd name="connsiteY0" fmla="*/ 2799981 h 2800372"/>
              <a:gd name="connsiteX1" fmla="*/ 171989 w 2396525"/>
              <a:gd name="connsiteY1" fmla="*/ 2705317 h 2800372"/>
              <a:gd name="connsiteX2" fmla="*/ 242350 w 2396525"/>
              <a:gd name="connsiteY2" fmla="*/ 2347000 h 2800372"/>
              <a:gd name="connsiteX3" fmla="*/ 271457 w 2396525"/>
              <a:gd name="connsiteY3" fmla="*/ 2241703 h 2800372"/>
              <a:gd name="connsiteX4" fmla="*/ 306380 w 2396525"/>
              <a:gd name="connsiteY4" fmla="*/ 2234559 h 2800372"/>
              <a:gd name="connsiteX5" fmla="*/ 332573 w 2396525"/>
              <a:gd name="connsiteY5" fmla="*/ 2289328 h 2800372"/>
              <a:gd name="connsiteX6" fmla="*/ 363529 w 2396525"/>
              <a:gd name="connsiteY6" fmla="*/ 2415535 h 2800372"/>
              <a:gd name="connsiteX7" fmla="*/ 397757 w 2396525"/>
              <a:gd name="connsiteY7" fmla="*/ 2563296 h 2800372"/>
              <a:gd name="connsiteX8" fmla="*/ 472089 w 2396525"/>
              <a:gd name="connsiteY8" fmla="*/ 2630876 h 2800372"/>
              <a:gd name="connsiteX9" fmla="*/ 568761 w 2396525"/>
              <a:gd name="connsiteY9" fmla="*/ 2653255 h 2800372"/>
              <a:gd name="connsiteX10" fmla="*/ 676891 w 2396525"/>
              <a:gd name="connsiteY10" fmla="*/ 2542029 h 2800372"/>
              <a:gd name="connsiteX11" fmla="*/ 708645 w 2396525"/>
              <a:gd name="connsiteY11" fmla="*/ 2303255 h 2800372"/>
              <a:gd name="connsiteX12" fmla="*/ 751673 w 2396525"/>
              <a:gd name="connsiteY12" fmla="*/ 1894040 h 2800372"/>
              <a:gd name="connsiteX13" fmla="*/ 770723 w 2396525"/>
              <a:gd name="connsiteY13" fmla="*/ 1553522 h 2800372"/>
              <a:gd name="connsiteX14" fmla="*/ 793544 w 2396525"/>
              <a:gd name="connsiteY14" fmla="*/ 1341591 h 2800372"/>
              <a:gd name="connsiteX15" fmla="*/ 840707 w 2396525"/>
              <a:gd name="connsiteY15" fmla="*/ 1240838 h 2800372"/>
              <a:gd name="connsiteX16" fmla="*/ 885370 w 2396525"/>
              <a:gd name="connsiteY16" fmla="*/ 1349125 h 2800372"/>
              <a:gd name="connsiteX17" fmla="*/ 918061 w 2396525"/>
              <a:gd name="connsiteY17" fmla="*/ 1532694 h 2800372"/>
              <a:gd name="connsiteX18" fmla="*/ 981266 w 2396525"/>
              <a:gd name="connsiteY18" fmla="*/ 1844907 h 2800372"/>
              <a:gd name="connsiteX19" fmla="*/ 1072248 w 2396525"/>
              <a:gd name="connsiteY19" fmla="*/ 2037307 h 2800372"/>
              <a:gd name="connsiteX20" fmla="*/ 1203581 w 2396525"/>
              <a:gd name="connsiteY20" fmla="*/ 2053715 h 2800372"/>
              <a:gd name="connsiteX21" fmla="*/ 1297707 w 2396525"/>
              <a:gd name="connsiteY21" fmla="*/ 1911835 h 2800372"/>
              <a:gd name="connsiteX22" fmla="*/ 1363522 w 2396525"/>
              <a:gd name="connsiteY22" fmla="*/ 1523168 h 2800372"/>
              <a:gd name="connsiteX23" fmla="*/ 1394611 w 2396525"/>
              <a:gd name="connsiteY23" fmla="*/ 942324 h 2800372"/>
              <a:gd name="connsiteX24" fmla="*/ 1421334 w 2396525"/>
              <a:gd name="connsiteY24" fmla="*/ 533955 h 2800372"/>
              <a:gd name="connsiteX25" fmla="*/ 1481132 w 2396525"/>
              <a:gd name="connsiteY25" fmla="*/ 492570 h 2800372"/>
              <a:gd name="connsiteX26" fmla="*/ 1538542 w 2396525"/>
              <a:gd name="connsiteY26" fmla="*/ 820749 h 2800372"/>
              <a:gd name="connsiteX27" fmla="*/ 1594337 w 2396525"/>
              <a:gd name="connsiteY27" fmla="*/ 1040949 h 2800372"/>
              <a:gd name="connsiteX28" fmla="*/ 1696367 w 2396525"/>
              <a:gd name="connsiteY28" fmla="*/ 1095589 h 2800372"/>
              <a:gd name="connsiteX29" fmla="*/ 1775905 w 2396525"/>
              <a:gd name="connsiteY29" fmla="*/ 990722 h 2800372"/>
              <a:gd name="connsiteX30" fmla="*/ 1844766 w 2396525"/>
              <a:gd name="connsiteY30" fmla="*/ 694886 h 2800372"/>
              <a:gd name="connsiteX31" fmla="*/ 1919016 w 2396525"/>
              <a:gd name="connsiteY31" fmla="*/ 457887 h 2800372"/>
              <a:gd name="connsiteX32" fmla="*/ 2015720 w 2396525"/>
              <a:gd name="connsiteY32" fmla="*/ 243444 h 2800372"/>
              <a:gd name="connsiteX33" fmla="*/ 2396525 w 2396525"/>
              <a:gd name="connsiteY33" fmla="*/ 1633 h 280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96525" h="2800372">
                <a:moveTo>
                  <a:pt x="0" y="2799981"/>
                </a:moveTo>
                <a:cubicBezTo>
                  <a:pt x="19722" y="2802584"/>
                  <a:pt x="132539" y="2794453"/>
                  <a:pt x="171989" y="2705317"/>
                </a:cubicBezTo>
                <a:cubicBezTo>
                  <a:pt x="211439" y="2616181"/>
                  <a:pt x="225772" y="2424269"/>
                  <a:pt x="242350" y="2347000"/>
                </a:cubicBezTo>
                <a:cubicBezTo>
                  <a:pt x="258928" y="2269731"/>
                  <a:pt x="260785" y="2260443"/>
                  <a:pt x="271457" y="2241703"/>
                </a:cubicBezTo>
                <a:cubicBezTo>
                  <a:pt x="282129" y="2222963"/>
                  <a:pt x="296194" y="2226622"/>
                  <a:pt x="306380" y="2234559"/>
                </a:cubicBezTo>
                <a:cubicBezTo>
                  <a:pt x="316566" y="2242497"/>
                  <a:pt x="323048" y="2259165"/>
                  <a:pt x="332573" y="2289328"/>
                </a:cubicBezTo>
                <a:cubicBezTo>
                  <a:pt x="342098" y="2319491"/>
                  <a:pt x="352665" y="2369874"/>
                  <a:pt x="363529" y="2415535"/>
                </a:cubicBezTo>
                <a:cubicBezTo>
                  <a:pt x="374393" y="2461196"/>
                  <a:pt x="379664" y="2527406"/>
                  <a:pt x="397757" y="2563296"/>
                </a:cubicBezTo>
                <a:cubicBezTo>
                  <a:pt x="415850" y="2599186"/>
                  <a:pt x="443588" y="2615883"/>
                  <a:pt x="472089" y="2630876"/>
                </a:cubicBezTo>
                <a:cubicBezTo>
                  <a:pt x="500590" y="2645869"/>
                  <a:pt x="534627" y="2668063"/>
                  <a:pt x="568761" y="2653255"/>
                </a:cubicBezTo>
                <a:cubicBezTo>
                  <a:pt x="602895" y="2638447"/>
                  <a:pt x="653577" y="2600362"/>
                  <a:pt x="676891" y="2542029"/>
                </a:cubicBezTo>
                <a:cubicBezTo>
                  <a:pt x="700205" y="2483696"/>
                  <a:pt x="696181" y="2411253"/>
                  <a:pt x="708645" y="2303255"/>
                </a:cubicBezTo>
                <a:cubicBezTo>
                  <a:pt x="721109" y="2195257"/>
                  <a:pt x="741327" y="2018995"/>
                  <a:pt x="751673" y="1894040"/>
                </a:cubicBezTo>
                <a:cubicBezTo>
                  <a:pt x="762019" y="1769085"/>
                  <a:pt x="763745" y="1645597"/>
                  <a:pt x="770723" y="1553522"/>
                </a:cubicBezTo>
                <a:cubicBezTo>
                  <a:pt x="777702" y="1461447"/>
                  <a:pt x="774339" y="1442805"/>
                  <a:pt x="793544" y="1341591"/>
                </a:cubicBezTo>
                <a:cubicBezTo>
                  <a:pt x="812749" y="1240377"/>
                  <a:pt x="825403" y="1239582"/>
                  <a:pt x="840707" y="1240838"/>
                </a:cubicBezTo>
                <a:cubicBezTo>
                  <a:pt x="856011" y="1242094"/>
                  <a:pt x="872478" y="1300482"/>
                  <a:pt x="885370" y="1349125"/>
                </a:cubicBezTo>
                <a:cubicBezTo>
                  <a:pt x="898262" y="1397768"/>
                  <a:pt x="902078" y="1450064"/>
                  <a:pt x="918061" y="1532694"/>
                </a:cubicBezTo>
                <a:cubicBezTo>
                  <a:pt x="934044" y="1615324"/>
                  <a:pt x="955568" y="1760805"/>
                  <a:pt x="981266" y="1844907"/>
                </a:cubicBezTo>
                <a:cubicBezTo>
                  <a:pt x="1006964" y="1929009"/>
                  <a:pt x="1035196" y="2002506"/>
                  <a:pt x="1072248" y="2037307"/>
                </a:cubicBezTo>
                <a:cubicBezTo>
                  <a:pt x="1109300" y="2072108"/>
                  <a:pt x="1166005" y="2074627"/>
                  <a:pt x="1203581" y="2053715"/>
                </a:cubicBezTo>
                <a:cubicBezTo>
                  <a:pt x="1241157" y="2032803"/>
                  <a:pt x="1271050" y="2000259"/>
                  <a:pt x="1297707" y="1911835"/>
                </a:cubicBezTo>
                <a:cubicBezTo>
                  <a:pt x="1324364" y="1823411"/>
                  <a:pt x="1347371" y="1684753"/>
                  <a:pt x="1363522" y="1523168"/>
                </a:cubicBezTo>
                <a:cubicBezTo>
                  <a:pt x="1379673" y="1361583"/>
                  <a:pt x="1384976" y="1107193"/>
                  <a:pt x="1394611" y="942324"/>
                </a:cubicBezTo>
                <a:cubicBezTo>
                  <a:pt x="1404246" y="777455"/>
                  <a:pt x="1406914" y="608914"/>
                  <a:pt x="1421334" y="533955"/>
                </a:cubicBezTo>
                <a:cubicBezTo>
                  <a:pt x="1435754" y="458996"/>
                  <a:pt x="1461597" y="444771"/>
                  <a:pt x="1481132" y="492570"/>
                </a:cubicBezTo>
                <a:cubicBezTo>
                  <a:pt x="1500667" y="540369"/>
                  <a:pt x="1519675" y="729353"/>
                  <a:pt x="1538542" y="820749"/>
                </a:cubicBezTo>
                <a:cubicBezTo>
                  <a:pt x="1557409" y="912145"/>
                  <a:pt x="1568033" y="995142"/>
                  <a:pt x="1594337" y="1040949"/>
                </a:cubicBezTo>
                <a:cubicBezTo>
                  <a:pt x="1620641" y="1086756"/>
                  <a:pt x="1666106" y="1103960"/>
                  <a:pt x="1696367" y="1095589"/>
                </a:cubicBezTo>
                <a:cubicBezTo>
                  <a:pt x="1726628" y="1087218"/>
                  <a:pt x="1751172" y="1057506"/>
                  <a:pt x="1775905" y="990722"/>
                </a:cubicBezTo>
                <a:cubicBezTo>
                  <a:pt x="1800638" y="923938"/>
                  <a:pt x="1820914" y="783692"/>
                  <a:pt x="1844766" y="694886"/>
                </a:cubicBezTo>
                <a:cubicBezTo>
                  <a:pt x="1868618" y="606080"/>
                  <a:pt x="1890838" y="531309"/>
                  <a:pt x="1919016" y="457887"/>
                </a:cubicBezTo>
                <a:cubicBezTo>
                  <a:pt x="1947194" y="384465"/>
                  <a:pt x="1968757" y="314484"/>
                  <a:pt x="2015720" y="243444"/>
                </a:cubicBezTo>
                <a:cubicBezTo>
                  <a:pt x="2081793" y="155581"/>
                  <a:pt x="2140518" y="-18686"/>
                  <a:pt x="2396525" y="1633"/>
                </a:cubicBezTo>
              </a:path>
            </a:pathLst>
          </a:custGeom>
          <a:noFill/>
          <a:ln w="50800" cap="rnd">
            <a:solidFill>
              <a:schemeClr val="tx1">
                <a:lumMod val="75000"/>
                <a:lumOff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F0ABEF56-8E9F-4A13-BB8D-3328316E9901}"/>
              </a:ext>
            </a:extLst>
          </p:cNvPr>
          <p:cNvSpPr txBox="1"/>
          <p:nvPr/>
        </p:nvSpPr>
        <p:spPr>
          <a:xfrm>
            <a:off x="5774403" y="1757221"/>
            <a:ext cx="3483081" cy="430887"/>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Worsening HF despite optimal medical </a:t>
            </a:r>
            <a:b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and device therapy</a:t>
            </a:r>
          </a:p>
        </p:txBody>
      </p:sp>
      <p:sp>
        <p:nvSpPr>
          <p:cNvPr id="59" name="Rectangle 58">
            <a:extLst>
              <a:ext uri="{FF2B5EF4-FFF2-40B4-BE49-F238E27FC236}">
                <a16:creationId xmlns:a16="http://schemas.microsoft.com/office/drawing/2014/main" id="{EB11FED6-DE8E-4C3B-B2DC-471569CBECCF}"/>
              </a:ext>
            </a:extLst>
          </p:cNvPr>
          <p:cNvSpPr/>
          <p:nvPr/>
        </p:nvSpPr>
        <p:spPr>
          <a:xfrm flipV="1">
            <a:off x="9880624" y="1195262"/>
            <a:ext cx="1260000" cy="423621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gradFill>
                <a:gsLst>
                  <a:gs pos="34000">
                    <a:srgbClr val="FF4F25">
                      <a:alpha val="30000"/>
                    </a:srgbClr>
                  </a:gs>
                  <a:gs pos="100000">
                    <a:srgbClr val="FFFFFF">
                      <a:alpha val="0"/>
                    </a:srgbClr>
                  </a:gs>
                </a:gsLst>
                <a:lin ang="16200000" scaled="1"/>
              </a:gradFill>
              <a:effectLst/>
              <a:uLnTx/>
              <a:uFillTx/>
              <a:latin typeface="Arial" panose="020B0604020202020204"/>
              <a:ea typeface="+mn-ea"/>
              <a:cs typeface="+mn-cs"/>
            </a:endParaRPr>
          </a:p>
        </p:txBody>
      </p:sp>
      <p:sp>
        <p:nvSpPr>
          <p:cNvPr id="60" name="Advanced Risk">
            <a:extLst>
              <a:ext uri="{FF2B5EF4-FFF2-40B4-BE49-F238E27FC236}">
                <a16:creationId xmlns:a16="http://schemas.microsoft.com/office/drawing/2014/main" id="{C0CFD8EC-39EE-4D97-810B-5A6C29C51AF8}"/>
              </a:ext>
            </a:extLst>
          </p:cNvPr>
          <p:cNvSpPr/>
          <p:nvPr/>
        </p:nvSpPr>
        <p:spPr>
          <a:xfrm>
            <a:off x="9879674" y="2014141"/>
            <a:ext cx="1261754" cy="154063"/>
          </a:xfrm>
          <a:custGeom>
            <a:avLst/>
            <a:gdLst>
              <a:gd name="connsiteX0" fmla="*/ 0 w 2181225"/>
              <a:gd name="connsiteY0" fmla="*/ 519112 h 519112"/>
              <a:gd name="connsiteX1" fmla="*/ 109537 w 2181225"/>
              <a:gd name="connsiteY1" fmla="*/ 409575 h 519112"/>
              <a:gd name="connsiteX2" fmla="*/ 242887 w 2181225"/>
              <a:gd name="connsiteY2" fmla="*/ 342900 h 519112"/>
              <a:gd name="connsiteX3" fmla="*/ 614362 w 2181225"/>
              <a:gd name="connsiteY3" fmla="*/ 285750 h 519112"/>
              <a:gd name="connsiteX4" fmla="*/ 919162 w 2181225"/>
              <a:gd name="connsiteY4" fmla="*/ 238125 h 519112"/>
              <a:gd name="connsiteX5" fmla="*/ 1252537 w 2181225"/>
              <a:gd name="connsiteY5" fmla="*/ 214312 h 519112"/>
              <a:gd name="connsiteX6" fmla="*/ 1524000 w 2181225"/>
              <a:gd name="connsiteY6" fmla="*/ 195262 h 519112"/>
              <a:gd name="connsiteX7" fmla="*/ 1847850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614362 w 2181225"/>
              <a:gd name="connsiteY3" fmla="*/ 285750 h 519112"/>
              <a:gd name="connsiteX4" fmla="*/ 919162 w 2181225"/>
              <a:gd name="connsiteY4" fmla="*/ 238125 h 519112"/>
              <a:gd name="connsiteX5" fmla="*/ 1252537 w 2181225"/>
              <a:gd name="connsiteY5" fmla="*/ 214312 h 519112"/>
              <a:gd name="connsiteX6" fmla="*/ 1524000 w 2181225"/>
              <a:gd name="connsiteY6" fmla="*/ 195262 h 519112"/>
              <a:gd name="connsiteX7" fmla="*/ 1847850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919162 w 2181225"/>
              <a:gd name="connsiteY4" fmla="*/ 238125 h 519112"/>
              <a:gd name="connsiteX5" fmla="*/ 1252537 w 2181225"/>
              <a:gd name="connsiteY5" fmla="*/ 214312 h 519112"/>
              <a:gd name="connsiteX6" fmla="*/ 1524000 w 2181225"/>
              <a:gd name="connsiteY6" fmla="*/ 195262 h 519112"/>
              <a:gd name="connsiteX7" fmla="*/ 1847850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914400 w 2181225"/>
              <a:gd name="connsiteY4" fmla="*/ 240506 h 519112"/>
              <a:gd name="connsiteX5" fmla="*/ 1252537 w 2181225"/>
              <a:gd name="connsiteY5" fmla="*/ 214312 h 519112"/>
              <a:gd name="connsiteX6" fmla="*/ 1524000 w 2181225"/>
              <a:gd name="connsiteY6" fmla="*/ 195262 h 519112"/>
              <a:gd name="connsiteX7" fmla="*/ 1847850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914400 w 2181225"/>
              <a:gd name="connsiteY4" fmla="*/ 240506 h 519112"/>
              <a:gd name="connsiteX5" fmla="*/ 1238250 w 2181225"/>
              <a:gd name="connsiteY5" fmla="*/ 214312 h 519112"/>
              <a:gd name="connsiteX6" fmla="*/ 1524000 w 2181225"/>
              <a:gd name="connsiteY6" fmla="*/ 195262 h 519112"/>
              <a:gd name="connsiteX7" fmla="*/ 1847850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914400 w 2181225"/>
              <a:gd name="connsiteY4" fmla="*/ 240506 h 519112"/>
              <a:gd name="connsiteX5" fmla="*/ 1238250 w 2181225"/>
              <a:gd name="connsiteY5" fmla="*/ 214312 h 519112"/>
              <a:gd name="connsiteX6" fmla="*/ 1578768 w 2181225"/>
              <a:gd name="connsiteY6" fmla="*/ 178593 h 519112"/>
              <a:gd name="connsiteX7" fmla="*/ 1847850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914400 w 2181225"/>
              <a:gd name="connsiteY4" fmla="*/ 240506 h 519112"/>
              <a:gd name="connsiteX5" fmla="*/ 1238250 w 2181225"/>
              <a:gd name="connsiteY5" fmla="*/ 214312 h 519112"/>
              <a:gd name="connsiteX6" fmla="*/ 1578768 w 2181225"/>
              <a:gd name="connsiteY6" fmla="*/ 178593 h 519112"/>
              <a:gd name="connsiteX7" fmla="*/ 1869281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38250 w 2181225"/>
              <a:gd name="connsiteY5" fmla="*/ 214312 h 519112"/>
              <a:gd name="connsiteX6" fmla="*/ 1578768 w 2181225"/>
              <a:gd name="connsiteY6" fmla="*/ 178593 h 519112"/>
              <a:gd name="connsiteX7" fmla="*/ 1869281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66825 w 2181225"/>
              <a:gd name="connsiteY5" fmla="*/ 207169 h 519112"/>
              <a:gd name="connsiteX6" fmla="*/ 1578768 w 2181225"/>
              <a:gd name="connsiteY6" fmla="*/ 178593 h 519112"/>
              <a:gd name="connsiteX7" fmla="*/ 1869281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66825 w 2181225"/>
              <a:gd name="connsiteY5" fmla="*/ 207169 h 519112"/>
              <a:gd name="connsiteX6" fmla="*/ 1597818 w 2181225"/>
              <a:gd name="connsiteY6" fmla="*/ 169068 h 519112"/>
              <a:gd name="connsiteX7" fmla="*/ 1869281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66825 w 2181225"/>
              <a:gd name="connsiteY5" fmla="*/ 207169 h 519112"/>
              <a:gd name="connsiteX6" fmla="*/ 1597818 w 2181225"/>
              <a:gd name="connsiteY6" fmla="*/ 169068 h 519112"/>
              <a:gd name="connsiteX7" fmla="*/ 1869281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66825 w 2181225"/>
              <a:gd name="connsiteY5" fmla="*/ 207169 h 519112"/>
              <a:gd name="connsiteX6" fmla="*/ 1597818 w 2181225"/>
              <a:gd name="connsiteY6" fmla="*/ 169068 h 519112"/>
              <a:gd name="connsiteX7" fmla="*/ 1869281 w 2181225"/>
              <a:gd name="connsiteY7" fmla="*/ 109537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66825 w 2181225"/>
              <a:gd name="connsiteY5" fmla="*/ 207169 h 519112"/>
              <a:gd name="connsiteX6" fmla="*/ 1597818 w 2181225"/>
              <a:gd name="connsiteY6" fmla="*/ 169068 h 519112"/>
              <a:gd name="connsiteX7" fmla="*/ 1885950 w 2181225"/>
              <a:gd name="connsiteY7" fmla="*/ 107155 h 519112"/>
              <a:gd name="connsiteX8" fmla="*/ 2181225 w 2181225"/>
              <a:gd name="connsiteY8" fmla="*/ 0 h 519112"/>
              <a:gd name="connsiteX0" fmla="*/ 0 w 2181225"/>
              <a:gd name="connsiteY0" fmla="*/ 519112 h 519112"/>
              <a:gd name="connsiteX1" fmla="*/ 95249 w 2181225"/>
              <a:gd name="connsiteY1" fmla="*/ 416719 h 519112"/>
              <a:gd name="connsiteX2" fmla="*/ 242887 w 2181225"/>
              <a:gd name="connsiteY2" fmla="*/ 342900 h 519112"/>
              <a:gd name="connsiteX3" fmla="*/ 492918 w 2181225"/>
              <a:gd name="connsiteY3" fmla="*/ 292894 h 519112"/>
              <a:gd name="connsiteX4" fmla="*/ 869156 w 2181225"/>
              <a:gd name="connsiteY4" fmla="*/ 240506 h 519112"/>
              <a:gd name="connsiteX5" fmla="*/ 1266825 w 2181225"/>
              <a:gd name="connsiteY5" fmla="*/ 207169 h 519112"/>
              <a:gd name="connsiteX6" fmla="*/ 1557337 w 2181225"/>
              <a:gd name="connsiteY6" fmla="*/ 173830 h 519112"/>
              <a:gd name="connsiteX7" fmla="*/ 1885950 w 2181225"/>
              <a:gd name="connsiteY7" fmla="*/ 107155 h 519112"/>
              <a:gd name="connsiteX8" fmla="*/ 2181225 w 2181225"/>
              <a:gd name="connsiteY8" fmla="*/ 0 h 519112"/>
              <a:gd name="connsiteX0" fmla="*/ 0 w 2206050"/>
              <a:gd name="connsiteY0" fmla="*/ 495269 h 495269"/>
              <a:gd name="connsiteX1" fmla="*/ 120074 w 2206050"/>
              <a:gd name="connsiteY1" fmla="*/ 416719 h 495269"/>
              <a:gd name="connsiteX2" fmla="*/ 267712 w 2206050"/>
              <a:gd name="connsiteY2" fmla="*/ 342900 h 495269"/>
              <a:gd name="connsiteX3" fmla="*/ 517743 w 2206050"/>
              <a:gd name="connsiteY3" fmla="*/ 292894 h 495269"/>
              <a:gd name="connsiteX4" fmla="*/ 893981 w 2206050"/>
              <a:gd name="connsiteY4" fmla="*/ 240506 h 495269"/>
              <a:gd name="connsiteX5" fmla="*/ 1291650 w 2206050"/>
              <a:gd name="connsiteY5" fmla="*/ 207169 h 495269"/>
              <a:gd name="connsiteX6" fmla="*/ 1582162 w 2206050"/>
              <a:gd name="connsiteY6" fmla="*/ 173830 h 495269"/>
              <a:gd name="connsiteX7" fmla="*/ 1910775 w 2206050"/>
              <a:gd name="connsiteY7" fmla="*/ 107155 h 495269"/>
              <a:gd name="connsiteX8" fmla="*/ 2206050 w 2206050"/>
              <a:gd name="connsiteY8" fmla="*/ 0 h 495269"/>
              <a:gd name="connsiteX0" fmla="*/ 0 w 2206050"/>
              <a:gd name="connsiteY0" fmla="*/ 495269 h 495269"/>
              <a:gd name="connsiteX1" fmla="*/ 120074 w 2206050"/>
              <a:gd name="connsiteY1" fmla="*/ 416719 h 495269"/>
              <a:gd name="connsiteX2" fmla="*/ 267712 w 2206050"/>
              <a:gd name="connsiteY2" fmla="*/ 342900 h 495269"/>
              <a:gd name="connsiteX3" fmla="*/ 517743 w 2206050"/>
              <a:gd name="connsiteY3" fmla="*/ 292894 h 495269"/>
              <a:gd name="connsiteX4" fmla="*/ 893981 w 2206050"/>
              <a:gd name="connsiteY4" fmla="*/ 240506 h 495269"/>
              <a:gd name="connsiteX5" fmla="*/ 1291650 w 2206050"/>
              <a:gd name="connsiteY5" fmla="*/ 207169 h 495269"/>
              <a:gd name="connsiteX6" fmla="*/ 1582162 w 2206050"/>
              <a:gd name="connsiteY6" fmla="*/ 173830 h 495269"/>
              <a:gd name="connsiteX7" fmla="*/ 1910775 w 2206050"/>
              <a:gd name="connsiteY7" fmla="*/ 107155 h 495269"/>
              <a:gd name="connsiteX8" fmla="*/ 2206050 w 2206050"/>
              <a:gd name="connsiteY8" fmla="*/ 0 h 495269"/>
              <a:gd name="connsiteX0" fmla="*/ 0 w 2373621"/>
              <a:gd name="connsiteY0" fmla="*/ 495269 h 495269"/>
              <a:gd name="connsiteX1" fmla="*/ 120074 w 2373621"/>
              <a:gd name="connsiteY1" fmla="*/ 416719 h 495269"/>
              <a:gd name="connsiteX2" fmla="*/ 267712 w 2373621"/>
              <a:gd name="connsiteY2" fmla="*/ 342900 h 495269"/>
              <a:gd name="connsiteX3" fmla="*/ 517743 w 2373621"/>
              <a:gd name="connsiteY3" fmla="*/ 292894 h 495269"/>
              <a:gd name="connsiteX4" fmla="*/ 893981 w 2373621"/>
              <a:gd name="connsiteY4" fmla="*/ 240506 h 495269"/>
              <a:gd name="connsiteX5" fmla="*/ 1291650 w 2373621"/>
              <a:gd name="connsiteY5" fmla="*/ 207169 h 495269"/>
              <a:gd name="connsiteX6" fmla="*/ 1582162 w 2373621"/>
              <a:gd name="connsiteY6" fmla="*/ 173830 h 495269"/>
              <a:gd name="connsiteX7" fmla="*/ 1910775 w 2373621"/>
              <a:gd name="connsiteY7" fmla="*/ 107155 h 495269"/>
              <a:gd name="connsiteX8" fmla="*/ 2373621 w 2373621"/>
              <a:gd name="connsiteY8" fmla="*/ 0 h 495269"/>
              <a:gd name="connsiteX0" fmla="*/ 0 w 2373621"/>
              <a:gd name="connsiteY0" fmla="*/ 495269 h 495269"/>
              <a:gd name="connsiteX1" fmla="*/ 120074 w 2373621"/>
              <a:gd name="connsiteY1" fmla="*/ 416719 h 495269"/>
              <a:gd name="connsiteX2" fmla="*/ 267712 w 2373621"/>
              <a:gd name="connsiteY2" fmla="*/ 342900 h 495269"/>
              <a:gd name="connsiteX3" fmla="*/ 517743 w 2373621"/>
              <a:gd name="connsiteY3" fmla="*/ 292894 h 495269"/>
              <a:gd name="connsiteX4" fmla="*/ 893981 w 2373621"/>
              <a:gd name="connsiteY4" fmla="*/ 240506 h 495269"/>
              <a:gd name="connsiteX5" fmla="*/ 1291650 w 2373621"/>
              <a:gd name="connsiteY5" fmla="*/ 207169 h 495269"/>
              <a:gd name="connsiteX6" fmla="*/ 1582162 w 2373621"/>
              <a:gd name="connsiteY6" fmla="*/ 173830 h 495269"/>
              <a:gd name="connsiteX7" fmla="*/ 1898363 w 2373621"/>
              <a:gd name="connsiteY7" fmla="*/ 146894 h 495269"/>
              <a:gd name="connsiteX8" fmla="*/ 2373621 w 2373621"/>
              <a:gd name="connsiteY8" fmla="*/ 0 h 495269"/>
              <a:gd name="connsiteX0" fmla="*/ 0 w 2373621"/>
              <a:gd name="connsiteY0" fmla="*/ 495269 h 495269"/>
              <a:gd name="connsiteX1" fmla="*/ 120074 w 2373621"/>
              <a:gd name="connsiteY1" fmla="*/ 416719 h 495269"/>
              <a:gd name="connsiteX2" fmla="*/ 267712 w 2373621"/>
              <a:gd name="connsiteY2" fmla="*/ 342900 h 495269"/>
              <a:gd name="connsiteX3" fmla="*/ 517743 w 2373621"/>
              <a:gd name="connsiteY3" fmla="*/ 292894 h 495269"/>
              <a:gd name="connsiteX4" fmla="*/ 893981 w 2373621"/>
              <a:gd name="connsiteY4" fmla="*/ 240506 h 495269"/>
              <a:gd name="connsiteX5" fmla="*/ 1291650 w 2373621"/>
              <a:gd name="connsiteY5" fmla="*/ 207169 h 495269"/>
              <a:gd name="connsiteX6" fmla="*/ 1594575 w 2373621"/>
              <a:gd name="connsiteY6" fmla="*/ 197673 h 495269"/>
              <a:gd name="connsiteX7" fmla="*/ 1898363 w 2373621"/>
              <a:gd name="connsiteY7" fmla="*/ 146894 h 495269"/>
              <a:gd name="connsiteX8" fmla="*/ 2373621 w 2373621"/>
              <a:gd name="connsiteY8" fmla="*/ 0 h 495269"/>
              <a:gd name="connsiteX0" fmla="*/ 0 w 2373621"/>
              <a:gd name="connsiteY0" fmla="*/ 495269 h 495269"/>
              <a:gd name="connsiteX1" fmla="*/ 120074 w 2373621"/>
              <a:gd name="connsiteY1" fmla="*/ 416719 h 495269"/>
              <a:gd name="connsiteX2" fmla="*/ 267712 w 2373621"/>
              <a:gd name="connsiteY2" fmla="*/ 342900 h 495269"/>
              <a:gd name="connsiteX3" fmla="*/ 517743 w 2373621"/>
              <a:gd name="connsiteY3" fmla="*/ 292894 h 495269"/>
              <a:gd name="connsiteX4" fmla="*/ 893981 w 2373621"/>
              <a:gd name="connsiteY4" fmla="*/ 240506 h 495269"/>
              <a:gd name="connsiteX5" fmla="*/ 1229586 w 2373621"/>
              <a:gd name="connsiteY5" fmla="*/ 223064 h 495269"/>
              <a:gd name="connsiteX6" fmla="*/ 1594575 w 2373621"/>
              <a:gd name="connsiteY6" fmla="*/ 197673 h 495269"/>
              <a:gd name="connsiteX7" fmla="*/ 1898363 w 2373621"/>
              <a:gd name="connsiteY7" fmla="*/ 146894 h 495269"/>
              <a:gd name="connsiteX8" fmla="*/ 2373621 w 2373621"/>
              <a:gd name="connsiteY8" fmla="*/ 0 h 495269"/>
              <a:gd name="connsiteX0" fmla="*/ 0 w 2253547"/>
              <a:gd name="connsiteY0" fmla="*/ 416719 h 416719"/>
              <a:gd name="connsiteX1" fmla="*/ 147638 w 2253547"/>
              <a:gd name="connsiteY1" fmla="*/ 342900 h 416719"/>
              <a:gd name="connsiteX2" fmla="*/ 397669 w 2253547"/>
              <a:gd name="connsiteY2" fmla="*/ 292894 h 416719"/>
              <a:gd name="connsiteX3" fmla="*/ 773907 w 2253547"/>
              <a:gd name="connsiteY3" fmla="*/ 240506 h 416719"/>
              <a:gd name="connsiteX4" fmla="*/ 1109512 w 2253547"/>
              <a:gd name="connsiteY4" fmla="*/ 223064 h 416719"/>
              <a:gd name="connsiteX5" fmla="*/ 1474501 w 2253547"/>
              <a:gd name="connsiteY5" fmla="*/ 197673 h 416719"/>
              <a:gd name="connsiteX6" fmla="*/ 1778289 w 2253547"/>
              <a:gd name="connsiteY6" fmla="*/ 146894 h 416719"/>
              <a:gd name="connsiteX7" fmla="*/ 2253547 w 2253547"/>
              <a:gd name="connsiteY7" fmla="*/ 0 h 416719"/>
              <a:gd name="connsiteX0" fmla="*/ 0 w 2105909"/>
              <a:gd name="connsiteY0" fmla="*/ 342900 h 342900"/>
              <a:gd name="connsiteX1" fmla="*/ 250031 w 2105909"/>
              <a:gd name="connsiteY1" fmla="*/ 292894 h 342900"/>
              <a:gd name="connsiteX2" fmla="*/ 626269 w 2105909"/>
              <a:gd name="connsiteY2" fmla="*/ 240506 h 342900"/>
              <a:gd name="connsiteX3" fmla="*/ 961874 w 2105909"/>
              <a:gd name="connsiteY3" fmla="*/ 223064 h 342900"/>
              <a:gd name="connsiteX4" fmla="*/ 1326863 w 2105909"/>
              <a:gd name="connsiteY4" fmla="*/ 197673 h 342900"/>
              <a:gd name="connsiteX5" fmla="*/ 1630651 w 2105909"/>
              <a:gd name="connsiteY5" fmla="*/ 146894 h 342900"/>
              <a:gd name="connsiteX6" fmla="*/ 2105909 w 2105909"/>
              <a:gd name="connsiteY6" fmla="*/ 0 h 342900"/>
              <a:gd name="connsiteX0" fmla="*/ 0 w 1855878"/>
              <a:gd name="connsiteY0" fmla="*/ 292894 h 292895"/>
              <a:gd name="connsiteX1" fmla="*/ 376238 w 1855878"/>
              <a:gd name="connsiteY1" fmla="*/ 240506 h 292895"/>
              <a:gd name="connsiteX2" fmla="*/ 711843 w 1855878"/>
              <a:gd name="connsiteY2" fmla="*/ 223064 h 292895"/>
              <a:gd name="connsiteX3" fmla="*/ 1076832 w 1855878"/>
              <a:gd name="connsiteY3" fmla="*/ 197673 h 292895"/>
              <a:gd name="connsiteX4" fmla="*/ 1380620 w 1855878"/>
              <a:gd name="connsiteY4" fmla="*/ 146894 h 292895"/>
              <a:gd name="connsiteX5" fmla="*/ 1855878 w 1855878"/>
              <a:gd name="connsiteY5" fmla="*/ 0 h 292895"/>
              <a:gd name="connsiteX0" fmla="*/ 0 w 1479640"/>
              <a:gd name="connsiteY0" fmla="*/ 240506 h 240506"/>
              <a:gd name="connsiteX1" fmla="*/ 335605 w 1479640"/>
              <a:gd name="connsiteY1" fmla="*/ 223064 h 240506"/>
              <a:gd name="connsiteX2" fmla="*/ 700594 w 1479640"/>
              <a:gd name="connsiteY2" fmla="*/ 197673 h 240506"/>
              <a:gd name="connsiteX3" fmla="*/ 1004382 w 1479640"/>
              <a:gd name="connsiteY3" fmla="*/ 146894 h 240506"/>
              <a:gd name="connsiteX4" fmla="*/ 1479640 w 1479640"/>
              <a:gd name="connsiteY4" fmla="*/ 0 h 240506"/>
              <a:gd name="connsiteX0" fmla="*/ 0 w 1447056"/>
              <a:gd name="connsiteY0" fmla="*/ 216663 h 223390"/>
              <a:gd name="connsiteX1" fmla="*/ 303021 w 1447056"/>
              <a:gd name="connsiteY1" fmla="*/ 223064 h 223390"/>
              <a:gd name="connsiteX2" fmla="*/ 668010 w 1447056"/>
              <a:gd name="connsiteY2" fmla="*/ 197673 h 223390"/>
              <a:gd name="connsiteX3" fmla="*/ 971798 w 1447056"/>
              <a:gd name="connsiteY3" fmla="*/ 146894 h 223390"/>
              <a:gd name="connsiteX4" fmla="*/ 1447056 w 1447056"/>
              <a:gd name="connsiteY4" fmla="*/ 0 h 223390"/>
              <a:gd name="connsiteX0" fmla="*/ 0 w 1447056"/>
              <a:gd name="connsiteY0" fmla="*/ 216663 h 225717"/>
              <a:gd name="connsiteX1" fmla="*/ 303021 w 1447056"/>
              <a:gd name="connsiteY1" fmla="*/ 223064 h 225717"/>
              <a:gd name="connsiteX2" fmla="*/ 668010 w 1447056"/>
              <a:gd name="connsiteY2" fmla="*/ 197673 h 225717"/>
              <a:gd name="connsiteX3" fmla="*/ 971798 w 1447056"/>
              <a:gd name="connsiteY3" fmla="*/ 146894 h 225717"/>
              <a:gd name="connsiteX4" fmla="*/ 1447056 w 1447056"/>
              <a:gd name="connsiteY4" fmla="*/ 0 h 225717"/>
              <a:gd name="connsiteX0" fmla="*/ 0 w 1414473"/>
              <a:gd name="connsiteY0" fmla="*/ 234545 h 238764"/>
              <a:gd name="connsiteX1" fmla="*/ 270438 w 1414473"/>
              <a:gd name="connsiteY1" fmla="*/ 223064 h 238764"/>
              <a:gd name="connsiteX2" fmla="*/ 635427 w 1414473"/>
              <a:gd name="connsiteY2" fmla="*/ 197673 h 238764"/>
              <a:gd name="connsiteX3" fmla="*/ 939215 w 1414473"/>
              <a:gd name="connsiteY3" fmla="*/ 146894 h 238764"/>
              <a:gd name="connsiteX4" fmla="*/ 1414473 w 1414473"/>
              <a:gd name="connsiteY4" fmla="*/ 0 h 238764"/>
              <a:gd name="connsiteX0" fmla="*/ 0 w 1414473"/>
              <a:gd name="connsiteY0" fmla="*/ 234545 h 234545"/>
              <a:gd name="connsiteX1" fmla="*/ 270438 w 1414473"/>
              <a:gd name="connsiteY1" fmla="*/ 223064 h 234545"/>
              <a:gd name="connsiteX2" fmla="*/ 635427 w 1414473"/>
              <a:gd name="connsiteY2" fmla="*/ 197673 h 234545"/>
              <a:gd name="connsiteX3" fmla="*/ 939215 w 1414473"/>
              <a:gd name="connsiteY3" fmla="*/ 146894 h 234545"/>
              <a:gd name="connsiteX4" fmla="*/ 1414473 w 1414473"/>
              <a:gd name="connsiteY4" fmla="*/ 0 h 234545"/>
              <a:gd name="connsiteX0" fmla="*/ 0 w 1414473"/>
              <a:gd name="connsiteY0" fmla="*/ 234545 h 234555"/>
              <a:gd name="connsiteX1" fmla="*/ 270438 w 1414473"/>
              <a:gd name="connsiteY1" fmla="*/ 223064 h 234555"/>
              <a:gd name="connsiteX2" fmla="*/ 635427 w 1414473"/>
              <a:gd name="connsiteY2" fmla="*/ 197673 h 234555"/>
              <a:gd name="connsiteX3" fmla="*/ 939215 w 1414473"/>
              <a:gd name="connsiteY3" fmla="*/ 146894 h 234555"/>
              <a:gd name="connsiteX4" fmla="*/ 1414473 w 1414473"/>
              <a:gd name="connsiteY4" fmla="*/ 0 h 234555"/>
              <a:gd name="connsiteX0" fmla="*/ 0 w 1306882"/>
              <a:gd name="connsiteY0" fmla="*/ 198780 h 198790"/>
              <a:gd name="connsiteX1" fmla="*/ 270438 w 1306882"/>
              <a:gd name="connsiteY1" fmla="*/ 187299 h 198790"/>
              <a:gd name="connsiteX2" fmla="*/ 635427 w 1306882"/>
              <a:gd name="connsiteY2" fmla="*/ 161908 h 198790"/>
              <a:gd name="connsiteX3" fmla="*/ 939215 w 1306882"/>
              <a:gd name="connsiteY3" fmla="*/ 111129 h 198790"/>
              <a:gd name="connsiteX4" fmla="*/ 1306882 w 1306882"/>
              <a:gd name="connsiteY4" fmla="*/ 0 h 198790"/>
              <a:gd name="connsiteX0" fmla="*/ 0 w 1425232"/>
              <a:gd name="connsiteY0" fmla="*/ 192820 h 192830"/>
              <a:gd name="connsiteX1" fmla="*/ 270438 w 1425232"/>
              <a:gd name="connsiteY1" fmla="*/ 181339 h 192830"/>
              <a:gd name="connsiteX2" fmla="*/ 635427 w 1425232"/>
              <a:gd name="connsiteY2" fmla="*/ 155948 h 192830"/>
              <a:gd name="connsiteX3" fmla="*/ 939215 w 1425232"/>
              <a:gd name="connsiteY3" fmla="*/ 105169 h 192830"/>
              <a:gd name="connsiteX4" fmla="*/ 1425232 w 1425232"/>
              <a:gd name="connsiteY4" fmla="*/ 0 h 192830"/>
              <a:gd name="connsiteX0" fmla="*/ 0 w 1425232"/>
              <a:gd name="connsiteY0" fmla="*/ 192820 h 192830"/>
              <a:gd name="connsiteX1" fmla="*/ 270438 w 1425232"/>
              <a:gd name="connsiteY1" fmla="*/ 181339 h 192830"/>
              <a:gd name="connsiteX2" fmla="*/ 635427 w 1425232"/>
              <a:gd name="connsiteY2" fmla="*/ 155948 h 192830"/>
              <a:gd name="connsiteX3" fmla="*/ 939215 w 1425232"/>
              <a:gd name="connsiteY3" fmla="*/ 105169 h 192830"/>
              <a:gd name="connsiteX4" fmla="*/ 1425232 w 1425232"/>
              <a:gd name="connsiteY4" fmla="*/ 0 h 192830"/>
              <a:gd name="connsiteX0" fmla="*/ 0 w 1425232"/>
              <a:gd name="connsiteY0" fmla="*/ 192820 h 192830"/>
              <a:gd name="connsiteX1" fmla="*/ 270438 w 1425232"/>
              <a:gd name="connsiteY1" fmla="*/ 181339 h 192830"/>
              <a:gd name="connsiteX2" fmla="*/ 635427 w 1425232"/>
              <a:gd name="connsiteY2" fmla="*/ 155948 h 192830"/>
              <a:gd name="connsiteX3" fmla="*/ 949975 w 1425232"/>
              <a:gd name="connsiteY3" fmla="*/ 134972 h 192830"/>
              <a:gd name="connsiteX4" fmla="*/ 1425232 w 1425232"/>
              <a:gd name="connsiteY4" fmla="*/ 0 h 192830"/>
              <a:gd name="connsiteX0" fmla="*/ 0 w 1425232"/>
              <a:gd name="connsiteY0" fmla="*/ 192820 h 192830"/>
              <a:gd name="connsiteX1" fmla="*/ 270438 w 1425232"/>
              <a:gd name="connsiteY1" fmla="*/ 181339 h 192830"/>
              <a:gd name="connsiteX2" fmla="*/ 635427 w 1425232"/>
              <a:gd name="connsiteY2" fmla="*/ 155948 h 192830"/>
              <a:gd name="connsiteX3" fmla="*/ 987632 w 1425232"/>
              <a:gd name="connsiteY3" fmla="*/ 123050 h 192830"/>
              <a:gd name="connsiteX4" fmla="*/ 1425232 w 1425232"/>
              <a:gd name="connsiteY4" fmla="*/ 0 h 192830"/>
              <a:gd name="connsiteX0" fmla="*/ 0 w 1425232"/>
              <a:gd name="connsiteY0" fmla="*/ 192820 h 192826"/>
              <a:gd name="connsiteX1" fmla="*/ 270438 w 1425232"/>
              <a:gd name="connsiteY1" fmla="*/ 181339 h 192826"/>
              <a:gd name="connsiteX2" fmla="*/ 608530 w 1425232"/>
              <a:gd name="connsiteY2" fmla="*/ 173829 h 192826"/>
              <a:gd name="connsiteX3" fmla="*/ 987632 w 1425232"/>
              <a:gd name="connsiteY3" fmla="*/ 123050 h 192826"/>
              <a:gd name="connsiteX4" fmla="*/ 1425232 w 1425232"/>
              <a:gd name="connsiteY4" fmla="*/ 0 h 192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232" h="192826">
                <a:moveTo>
                  <a:pt x="0" y="192820"/>
                </a:moveTo>
                <a:cubicBezTo>
                  <a:pt x="146568" y="193104"/>
                  <a:pt x="169016" y="184504"/>
                  <a:pt x="270438" y="181339"/>
                </a:cubicBezTo>
                <a:cubicBezTo>
                  <a:pt x="371860" y="178174"/>
                  <a:pt x="488998" y="183544"/>
                  <a:pt x="608530" y="173829"/>
                </a:cubicBezTo>
                <a:cubicBezTo>
                  <a:pt x="728062" y="164114"/>
                  <a:pt x="883651" y="152022"/>
                  <a:pt x="987632" y="123050"/>
                </a:cubicBezTo>
                <a:cubicBezTo>
                  <a:pt x="1091613" y="94078"/>
                  <a:pt x="1188966" y="90929"/>
                  <a:pt x="1425232" y="0"/>
                </a:cubicBezTo>
              </a:path>
            </a:pathLst>
          </a:custGeom>
          <a:noFill/>
          <a:ln w="50800" cap="rnd">
            <a:solidFill>
              <a:schemeClr val="tx1">
                <a:lumMod val="75000"/>
                <a:lumOff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E410CDF2-3720-4920-AFCE-473B3E9B92EC}"/>
              </a:ext>
            </a:extLst>
          </p:cNvPr>
          <p:cNvSpPr txBox="1"/>
          <p:nvPr/>
        </p:nvSpPr>
        <p:spPr>
          <a:xfrm>
            <a:off x="9966246" y="1234001"/>
            <a:ext cx="1088760" cy="738664"/>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Advanced </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Risk of</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HF Event </a:t>
            </a:r>
          </a:p>
        </p:txBody>
      </p:sp>
      <p:sp>
        <p:nvSpPr>
          <p:cNvPr id="62" name="TextBox 61">
            <a:extLst>
              <a:ext uri="{FF2B5EF4-FFF2-40B4-BE49-F238E27FC236}">
                <a16:creationId xmlns:a16="http://schemas.microsoft.com/office/drawing/2014/main" id="{6CF7C6A0-D1AA-4208-B4BC-EAB60CE89225}"/>
              </a:ext>
            </a:extLst>
          </p:cNvPr>
          <p:cNvSpPr txBox="1"/>
          <p:nvPr/>
        </p:nvSpPr>
        <p:spPr>
          <a:xfrm>
            <a:off x="10000639" y="2166542"/>
            <a:ext cx="1019970" cy="600164"/>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Refractory/</a:t>
            </a:r>
            <a:b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intolerant </a:t>
            </a:r>
            <a:b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100" b="0" i="0" u="none" strike="noStrike" kern="1200" cap="none" spc="0" normalizeH="0" baseline="0" noProof="0">
                <a:ln>
                  <a:noFill/>
                </a:ln>
                <a:solidFill>
                  <a:srgbClr val="000000"/>
                </a:solidFill>
                <a:effectLst/>
                <a:uLnTx/>
                <a:uFillTx/>
                <a:latin typeface="Arial" panose="020B0604020202020204"/>
                <a:ea typeface="MS PGothic" charset="0"/>
                <a:cs typeface="+mn-cs"/>
              </a:rPr>
              <a:t>to GDMT*</a:t>
            </a:r>
          </a:p>
        </p:txBody>
      </p:sp>
      <p:sp>
        <p:nvSpPr>
          <p:cNvPr id="63" name="TextBox 62">
            <a:extLst>
              <a:ext uri="{FF2B5EF4-FFF2-40B4-BE49-F238E27FC236}">
                <a16:creationId xmlns:a16="http://schemas.microsoft.com/office/drawing/2014/main" id="{62AA7D39-4DFD-46ED-8461-D17C7C2E7F9E}"/>
              </a:ext>
            </a:extLst>
          </p:cNvPr>
          <p:cNvSpPr txBox="1"/>
          <p:nvPr/>
        </p:nvSpPr>
        <p:spPr>
          <a:xfrm>
            <a:off x="2919522" y="1234001"/>
            <a:ext cx="1653766" cy="523220"/>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Residual Risk of </a:t>
            </a:r>
            <a:b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HF Event</a:t>
            </a:r>
          </a:p>
        </p:txBody>
      </p:sp>
      <p:sp>
        <p:nvSpPr>
          <p:cNvPr id="64" name="TextBox 63">
            <a:extLst>
              <a:ext uri="{FF2B5EF4-FFF2-40B4-BE49-F238E27FC236}">
                <a16:creationId xmlns:a16="http://schemas.microsoft.com/office/drawing/2014/main" id="{3849A613-1572-4F24-BAD3-CE29B9C5CDE0}"/>
              </a:ext>
            </a:extLst>
          </p:cNvPr>
          <p:cNvSpPr txBox="1"/>
          <p:nvPr/>
        </p:nvSpPr>
        <p:spPr>
          <a:xfrm>
            <a:off x="6388527" y="1234001"/>
            <a:ext cx="2222120" cy="523220"/>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S PGothic" charset="0"/>
                <a:cs typeface="+mn-cs"/>
              </a:rPr>
              <a:t>Risk of Recurrent Worsening HF Event </a:t>
            </a:r>
          </a:p>
        </p:txBody>
      </p:sp>
      <p:sp>
        <p:nvSpPr>
          <p:cNvPr id="65" name="Text Placeholder 2">
            <a:extLst>
              <a:ext uri="{FF2B5EF4-FFF2-40B4-BE49-F238E27FC236}">
                <a16:creationId xmlns:a16="http://schemas.microsoft.com/office/drawing/2014/main" id="{FE108869-EDA0-4BC7-A574-54B8600C03ED}"/>
              </a:ext>
            </a:extLst>
          </p:cNvPr>
          <p:cNvSpPr txBox="1">
            <a:spLocks/>
          </p:cNvSpPr>
          <p:nvPr/>
        </p:nvSpPr>
        <p:spPr>
          <a:xfrm>
            <a:off x="358776" y="5931123"/>
            <a:ext cx="7340015" cy="116537"/>
          </a:xfrm>
          <a:prstGeom prst="rect">
            <a:avLst/>
          </a:prstGeom>
        </p:spPr>
        <p:txBody>
          <a:bodyPr vert="horz" lIns="0" tIns="0" rIns="0" bIns="0" rtlCol="0" anchor="t">
            <a:noAutofit/>
          </a:bodyPr>
          <a:lstStyle>
            <a:lvl1pPr marL="0" indent="0" algn="l" defTabSz="914400" rtl="0" eaLnBrk="1" latinLnBrk="0" hangingPunct="1">
              <a:lnSpc>
                <a:spcPct val="90000"/>
              </a:lnSpc>
              <a:spcBef>
                <a:spcPts val="0"/>
              </a:spcBef>
              <a:spcAft>
                <a:spcPts val="800"/>
              </a:spcAft>
              <a:buClr>
                <a:schemeClr val="accent1"/>
              </a:buClr>
              <a:buFont typeface="Arial" panose="020B0604020202020204" pitchFamily="34" charset="0"/>
              <a:buNone/>
              <a:defRPr sz="1000" kern="1200">
                <a:solidFill>
                  <a:schemeClr val="tx2"/>
                </a:solidFill>
                <a:latin typeface="+mn-lt"/>
                <a:ea typeface="+mn-ea"/>
                <a:cs typeface="Arial" panose="020B0604020202020204" pitchFamily="34" charset="0"/>
              </a:defRPr>
            </a:lvl1pPr>
            <a:lvl2pPr marL="0" indent="0" algn="l" defTabSz="914400" rtl="0" eaLnBrk="1" latinLnBrk="0" hangingPunct="1">
              <a:lnSpc>
                <a:spcPct val="90000"/>
              </a:lnSpc>
              <a:spcBef>
                <a:spcPts val="0"/>
              </a:spcBef>
              <a:spcAft>
                <a:spcPts val="800"/>
              </a:spcAft>
              <a:buClr>
                <a:schemeClr val="accent1"/>
              </a:buClr>
              <a:buFont typeface="Arial" panose="020B0604020202020204" pitchFamily="34" charset="0"/>
              <a:buNone/>
              <a:tabLst/>
              <a:defRPr sz="1000" b="1" kern="1200">
                <a:solidFill>
                  <a:schemeClr val="accent2"/>
                </a:solidFill>
                <a:latin typeface="+mn-lt"/>
                <a:ea typeface="+mn-ea"/>
                <a:cs typeface="Arial" panose="020B0604020202020204" pitchFamily="34" charset="0"/>
              </a:defRPr>
            </a:lvl2pPr>
            <a:lvl3pPr marL="180000" indent="-180000" algn="l" defTabSz="914400" rtl="0" eaLnBrk="1" latinLnBrk="0" hangingPunct="1">
              <a:lnSpc>
                <a:spcPct val="90000"/>
              </a:lnSpc>
              <a:spcBef>
                <a:spcPts val="0"/>
              </a:spcBef>
              <a:spcAft>
                <a:spcPts val="800"/>
              </a:spcAft>
              <a:buClr>
                <a:schemeClr val="tx2"/>
              </a:buClr>
              <a:buFont typeface="Arial" panose="020B0604020202020204" pitchFamily="34" charset="0"/>
              <a:buChar char="•"/>
              <a:tabLst/>
              <a:defRPr sz="1000" kern="1200">
                <a:solidFill>
                  <a:schemeClr val="tx2"/>
                </a:solidFill>
                <a:latin typeface="+mn-lt"/>
                <a:ea typeface="+mn-ea"/>
                <a:cs typeface="Arial" panose="020B0604020202020204" pitchFamily="34" charset="0"/>
              </a:defRPr>
            </a:lvl3pPr>
            <a:lvl4pPr marL="360000" indent="-180000" algn="l" defTabSz="914400" rtl="0" eaLnBrk="1" latinLnBrk="0" hangingPunct="1">
              <a:lnSpc>
                <a:spcPct val="90000"/>
              </a:lnSpc>
              <a:spcBef>
                <a:spcPts val="0"/>
              </a:spcBef>
              <a:spcAft>
                <a:spcPts val="800"/>
              </a:spcAft>
              <a:buClr>
                <a:schemeClr val="tx2"/>
              </a:buClr>
              <a:buFont typeface="Arial" panose="020B0604020202020204" pitchFamily="34" charset="0"/>
              <a:buChar char="•"/>
              <a:tabLst/>
              <a:defRPr sz="1000" kern="1200">
                <a:solidFill>
                  <a:schemeClr val="tx2"/>
                </a:solidFill>
                <a:latin typeface="+mn-lt"/>
                <a:ea typeface="+mn-ea"/>
                <a:cs typeface="Arial" panose="020B0604020202020204" pitchFamily="34" charset="0"/>
              </a:defRPr>
            </a:lvl4pPr>
            <a:lvl5pPr marL="540000" indent="-180000" algn="l" defTabSz="914400" rtl="0" eaLnBrk="1" latinLnBrk="0" hangingPunct="1">
              <a:lnSpc>
                <a:spcPct val="90000"/>
              </a:lnSpc>
              <a:spcBef>
                <a:spcPts val="0"/>
              </a:spcBef>
              <a:spcAft>
                <a:spcPts val="800"/>
              </a:spcAft>
              <a:buClr>
                <a:schemeClr val="tx2"/>
              </a:buClr>
              <a:buFont typeface="Arial" panose="020B0604020202020204" pitchFamily="34" charset="0"/>
              <a:buChar char="•"/>
              <a:tabLst/>
              <a:defRPr sz="10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800"/>
              </a:spcAft>
              <a:buClr>
                <a:srgbClr val="920044"/>
              </a:buClr>
              <a:buSzTx/>
              <a:buFont typeface="Arial" panose="020B0604020202020204" pitchFamily="34" charset="0"/>
              <a:buNone/>
              <a:tabLst/>
              <a:defRPr/>
            </a:pPr>
            <a:r>
              <a:rPr kumimoji="0" lang="en-US" sz="800" b="0" i="0" u="none" strike="noStrike" kern="1200" cap="none" spc="0" normalizeH="0" baseline="0" noProof="0">
                <a:ln>
                  <a:noFill/>
                </a:ln>
                <a:solidFill>
                  <a:srgbClr val="667179"/>
                </a:solidFill>
                <a:effectLst/>
                <a:uLnTx/>
                <a:uFillTx/>
                <a:latin typeface="Arial" panose="020B0604020202020204"/>
                <a:ea typeface="+mn-ea"/>
                <a:cs typeface="Arial" panose="020B0604020202020204" pitchFamily="34" charset="0"/>
              </a:rPr>
              <a:t>*GDMT: Guideline Directed Medical Therapy; Adapted from </a:t>
            </a:r>
            <a:r>
              <a:rPr kumimoji="0" lang="en-US" sz="800" b="0" i="0" u="none" strike="noStrike" kern="1200" cap="none" spc="0" normalizeH="0" baseline="0" noProof="0" err="1">
                <a:ln>
                  <a:noFill/>
                </a:ln>
                <a:solidFill>
                  <a:srgbClr val="667179"/>
                </a:solidFill>
                <a:effectLst/>
                <a:uLnTx/>
                <a:uFillTx/>
                <a:latin typeface="Arial" panose="020B0604020202020204"/>
                <a:ea typeface="+mn-ea"/>
                <a:cs typeface="Arial" panose="020B0604020202020204" pitchFamily="34" charset="0"/>
              </a:rPr>
              <a:t>Warraich</a:t>
            </a:r>
            <a:r>
              <a:rPr kumimoji="0" lang="en-US" sz="800" b="0" i="0" u="none" strike="noStrike" kern="1200" cap="none" spc="0" normalizeH="0" baseline="0" noProof="0">
                <a:ln>
                  <a:noFill/>
                </a:ln>
                <a:solidFill>
                  <a:srgbClr val="667179"/>
                </a:solidFill>
                <a:effectLst/>
                <a:uLnTx/>
                <a:uFillTx/>
                <a:latin typeface="Arial" panose="020B0604020202020204"/>
                <a:ea typeface="+mn-ea"/>
                <a:cs typeface="Arial" panose="020B0604020202020204" pitchFamily="34" charset="0"/>
              </a:rPr>
              <a:t> HJ et al. J </a:t>
            </a:r>
            <a:r>
              <a:rPr kumimoji="0" lang="en-US" sz="800" b="0" i="0" u="none" strike="noStrike" kern="1200" cap="none" spc="0" normalizeH="0" baseline="0" noProof="0" err="1">
                <a:ln>
                  <a:noFill/>
                </a:ln>
                <a:solidFill>
                  <a:srgbClr val="667179"/>
                </a:solidFill>
                <a:effectLst/>
                <a:uLnTx/>
                <a:uFillTx/>
                <a:latin typeface="Arial" panose="020B0604020202020204"/>
                <a:ea typeface="+mn-ea"/>
                <a:cs typeface="Arial" panose="020B0604020202020204" pitchFamily="34" charset="0"/>
              </a:rPr>
              <a:t>Palliat</a:t>
            </a:r>
            <a:r>
              <a:rPr kumimoji="0" lang="en-US" sz="800" b="0" i="0" u="none" strike="noStrike" kern="1200" cap="none" spc="0" normalizeH="0" baseline="0" noProof="0">
                <a:ln>
                  <a:noFill/>
                </a:ln>
                <a:solidFill>
                  <a:srgbClr val="667179"/>
                </a:solidFill>
                <a:effectLst/>
                <a:uLnTx/>
                <a:uFillTx/>
                <a:latin typeface="Arial" panose="020B0604020202020204"/>
                <a:ea typeface="+mn-ea"/>
                <a:cs typeface="Arial" panose="020B0604020202020204" pitchFamily="34" charset="0"/>
              </a:rPr>
              <a:t> Med. 2018;21(11):1646-1650</a:t>
            </a:r>
          </a:p>
          <a:p>
            <a:pPr marL="0" marR="0" lvl="0" indent="0" algn="l" defTabSz="914400" rtl="0" eaLnBrk="1" fontAlgn="auto" latinLnBrk="0" hangingPunct="1">
              <a:lnSpc>
                <a:spcPct val="90000"/>
              </a:lnSpc>
              <a:spcBef>
                <a:spcPts val="0"/>
              </a:spcBef>
              <a:spcAft>
                <a:spcPts val="800"/>
              </a:spcAft>
              <a:buClr>
                <a:srgbClr val="920044"/>
              </a:buClr>
              <a:buSzTx/>
              <a:buFont typeface="Arial" panose="020B0604020202020204" pitchFamily="34" charset="0"/>
              <a:buNone/>
              <a:tabLst/>
              <a:defRPr/>
            </a:pPr>
            <a:endParaRPr kumimoji="0" lang="en-US" sz="800" b="0" i="0" u="none" strike="noStrike" kern="1200" cap="none" spc="0" normalizeH="0" baseline="0" noProof="0">
              <a:ln>
                <a:noFill/>
              </a:ln>
              <a:solidFill>
                <a:srgbClr val="667179"/>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800"/>
              </a:spcAft>
              <a:buClr>
                <a:srgbClr val="920044"/>
              </a:buClr>
              <a:buSzTx/>
              <a:buFont typeface="Arial" panose="020B0604020202020204" pitchFamily="34" charset="0"/>
              <a:buNone/>
              <a:tabLst/>
              <a:defRPr/>
            </a:pPr>
            <a:endParaRPr kumimoji="0" lang="en-US" sz="800" b="0" i="0" u="none" strike="noStrike" kern="1200" cap="none" spc="0" normalizeH="0" baseline="0" noProof="0">
              <a:ln>
                <a:noFill/>
              </a:ln>
              <a:solidFill>
                <a:srgbClr val="667179"/>
              </a:solidFill>
              <a:effectLst/>
              <a:uLnTx/>
              <a:uFillTx/>
              <a:latin typeface="Arial" panose="020B0604020202020204"/>
              <a:ea typeface="+mn-ea"/>
              <a:cs typeface="Arial" panose="020B0604020202020204" pitchFamily="34" charset="0"/>
            </a:endParaRPr>
          </a:p>
        </p:txBody>
      </p:sp>
      <p:sp>
        <p:nvSpPr>
          <p:cNvPr id="70" name="Residual Risk">
            <a:extLst>
              <a:ext uri="{FF2B5EF4-FFF2-40B4-BE49-F238E27FC236}">
                <a16:creationId xmlns:a16="http://schemas.microsoft.com/office/drawing/2014/main" id="{8B76389E-CC72-4DBA-A43E-C537144F7E96}"/>
              </a:ext>
            </a:extLst>
          </p:cNvPr>
          <p:cNvSpPr/>
          <p:nvPr/>
        </p:nvSpPr>
        <p:spPr>
          <a:xfrm>
            <a:off x="2418250" y="3517782"/>
            <a:ext cx="1231796" cy="1089259"/>
          </a:xfrm>
          <a:custGeom>
            <a:avLst/>
            <a:gdLst>
              <a:gd name="connsiteX0" fmla="*/ 0 w 2081213"/>
              <a:gd name="connsiteY0" fmla="*/ 0 h 1473574"/>
              <a:gd name="connsiteX1" fmla="*/ 100013 w 2081213"/>
              <a:gd name="connsiteY1" fmla="*/ 71438 h 1473574"/>
              <a:gd name="connsiteX2" fmla="*/ 290513 w 2081213"/>
              <a:gd name="connsiteY2" fmla="*/ 385763 h 1473574"/>
              <a:gd name="connsiteX3" fmla="*/ 376238 w 2081213"/>
              <a:gd name="connsiteY3" fmla="*/ 714375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00013 w 2081213"/>
              <a:gd name="connsiteY1" fmla="*/ 71438 h 1473574"/>
              <a:gd name="connsiteX2" fmla="*/ 290513 w 2081213"/>
              <a:gd name="connsiteY2" fmla="*/ 385763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00013 w 2081213"/>
              <a:gd name="connsiteY1" fmla="*/ 71438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00013 w 2081213"/>
              <a:gd name="connsiteY1" fmla="*/ 71438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16682 w 2081213"/>
              <a:gd name="connsiteY1" fmla="*/ 85725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16682 w 2081213"/>
              <a:gd name="connsiteY1" fmla="*/ 85725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16682 w 2081213"/>
              <a:gd name="connsiteY1" fmla="*/ 85725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28589 w 2081213"/>
              <a:gd name="connsiteY1" fmla="*/ 97631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3574"/>
              <a:gd name="connsiteX1" fmla="*/ 128589 w 2081213"/>
              <a:gd name="connsiteY1" fmla="*/ 97631 h 1473574"/>
              <a:gd name="connsiteX2" fmla="*/ 252413 w 2081213"/>
              <a:gd name="connsiteY2" fmla="*/ 319088 h 1473574"/>
              <a:gd name="connsiteX3" fmla="*/ 383382 w 2081213"/>
              <a:gd name="connsiteY3" fmla="*/ 709613 h 1473574"/>
              <a:gd name="connsiteX4" fmla="*/ 500063 w 2081213"/>
              <a:gd name="connsiteY4" fmla="*/ 1033463 h 1473574"/>
              <a:gd name="connsiteX5" fmla="*/ 628650 w 2081213"/>
              <a:gd name="connsiteY5" fmla="*/ 1233488 h 1473574"/>
              <a:gd name="connsiteX6" fmla="*/ 871538 w 2081213"/>
              <a:gd name="connsiteY6" fmla="*/ 1362075 h 1473574"/>
              <a:gd name="connsiteX7" fmla="*/ 1371600 w 2081213"/>
              <a:gd name="connsiteY7" fmla="*/ 1471613 h 1473574"/>
              <a:gd name="connsiteX8" fmla="*/ 1866900 w 2081213"/>
              <a:gd name="connsiteY8" fmla="*/ 1423988 h 1473574"/>
              <a:gd name="connsiteX9" fmla="*/ 2081213 w 2081213"/>
              <a:gd name="connsiteY9" fmla="*/ 1319213 h 1473574"/>
              <a:gd name="connsiteX0" fmla="*/ 0 w 2081213"/>
              <a:gd name="connsiteY0" fmla="*/ 0 h 1472329"/>
              <a:gd name="connsiteX1" fmla="*/ 128589 w 2081213"/>
              <a:gd name="connsiteY1" fmla="*/ 97631 h 1472329"/>
              <a:gd name="connsiteX2" fmla="*/ 252413 w 2081213"/>
              <a:gd name="connsiteY2" fmla="*/ 319088 h 1472329"/>
              <a:gd name="connsiteX3" fmla="*/ 383382 w 2081213"/>
              <a:gd name="connsiteY3" fmla="*/ 709613 h 1472329"/>
              <a:gd name="connsiteX4" fmla="*/ 500063 w 2081213"/>
              <a:gd name="connsiteY4" fmla="*/ 1033463 h 1472329"/>
              <a:gd name="connsiteX5" fmla="*/ 628650 w 2081213"/>
              <a:gd name="connsiteY5" fmla="*/ 1233488 h 1472329"/>
              <a:gd name="connsiteX6" fmla="*/ 935831 w 2081213"/>
              <a:gd name="connsiteY6" fmla="*/ 1390650 h 1472329"/>
              <a:gd name="connsiteX7" fmla="*/ 1371600 w 2081213"/>
              <a:gd name="connsiteY7" fmla="*/ 1471613 h 1472329"/>
              <a:gd name="connsiteX8" fmla="*/ 1866900 w 2081213"/>
              <a:gd name="connsiteY8" fmla="*/ 1423988 h 1472329"/>
              <a:gd name="connsiteX9" fmla="*/ 2081213 w 2081213"/>
              <a:gd name="connsiteY9" fmla="*/ 1319213 h 1472329"/>
              <a:gd name="connsiteX0" fmla="*/ 0 w 2081213"/>
              <a:gd name="connsiteY0" fmla="*/ 0 h 1472329"/>
              <a:gd name="connsiteX1" fmla="*/ 128589 w 2081213"/>
              <a:gd name="connsiteY1" fmla="*/ 97631 h 1472329"/>
              <a:gd name="connsiteX2" fmla="*/ 252413 w 2081213"/>
              <a:gd name="connsiteY2" fmla="*/ 319088 h 1472329"/>
              <a:gd name="connsiteX3" fmla="*/ 383382 w 2081213"/>
              <a:gd name="connsiteY3" fmla="*/ 709613 h 1472329"/>
              <a:gd name="connsiteX4" fmla="*/ 500063 w 2081213"/>
              <a:gd name="connsiteY4" fmla="*/ 1033463 h 1472329"/>
              <a:gd name="connsiteX5" fmla="*/ 628650 w 2081213"/>
              <a:gd name="connsiteY5" fmla="*/ 1233488 h 1472329"/>
              <a:gd name="connsiteX6" fmla="*/ 935831 w 2081213"/>
              <a:gd name="connsiteY6" fmla="*/ 1390650 h 1472329"/>
              <a:gd name="connsiteX7" fmla="*/ 1371600 w 2081213"/>
              <a:gd name="connsiteY7" fmla="*/ 1471613 h 1472329"/>
              <a:gd name="connsiteX8" fmla="*/ 1866900 w 2081213"/>
              <a:gd name="connsiteY8" fmla="*/ 1423988 h 1472329"/>
              <a:gd name="connsiteX9" fmla="*/ 2081213 w 2081213"/>
              <a:gd name="connsiteY9" fmla="*/ 1319213 h 1472329"/>
              <a:gd name="connsiteX0" fmla="*/ 0 w 2078832"/>
              <a:gd name="connsiteY0" fmla="*/ 0 h 1477091"/>
              <a:gd name="connsiteX1" fmla="*/ 126208 w 2078832"/>
              <a:gd name="connsiteY1" fmla="*/ 102393 h 1477091"/>
              <a:gd name="connsiteX2" fmla="*/ 250032 w 2078832"/>
              <a:gd name="connsiteY2" fmla="*/ 323850 h 1477091"/>
              <a:gd name="connsiteX3" fmla="*/ 381001 w 2078832"/>
              <a:gd name="connsiteY3" fmla="*/ 714375 h 1477091"/>
              <a:gd name="connsiteX4" fmla="*/ 497682 w 2078832"/>
              <a:gd name="connsiteY4" fmla="*/ 1038225 h 1477091"/>
              <a:gd name="connsiteX5" fmla="*/ 626269 w 2078832"/>
              <a:gd name="connsiteY5" fmla="*/ 1238250 h 1477091"/>
              <a:gd name="connsiteX6" fmla="*/ 933450 w 2078832"/>
              <a:gd name="connsiteY6" fmla="*/ 1395412 h 1477091"/>
              <a:gd name="connsiteX7" fmla="*/ 1369219 w 2078832"/>
              <a:gd name="connsiteY7" fmla="*/ 1476375 h 1477091"/>
              <a:gd name="connsiteX8" fmla="*/ 1864519 w 2078832"/>
              <a:gd name="connsiteY8" fmla="*/ 1428750 h 1477091"/>
              <a:gd name="connsiteX9" fmla="*/ 2078832 w 2078832"/>
              <a:gd name="connsiteY9" fmla="*/ 1323975 h 1477091"/>
              <a:gd name="connsiteX0" fmla="*/ 0 w 2078832"/>
              <a:gd name="connsiteY0" fmla="*/ 0 h 1469947"/>
              <a:gd name="connsiteX1" fmla="*/ 126208 w 2078832"/>
              <a:gd name="connsiteY1" fmla="*/ 95249 h 1469947"/>
              <a:gd name="connsiteX2" fmla="*/ 250032 w 2078832"/>
              <a:gd name="connsiteY2" fmla="*/ 316706 h 1469947"/>
              <a:gd name="connsiteX3" fmla="*/ 381001 w 2078832"/>
              <a:gd name="connsiteY3" fmla="*/ 707231 h 1469947"/>
              <a:gd name="connsiteX4" fmla="*/ 497682 w 2078832"/>
              <a:gd name="connsiteY4" fmla="*/ 1031081 h 1469947"/>
              <a:gd name="connsiteX5" fmla="*/ 626269 w 2078832"/>
              <a:gd name="connsiteY5" fmla="*/ 1231106 h 1469947"/>
              <a:gd name="connsiteX6" fmla="*/ 933450 w 2078832"/>
              <a:gd name="connsiteY6" fmla="*/ 1388268 h 1469947"/>
              <a:gd name="connsiteX7" fmla="*/ 1369219 w 2078832"/>
              <a:gd name="connsiteY7" fmla="*/ 1469231 h 1469947"/>
              <a:gd name="connsiteX8" fmla="*/ 1864519 w 2078832"/>
              <a:gd name="connsiteY8" fmla="*/ 1421606 h 1469947"/>
              <a:gd name="connsiteX9" fmla="*/ 2078832 w 2078832"/>
              <a:gd name="connsiteY9" fmla="*/ 1316831 h 1469947"/>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35869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42938 w 2076451"/>
              <a:gd name="connsiteY5" fmla="*/ 1233487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3888 w 2076451"/>
              <a:gd name="connsiteY5" fmla="*/ 1221581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4710"/>
              <a:gd name="connsiteX1" fmla="*/ 123827 w 2076451"/>
              <a:gd name="connsiteY1" fmla="*/ 100012 h 1474710"/>
              <a:gd name="connsiteX2" fmla="*/ 247651 w 2076451"/>
              <a:gd name="connsiteY2" fmla="*/ 321469 h 1474710"/>
              <a:gd name="connsiteX3" fmla="*/ 378620 w 2076451"/>
              <a:gd name="connsiteY3" fmla="*/ 711994 h 1474710"/>
              <a:gd name="connsiteX4" fmla="*/ 495301 w 2076451"/>
              <a:gd name="connsiteY4" fmla="*/ 1035844 h 1474710"/>
              <a:gd name="connsiteX5" fmla="*/ 628651 w 2076451"/>
              <a:gd name="connsiteY5" fmla="*/ 1228725 h 1474710"/>
              <a:gd name="connsiteX6" fmla="*/ 931069 w 2076451"/>
              <a:gd name="connsiteY6" fmla="*/ 1393031 h 1474710"/>
              <a:gd name="connsiteX7" fmla="*/ 1366838 w 2076451"/>
              <a:gd name="connsiteY7" fmla="*/ 1473994 h 1474710"/>
              <a:gd name="connsiteX8" fmla="*/ 1862138 w 2076451"/>
              <a:gd name="connsiteY8" fmla="*/ 1426369 h 1474710"/>
              <a:gd name="connsiteX9" fmla="*/ 2076451 w 2076451"/>
              <a:gd name="connsiteY9" fmla="*/ 1321594 h 1474710"/>
              <a:gd name="connsiteX0" fmla="*/ 0 w 2076451"/>
              <a:gd name="connsiteY0" fmla="*/ 0 h 1477050"/>
              <a:gd name="connsiteX1" fmla="*/ 123827 w 2076451"/>
              <a:gd name="connsiteY1" fmla="*/ 100012 h 1477050"/>
              <a:gd name="connsiteX2" fmla="*/ 247651 w 2076451"/>
              <a:gd name="connsiteY2" fmla="*/ 321469 h 1477050"/>
              <a:gd name="connsiteX3" fmla="*/ 378620 w 2076451"/>
              <a:gd name="connsiteY3" fmla="*/ 711994 h 1477050"/>
              <a:gd name="connsiteX4" fmla="*/ 495301 w 2076451"/>
              <a:gd name="connsiteY4" fmla="*/ 1035844 h 1477050"/>
              <a:gd name="connsiteX5" fmla="*/ 628651 w 2076451"/>
              <a:gd name="connsiteY5" fmla="*/ 1228725 h 1477050"/>
              <a:gd name="connsiteX6" fmla="*/ 931069 w 2076451"/>
              <a:gd name="connsiteY6" fmla="*/ 1393031 h 1477050"/>
              <a:gd name="connsiteX7" fmla="*/ 1381126 w 2076451"/>
              <a:gd name="connsiteY7" fmla="*/ 1476375 h 1477050"/>
              <a:gd name="connsiteX8" fmla="*/ 1862138 w 2076451"/>
              <a:gd name="connsiteY8" fmla="*/ 1426369 h 1477050"/>
              <a:gd name="connsiteX9" fmla="*/ 2076451 w 2076451"/>
              <a:gd name="connsiteY9" fmla="*/ 1321594 h 1477050"/>
              <a:gd name="connsiteX0" fmla="*/ 0 w 2076451"/>
              <a:gd name="connsiteY0" fmla="*/ 0 h 1478277"/>
              <a:gd name="connsiteX1" fmla="*/ 123827 w 2076451"/>
              <a:gd name="connsiteY1" fmla="*/ 100012 h 1478277"/>
              <a:gd name="connsiteX2" fmla="*/ 247651 w 2076451"/>
              <a:gd name="connsiteY2" fmla="*/ 321469 h 1478277"/>
              <a:gd name="connsiteX3" fmla="*/ 378620 w 2076451"/>
              <a:gd name="connsiteY3" fmla="*/ 711994 h 1478277"/>
              <a:gd name="connsiteX4" fmla="*/ 495301 w 2076451"/>
              <a:gd name="connsiteY4" fmla="*/ 1035844 h 1478277"/>
              <a:gd name="connsiteX5" fmla="*/ 628651 w 2076451"/>
              <a:gd name="connsiteY5" fmla="*/ 1228725 h 1478277"/>
              <a:gd name="connsiteX6" fmla="*/ 931069 w 2076451"/>
              <a:gd name="connsiteY6" fmla="*/ 1393031 h 1478277"/>
              <a:gd name="connsiteX7" fmla="*/ 1381126 w 2076451"/>
              <a:gd name="connsiteY7" fmla="*/ 1476375 h 1478277"/>
              <a:gd name="connsiteX8" fmla="*/ 1816894 w 2076451"/>
              <a:gd name="connsiteY8" fmla="*/ 1440657 h 1478277"/>
              <a:gd name="connsiteX9" fmla="*/ 2076451 w 2076451"/>
              <a:gd name="connsiteY9" fmla="*/ 1321594 h 1478277"/>
              <a:gd name="connsiteX0" fmla="*/ 0 w 2076451"/>
              <a:gd name="connsiteY0" fmla="*/ 0 h 1477501"/>
              <a:gd name="connsiteX1" fmla="*/ 123827 w 2076451"/>
              <a:gd name="connsiteY1" fmla="*/ 100012 h 1477501"/>
              <a:gd name="connsiteX2" fmla="*/ 247651 w 2076451"/>
              <a:gd name="connsiteY2" fmla="*/ 321469 h 1477501"/>
              <a:gd name="connsiteX3" fmla="*/ 378620 w 2076451"/>
              <a:gd name="connsiteY3" fmla="*/ 711994 h 1477501"/>
              <a:gd name="connsiteX4" fmla="*/ 495301 w 2076451"/>
              <a:gd name="connsiteY4" fmla="*/ 1035844 h 1477501"/>
              <a:gd name="connsiteX5" fmla="*/ 628651 w 2076451"/>
              <a:gd name="connsiteY5" fmla="*/ 1228725 h 1477501"/>
              <a:gd name="connsiteX6" fmla="*/ 942976 w 2076451"/>
              <a:gd name="connsiteY6" fmla="*/ 1407319 h 1477501"/>
              <a:gd name="connsiteX7" fmla="*/ 1381126 w 2076451"/>
              <a:gd name="connsiteY7" fmla="*/ 1476375 h 1477501"/>
              <a:gd name="connsiteX8" fmla="*/ 1816894 w 2076451"/>
              <a:gd name="connsiteY8" fmla="*/ 1440657 h 1477501"/>
              <a:gd name="connsiteX9" fmla="*/ 2076451 w 2076451"/>
              <a:gd name="connsiteY9" fmla="*/ 1321594 h 1477501"/>
              <a:gd name="connsiteX0" fmla="*/ 0 w 2076451"/>
              <a:gd name="connsiteY0" fmla="*/ 0 h 1477501"/>
              <a:gd name="connsiteX1" fmla="*/ 123827 w 2076451"/>
              <a:gd name="connsiteY1" fmla="*/ 100012 h 1477501"/>
              <a:gd name="connsiteX2" fmla="*/ 247651 w 2076451"/>
              <a:gd name="connsiteY2" fmla="*/ 321469 h 1477501"/>
              <a:gd name="connsiteX3" fmla="*/ 378620 w 2076451"/>
              <a:gd name="connsiteY3" fmla="*/ 711994 h 1477501"/>
              <a:gd name="connsiteX4" fmla="*/ 495301 w 2076451"/>
              <a:gd name="connsiteY4" fmla="*/ 1035844 h 1477501"/>
              <a:gd name="connsiteX5" fmla="*/ 628651 w 2076451"/>
              <a:gd name="connsiteY5" fmla="*/ 1228725 h 1477501"/>
              <a:gd name="connsiteX6" fmla="*/ 942976 w 2076451"/>
              <a:gd name="connsiteY6" fmla="*/ 1407319 h 1477501"/>
              <a:gd name="connsiteX7" fmla="*/ 1381126 w 2076451"/>
              <a:gd name="connsiteY7" fmla="*/ 1476375 h 1477501"/>
              <a:gd name="connsiteX8" fmla="*/ 1816894 w 2076451"/>
              <a:gd name="connsiteY8" fmla="*/ 1440657 h 1477501"/>
              <a:gd name="connsiteX9" fmla="*/ 2076451 w 2076451"/>
              <a:gd name="connsiteY9" fmla="*/ 1321594 h 1477501"/>
              <a:gd name="connsiteX0" fmla="*/ 0 w 2076451"/>
              <a:gd name="connsiteY0" fmla="*/ 0 h 1477501"/>
              <a:gd name="connsiteX1" fmla="*/ 123827 w 2076451"/>
              <a:gd name="connsiteY1" fmla="*/ 100012 h 1477501"/>
              <a:gd name="connsiteX2" fmla="*/ 247651 w 2076451"/>
              <a:gd name="connsiteY2" fmla="*/ 321469 h 1477501"/>
              <a:gd name="connsiteX3" fmla="*/ 378620 w 2076451"/>
              <a:gd name="connsiteY3" fmla="*/ 711994 h 1477501"/>
              <a:gd name="connsiteX4" fmla="*/ 495301 w 2076451"/>
              <a:gd name="connsiteY4" fmla="*/ 1035844 h 1477501"/>
              <a:gd name="connsiteX5" fmla="*/ 628651 w 2076451"/>
              <a:gd name="connsiteY5" fmla="*/ 1228725 h 1477501"/>
              <a:gd name="connsiteX6" fmla="*/ 942976 w 2076451"/>
              <a:gd name="connsiteY6" fmla="*/ 1407319 h 1477501"/>
              <a:gd name="connsiteX7" fmla="*/ 1381126 w 2076451"/>
              <a:gd name="connsiteY7" fmla="*/ 1476375 h 1477501"/>
              <a:gd name="connsiteX8" fmla="*/ 1816894 w 2076451"/>
              <a:gd name="connsiteY8" fmla="*/ 1440657 h 1477501"/>
              <a:gd name="connsiteX9" fmla="*/ 2076451 w 2076451"/>
              <a:gd name="connsiteY9" fmla="*/ 1321594 h 1477501"/>
              <a:gd name="connsiteX0" fmla="*/ 0 w 2076451"/>
              <a:gd name="connsiteY0" fmla="*/ 0 h 1477501"/>
              <a:gd name="connsiteX1" fmla="*/ 123827 w 2076451"/>
              <a:gd name="connsiteY1" fmla="*/ 100012 h 1477501"/>
              <a:gd name="connsiteX2" fmla="*/ 247651 w 2076451"/>
              <a:gd name="connsiteY2" fmla="*/ 321469 h 1477501"/>
              <a:gd name="connsiteX3" fmla="*/ 378620 w 2076451"/>
              <a:gd name="connsiteY3" fmla="*/ 711994 h 1477501"/>
              <a:gd name="connsiteX4" fmla="*/ 495301 w 2076451"/>
              <a:gd name="connsiteY4" fmla="*/ 1035844 h 1477501"/>
              <a:gd name="connsiteX5" fmla="*/ 628651 w 2076451"/>
              <a:gd name="connsiteY5" fmla="*/ 1228725 h 1477501"/>
              <a:gd name="connsiteX6" fmla="*/ 942976 w 2076451"/>
              <a:gd name="connsiteY6" fmla="*/ 1407319 h 1477501"/>
              <a:gd name="connsiteX7" fmla="*/ 1381126 w 2076451"/>
              <a:gd name="connsiteY7" fmla="*/ 1476375 h 1477501"/>
              <a:gd name="connsiteX8" fmla="*/ 1816894 w 2076451"/>
              <a:gd name="connsiteY8" fmla="*/ 1440657 h 1477501"/>
              <a:gd name="connsiteX9" fmla="*/ 2076451 w 2076451"/>
              <a:gd name="connsiteY9" fmla="*/ 1321594 h 1477501"/>
              <a:gd name="connsiteX0" fmla="*/ 0 w 2076451"/>
              <a:gd name="connsiteY0" fmla="*/ 0 h 1477501"/>
              <a:gd name="connsiteX1" fmla="*/ 123827 w 2076451"/>
              <a:gd name="connsiteY1" fmla="*/ 100012 h 1477501"/>
              <a:gd name="connsiteX2" fmla="*/ 247651 w 2076451"/>
              <a:gd name="connsiteY2" fmla="*/ 321469 h 1477501"/>
              <a:gd name="connsiteX3" fmla="*/ 378620 w 2076451"/>
              <a:gd name="connsiteY3" fmla="*/ 711994 h 1477501"/>
              <a:gd name="connsiteX4" fmla="*/ 495301 w 2076451"/>
              <a:gd name="connsiteY4" fmla="*/ 1035844 h 1477501"/>
              <a:gd name="connsiteX5" fmla="*/ 628651 w 2076451"/>
              <a:gd name="connsiteY5" fmla="*/ 1228725 h 1477501"/>
              <a:gd name="connsiteX6" fmla="*/ 942976 w 2076451"/>
              <a:gd name="connsiteY6" fmla="*/ 1407319 h 1477501"/>
              <a:gd name="connsiteX7" fmla="*/ 1381126 w 2076451"/>
              <a:gd name="connsiteY7" fmla="*/ 1476375 h 1477501"/>
              <a:gd name="connsiteX8" fmla="*/ 1816894 w 2076451"/>
              <a:gd name="connsiteY8" fmla="*/ 1440657 h 1477501"/>
              <a:gd name="connsiteX9" fmla="*/ 2076451 w 2076451"/>
              <a:gd name="connsiteY9" fmla="*/ 1321594 h 1477501"/>
              <a:gd name="connsiteX0" fmla="*/ 0 w 2076451"/>
              <a:gd name="connsiteY0" fmla="*/ 0 h 1477501"/>
              <a:gd name="connsiteX1" fmla="*/ 123827 w 2076451"/>
              <a:gd name="connsiteY1" fmla="*/ 100012 h 1477501"/>
              <a:gd name="connsiteX2" fmla="*/ 247651 w 2076451"/>
              <a:gd name="connsiteY2" fmla="*/ 321469 h 1477501"/>
              <a:gd name="connsiteX3" fmla="*/ 378620 w 2076451"/>
              <a:gd name="connsiteY3" fmla="*/ 711994 h 1477501"/>
              <a:gd name="connsiteX4" fmla="*/ 495301 w 2076451"/>
              <a:gd name="connsiteY4" fmla="*/ 1035844 h 1477501"/>
              <a:gd name="connsiteX5" fmla="*/ 640558 w 2076451"/>
              <a:gd name="connsiteY5" fmla="*/ 1243013 h 1477501"/>
              <a:gd name="connsiteX6" fmla="*/ 942976 w 2076451"/>
              <a:gd name="connsiteY6" fmla="*/ 1407319 h 1477501"/>
              <a:gd name="connsiteX7" fmla="*/ 1381126 w 2076451"/>
              <a:gd name="connsiteY7" fmla="*/ 1476375 h 1477501"/>
              <a:gd name="connsiteX8" fmla="*/ 1816894 w 2076451"/>
              <a:gd name="connsiteY8" fmla="*/ 1440657 h 1477501"/>
              <a:gd name="connsiteX9" fmla="*/ 2076451 w 2076451"/>
              <a:gd name="connsiteY9" fmla="*/ 1321594 h 1477501"/>
              <a:gd name="connsiteX0" fmla="*/ 0 w 2069308"/>
              <a:gd name="connsiteY0" fmla="*/ 0 h 1477501"/>
              <a:gd name="connsiteX1" fmla="*/ 123827 w 2069308"/>
              <a:gd name="connsiteY1" fmla="*/ 100012 h 1477501"/>
              <a:gd name="connsiteX2" fmla="*/ 247651 w 2069308"/>
              <a:gd name="connsiteY2" fmla="*/ 321469 h 1477501"/>
              <a:gd name="connsiteX3" fmla="*/ 378620 w 2069308"/>
              <a:gd name="connsiteY3" fmla="*/ 711994 h 1477501"/>
              <a:gd name="connsiteX4" fmla="*/ 495301 w 2069308"/>
              <a:gd name="connsiteY4" fmla="*/ 1035844 h 1477501"/>
              <a:gd name="connsiteX5" fmla="*/ 640558 w 2069308"/>
              <a:gd name="connsiteY5" fmla="*/ 1243013 h 1477501"/>
              <a:gd name="connsiteX6" fmla="*/ 942976 w 2069308"/>
              <a:gd name="connsiteY6" fmla="*/ 1407319 h 1477501"/>
              <a:gd name="connsiteX7" fmla="*/ 1381126 w 2069308"/>
              <a:gd name="connsiteY7" fmla="*/ 1476375 h 1477501"/>
              <a:gd name="connsiteX8" fmla="*/ 1816894 w 2069308"/>
              <a:gd name="connsiteY8" fmla="*/ 1440657 h 1477501"/>
              <a:gd name="connsiteX9" fmla="*/ 2069308 w 2069308"/>
              <a:gd name="connsiteY9" fmla="*/ 1321594 h 1477501"/>
              <a:gd name="connsiteX0" fmla="*/ 0 w 2040647"/>
              <a:gd name="connsiteY0" fmla="*/ 0 h 2208908"/>
              <a:gd name="connsiteX1" fmla="*/ 95166 w 2040647"/>
              <a:gd name="connsiteY1" fmla="*/ 831419 h 2208908"/>
              <a:gd name="connsiteX2" fmla="*/ 218990 w 2040647"/>
              <a:gd name="connsiteY2" fmla="*/ 1052876 h 2208908"/>
              <a:gd name="connsiteX3" fmla="*/ 349959 w 2040647"/>
              <a:gd name="connsiteY3" fmla="*/ 1443401 h 2208908"/>
              <a:gd name="connsiteX4" fmla="*/ 466640 w 2040647"/>
              <a:gd name="connsiteY4" fmla="*/ 1767251 h 2208908"/>
              <a:gd name="connsiteX5" fmla="*/ 611897 w 2040647"/>
              <a:gd name="connsiteY5" fmla="*/ 1974420 h 2208908"/>
              <a:gd name="connsiteX6" fmla="*/ 914315 w 2040647"/>
              <a:gd name="connsiteY6" fmla="*/ 2138726 h 2208908"/>
              <a:gd name="connsiteX7" fmla="*/ 1352465 w 2040647"/>
              <a:gd name="connsiteY7" fmla="*/ 2207782 h 2208908"/>
              <a:gd name="connsiteX8" fmla="*/ 1788233 w 2040647"/>
              <a:gd name="connsiteY8" fmla="*/ 2172064 h 2208908"/>
              <a:gd name="connsiteX9" fmla="*/ 2040647 w 2040647"/>
              <a:gd name="connsiteY9" fmla="*/ 2053001 h 2208908"/>
              <a:gd name="connsiteX0" fmla="*/ 0 w 2040647"/>
              <a:gd name="connsiteY0" fmla="*/ 0 h 2208908"/>
              <a:gd name="connsiteX1" fmla="*/ 138157 w 2040647"/>
              <a:gd name="connsiteY1" fmla="*/ 552429 h 2208908"/>
              <a:gd name="connsiteX2" fmla="*/ 218990 w 2040647"/>
              <a:gd name="connsiteY2" fmla="*/ 1052876 h 2208908"/>
              <a:gd name="connsiteX3" fmla="*/ 349959 w 2040647"/>
              <a:gd name="connsiteY3" fmla="*/ 1443401 h 2208908"/>
              <a:gd name="connsiteX4" fmla="*/ 466640 w 2040647"/>
              <a:gd name="connsiteY4" fmla="*/ 1767251 h 2208908"/>
              <a:gd name="connsiteX5" fmla="*/ 611897 w 2040647"/>
              <a:gd name="connsiteY5" fmla="*/ 1974420 h 2208908"/>
              <a:gd name="connsiteX6" fmla="*/ 914315 w 2040647"/>
              <a:gd name="connsiteY6" fmla="*/ 2138726 h 2208908"/>
              <a:gd name="connsiteX7" fmla="*/ 1352465 w 2040647"/>
              <a:gd name="connsiteY7" fmla="*/ 2207782 h 2208908"/>
              <a:gd name="connsiteX8" fmla="*/ 1788233 w 2040647"/>
              <a:gd name="connsiteY8" fmla="*/ 2172064 h 2208908"/>
              <a:gd name="connsiteX9" fmla="*/ 2040647 w 2040647"/>
              <a:gd name="connsiteY9" fmla="*/ 2053001 h 2208908"/>
              <a:gd name="connsiteX0" fmla="*/ 0 w 2040647"/>
              <a:gd name="connsiteY0" fmla="*/ 0 h 2208908"/>
              <a:gd name="connsiteX1" fmla="*/ 138157 w 2040647"/>
              <a:gd name="connsiteY1" fmla="*/ 552429 h 2208908"/>
              <a:gd name="connsiteX2" fmla="*/ 240486 w 2040647"/>
              <a:gd name="connsiteY2" fmla="*/ 924691 h 2208908"/>
              <a:gd name="connsiteX3" fmla="*/ 349959 w 2040647"/>
              <a:gd name="connsiteY3" fmla="*/ 1443401 h 2208908"/>
              <a:gd name="connsiteX4" fmla="*/ 466640 w 2040647"/>
              <a:gd name="connsiteY4" fmla="*/ 1767251 h 2208908"/>
              <a:gd name="connsiteX5" fmla="*/ 611897 w 2040647"/>
              <a:gd name="connsiteY5" fmla="*/ 1974420 h 2208908"/>
              <a:gd name="connsiteX6" fmla="*/ 914315 w 2040647"/>
              <a:gd name="connsiteY6" fmla="*/ 2138726 h 2208908"/>
              <a:gd name="connsiteX7" fmla="*/ 1352465 w 2040647"/>
              <a:gd name="connsiteY7" fmla="*/ 2207782 h 2208908"/>
              <a:gd name="connsiteX8" fmla="*/ 1788233 w 2040647"/>
              <a:gd name="connsiteY8" fmla="*/ 2172064 h 2208908"/>
              <a:gd name="connsiteX9" fmla="*/ 2040647 w 2040647"/>
              <a:gd name="connsiteY9" fmla="*/ 2053001 h 2208908"/>
              <a:gd name="connsiteX0" fmla="*/ 0 w 2040647"/>
              <a:gd name="connsiteY0" fmla="*/ 0 h 2208908"/>
              <a:gd name="connsiteX1" fmla="*/ 138157 w 2040647"/>
              <a:gd name="connsiteY1" fmla="*/ 552429 h 2208908"/>
              <a:gd name="connsiteX2" fmla="*/ 240486 w 2040647"/>
              <a:gd name="connsiteY2" fmla="*/ 924691 h 2208908"/>
              <a:gd name="connsiteX3" fmla="*/ 328464 w 2040647"/>
              <a:gd name="connsiteY3" fmla="*/ 1352918 h 2208908"/>
              <a:gd name="connsiteX4" fmla="*/ 466640 w 2040647"/>
              <a:gd name="connsiteY4" fmla="*/ 1767251 h 2208908"/>
              <a:gd name="connsiteX5" fmla="*/ 611897 w 2040647"/>
              <a:gd name="connsiteY5" fmla="*/ 1974420 h 2208908"/>
              <a:gd name="connsiteX6" fmla="*/ 914315 w 2040647"/>
              <a:gd name="connsiteY6" fmla="*/ 2138726 h 2208908"/>
              <a:gd name="connsiteX7" fmla="*/ 1352465 w 2040647"/>
              <a:gd name="connsiteY7" fmla="*/ 2207782 h 2208908"/>
              <a:gd name="connsiteX8" fmla="*/ 1788233 w 2040647"/>
              <a:gd name="connsiteY8" fmla="*/ 2172064 h 2208908"/>
              <a:gd name="connsiteX9" fmla="*/ 2040647 w 2040647"/>
              <a:gd name="connsiteY9" fmla="*/ 2053001 h 2208908"/>
              <a:gd name="connsiteX0" fmla="*/ 0 w 2191116"/>
              <a:gd name="connsiteY0" fmla="*/ 0 h 2208908"/>
              <a:gd name="connsiteX1" fmla="*/ 138157 w 2191116"/>
              <a:gd name="connsiteY1" fmla="*/ 552429 h 2208908"/>
              <a:gd name="connsiteX2" fmla="*/ 240486 w 2191116"/>
              <a:gd name="connsiteY2" fmla="*/ 924691 h 2208908"/>
              <a:gd name="connsiteX3" fmla="*/ 328464 w 2191116"/>
              <a:gd name="connsiteY3" fmla="*/ 1352918 h 2208908"/>
              <a:gd name="connsiteX4" fmla="*/ 466640 w 2191116"/>
              <a:gd name="connsiteY4" fmla="*/ 1767251 h 2208908"/>
              <a:gd name="connsiteX5" fmla="*/ 611897 w 2191116"/>
              <a:gd name="connsiteY5" fmla="*/ 1974420 h 2208908"/>
              <a:gd name="connsiteX6" fmla="*/ 914315 w 2191116"/>
              <a:gd name="connsiteY6" fmla="*/ 2138726 h 2208908"/>
              <a:gd name="connsiteX7" fmla="*/ 1352465 w 2191116"/>
              <a:gd name="connsiteY7" fmla="*/ 2207782 h 2208908"/>
              <a:gd name="connsiteX8" fmla="*/ 1788233 w 2191116"/>
              <a:gd name="connsiteY8" fmla="*/ 2172064 h 2208908"/>
              <a:gd name="connsiteX9" fmla="*/ 2191116 w 2191116"/>
              <a:gd name="connsiteY9" fmla="*/ 1306514 h 2208908"/>
              <a:gd name="connsiteX0" fmla="*/ 0 w 2090804"/>
              <a:gd name="connsiteY0" fmla="*/ 0 h 2208908"/>
              <a:gd name="connsiteX1" fmla="*/ 138157 w 2090804"/>
              <a:gd name="connsiteY1" fmla="*/ 552429 h 2208908"/>
              <a:gd name="connsiteX2" fmla="*/ 240486 w 2090804"/>
              <a:gd name="connsiteY2" fmla="*/ 924691 h 2208908"/>
              <a:gd name="connsiteX3" fmla="*/ 328464 w 2090804"/>
              <a:gd name="connsiteY3" fmla="*/ 1352918 h 2208908"/>
              <a:gd name="connsiteX4" fmla="*/ 466640 w 2090804"/>
              <a:gd name="connsiteY4" fmla="*/ 1767251 h 2208908"/>
              <a:gd name="connsiteX5" fmla="*/ 611897 w 2090804"/>
              <a:gd name="connsiteY5" fmla="*/ 1974420 h 2208908"/>
              <a:gd name="connsiteX6" fmla="*/ 914315 w 2090804"/>
              <a:gd name="connsiteY6" fmla="*/ 2138726 h 2208908"/>
              <a:gd name="connsiteX7" fmla="*/ 1352465 w 2090804"/>
              <a:gd name="connsiteY7" fmla="*/ 2207782 h 2208908"/>
              <a:gd name="connsiteX8" fmla="*/ 1788233 w 2090804"/>
              <a:gd name="connsiteY8" fmla="*/ 2172064 h 2208908"/>
              <a:gd name="connsiteX9" fmla="*/ 2090804 w 2090804"/>
              <a:gd name="connsiteY9" fmla="*/ 1321594 h 2208908"/>
              <a:gd name="connsiteX0" fmla="*/ 0 w 2090804"/>
              <a:gd name="connsiteY0" fmla="*/ 0 h 2208908"/>
              <a:gd name="connsiteX1" fmla="*/ 138157 w 2090804"/>
              <a:gd name="connsiteY1" fmla="*/ 552429 h 2208908"/>
              <a:gd name="connsiteX2" fmla="*/ 240486 w 2090804"/>
              <a:gd name="connsiteY2" fmla="*/ 924691 h 2208908"/>
              <a:gd name="connsiteX3" fmla="*/ 328464 w 2090804"/>
              <a:gd name="connsiteY3" fmla="*/ 1352918 h 2208908"/>
              <a:gd name="connsiteX4" fmla="*/ 466640 w 2090804"/>
              <a:gd name="connsiteY4" fmla="*/ 1767251 h 2208908"/>
              <a:gd name="connsiteX5" fmla="*/ 611897 w 2090804"/>
              <a:gd name="connsiteY5" fmla="*/ 1974420 h 2208908"/>
              <a:gd name="connsiteX6" fmla="*/ 914315 w 2090804"/>
              <a:gd name="connsiteY6" fmla="*/ 2138726 h 2208908"/>
              <a:gd name="connsiteX7" fmla="*/ 1352465 w 2090804"/>
              <a:gd name="connsiteY7" fmla="*/ 2207782 h 2208908"/>
              <a:gd name="connsiteX8" fmla="*/ 1788233 w 2090804"/>
              <a:gd name="connsiteY8" fmla="*/ 2172064 h 2208908"/>
              <a:gd name="connsiteX9" fmla="*/ 2090804 w 2090804"/>
              <a:gd name="connsiteY9" fmla="*/ 1321594 h 2208908"/>
              <a:gd name="connsiteX0" fmla="*/ 0 w 2090804"/>
              <a:gd name="connsiteY0" fmla="*/ 0 h 2260463"/>
              <a:gd name="connsiteX1" fmla="*/ 138157 w 2090804"/>
              <a:gd name="connsiteY1" fmla="*/ 552429 h 2260463"/>
              <a:gd name="connsiteX2" fmla="*/ 240486 w 2090804"/>
              <a:gd name="connsiteY2" fmla="*/ 924691 h 2260463"/>
              <a:gd name="connsiteX3" fmla="*/ 328464 w 2090804"/>
              <a:gd name="connsiteY3" fmla="*/ 1352918 h 2260463"/>
              <a:gd name="connsiteX4" fmla="*/ 466640 w 2090804"/>
              <a:gd name="connsiteY4" fmla="*/ 1767251 h 2260463"/>
              <a:gd name="connsiteX5" fmla="*/ 611897 w 2090804"/>
              <a:gd name="connsiteY5" fmla="*/ 1974420 h 2260463"/>
              <a:gd name="connsiteX6" fmla="*/ 914315 w 2090804"/>
              <a:gd name="connsiteY6" fmla="*/ 2138726 h 2260463"/>
              <a:gd name="connsiteX7" fmla="*/ 1352465 w 2090804"/>
              <a:gd name="connsiteY7" fmla="*/ 2207782 h 2260463"/>
              <a:gd name="connsiteX8" fmla="*/ 2090804 w 2090804"/>
              <a:gd name="connsiteY8" fmla="*/ 1321594 h 2260463"/>
              <a:gd name="connsiteX0" fmla="*/ 0 w 2090804"/>
              <a:gd name="connsiteY0" fmla="*/ 0 h 2169363"/>
              <a:gd name="connsiteX1" fmla="*/ 138157 w 2090804"/>
              <a:gd name="connsiteY1" fmla="*/ 552429 h 2169363"/>
              <a:gd name="connsiteX2" fmla="*/ 240486 w 2090804"/>
              <a:gd name="connsiteY2" fmla="*/ 924691 h 2169363"/>
              <a:gd name="connsiteX3" fmla="*/ 328464 w 2090804"/>
              <a:gd name="connsiteY3" fmla="*/ 1352918 h 2169363"/>
              <a:gd name="connsiteX4" fmla="*/ 466640 w 2090804"/>
              <a:gd name="connsiteY4" fmla="*/ 1767251 h 2169363"/>
              <a:gd name="connsiteX5" fmla="*/ 611897 w 2090804"/>
              <a:gd name="connsiteY5" fmla="*/ 1974420 h 2169363"/>
              <a:gd name="connsiteX6" fmla="*/ 914315 w 2090804"/>
              <a:gd name="connsiteY6" fmla="*/ 2138726 h 2169363"/>
              <a:gd name="connsiteX7" fmla="*/ 2090804 w 2090804"/>
              <a:gd name="connsiteY7" fmla="*/ 1321594 h 2169363"/>
              <a:gd name="connsiteX0" fmla="*/ 0 w 2090804"/>
              <a:gd name="connsiteY0" fmla="*/ 0 h 1992058"/>
              <a:gd name="connsiteX1" fmla="*/ 138157 w 2090804"/>
              <a:gd name="connsiteY1" fmla="*/ 552429 h 1992058"/>
              <a:gd name="connsiteX2" fmla="*/ 240486 w 2090804"/>
              <a:gd name="connsiteY2" fmla="*/ 924691 h 1992058"/>
              <a:gd name="connsiteX3" fmla="*/ 328464 w 2090804"/>
              <a:gd name="connsiteY3" fmla="*/ 1352918 h 1992058"/>
              <a:gd name="connsiteX4" fmla="*/ 466640 w 2090804"/>
              <a:gd name="connsiteY4" fmla="*/ 1767251 h 1992058"/>
              <a:gd name="connsiteX5" fmla="*/ 611897 w 2090804"/>
              <a:gd name="connsiteY5" fmla="*/ 1974420 h 1992058"/>
              <a:gd name="connsiteX6" fmla="*/ 2090804 w 2090804"/>
              <a:gd name="connsiteY6" fmla="*/ 1321594 h 1992058"/>
              <a:gd name="connsiteX0" fmla="*/ 0 w 2090804"/>
              <a:gd name="connsiteY0" fmla="*/ 0 h 1992059"/>
              <a:gd name="connsiteX1" fmla="*/ 138157 w 2090804"/>
              <a:gd name="connsiteY1" fmla="*/ 552429 h 1992059"/>
              <a:gd name="connsiteX2" fmla="*/ 240486 w 2090804"/>
              <a:gd name="connsiteY2" fmla="*/ 924691 h 1992059"/>
              <a:gd name="connsiteX3" fmla="*/ 328464 w 2090804"/>
              <a:gd name="connsiteY3" fmla="*/ 1352918 h 1992059"/>
              <a:gd name="connsiteX4" fmla="*/ 466640 w 2090804"/>
              <a:gd name="connsiteY4" fmla="*/ 1767251 h 1992059"/>
              <a:gd name="connsiteX5" fmla="*/ 611897 w 2090804"/>
              <a:gd name="connsiteY5" fmla="*/ 1974420 h 1992059"/>
              <a:gd name="connsiteX6" fmla="*/ 2090804 w 2090804"/>
              <a:gd name="connsiteY6" fmla="*/ 1321594 h 1992059"/>
              <a:gd name="connsiteX0" fmla="*/ 0 w 2090804"/>
              <a:gd name="connsiteY0" fmla="*/ 0 h 1992059"/>
              <a:gd name="connsiteX1" fmla="*/ 138157 w 2090804"/>
              <a:gd name="connsiteY1" fmla="*/ 552429 h 1992059"/>
              <a:gd name="connsiteX2" fmla="*/ 240486 w 2090804"/>
              <a:gd name="connsiteY2" fmla="*/ 924691 h 1992059"/>
              <a:gd name="connsiteX3" fmla="*/ 328464 w 2090804"/>
              <a:gd name="connsiteY3" fmla="*/ 1352918 h 1992059"/>
              <a:gd name="connsiteX4" fmla="*/ 466640 w 2090804"/>
              <a:gd name="connsiteY4" fmla="*/ 1767251 h 1992059"/>
              <a:gd name="connsiteX5" fmla="*/ 611897 w 2090804"/>
              <a:gd name="connsiteY5" fmla="*/ 1974420 h 1992059"/>
              <a:gd name="connsiteX6" fmla="*/ 2090804 w 2090804"/>
              <a:gd name="connsiteY6" fmla="*/ 1321594 h 1992059"/>
              <a:gd name="connsiteX0" fmla="*/ 0 w 2090804"/>
              <a:gd name="connsiteY0" fmla="*/ 0 h 1992059"/>
              <a:gd name="connsiteX1" fmla="*/ 138157 w 2090804"/>
              <a:gd name="connsiteY1" fmla="*/ 552429 h 1992059"/>
              <a:gd name="connsiteX2" fmla="*/ 240486 w 2090804"/>
              <a:gd name="connsiteY2" fmla="*/ 924691 h 1992059"/>
              <a:gd name="connsiteX3" fmla="*/ 328464 w 2090804"/>
              <a:gd name="connsiteY3" fmla="*/ 1352918 h 1992059"/>
              <a:gd name="connsiteX4" fmla="*/ 466640 w 2090804"/>
              <a:gd name="connsiteY4" fmla="*/ 1767251 h 1992059"/>
              <a:gd name="connsiteX5" fmla="*/ 611897 w 2090804"/>
              <a:gd name="connsiteY5" fmla="*/ 1974420 h 1992059"/>
              <a:gd name="connsiteX6" fmla="*/ 2090804 w 2090804"/>
              <a:gd name="connsiteY6" fmla="*/ 1321594 h 1992059"/>
              <a:gd name="connsiteX0" fmla="*/ 0 w 2090804"/>
              <a:gd name="connsiteY0" fmla="*/ 0 h 1974463"/>
              <a:gd name="connsiteX1" fmla="*/ 138157 w 2090804"/>
              <a:gd name="connsiteY1" fmla="*/ 552429 h 1974463"/>
              <a:gd name="connsiteX2" fmla="*/ 240486 w 2090804"/>
              <a:gd name="connsiteY2" fmla="*/ 924691 h 1974463"/>
              <a:gd name="connsiteX3" fmla="*/ 328464 w 2090804"/>
              <a:gd name="connsiteY3" fmla="*/ 1352918 h 1974463"/>
              <a:gd name="connsiteX4" fmla="*/ 611897 w 2090804"/>
              <a:gd name="connsiteY4" fmla="*/ 1974420 h 1974463"/>
              <a:gd name="connsiteX5" fmla="*/ 2090804 w 2090804"/>
              <a:gd name="connsiteY5" fmla="*/ 1321594 h 1974463"/>
              <a:gd name="connsiteX0" fmla="*/ 0 w 2090804"/>
              <a:gd name="connsiteY0" fmla="*/ 0 h 1376906"/>
              <a:gd name="connsiteX1" fmla="*/ 138157 w 2090804"/>
              <a:gd name="connsiteY1" fmla="*/ 552429 h 1376906"/>
              <a:gd name="connsiteX2" fmla="*/ 240486 w 2090804"/>
              <a:gd name="connsiteY2" fmla="*/ 924691 h 1376906"/>
              <a:gd name="connsiteX3" fmla="*/ 328464 w 2090804"/>
              <a:gd name="connsiteY3" fmla="*/ 1352918 h 1376906"/>
              <a:gd name="connsiteX4" fmla="*/ 2090804 w 2090804"/>
              <a:gd name="connsiteY4" fmla="*/ 1321594 h 1376906"/>
              <a:gd name="connsiteX0" fmla="*/ 0 w 2112300"/>
              <a:gd name="connsiteY0" fmla="*/ 0 h 1372021"/>
              <a:gd name="connsiteX1" fmla="*/ 138157 w 2112300"/>
              <a:gd name="connsiteY1" fmla="*/ 552429 h 1372021"/>
              <a:gd name="connsiteX2" fmla="*/ 240486 w 2112300"/>
              <a:gd name="connsiteY2" fmla="*/ 924691 h 1372021"/>
              <a:gd name="connsiteX3" fmla="*/ 328464 w 2112300"/>
              <a:gd name="connsiteY3" fmla="*/ 1352918 h 1372021"/>
              <a:gd name="connsiteX4" fmla="*/ 2112300 w 2112300"/>
              <a:gd name="connsiteY4" fmla="*/ 1298973 h 1372021"/>
              <a:gd name="connsiteX0" fmla="*/ 0 w 2112300"/>
              <a:gd name="connsiteY0" fmla="*/ 0 h 1323748"/>
              <a:gd name="connsiteX1" fmla="*/ 138157 w 2112300"/>
              <a:gd name="connsiteY1" fmla="*/ 552429 h 1323748"/>
              <a:gd name="connsiteX2" fmla="*/ 240486 w 2112300"/>
              <a:gd name="connsiteY2" fmla="*/ 924691 h 1323748"/>
              <a:gd name="connsiteX3" fmla="*/ 306968 w 2112300"/>
              <a:gd name="connsiteY3" fmla="*/ 1292596 h 1323748"/>
              <a:gd name="connsiteX4" fmla="*/ 2112300 w 2112300"/>
              <a:gd name="connsiteY4" fmla="*/ 1298973 h 1323748"/>
              <a:gd name="connsiteX0" fmla="*/ 0 w 2112300"/>
              <a:gd name="connsiteY0" fmla="*/ 0 h 1310688"/>
              <a:gd name="connsiteX1" fmla="*/ 138157 w 2112300"/>
              <a:gd name="connsiteY1" fmla="*/ 552429 h 1310688"/>
              <a:gd name="connsiteX2" fmla="*/ 240486 w 2112300"/>
              <a:gd name="connsiteY2" fmla="*/ 924691 h 1310688"/>
              <a:gd name="connsiteX3" fmla="*/ 306968 w 2112300"/>
              <a:gd name="connsiteY3" fmla="*/ 1292596 h 1310688"/>
              <a:gd name="connsiteX4" fmla="*/ 2112300 w 2112300"/>
              <a:gd name="connsiteY4" fmla="*/ 1298973 h 1310688"/>
              <a:gd name="connsiteX0" fmla="*/ 0 w 2112300"/>
              <a:gd name="connsiteY0" fmla="*/ 0 h 1310688"/>
              <a:gd name="connsiteX1" fmla="*/ 138157 w 2112300"/>
              <a:gd name="connsiteY1" fmla="*/ 552429 h 1310688"/>
              <a:gd name="connsiteX2" fmla="*/ 240486 w 2112300"/>
              <a:gd name="connsiteY2" fmla="*/ 924691 h 1310688"/>
              <a:gd name="connsiteX3" fmla="*/ 335629 w 2112300"/>
              <a:gd name="connsiteY3" fmla="*/ 1292596 h 1310688"/>
              <a:gd name="connsiteX4" fmla="*/ 2112300 w 2112300"/>
              <a:gd name="connsiteY4" fmla="*/ 1298973 h 1310688"/>
              <a:gd name="connsiteX0" fmla="*/ 0 w 2112300"/>
              <a:gd name="connsiteY0" fmla="*/ 0 h 1310688"/>
              <a:gd name="connsiteX1" fmla="*/ 138157 w 2112300"/>
              <a:gd name="connsiteY1" fmla="*/ 552429 h 1310688"/>
              <a:gd name="connsiteX2" fmla="*/ 240486 w 2112300"/>
              <a:gd name="connsiteY2" fmla="*/ 924691 h 1310688"/>
              <a:gd name="connsiteX3" fmla="*/ 335629 w 2112300"/>
              <a:gd name="connsiteY3" fmla="*/ 1292596 h 1310688"/>
              <a:gd name="connsiteX4" fmla="*/ 2112300 w 2112300"/>
              <a:gd name="connsiteY4" fmla="*/ 1298973 h 1310688"/>
              <a:gd name="connsiteX0" fmla="*/ 0 w 2112300"/>
              <a:gd name="connsiteY0" fmla="*/ 0 h 1310688"/>
              <a:gd name="connsiteX1" fmla="*/ 138157 w 2112300"/>
              <a:gd name="connsiteY1" fmla="*/ 552429 h 1310688"/>
              <a:gd name="connsiteX2" fmla="*/ 335629 w 2112300"/>
              <a:gd name="connsiteY2" fmla="*/ 1292596 h 1310688"/>
              <a:gd name="connsiteX3" fmla="*/ 2112300 w 2112300"/>
              <a:gd name="connsiteY3" fmla="*/ 1298973 h 1310688"/>
              <a:gd name="connsiteX0" fmla="*/ 0 w 2112300"/>
              <a:gd name="connsiteY0" fmla="*/ 0 h 1310688"/>
              <a:gd name="connsiteX1" fmla="*/ 138157 w 2112300"/>
              <a:gd name="connsiteY1" fmla="*/ 552429 h 1310688"/>
              <a:gd name="connsiteX2" fmla="*/ 335629 w 2112300"/>
              <a:gd name="connsiteY2" fmla="*/ 1292596 h 1310688"/>
              <a:gd name="connsiteX3" fmla="*/ 2112300 w 2112300"/>
              <a:gd name="connsiteY3" fmla="*/ 1298973 h 1310688"/>
              <a:gd name="connsiteX0" fmla="*/ 0 w 2112300"/>
              <a:gd name="connsiteY0" fmla="*/ 0 h 1310688"/>
              <a:gd name="connsiteX1" fmla="*/ 138157 w 2112300"/>
              <a:gd name="connsiteY1" fmla="*/ 552429 h 1310688"/>
              <a:gd name="connsiteX2" fmla="*/ 335629 w 2112300"/>
              <a:gd name="connsiteY2" fmla="*/ 1292596 h 1310688"/>
              <a:gd name="connsiteX3" fmla="*/ 2112300 w 2112300"/>
              <a:gd name="connsiteY3" fmla="*/ 1298973 h 1310688"/>
              <a:gd name="connsiteX0" fmla="*/ 0 w 2112300"/>
              <a:gd name="connsiteY0" fmla="*/ 0 h 1310688"/>
              <a:gd name="connsiteX1" fmla="*/ 138157 w 2112300"/>
              <a:gd name="connsiteY1" fmla="*/ 552429 h 1310688"/>
              <a:gd name="connsiteX2" fmla="*/ 335629 w 2112300"/>
              <a:gd name="connsiteY2" fmla="*/ 1292596 h 1310688"/>
              <a:gd name="connsiteX3" fmla="*/ 2112300 w 2112300"/>
              <a:gd name="connsiteY3" fmla="*/ 1298973 h 1310688"/>
              <a:gd name="connsiteX0" fmla="*/ 0 w 2112300"/>
              <a:gd name="connsiteY0" fmla="*/ 0 h 1302364"/>
              <a:gd name="connsiteX1" fmla="*/ 138157 w 2112300"/>
              <a:gd name="connsiteY1" fmla="*/ 552429 h 1302364"/>
              <a:gd name="connsiteX2" fmla="*/ 335629 w 2112300"/>
              <a:gd name="connsiteY2" fmla="*/ 1292596 h 1302364"/>
              <a:gd name="connsiteX3" fmla="*/ 2112300 w 2112300"/>
              <a:gd name="connsiteY3" fmla="*/ 1298973 h 1302364"/>
              <a:gd name="connsiteX0" fmla="*/ 0 w 2112300"/>
              <a:gd name="connsiteY0" fmla="*/ 0 h 1302364"/>
              <a:gd name="connsiteX1" fmla="*/ 138157 w 2112300"/>
              <a:gd name="connsiteY1" fmla="*/ 552429 h 1302364"/>
              <a:gd name="connsiteX2" fmla="*/ 335629 w 2112300"/>
              <a:gd name="connsiteY2" fmla="*/ 1292596 h 1302364"/>
              <a:gd name="connsiteX3" fmla="*/ 2112300 w 2112300"/>
              <a:gd name="connsiteY3" fmla="*/ 1298973 h 1302364"/>
              <a:gd name="connsiteX0" fmla="*/ 0 w 2112300"/>
              <a:gd name="connsiteY0" fmla="*/ 0 h 1305764"/>
              <a:gd name="connsiteX1" fmla="*/ 138157 w 2112300"/>
              <a:gd name="connsiteY1" fmla="*/ 552429 h 1305764"/>
              <a:gd name="connsiteX2" fmla="*/ 357125 w 2112300"/>
              <a:gd name="connsiteY2" fmla="*/ 1300136 h 1305764"/>
              <a:gd name="connsiteX3" fmla="*/ 2112300 w 2112300"/>
              <a:gd name="connsiteY3" fmla="*/ 1298973 h 1305764"/>
              <a:gd name="connsiteX0" fmla="*/ 0 w 2112300"/>
              <a:gd name="connsiteY0" fmla="*/ 0 h 1302364"/>
              <a:gd name="connsiteX1" fmla="*/ 138157 w 2112300"/>
              <a:gd name="connsiteY1" fmla="*/ 552429 h 1302364"/>
              <a:gd name="connsiteX2" fmla="*/ 357125 w 2112300"/>
              <a:gd name="connsiteY2" fmla="*/ 1292595 h 1302364"/>
              <a:gd name="connsiteX3" fmla="*/ 2112300 w 2112300"/>
              <a:gd name="connsiteY3" fmla="*/ 1298973 h 1302364"/>
              <a:gd name="connsiteX0" fmla="*/ 0 w 2112300"/>
              <a:gd name="connsiteY0" fmla="*/ 0 h 1302364"/>
              <a:gd name="connsiteX1" fmla="*/ 138157 w 2112300"/>
              <a:gd name="connsiteY1" fmla="*/ 552429 h 1302364"/>
              <a:gd name="connsiteX2" fmla="*/ 357125 w 2112300"/>
              <a:gd name="connsiteY2" fmla="*/ 1292595 h 1302364"/>
              <a:gd name="connsiteX3" fmla="*/ 2112300 w 2112300"/>
              <a:gd name="connsiteY3" fmla="*/ 1298973 h 1302364"/>
              <a:gd name="connsiteX0" fmla="*/ 0 w 2112300"/>
              <a:gd name="connsiteY0" fmla="*/ 0 h 1302364"/>
              <a:gd name="connsiteX1" fmla="*/ 138157 w 2112300"/>
              <a:gd name="connsiteY1" fmla="*/ 552429 h 1302364"/>
              <a:gd name="connsiteX2" fmla="*/ 357125 w 2112300"/>
              <a:gd name="connsiteY2" fmla="*/ 1292595 h 1302364"/>
              <a:gd name="connsiteX3" fmla="*/ 2112300 w 2112300"/>
              <a:gd name="connsiteY3" fmla="*/ 1298973 h 1302364"/>
              <a:gd name="connsiteX0" fmla="*/ 0 w 2112300"/>
              <a:gd name="connsiteY0" fmla="*/ 0 h 1302364"/>
              <a:gd name="connsiteX1" fmla="*/ 138157 w 2112300"/>
              <a:gd name="connsiteY1" fmla="*/ 552429 h 1302364"/>
              <a:gd name="connsiteX2" fmla="*/ 357125 w 2112300"/>
              <a:gd name="connsiteY2" fmla="*/ 1292595 h 1302364"/>
              <a:gd name="connsiteX3" fmla="*/ 2112300 w 2112300"/>
              <a:gd name="connsiteY3" fmla="*/ 1298973 h 1302364"/>
              <a:gd name="connsiteX0" fmla="*/ 0 w 2112300"/>
              <a:gd name="connsiteY0" fmla="*/ 0 h 1302364"/>
              <a:gd name="connsiteX1" fmla="*/ 123827 w 2112300"/>
              <a:gd name="connsiteY1" fmla="*/ 477026 h 1302364"/>
              <a:gd name="connsiteX2" fmla="*/ 357125 w 2112300"/>
              <a:gd name="connsiteY2" fmla="*/ 1292595 h 1302364"/>
              <a:gd name="connsiteX3" fmla="*/ 2112300 w 2112300"/>
              <a:gd name="connsiteY3" fmla="*/ 1298973 h 1302364"/>
              <a:gd name="connsiteX0" fmla="*/ 0 w 2112300"/>
              <a:gd name="connsiteY0" fmla="*/ 0 h 1302364"/>
              <a:gd name="connsiteX1" fmla="*/ 357125 w 2112300"/>
              <a:gd name="connsiteY1" fmla="*/ 1292595 h 1302364"/>
              <a:gd name="connsiteX2" fmla="*/ 2112300 w 2112300"/>
              <a:gd name="connsiteY2" fmla="*/ 1298973 h 1302364"/>
              <a:gd name="connsiteX0" fmla="*/ 0 w 2112300"/>
              <a:gd name="connsiteY0" fmla="*/ 0 h 1302364"/>
              <a:gd name="connsiteX1" fmla="*/ 357125 w 2112300"/>
              <a:gd name="connsiteY1" fmla="*/ 1292595 h 1302364"/>
              <a:gd name="connsiteX2" fmla="*/ 2112300 w 2112300"/>
              <a:gd name="connsiteY2" fmla="*/ 1298973 h 1302364"/>
              <a:gd name="connsiteX0" fmla="*/ 0 w 2112300"/>
              <a:gd name="connsiteY0" fmla="*/ 0 h 1302364"/>
              <a:gd name="connsiteX1" fmla="*/ 357125 w 2112300"/>
              <a:gd name="connsiteY1" fmla="*/ 1292595 h 1302364"/>
              <a:gd name="connsiteX2" fmla="*/ 2112300 w 2112300"/>
              <a:gd name="connsiteY2" fmla="*/ 1298973 h 1302364"/>
              <a:gd name="connsiteX0" fmla="*/ 0 w 2112300"/>
              <a:gd name="connsiteY0" fmla="*/ 0 h 1302364"/>
              <a:gd name="connsiteX1" fmla="*/ 357125 w 2112300"/>
              <a:gd name="connsiteY1" fmla="*/ 1292595 h 1302364"/>
              <a:gd name="connsiteX2" fmla="*/ 2112300 w 2112300"/>
              <a:gd name="connsiteY2" fmla="*/ 1298973 h 1302364"/>
              <a:gd name="connsiteX0" fmla="*/ 0 w 2112300"/>
              <a:gd name="connsiteY0" fmla="*/ 0 h 1317842"/>
              <a:gd name="connsiteX1" fmla="*/ 342794 w 2112300"/>
              <a:gd name="connsiteY1" fmla="*/ 1315216 h 1317842"/>
              <a:gd name="connsiteX2" fmla="*/ 2112300 w 2112300"/>
              <a:gd name="connsiteY2" fmla="*/ 1298973 h 1317842"/>
              <a:gd name="connsiteX0" fmla="*/ 0 w 2133796"/>
              <a:gd name="connsiteY0" fmla="*/ 0 h 1318839"/>
              <a:gd name="connsiteX1" fmla="*/ 342794 w 2133796"/>
              <a:gd name="connsiteY1" fmla="*/ 1315216 h 1318839"/>
              <a:gd name="connsiteX2" fmla="*/ 2133796 w 2133796"/>
              <a:gd name="connsiteY2" fmla="*/ 1306514 h 1318839"/>
              <a:gd name="connsiteX0" fmla="*/ 0 w 2133796"/>
              <a:gd name="connsiteY0" fmla="*/ 0 h 1308499"/>
              <a:gd name="connsiteX1" fmla="*/ 328464 w 2133796"/>
              <a:gd name="connsiteY1" fmla="*/ 1292595 h 1308499"/>
              <a:gd name="connsiteX2" fmla="*/ 2133796 w 2133796"/>
              <a:gd name="connsiteY2" fmla="*/ 1306514 h 1308499"/>
              <a:gd name="connsiteX0" fmla="*/ 0 w 2085432"/>
              <a:gd name="connsiteY0" fmla="*/ 0 h 1308499"/>
              <a:gd name="connsiteX1" fmla="*/ 328464 w 2085432"/>
              <a:gd name="connsiteY1" fmla="*/ 1292595 h 1308499"/>
              <a:gd name="connsiteX2" fmla="*/ 2085432 w 2085432"/>
              <a:gd name="connsiteY2" fmla="*/ 1306514 h 1308499"/>
              <a:gd name="connsiteX0" fmla="*/ 0 w 2023632"/>
              <a:gd name="connsiteY0" fmla="*/ 0 h 1311044"/>
              <a:gd name="connsiteX1" fmla="*/ 328464 w 2023632"/>
              <a:gd name="connsiteY1" fmla="*/ 1292595 h 1311044"/>
              <a:gd name="connsiteX2" fmla="*/ 2023632 w 2023632"/>
              <a:gd name="connsiteY2" fmla="*/ 1309342 h 1311044"/>
              <a:gd name="connsiteX0" fmla="*/ 0 w 2026319"/>
              <a:gd name="connsiteY0" fmla="*/ 0 h 1306058"/>
              <a:gd name="connsiteX1" fmla="*/ 328464 w 2026319"/>
              <a:gd name="connsiteY1" fmla="*/ 1292595 h 1306058"/>
              <a:gd name="connsiteX2" fmla="*/ 2026319 w 2026319"/>
              <a:gd name="connsiteY2" fmla="*/ 1303688 h 1306058"/>
              <a:gd name="connsiteX0" fmla="*/ 0 w 2047815"/>
              <a:gd name="connsiteY0" fmla="*/ 0 h 1306058"/>
              <a:gd name="connsiteX1" fmla="*/ 328464 w 2047815"/>
              <a:gd name="connsiteY1" fmla="*/ 1292595 h 1306058"/>
              <a:gd name="connsiteX2" fmla="*/ 2047815 w 2047815"/>
              <a:gd name="connsiteY2" fmla="*/ 1303688 h 1306058"/>
              <a:gd name="connsiteX0" fmla="*/ 0 w 2131110"/>
              <a:gd name="connsiteY0" fmla="*/ 0 h 1308886"/>
              <a:gd name="connsiteX1" fmla="*/ 411759 w 2131110"/>
              <a:gd name="connsiteY1" fmla="*/ 1295423 h 1308886"/>
              <a:gd name="connsiteX2" fmla="*/ 2131110 w 2131110"/>
              <a:gd name="connsiteY2" fmla="*/ 1306516 h 1308886"/>
              <a:gd name="connsiteX0" fmla="*/ 0 w 2131110"/>
              <a:gd name="connsiteY0" fmla="*/ 261 h 1309147"/>
              <a:gd name="connsiteX1" fmla="*/ 411759 w 2131110"/>
              <a:gd name="connsiteY1" fmla="*/ 1295684 h 1309147"/>
              <a:gd name="connsiteX2" fmla="*/ 2131110 w 2131110"/>
              <a:gd name="connsiteY2" fmla="*/ 1306777 h 1309147"/>
              <a:gd name="connsiteX0" fmla="*/ 0 w 2106682"/>
              <a:gd name="connsiteY0" fmla="*/ 261 h 1311590"/>
              <a:gd name="connsiteX1" fmla="*/ 411759 w 2106682"/>
              <a:gd name="connsiteY1" fmla="*/ 1295684 h 1311590"/>
              <a:gd name="connsiteX2" fmla="*/ 2106682 w 2106682"/>
              <a:gd name="connsiteY2" fmla="*/ 1309604 h 1311590"/>
              <a:gd name="connsiteX0" fmla="*/ 0 w 2131110"/>
              <a:gd name="connsiteY0" fmla="*/ 261 h 1309147"/>
              <a:gd name="connsiteX1" fmla="*/ 411759 w 2131110"/>
              <a:gd name="connsiteY1" fmla="*/ 1295684 h 1309147"/>
              <a:gd name="connsiteX2" fmla="*/ 2131110 w 2131110"/>
              <a:gd name="connsiteY2" fmla="*/ 1306777 h 1309147"/>
              <a:gd name="connsiteX0" fmla="*/ 0 w 2141967"/>
              <a:gd name="connsiteY0" fmla="*/ 261 h 1309147"/>
              <a:gd name="connsiteX1" fmla="*/ 411759 w 2141967"/>
              <a:gd name="connsiteY1" fmla="*/ 1295684 h 1309147"/>
              <a:gd name="connsiteX2" fmla="*/ 2141967 w 2141967"/>
              <a:gd name="connsiteY2" fmla="*/ 1306777 h 1309147"/>
              <a:gd name="connsiteX0" fmla="*/ 0 w 2139253"/>
              <a:gd name="connsiteY0" fmla="*/ 261 h 1300659"/>
              <a:gd name="connsiteX1" fmla="*/ 411759 w 2139253"/>
              <a:gd name="connsiteY1" fmla="*/ 1295684 h 1300659"/>
              <a:gd name="connsiteX2" fmla="*/ 2139253 w 2139253"/>
              <a:gd name="connsiteY2" fmla="*/ 1292639 h 1300659"/>
              <a:gd name="connsiteX0" fmla="*/ 0 w 2139253"/>
              <a:gd name="connsiteY0" fmla="*/ 261 h 1304800"/>
              <a:gd name="connsiteX1" fmla="*/ 411759 w 2139253"/>
              <a:gd name="connsiteY1" fmla="*/ 1295684 h 1304800"/>
              <a:gd name="connsiteX2" fmla="*/ 2139253 w 2139253"/>
              <a:gd name="connsiteY2" fmla="*/ 1301122 h 1304800"/>
              <a:gd name="connsiteX0" fmla="*/ 0 w 2139253"/>
              <a:gd name="connsiteY0" fmla="*/ 261 h 1304800"/>
              <a:gd name="connsiteX1" fmla="*/ 411759 w 2139253"/>
              <a:gd name="connsiteY1" fmla="*/ 1295684 h 1304800"/>
              <a:gd name="connsiteX2" fmla="*/ 2139253 w 2139253"/>
              <a:gd name="connsiteY2" fmla="*/ 1301122 h 1304800"/>
              <a:gd name="connsiteX0" fmla="*/ 0 w 2133824"/>
              <a:gd name="connsiteY0" fmla="*/ 261 h 1309147"/>
              <a:gd name="connsiteX1" fmla="*/ 411759 w 2133824"/>
              <a:gd name="connsiteY1" fmla="*/ 1295684 h 1309147"/>
              <a:gd name="connsiteX2" fmla="*/ 2133824 w 2133824"/>
              <a:gd name="connsiteY2" fmla="*/ 1306778 h 1309147"/>
              <a:gd name="connsiteX0" fmla="*/ 0 w 2136538"/>
              <a:gd name="connsiteY0" fmla="*/ 261 h 1306859"/>
              <a:gd name="connsiteX1" fmla="*/ 411759 w 2136538"/>
              <a:gd name="connsiteY1" fmla="*/ 1295684 h 1306859"/>
              <a:gd name="connsiteX2" fmla="*/ 2136538 w 2136538"/>
              <a:gd name="connsiteY2" fmla="*/ 1303951 h 1306859"/>
              <a:gd name="connsiteX0" fmla="*/ 0 w 2166395"/>
              <a:gd name="connsiteY0" fmla="*/ 261 h 1306859"/>
              <a:gd name="connsiteX1" fmla="*/ 441616 w 2166395"/>
              <a:gd name="connsiteY1" fmla="*/ 1295684 h 1306859"/>
              <a:gd name="connsiteX2" fmla="*/ 2166395 w 2166395"/>
              <a:gd name="connsiteY2" fmla="*/ 1303951 h 1306859"/>
              <a:gd name="connsiteX0" fmla="*/ 0 w 2166395"/>
              <a:gd name="connsiteY0" fmla="*/ 62 h 1306660"/>
              <a:gd name="connsiteX1" fmla="*/ 441616 w 2166395"/>
              <a:gd name="connsiteY1" fmla="*/ 1295485 h 1306660"/>
              <a:gd name="connsiteX2" fmla="*/ 2166395 w 2166395"/>
              <a:gd name="connsiteY2" fmla="*/ 1303752 h 1306660"/>
              <a:gd name="connsiteX0" fmla="*/ 0 w 2150110"/>
              <a:gd name="connsiteY0" fmla="*/ 63 h 1295351"/>
              <a:gd name="connsiteX1" fmla="*/ 425331 w 2150110"/>
              <a:gd name="connsiteY1" fmla="*/ 1284176 h 1295351"/>
              <a:gd name="connsiteX2" fmla="*/ 2150110 w 2150110"/>
              <a:gd name="connsiteY2" fmla="*/ 1292443 h 1295351"/>
              <a:gd name="connsiteX0" fmla="*/ 0 w 2150110"/>
              <a:gd name="connsiteY0" fmla="*/ 60 h 1315142"/>
              <a:gd name="connsiteX1" fmla="*/ 425331 w 2150110"/>
              <a:gd name="connsiteY1" fmla="*/ 1303967 h 1315142"/>
              <a:gd name="connsiteX2" fmla="*/ 2150110 w 2150110"/>
              <a:gd name="connsiteY2" fmla="*/ 1312234 h 1315142"/>
              <a:gd name="connsiteX0" fmla="*/ 0 w 2150110"/>
              <a:gd name="connsiteY0" fmla="*/ 62 h 1303833"/>
              <a:gd name="connsiteX1" fmla="*/ 425331 w 2150110"/>
              <a:gd name="connsiteY1" fmla="*/ 1292658 h 1303833"/>
              <a:gd name="connsiteX2" fmla="*/ 2150110 w 2150110"/>
              <a:gd name="connsiteY2" fmla="*/ 1300925 h 1303833"/>
              <a:gd name="connsiteX0" fmla="*/ 0 w 2166395"/>
              <a:gd name="connsiteY0" fmla="*/ 60 h 1309486"/>
              <a:gd name="connsiteX1" fmla="*/ 441616 w 2166395"/>
              <a:gd name="connsiteY1" fmla="*/ 1298311 h 1309486"/>
              <a:gd name="connsiteX2" fmla="*/ 2166395 w 2166395"/>
              <a:gd name="connsiteY2" fmla="*/ 1306578 h 1309486"/>
              <a:gd name="connsiteX0" fmla="*/ 0 w 2160967"/>
              <a:gd name="connsiteY0" fmla="*/ 62 h 1306660"/>
              <a:gd name="connsiteX1" fmla="*/ 436188 w 2160967"/>
              <a:gd name="connsiteY1" fmla="*/ 1295485 h 1306660"/>
              <a:gd name="connsiteX2" fmla="*/ 2160967 w 2160967"/>
              <a:gd name="connsiteY2" fmla="*/ 1303752 h 1306660"/>
              <a:gd name="connsiteX0" fmla="*/ 0 w 1481661"/>
              <a:gd name="connsiteY0" fmla="*/ 62 h 1306660"/>
              <a:gd name="connsiteX1" fmla="*/ 436188 w 1481661"/>
              <a:gd name="connsiteY1" fmla="*/ 1295485 h 1306660"/>
              <a:gd name="connsiteX2" fmla="*/ 1481661 w 1481661"/>
              <a:gd name="connsiteY2" fmla="*/ 1303752 h 1306660"/>
              <a:gd name="connsiteX0" fmla="*/ 0 w 1436872"/>
              <a:gd name="connsiteY0" fmla="*/ 62 h 1306660"/>
              <a:gd name="connsiteX1" fmla="*/ 436188 w 1436872"/>
              <a:gd name="connsiteY1" fmla="*/ 1295485 h 1306660"/>
              <a:gd name="connsiteX2" fmla="*/ 1436872 w 1436872"/>
              <a:gd name="connsiteY2" fmla="*/ 1303752 h 1306660"/>
              <a:gd name="connsiteX0" fmla="*/ 0 w 1436872"/>
              <a:gd name="connsiteY0" fmla="*/ 62 h 1306660"/>
              <a:gd name="connsiteX1" fmla="*/ 436188 w 1436872"/>
              <a:gd name="connsiteY1" fmla="*/ 1295485 h 1306660"/>
              <a:gd name="connsiteX2" fmla="*/ 1436872 w 1436872"/>
              <a:gd name="connsiteY2" fmla="*/ 1303752 h 1306660"/>
              <a:gd name="connsiteX0" fmla="*/ 0 w 1436872"/>
              <a:gd name="connsiteY0" fmla="*/ 62 h 1308656"/>
              <a:gd name="connsiteX1" fmla="*/ 436188 w 1436872"/>
              <a:gd name="connsiteY1" fmla="*/ 1295485 h 1308656"/>
              <a:gd name="connsiteX2" fmla="*/ 1436872 w 1436872"/>
              <a:gd name="connsiteY2" fmla="*/ 1303752 h 1308656"/>
              <a:gd name="connsiteX0" fmla="*/ 0 w 1533916"/>
              <a:gd name="connsiteY0" fmla="*/ 62 h 1308656"/>
              <a:gd name="connsiteX1" fmla="*/ 436188 w 1533916"/>
              <a:gd name="connsiteY1" fmla="*/ 1295485 h 1308656"/>
              <a:gd name="connsiteX2" fmla="*/ 1533916 w 1533916"/>
              <a:gd name="connsiteY2" fmla="*/ 1303753 h 1308656"/>
              <a:gd name="connsiteX0" fmla="*/ 0 w 1474197"/>
              <a:gd name="connsiteY0" fmla="*/ 62 h 1320689"/>
              <a:gd name="connsiteX1" fmla="*/ 436188 w 1474197"/>
              <a:gd name="connsiteY1" fmla="*/ 1295485 h 1320689"/>
              <a:gd name="connsiteX2" fmla="*/ 1474197 w 1474197"/>
              <a:gd name="connsiteY2" fmla="*/ 1318956 h 1320689"/>
              <a:gd name="connsiteX0" fmla="*/ 0 w 1474197"/>
              <a:gd name="connsiteY0" fmla="*/ 0 h 1320627"/>
              <a:gd name="connsiteX1" fmla="*/ 436188 w 1474197"/>
              <a:gd name="connsiteY1" fmla="*/ 1295423 h 1320627"/>
              <a:gd name="connsiteX2" fmla="*/ 1474197 w 1474197"/>
              <a:gd name="connsiteY2" fmla="*/ 1318894 h 1320627"/>
              <a:gd name="connsiteX0" fmla="*/ 0 w 1459267"/>
              <a:gd name="connsiteY0" fmla="*/ 0 h 1363796"/>
              <a:gd name="connsiteX1" fmla="*/ 421258 w 1459267"/>
              <a:gd name="connsiteY1" fmla="*/ 1338592 h 1363796"/>
              <a:gd name="connsiteX2" fmla="*/ 1459267 w 1459267"/>
              <a:gd name="connsiteY2" fmla="*/ 1362063 h 1363796"/>
              <a:gd name="connsiteX0" fmla="*/ 0 w 1459267"/>
              <a:gd name="connsiteY0" fmla="*/ 0 h 1363796"/>
              <a:gd name="connsiteX1" fmla="*/ 421258 w 1459267"/>
              <a:gd name="connsiteY1" fmla="*/ 1338592 h 1363796"/>
              <a:gd name="connsiteX2" fmla="*/ 1459267 w 1459267"/>
              <a:gd name="connsiteY2" fmla="*/ 1362063 h 1363796"/>
              <a:gd name="connsiteX0" fmla="*/ 0 w 1448070"/>
              <a:gd name="connsiteY0" fmla="*/ 0 h 1348098"/>
              <a:gd name="connsiteX1" fmla="*/ 410061 w 1448070"/>
              <a:gd name="connsiteY1" fmla="*/ 1322894 h 1348098"/>
              <a:gd name="connsiteX2" fmla="*/ 1448070 w 1448070"/>
              <a:gd name="connsiteY2" fmla="*/ 1346365 h 1348098"/>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1448070 w 1448070"/>
              <a:gd name="connsiteY2" fmla="*/ 1346365 h 1346365"/>
              <a:gd name="connsiteX0" fmla="*/ 0 w 1448070"/>
              <a:gd name="connsiteY0" fmla="*/ 0 h 1346365"/>
              <a:gd name="connsiteX1" fmla="*/ 410061 w 1448070"/>
              <a:gd name="connsiteY1" fmla="*/ 1322894 h 1346365"/>
              <a:gd name="connsiteX2" fmla="*/ 723259 w 1448070"/>
              <a:gd name="connsiteY2" fmla="*/ 1330620 h 1346365"/>
              <a:gd name="connsiteX3" fmla="*/ 1448070 w 1448070"/>
              <a:gd name="connsiteY3" fmla="*/ 1346365 h 1346365"/>
            </a:gdLst>
            <a:ahLst/>
            <a:cxnLst>
              <a:cxn ang="0">
                <a:pos x="connsiteX0" y="connsiteY0"/>
              </a:cxn>
              <a:cxn ang="0">
                <a:pos x="connsiteX1" y="connsiteY1"/>
              </a:cxn>
              <a:cxn ang="0">
                <a:pos x="connsiteX2" y="connsiteY2"/>
              </a:cxn>
              <a:cxn ang="0">
                <a:pos x="connsiteX3" y="connsiteY3"/>
              </a:cxn>
            </a:cxnLst>
            <a:rect l="l" t="t" r="r" b="b"/>
            <a:pathLst>
              <a:path w="1448070" h="1346365">
                <a:moveTo>
                  <a:pt x="0" y="0"/>
                </a:moveTo>
                <a:cubicBezTo>
                  <a:pt x="271214" y="70674"/>
                  <a:pt x="229976" y="759547"/>
                  <a:pt x="410061" y="1322894"/>
                </a:cubicBezTo>
                <a:lnTo>
                  <a:pt x="723259" y="1330620"/>
                </a:lnTo>
                <a:lnTo>
                  <a:pt x="1448070" y="1346365"/>
                </a:lnTo>
              </a:path>
            </a:pathLst>
          </a:custGeom>
          <a:noFill/>
          <a:ln w="50800" cap="rnd">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1" name="TextBox 70">
            <a:extLst>
              <a:ext uri="{FF2B5EF4-FFF2-40B4-BE49-F238E27FC236}">
                <a16:creationId xmlns:a16="http://schemas.microsoft.com/office/drawing/2014/main" id="{192B2E63-4E4A-48BD-A851-8B95B25D69F8}"/>
              </a:ext>
            </a:extLst>
          </p:cNvPr>
          <p:cNvSpPr txBox="1"/>
          <p:nvPr/>
        </p:nvSpPr>
        <p:spPr>
          <a:xfrm rot="16200000">
            <a:off x="-680761" y="3300901"/>
            <a:ext cx="2961667" cy="276999"/>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2F2A50"/>
                </a:solidFill>
                <a:effectLst/>
                <a:uLnTx/>
                <a:uFillTx/>
                <a:latin typeface="Arial" panose="020B0604020202020204"/>
                <a:ea typeface="MS PGothic" charset="0"/>
                <a:cs typeface="+mn-cs"/>
              </a:rPr>
              <a:t>Clinical Risk of HF Event</a:t>
            </a:r>
          </a:p>
        </p:txBody>
      </p:sp>
      <p:sp>
        <p:nvSpPr>
          <p:cNvPr id="72" name="TextBox 71">
            <a:extLst>
              <a:ext uri="{FF2B5EF4-FFF2-40B4-BE49-F238E27FC236}">
                <a16:creationId xmlns:a16="http://schemas.microsoft.com/office/drawing/2014/main" id="{F16AE8A6-FB2B-40B9-90E4-181CA9AD5DFE}"/>
              </a:ext>
            </a:extLst>
          </p:cNvPr>
          <p:cNvSpPr txBox="1"/>
          <p:nvPr/>
        </p:nvSpPr>
        <p:spPr>
          <a:xfrm>
            <a:off x="4146416" y="3341564"/>
            <a:ext cx="993734" cy="461665"/>
          </a:xfrm>
          <a:prstGeom prst="rect">
            <a:avLst/>
          </a:prstGeom>
          <a:noFill/>
        </p:spPr>
        <p:txBody>
          <a:bodyPr wrap="none" rtlCol="0">
            <a:spAutoFit/>
          </a:bodyPr>
          <a:lstStyle>
            <a:defPPr>
              <a:defRPr lang="en-US"/>
            </a:defPPr>
            <a:lvl1pPr>
              <a:defRPr sz="1200" b="1">
                <a:solidFill>
                  <a:srgbClr val="FF4F25"/>
                </a:solidFill>
              </a:defRPr>
            </a:lvl1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920044"/>
                </a:solidFill>
                <a:effectLst/>
                <a:uLnTx/>
                <a:uFillTx/>
                <a:latin typeface="Arial" panose="020B0604020202020204"/>
                <a:ea typeface="MS PGothic" charset="0"/>
                <a:cs typeface="+mn-cs"/>
              </a:rPr>
              <a:t>'Vericiguat'</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920044"/>
                </a:solidFill>
                <a:effectLst/>
                <a:uLnTx/>
                <a:uFillTx/>
                <a:latin typeface="Arial" panose="020B0604020202020204"/>
                <a:ea typeface="MS PGothic" charset="0"/>
                <a:cs typeface="+mn-cs"/>
              </a:rPr>
              <a:t>Initiation?</a:t>
            </a:r>
          </a:p>
        </p:txBody>
      </p:sp>
      <p:sp>
        <p:nvSpPr>
          <p:cNvPr id="73" name="TextBox 72">
            <a:extLst>
              <a:ext uri="{FF2B5EF4-FFF2-40B4-BE49-F238E27FC236}">
                <a16:creationId xmlns:a16="http://schemas.microsoft.com/office/drawing/2014/main" id="{2111802B-A17F-4EFD-ACF4-8F3B2D248E70}"/>
              </a:ext>
            </a:extLst>
          </p:cNvPr>
          <p:cNvSpPr txBox="1"/>
          <p:nvPr/>
        </p:nvSpPr>
        <p:spPr>
          <a:xfrm>
            <a:off x="1916039" y="2788607"/>
            <a:ext cx="829073" cy="461665"/>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667179"/>
                </a:solidFill>
                <a:effectLst/>
                <a:uLnTx/>
                <a:uFillTx/>
                <a:latin typeface="Arial" panose="020B0604020202020204"/>
                <a:ea typeface="MS PGothic" charset="0"/>
                <a:cs typeface="+mn-cs"/>
              </a:rPr>
              <a:t>GDMT</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667179"/>
                </a:solidFill>
                <a:effectLst/>
                <a:uLnTx/>
                <a:uFillTx/>
                <a:latin typeface="Arial" panose="020B0604020202020204"/>
                <a:ea typeface="MS PGothic" charset="0"/>
                <a:cs typeface="+mn-cs"/>
              </a:rPr>
              <a:t>Initiation</a:t>
            </a:r>
          </a:p>
        </p:txBody>
      </p:sp>
      <p:sp>
        <p:nvSpPr>
          <p:cNvPr id="74" name="TextBox 73">
            <a:extLst>
              <a:ext uri="{FF2B5EF4-FFF2-40B4-BE49-F238E27FC236}">
                <a16:creationId xmlns:a16="http://schemas.microsoft.com/office/drawing/2014/main" id="{295C11EC-2CB2-4F6B-9782-63F4D2011F94}"/>
              </a:ext>
            </a:extLst>
          </p:cNvPr>
          <p:cNvSpPr txBox="1"/>
          <p:nvPr/>
        </p:nvSpPr>
        <p:spPr>
          <a:xfrm>
            <a:off x="1296275" y="5431481"/>
            <a:ext cx="998991" cy="261610"/>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3–6 Months </a:t>
            </a:r>
          </a:p>
        </p:txBody>
      </p:sp>
      <p:sp>
        <p:nvSpPr>
          <p:cNvPr id="75" name="TextBox 74">
            <a:extLst>
              <a:ext uri="{FF2B5EF4-FFF2-40B4-BE49-F238E27FC236}">
                <a16:creationId xmlns:a16="http://schemas.microsoft.com/office/drawing/2014/main" id="{CA79D7F2-666A-4E2F-B062-FA2830ADB593}"/>
              </a:ext>
            </a:extLst>
          </p:cNvPr>
          <p:cNvSpPr txBox="1"/>
          <p:nvPr/>
        </p:nvSpPr>
        <p:spPr>
          <a:xfrm>
            <a:off x="3149771" y="5431481"/>
            <a:ext cx="1319592" cy="430887"/>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Variable </a:t>
            </a:r>
            <a:b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b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Months – Years)</a:t>
            </a:r>
          </a:p>
        </p:txBody>
      </p:sp>
      <p:sp>
        <p:nvSpPr>
          <p:cNvPr id="76" name="TextBox 75">
            <a:extLst>
              <a:ext uri="{FF2B5EF4-FFF2-40B4-BE49-F238E27FC236}">
                <a16:creationId xmlns:a16="http://schemas.microsoft.com/office/drawing/2014/main" id="{B2360645-20FC-494D-8EAF-EA1E3A80A679}"/>
              </a:ext>
            </a:extLst>
          </p:cNvPr>
          <p:cNvSpPr txBox="1"/>
          <p:nvPr/>
        </p:nvSpPr>
        <p:spPr>
          <a:xfrm>
            <a:off x="6479571" y="5431481"/>
            <a:ext cx="779381" cy="430887"/>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Variable </a:t>
            </a:r>
            <a:b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b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Months)</a:t>
            </a:r>
          </a:p>
        </p:txBody>
      </p:sp>
      <p:sp>
        <p:nvSpPr>
          <p:cNvPr id="77" name="TextBox 76">
            <a:extLst>
              <a:ext uri="{FF2B5EF4-FFF2-40B4-BE49-F238E27FC236}">
                <a16:creationId xmlns:a16="http://schemas.microsoft.com/office/drawing/2014/main" id="{C6DA6F98-3BCC-4C94-8855-160177E1939A}"/>
              </a:ext>
            </a:extLst>
          </p:cNvPr>
          <p:cNvSpPr txBox="1"/>
          <p:nvPr/>
        </p:nvSpPr>
        <p:spPr>
          <a:xfrm>
            <a:off x="10077811" y="5431481"/>
            <a:ext cx="779381" cy="430887"/>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Variable </a:t>
            </a:r>
            <a:b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br>
            <a:r>
              <a:rPr kumimoji="0" lang="en-GB" sz="1100" b="1" i="0" u="none" strike="noStrike" kern="1200" cap="none" spc="0" normalizeH="0" baseline="0" noProof="0">
                <a:ln>
                  <a:noFill/>
                </a:ln>
                <a:solidFill>
                  <a:srgbClr val="2F2A50"/>
                </a:solidFill>
                <a:effectLst/>
                <a:uLnTx/>
                <a:uFillTx/>
                <a:latin typeface="Arial" panose="020B0604020202020204"/>
                <a:ea typeface="MS PGothic" charset="0"/>
                <a:cs typeface="+mn-cs"/>
              </a:rPr>
              <a:t>(Months)</a:t>
            </a:r>
          </a:p>
        </p:txBody>
      </p:sp>
      <p:sp>
        <p:nvSpPr>
          <p:cNvPr id="78" name="TextBox 77">
            <a:extLst>
              <a:ext uri="{FF2B5EF4-FFF2-40B4-BE49-F238E27FC236}">
                <a16:creationId xmlns:a16="http://schemas.microsoft.com/office/drawing/2014/main" id="{18811032-D46C-4C00-9708-66827598DF96}"/>
              </a:ext>
            </a:extLst>
          </p:cNvPr>
          <p:cNvSpPr txBox="1"/>
          <p:nvPr/>
        </p:nvSpPr>
        <p:spPr>
          <a:xfrm>
            <a:off x="7091181" y="4408383"/>
            <a:ext cx="1396601" cy="369332"/>
          </a:xfrm>
          <a:prstGeom prst="rect">
            <a:avLst/>
          </a:prstGeom>
          <a:noFill/>
        </p:spPr>
        <p:txBody>
          <a:bodyPr wrap="none" rtlCol="0">
            <a:spAutoFit/>
          </a:bodyPr>
          <a:lstStyle>
            <a:defPPr>
              <a:defRPr lang="en-US"/>
            </a:defPPr>
            <a:lvl1pPr>
              <a:defRPr sz="1200" b="1">
                <a:solidFill>
                  <a:srgbClr val="FF4F25"/>
                </a:solidFill>
              </a:defRPr>
            </a:lvl1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920044"/>
                </a:solidFill>
                <a:effectLst/>
                <a:uLnTx/>
                <a:uFillTx/>
                <a:latin typeface="Arial" panose="020B0604020202020204"/>
                <a:ea typeface="MS PGothic" charset="0"/>
                <a:cs typeface="+mn-cs"/>
              </a:rPr>
              <a:t>'Vericiguat'</a:t>
            </a:r>
          </a:p>
        </p:txBody>
      </p:sp>
      <p:sp>
        <p:nvSpPr>
          <p:cNvPr id="83" name="Freeform: Shape 82">
            <a:extLst>
              <a:ext uri="{FF2B5EF4-FFF2-40B4-BE49-F238E27FC236}">
                <a16:creationId xmlns:a16="http://schemas.microsoft.com/office/drawing/2014/main" id="{58F9D7C4-6152-4523-A3B8-DE3D05B5998B}"/>
              </a:ext>
            </a:extLst>
          </p:cNvPr>
          <p:cNvSpPr/>
          <p:nvPr/>
        </p:nvSpPr>
        <p:spPr>
          <a:xfrm>
            <a:off x="4597034" y="3537133"/>
            <a:ext cx="6528514" cy="954225"/>
          </a:xfrm>
          <a:custGeom>
            <a:avLst/>
            <a:gdLst>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842963 w 4791075"/>
              <a:gd name="connsiteY13" fmla="*/ 714458 h 935482"/>
              <a:gd name="connsiteX14" fmla="*/ 542925 w 4791075"/>
              <a:gd name="connsiteY14" fmla="*/ 833520 h 935482"/>
              <a:gd name="connsiteX15" fmla="*/ 228600 w 4791075"/>
              <a:gd name="connsiteY15" fmla="*/ 881145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828675 w 4791075"/>
              <a:gd name="connsiteY13" fmla="*/ 728746 h 935482"/>
              <a:gd name="connsiteX14" fmla="*/ 542925 w 4791075"/>
              <a:gd name="connsiteY14" fmla="*/ 833520 h 935482"/>
              <a:gd name="connsiteX15" fmla="*/ 228600 w 4791075"/>
              <a:gd name="connsiteY15" fmla="*/ 881145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828675 w 4791075"/>
              <a:gd name="connsiteY13" fmla="*/ 728746 h 935482"/>
              <a:gd name="connsiteX14" fmla="*/ 542925 w 4791075"/>
              <a:gd name="connsiteY14" fmla="*/ 833520 h 935482"/>
              <a:gd name="connsiteX15" fmla="*/ 228600 w 4791075"/>
              <a:gd name="connsiteY15" fmla="*/ 881145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828675 w 4791075"/>
              <a:gd name="connsiteY13" fmla="*/ 728746 h 935482"/>
              <a:gd name="connsiteX14" fmla="*/ 542925 w 4791075"/>
              <a:gd name="connsiteY14" fmla="*/ 833520 h 935482"/>
              <a:gd name="connsiteX15" fmla="*/ 228600 w 4791075"/>
              <a:gd name="connsiteY15" fmla="*/ 881145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828675 w 4791075"/>
              <a:gd name="connsiteY13" fmla="*/ 728746 h 935482"/>
              <a:gd name="connsiteX14" fmla="*/ 542925 w 4791075"/>
              <a:gd name="connsiteY14" fmla="*/ 833520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828675 w 4791075"/>
              <a:gd name="connsiteY13" fmla="*/ 728746 h 935482"/>
              <a:gd name="connsiteX14" fmla="*/ 557213 w 4791075"/>
              <a:gd name="connsiteY14" fmla="*/ 833520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04908 h 935482"/>
              <a:gd name="connsiteX13" fmla="*/ 795337 w 4791075"/>
              <a:gd name="connsiteY13" fmla="*/ 723983 h 935482"/>
              <a:gd name="connsiteX14" fmla="*/ 557213 w 4791075"/>
              <a:gd name="connsiteY14" fmla="*/ 833520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19195 h 935482"/>
              <a:gd name="connsiteX13" fmla="*/ 795337 w 4791075"/>
              <a:gd name="connsiteY13" fmla="*/ 723983 h 935482"/>
              <a:gd name="connsiteX14" fmla="*/ 557213 w 4791075"/>
              <a:gd name="connsiteY14" fmla="*/ 833520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19195 h 935482"/>
              <a:gd name="connsiteX13" fmla="*/ 871537 w 4791075"/>
              <a:gd name="connsiteY13" fmla="*/ 690645 h 935482"/>
              <a:gd name="connsiteX14" fmla="*/ 557213 w 4791075"/>
              <a:gd name="connsiteY14" fmla="*/ 833520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19195 h 935482"/>
              <a:gd name="connsiteX13" fmla="*/ 885824 w 4791075"/>
              <a:gd name="connsiteY13" fmla="*/ 700170 h 935482"/>
              <a:gd name="connsiteX14" fmla="*/ 557213 w 4791075"/>
              <a:gd name="connsiteY14" fmla="*/ 833520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19195 h 935482"/>
              <a:gd name="connsiteX13" fmla="*/ 885824 w 4791075"/>
              <a:gd name="connsiteY13" fmla="*/ 700170 h 935482"/>
              <a:gd name="connsiteX14" fmla="*/ 609600 w 4791075"/>
              <a:gd name="connsiteY14" fmla="*/ 809708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33463 w 4791075"/>
              <a:gd name="connsiteY12" fmla="*/ 519195 h 935482"/>
              <a:gd name="connsiteX13" fmla="*/ 842961 w 4791075"/>
              <a:gd name="connsiteY13" fmla="*/ 719220 h 935482"/>
              <a:gd name="connsiteX14" fmla="*/ 609600 w 4791075"/>
              <a:gd name="connsiteY14" fmla="*/ 809708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71563 w 4791075"/>
              <a:gd name="connsiteY12" fmla="*/ 504907 h 935482"/>
              <a:gd name="connsiteX13" fmla="*/ 842961 w 4791075"/>
              <a:gd name="connsiteY13" fmla="*/ 719220 h 935482"/>
              <a:gd name="connsiteX14" fmla="*/ 609600 w 4791075"/>
              <a:gd name="connsiteY14" fmla="*/ 809708 h 935482"/>
              <a:gd name="connsiteX15" fmla="*/ 252412 w 4791075"/>
              <a:gd name="connsiteY15" fmla="*/ 885907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71563 w 4791075"/>
              <a:gd name="connsiteY12" fmla="*/ 504907 h 935482"/>
              <a:gd name="connsiteX13" fmla="*/ 842961 w 4791075"/>
              <a:gd name="connsiteY13" fmla="*/ 719220 h 935482"/>
              <a:gd name="connsiteX14" fmla="*/ 609600 w 4791075"/>
              <a:gd name="connsiteY14" fmla="*/ 809708 h 935482"/>
              <a:gd name="connsiteX15" fmla="*/ 300037 w 4791075"/>
              <a:gd name="connsiteY15" fmla="*/ 876382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71563 w 4791075"/>
              <a:gd name="connsiteY12" fmla="*/ 504907 h 935482"/>
              <a:gd name="connsiteX13" fmla="*/ 842961 w 4791075"/>
              <a:gd name="connsiteY13" fmla="*/ 719220 h 935482"/>
              <a:gd name="connsiteX14" fmla="*/ 561975 w 4791075"/>
              <a:gd name="connsiteY14" fmla="*/ 823996 h 935482"/>
              <a:gd name="connsiteX15" fmla="*/ 300037 w 4791075"/>
              <a:gd name="connsiteY15" fmla="*/ 876382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71563 w 4791075"/>
              <a:gd name="connsiteY12" fmla="*/ 504907 h 935482"/>
              <a:gd name="connsiteX13" fmla="*/ 842961 w 4791075"/>
              <a:gd name="connsiteY13" fmla="*/ 719220 h 935482"/>
              <a:gd name="connsiteX14" fmla="*/ 766763 w 4791075"/>
              <a:gd name="connsiteY14" fmla="*/ 876383 h 935482"/>
              <a:gd name="connsiteX15" fmla="*/ 561975 w 4791075"/>
              <a:gd name="connsiteY15" fmla="*/ 823996 h 935482"/>
              <a:gd name="connsiteX16" fmla="*/ 300037 w 4791075"/>
              <a:gd name="connsiteY16" fmla="*/ 876382 h 935482"/>
              <a:gd name="connsiteX17" fmla="*/ 0 w 4791075"/>
              <a:gd name="connsiteY17"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71563 w 4791075"/>
              <a:gd name="connsiteY12" fmla="*/ 504907 h 935482"/>
              <a:gd name="connsiteX13" fmla="*/ 842961 w 4791075"/>
              <a:gd name="connsiteY13" fmla="*/ 719220 h 935482"/>
              <a:gd name="connsiteX14" fmla="*/ 561975 w 4791075"/>
              <a:gd name="connsiteY14" fmla="*/ 823996 h 935482"/>
              <a:gd name="connsiteX15" fmla="*/ 300037 w 4791075"/>
              <a:gd name="connsiteY15" fmla="*/ 876382 h 935482"/>
              <a:gd name="connsiteX16" fmla="*/ 0 w 4791075"/>
              <a:gd name="connsiteY16" fmla="*/ 890670 h 935482"/>
              <a:gd name="connsiteX0" fmla="*/ 4791075 w 4791075"/>
              <a:gd name="connsiteY0" fmla="*/ 95333 h 935482"/>
              <a:gd name="connsiteX1" fmla="*/ 4410075 w 4791075"/>
              <a:gd name="connsiteY1" fmla="*/ 83 h 935482"/>
              <a:gd name="connsiteX2" fmla="*/ 4090988 w 4791075"/>
              <a:gd name="connsiteY2" fmla="*/ 109620 h 935482"/>
              <a:gd name="connsiteX3" fmla="*/ 3924300 w 4791075"/>
              <a:gd name="connsiteY3" fmla="*/ 381083 h 935482"/>
              <a:gd name="connsiteX4" fmla="*/ 3748088 w 4791075"/>
              <a:gd name="connsiteY4" fmla="*/ 533483 h 935482"/>
              <a:gd name="connsiteX5" fmla="*/ 3457575 w 4791075"/>
              <a:gd name="connsiteY5" fmla="*/ 671595 h 935482"/>
              <a:gd name="connsiteX6" fmla="*/ 3067050 w 4791075"/>
              <a:gd name="connsiteY6" fmla="*/ 823995 h 935482"/>
              <a:gd name="connsiteX7" fmla="*/ 2471738 w 4791075"/>
              <a:gd name="connsiteY7" fmla="*/ 928770 h 935482"/>
              <a:gd name="connsiteX8" fmla="*/ 2024063 w 4791075"/>
              <a:gd name="connsiteY8" fmla="*/ 909720 h 935482"/>
              <a:gd name="connsiteX9" fmla="*/ 1728788 w 4791075"/>
              <a:gd name="connsiteY9" fmla="*/ 785895 h 935482"/>
              <a:gd name="connsiteX10" fmla="*/ 1500188 w 4791075"/>
              <a:gd name="connsiteY10" fmla="*/ 604920 h 935482"/>
              <a:gd name="connsiteX11" fmla="*/ 1271588 w 4791075"/>
              <a:gd name="connsiteY11" fmla="*/ 476333 h 935482"/>
              <a:gd name="connsiteX12" fmla="*/ 1071563 w 4791075"/>
              <a:gd name="connsiteY12" fmla="*/ 504907 h 935482"/>
              <a:gd name="connsiteX13" fmla="*/ 852486 w 4791075"/>
              <a:gd name="connsiteY13" fmla="*/ 709695 h 935482"/>
              <a:gd name="connsiteX14" fmla="*/ 561975 w 4791075"/>
              <a:gd name="connsiteY14" fmla="*/ 823996 h 935482"/>
              <a:gd name="connsiteX15" fmla="*/ 300037 w 4791075"/>
              <a:gd name="connsiteY15" fmla="*/ 876382 h 935482"/>
              <a:gd name="connsiteX16" fmla="*/ 0 w 4791075"/>
              <a:gd name="connsiteY16" fmla="*/ 890670 h 935482"/>
              <a:gd name="connsiteX0" fmla="*/ 4791075 w 4791075"/>
              <a:gd name="connsiteY0" fmla="*/ 95333 h 936377"/>
              <a:gd name="connsiteX1" fmla="*/ 4410075 w 4791075"/>
              <a:gd name="connsiteY1" fmla="*/ 83 h 936377"/>
              <a:gd name="connsiteX2" fmla="*/ 4090988 w 4791075"/>
              <a:gd name="connsiteY2" fmla="*/ 109620 h 936377"/>
              <a:gd name="connsiteX3" fmla="*/ 3924300 w 4791075"/>
              <a:gd name="connsiteY3" fmla="*/ 381083 h 936377"/>
              <a:gd name="connsiteX4" fmla="*/ 3748088 w 4791075"/>
              <a:gd name="connsiteY4" fmla="*/ 533483 h 936377"/>
              <a:gd name="connsiteX5" fmla="*/ 3457575 w 4791075"/>
              <a:gd name="connsiteY5" fmla="*/ 671595 h 936377"/>
              <a:gd name="connsiteX6" fmla="*/ 3067050 w 4791075"/>
              <a:gd name="connsiteY6" fmla="*/ 823995 h 936377"/>
              <a:gd name="connsiteX7" fmla="*/ 2471738 w 4791075"/>
              <a:gd name="connsiteY7" fmla="*/ 928770 h 936377"/>
              <a:gd name="connsiteX8" fmla="*/ 2024063 w 4791075"/>
              <a:gd name="connsiteY8" fmla="*/ 909720 h 936377"/>
              <a:gd name="connsiteX9" fmla="*/ 1719263 w 4791075"/>
              <a:gd name="connsiteY9" fmla="*/ 762082 h 936377"/>
              <a:gd name="connsiteX10" fmla="*/ 1500188 w 4791075"/>
              <a:gd name="connsiteY10" fmla="*/ 604920 h 936377"/>
              <a:gd name="connsiteX11" fmla="*/ 1271588 w 4791075"/>
              <a:gd name="connsiteY11" fmla="*/ 476333 h 936377"/>
              <a:gd name="connsiteX12" fmla="*/ 1071563 w 4791075"/>
              <a:gd name="connsiteY12" fmla="*/ 504907 h 936377"/>
              <a:gd name="connsiteX13" fmla="*/ 852486 w 4791075"/>
              <a:gd name="connsiteY13" fmla="*/ 709695 h 936377"/>
              <a:gd name="connsiteX14" fmla="*/ 561975 w 4791075"/>
              <a:gd name="connsiteY14" fmla="*/ 823996 h 936377"/>
              <a:gd name="connsiteX15" fmla="*/ 300037 w 4791075"/>
              <a:gd name="connsiteY15" fmla="*/ 876382 h 936377"/>
              <a:gd name="connsiteX16" fmla="*/ 0 w 4791075"/>
              <a:gd name="connsiteY16" fmla="*/ 890670 h 936377"/>
              <a:gd name="connsiteX0" fmla="*/ 4791075 w 4791075"/>
              <a:gd name="connsiteY0" fmla="*/ 95333 h 933573"/>
              <a:gd name="connsiteX1" fmla="*/ 4410075 w 4791075"/>
              <a:gd name="connsiteY1" fmla="*/ 83 h 933573"/>
              <a:gd name="connsiteX2" fmla="*/ 4090988 w 4791075"/>
              <a:gd name="connsiteY2" fmla="*/ 109620 h 933573"/>
              <a:gd name="connsiteX3" fmla="*/ 3924300 w 4791075"/>
              <a:gd name="connsiteY3" fmla="*/ 381083 h 933573"/>
              <a:gd name="connsiteX4" fmla="*/ 3748088 w 4791075"/>
              <a:gd name="connsiteY4" fmla="*/ 533483 h 933573"/>
              <a:gd name="connsiteX5" fmla="*/ 3457575 w 4791075"/>
              <a:gd name="connsiteY5" fmla="*/ 671595 h 933573"/>
              <a:gd name="connsiteX6" fmla="*/ 3067050 w 4791075"/>
              <a:gd name="connsiteY6" fmla="*/ 823995 h 933573"/>
              <a:gd name="connsiteX7" fmla="*/ 2471738 w 4791075"/>
              <a:gd name="connsiteY7" fmla="*/ 928770 h 933573"/>
              <a:gd name="connsiteX8" fmla="*/ 2028825 w 4791075"/>
              <a:gd name="connsiteY8" fmla="*/ 900195 h 933573"/>
              <a:gd name="connsiteX9" fmla="*/ 1719263 w 4791075"/>
              <a:gd name="connsiteY9" fmla="*/ 762082 h 933573"/>
              <a:gd name="connsiteX10" fmla="*/ 1500188 w 4791075"/>
              <a:gd name="connsiteY10" fmla="*/ 604920 h 933573"/>
              <a:gd name="connsiteX11" fmla="*/ 1271588 w 4791075"/>
              <a:gd name="connsiteY11" fmla="*/ 476333 h 933573"/>
              <a:gd name="connsiteX12" fmla="*/ 1071563 w 4791075"/>
              <a:gd name="connsiteY12" fmla="*/ 504907 h 933573"/>
              <a:gd name="connsiteX13" fmla="*/ 852486 w 4791075"/>
              <a:gd name="connsiteY13" fmla="*/ 709695 h 933573"/>
              <a:gd name="connsiteX14" fmla="*/ 561975 w 4791075"/>
              <a:gd name="connsiteY14" fmla="*/ 823996 h 933573"/>
              <a:gd name="connsiteX15" fmla="*/ 300037 w 4791075"/>
              <a:gd name="connsiteY15" fmla="*/ 876382 h 933573"/>
              <a:gd name="connsiteX16" fmla="*/ 0 w 4791075"/>
              <a:gd name="connsiteY16" fmla="*/ 890670 h 933573"/>
              <a:gd name="connsiteX0" fmla="*/ 4791075 w 4791075"/>
              <a:gd name="connsiteY0" fmla="*/ 95333 h 933573"/>
              <a:gd name="connsiteX1" fmla="*/ 4410075 w 4791075"/>
              <a:gd name="connsiteY1" fmla="*/ 83 h 933573"/>
              <a:gd name="connsiteX2" fmla="*/ 4090988 w 4791075"/>
              <a:gd name="connsiteY2" fmla="*/ 109620 h 933573"/>
              <a:gd name="connsiteX3" fmla="*/ 3924300 w 4791075"/>
              <a:gd name="connsiteY3" fmla="*/ 381083 h 933573"/>
              <a:gd name="connsiteX4" fmla="*/ 3748088 w 4791075"/>
              <a:gd name="connsiteY4" fmla="*/ 533483 h 933573"/>
              <a:gd name="connsiteX5" fmla="*/ 3457575 w 4791075"/>
              <a:gd name="connsiteY5" fmla="*/ 671595 h 933573"/>
              <a:gd name="connsiteX6" fmla="*/ 3067050 w 4791075"/>
              <a:gd name="connsiteY6" fmla="*/ 823995 h 933573"/>
              <a:gd name="connsiteX7" fmla="*/ 2533650 w 4791075"/>
              <a:gd name="connsiteY7" fmla="*/ 928770 h 933573"/>
              <a:gd name="connsiteX8" fmla="*/ 2028825 w 4791075"/>
              <a:gd name="connsiteY8" fmla="*/ 900195 h 933573"/>
              <a:gd name="connsiteX9" fmla="*/ 1719263 w 4791075"/>
              <a:gd name="connsiteY9" fmla="*/ 762082 h 933573"/>
              <a:gd name="connsiteX10" fmla="*/ 1500188 w 4791075"/>
              <a:gd name="connsiteY10" fmla="*/ 604920 h 933573"/>
              <a:gd name="connsiteX11" fmla="*/ 1271588 w 4791075"/>
              <a:gd name="connsiteY11" fmla="*/ 476333 h 933573"/>
              <a:gd name="connsiteX12" fmla="*/ 1071563 w 4791075"/>
              <a:gd name="connsiteY12" fmla="*/ 504907 h 933573"/>
              <a:gd name="connsiteX13" fmla="*/ 852486 w 4791075"/>
              <a:gd name="connsiteY13" fmla="*/ 709695 h 933573"/>
              <a:gd name="connsiteX14" fmla="*/ 561975 w 4791075"/>
              <a:gd name="connsiteY14" fmla="*/ 823996 h 933573"/>
              <a:gd name="connsiteX15" fmla="*/ 300037 w 4791075"/>
              <a:gd name="connsiteY15" fmla="*/ 876382 h 933573"/>
              <a:gd name="connsiteX16" fmla="*/ 0 w 4791075"/>
              <a:gd name="connsiteY16" fmla="*/ 890670 h 933573"/>
              <a:gd name="connsiteX0" fmla="*/ 4791075 w 4791075"/>
              <a:gd name="connsiteY0" fmla="*/ 95333 h 925774"/>
              <a:gd name="connsiteX1" fmla="*/ 4410075 w 4791075"/>
              <a:gd name="connsiteY1" fmla="*/ 83 h 925774"/>
              <a:gd name="connsiteX2" fmla="*/ 4090988 w 4791075"/>
              <a:gd name="connsiteY2" fmla="*/ 109620 h 925774"/>
              <a:gd name="connsiteX3" fmla="*/ 3924300 w 4791075"/>
              <a:gd name="connsiteY3" fmla="*/ 381083 h 925774"/>
              <a:gd name="connsiteX4" fmla="*/ 3748088 w 4791075"/>
              <a:gd name="connsiteY4" fmla="*/ 533483 h 925774"/>
              <a:gd name="connsiteX5" fmla="*/ 3457575 w 4791075"/>
              <a:gd name="connsiteY5" fmla="*/ 671595 h 925774"/>
              <a:gd name="connsiteX6" fmla="*/ 3067050 w 4791075"/>
              <a:gd name="connsiteY6" fmla="*/ 823995 h 925774"/>
              <a:gd name="connsiteX7" fmla="*/ 2547938 w 4791075"/>
              <a:gd name="connsiteY7" fmla="*/ 919245 h 925774"/>
              <a:gd name="connsiteX8" fmla="*/ 2028825 w 4791075"/>
              <a:gd name="connsiteY8" fmla="*/ 900195 h 925774"/>
              <a:gd name="connsiteX9" fmla="*/ 1719263 w 4791075"/>
              <a:gd name="connsiteY9" fmla="*/ 762082 h 925774"/>
              <a:gd name="connsiteX10" fmla="*/ 1500188 w 4791075"/>
              <a:gd name="connsiteY10" fmla="*/ 604920 h 925774"/>
              <a:gd name="connsiteX11" fmla="*/ 1271588 w 4791075"/>
              <a:gd name="connsiteY11" fmla="*/ 476333 h 925774"/>
              <a:gd name="connsiteX12" fmla="*/ 1071563 w 4791075"/>
              <a:gd name="connsiteY12" fmla="*/ 504907 h 925774"/>
              <a:gd name="connsiteX13" fmla="*/ 852486 w 4791075"/>
              <a:gd name="connsiteY13" fmla="*/ 709695 h 925774"/>
              <a:gd name="connsiteX14" fmla="*/ 561975 w 4791075"/>
              <a:gd name="connsiteY14" fmla="*/ 823996 h 925774"/>
              <a:gd name="connsiteX15" fmla="*/ 300037 w 4791075"/>
              <a:gd name="connsiteY15" fmla="*/ 876382 h 925774"/>
              <a:gd name="connsiteX16" fmla="*/ 0 w 4791075"/>
              <a:gd name="connsiteY16" fmla="*/ 890670 h 925774"/>
              <a:gd name="connsiteX0" fmla="*/ 4791075 w 4791075"/>
              <a:gd name="connsiteY0" fmla="*/ 95333 h 923158"/>
              <a:gd name="connsiteX1" fmla="*/ 4410075 w 4791075"/>
              <a:gd name="connsiteY1" fmla="*/ 83 h 923158"/>
              <a:gd name="connsiteX2" fmla="*/ 4090988 w 4791075"/>
              <a:gd name="connsiteY2" fmla="*/ 109620 h 923158"/>
              <a:gd name="connsiteX3" fmla="*/ 3924300 w 4791075"/>
              <a:gd name="connsiteY3" fmla="*/ 381083 h 923158"/>
              <a:gd name="connsiteX4" fmla="*/ 3748088 w 4791075"/>
              <a:gd name="connsiteY4" fmla="*/ 533483 h 923158"/>
              <a:gd name="connsiteX5" fmla="*/ 3457575 w 4791075"/>
              <a:gd name="connsiteY5" fmla="*/ 671595 h 923158"/>
              <a:gd name="connsiteX6" fmla="*/ 3067050 w 4791075"/>
              <a:gd name="connsiteY6" fmla="*/ 823995 h 923158"/>
              <a:gd name="connsiteX7" fmla="*/ 2547938 w 4791075"/>
              <a:gd name="connsiteY7" fmla="*/ 919245 h 923158"/>
              <a:gd name="connsiteX8" fmla="*/ 2052638 w 4791075"/>
              <a:gd name="connsiteY8" fmla="*/ 890670 h 923158"/>
              <a:gd name="connsiteX9" fmla="*/ 1719263 w 4791075"/>
              <a:gd name="connsiteY9" fmla="*/ 762082 h 923158"/>
              <a:gd name="connsiteX10" fmla="*/ 1500188 w 4791075"/>
              <a:gd name="connsiteY10" fmla="*/ 604920 h 923158"/>
              <a:gd name="connsiteX11" fmla="*/ 1271588 w 4791075"/>
              <a:gd name="connsiteY11" fmla="*/ 476333 h 923158"/>
              <a:gd name="connsiteX12" fmla="*/ 1071563 w 4791075"/>
              <a:gd name="connsiteY12" fmla="*/ 504907 h 923158"/>
              <a:gd name="connsiteX13" fmla="*/ 852486 w 4791075"/>
              <a:gd name="connsiteY13" fmla="*/ 709695 h 923158"/>
              <a:gd name="connsiteX14" fmla="*/ 561975 w 4791075"/>
              <a:gd name="connsiteY14" fmla="*/ 823996 h 923158"/>
              <a:gd name="connsiteX15" fmla="*/ 300037 w 4791075"/>
              <a:gd name="connsiteY15" fmla="*/ 876382 h 923158"/>
              <a:gd name="connsiteX16" fmla="*/ 0 w 4791075"/>
              <a:gd name="connsiteY16" fmla="*/ 890670 h 923158"/>
              <a:gd name="connsiteX0" fmla="*/ 4791075 w 4791075"/>
              <a:gd name="connsiteY0" fmla="*/ 95333 h 922686"/>
              <a:gd name="connsiteX1" fmla="*/ 4410075 w 4791075"/>
              <a:gd name="connsiteY1" fmla="*/ 83 h 922686"/>
              <a:gd name="connsiteX2" fmla="*/ 4090988 w 4791075"/>
              <a:gd name="connsiteY2" fmla="*/ 109620 h 922686"/>
              <a:gd name="connsiteX3" fmla="*/ 3924300 w 4791075"/>
              <a:gd name="connsiteY3" fmla="*/ 381083 h 922686"/>
              <a:gd name="connsiteX4" fmla="*/ 3748088 w 4791075"/>
              <a:gd name="connsiteY4" fmla="*/ 533483 h 922686"/>
              <a:gd name="connsiteX5" fmla="*/ 3457575 w 4791075"/>
              <a:gd name="connsiteY5" fmla="*/ 671595 h 922686"/>
              <a:gd name="connsiteX6" fmla="*/ 3067050 w 4791075"/>
              <a:gd name="connsiteY6" fmla="*/ 823995 h 922686"/>
              <a:gd name="connsiteX7" fmla="*/ 2547938 w 4791075"/>
              <a:gd name="connsiteY7" fmla="*/ 919245 h 922686"/>
              <a:gd name="connsiteX8" fmla="*/ 2052638 w 4791075"/>
              <a:gd name="connsiteY8" fmla="*/ 890670 h 922686"/>
              <a:gd name="connsiteX9" fmla="*/ 1762125 w 4791075"/>
              <a:gd name="connsiteY9" fmla="*/ 785894 h 922686"/>
              <a:gd name="connsiteX10" fmla="*/ 1500188 w 4791075"/>
              <a:gd name="connsiteY10" fmla="*/ 604920 h 922686"/>
              <a:gd name="connsiteX11" fmla="*/ 1271588 w 4791075"/>
              <a:gd name="connsiteY11" fmla="*/ 476333 h 922686"/>
              <a:gd name="connsiteX12" fmla="*/ 1071563 w 4791075"/>
              <a:gd name="connsiteY12" fmla="*/ 504907 h 922686"/>
              <a:gd name="connsiteX13" fmla="*/ 852486 w 4791075"/>
              <a:gd name="connsiteY13" fmla="*/ 709695 h 922686"/>
              <a:gd name="connsiteX14" fmla="*/ 561975 w 4791075"/>
              <a:gd name="connsiteY14" fmla="*/ 823996 h 922686"/>
              <a:gd name="connsiteX15" fmla="*/ 300037 w 4791075"/>
              <a:gd name="connsiteY15" fmla="*/ 876382 h 922686"/>
              <a:gd name="connsiteX16" fmla="*/ 0 w 4791075"/>
              <a:gd name="connsiteY16" fmla="*/ 890670 h 922686"/>
              <a:gd name="connsiteX0" fmla="*/ 4791075 w 4791075"/>
              <a:gd name="connsiteY0" fmla="*/ 95333 h 928494"/>
              <a:gd name="connsiteX1" fmla="*/ 4410075 w 4791075"/>
              <a:gd name="connsiteY1" fmla="*/ 83 h 928494"/>
              <a:gd name="connsiteX2" fmla="*/ 4090988 w 4791075"/>
              <a:gd name="connsiteY2" fmla="*/ 109620 h 928494"/>
              <a:gd name="connsiteX3" fmla="*/ 3924300 w 4791075"/>
              <a:gd name="connsiteY3" fmla="*/ 381083 h 928494"/>
              <a:gd name="connsiteX4" fmla="*/ 3748088 w 4791075"/>
              <a:gd name="connsiteY4" fmla="*/ 533483 h 928494"/>
              <a:gd name="connsiteX5" fmla="*/ 3457575 w 4791075"/>
              <a:gd name="connsiteY5" fmla="*/ 671595 h 928494"/>
              <a:gd name="connsiteX6" fmla="*/ 3067050 w 4791075"/>
              <a:gd name="connsiteY6" fmla="*/ 823995 h 928494"/>
              <a:gd name="connsiteX7" fmla="*/ 2547938 w 4791075"/>
              <a:gd name="connsiteY7" fmla="*/ 919245 h 928494"/>
              <a:gd name="connsiteX8" fmla="*/ 2105026 w 4791075"/>
              <a:gd name="connsiteY8" fmla="*/ 909720 h 928494"/>
              <a:gd name="connsiteX9" fmla="*/ 1762125 w 4791075"/>
              <a:gd name="connsiteY9" fmla="*/ 785894 h 928494"/>
              <a:gd name="connsiteX10" fmla="*/ 1500188 w 4791075"/>
              <a:gd name="connsiteY10" fmla="*/ 604920 h 928494"/>
              <a:gd name="connsiteX11" fmla="*/ 1271588 w 4791075"/>
              <a:gd name="connsiteY11" fmla="*/ 476333 h 928494"/>
              <a:gd name="connsiteX12" fmla="*/ 1071563 w 4791075"/>
              <a:gd name="connsiteY12" fmla="*/ 504907 h 928494"/>
              <a:gd name="connsiteX13" fmla="*/ 852486 w 4791075"/>
              <a:gd name="connsiteY13" fmla="*/ 709695 h 928494"/>
              <a:gd name="connsiteX14" fmla="*/ 561975 w 4791075"/>
              <a:gd name="connsiteY14" fmla="*/ 823996 h 928494"/>
              <a:gd name="connsiteX15" fmla="*/ 300037 w 4791075"/>
              <a:gd name="connsiteY15" fmla="*/ 876382 h 928494"/>
              <a:gd name="connsiteX16" fmla="*/ 0 w 4791075"/>
              <a:gd name="connsiteY16" fmla="*/ 890670 h 928494"/>
              <a:gd name="connsiteX0" fmla="*/ 4791075 w 4791075"/>
              <a:gd name="connsiteY0" fmla="*/ 95333 h 928494"/>
              <a:gd name="connsiteX1" fmla="*/ 4410075 w 4791075"/>
              <a:gd name="connsiteY1" fmla="*/ 83 h 928494"/>
              <a:gd name="connsiteX2" fmla="*/ 4090988 w 4791075"/>
              <a:gd name="connsiteY2" fmla="*/ 109620 h 928494"/>
              <a:gd name="connsiteX3" fmla="*/ 3924300 w 4791075"/>
              <a:gd name="connsiteY3" fmla="*/ 381083 h 928494"/>
              <a:gd name="connsiteX4" fmla="*/ 3748088 w 4791075"/>
              <a:gd name="connsiteY4" fmla="*/ 533483 h 928494"/>
              <a:gd name="connsiteX5" fmla="*/ 3457575 w 4791075"/>
              <a:gd name="connsiteY5" fmla="*/ 671595 h 928494"/>
              <a:gd name="connsiteX6" fmla="*/ 3067050 w 4791075"/>
              <a:gd name="connsiteY6" fmla="*/ 823995 h 928494"/>
              <a:gd name="connsiteX7" fmla="*/ 2566988 w 4791075"/>
              <a:gd name="connsiteY7" fmla="*/ 919245 h 928494"/>
              <a:gd name="connsiteX8" fmla="*/ 2105026 w 4791075"/>
              <a:gd name="connsiteY8" fmla="*/ 909720 h 928494"/>
              <a:gd name="connsiteX9" fmla="*/ 1762125 w 4791075"/>
              <a:gd name="connsiteY9" fmla="*/ 785894 h 928494"/>
              <a:gd name="connsiteX10" fmla="*/ 1500188 w 4791075"/>
              <a:gd name="connsiteY10" fmla="*/ 604920 h 928494"/>
              <a:gd name="connsiteX11" fmla="*/ 1271588 w 4791075"/>
              <a:gd name="connsiteY11" fmla="*/ 476333 h 928494"/>
              <a:gd name="connsiteX12" fmla="*/ 1071563 w 4791075"/>
              <a:gd name="connsiteY12" fmla="*/ 504907 h 928494"/>
              <a:gd name="connsiteX13" fmla="*/ 852486 w 4791075"/>
              <a:gd name="connsiteY13" fmla="*/ 709695 h 928494"/>
              <a:gd name="connsiteX14" fmla="*/ 561975 w 4791075"/>
              <a:gd name="connsiteY14" fmla="*/ 823996 h 928494"/>
              <a:gd name="connsiteX15" fmla="*/ 300037 w 4791075"/>
              <a:gd name="connsiteY15" fmla="*/ 876382 h 928494"/>
              <a:gd name="connsiteX16" fmla="*/ 0 w 4791075"/>
              <a:gd name="connsiteY16" fmla="*/ 890670 h 928494"/>
              <a:gd name="connsiteX0" fmla="*/ 4791075 w 4791075"/>
              <a:gd name="connsiteY0" fmla="*/ 95333 h 930183"/>
              <a:gd name="connsiteX1" fmla="*/ 4410075 w 4791075"/>
              <a:gd name="connsiteY1" fmla="*/ 83 h 930183"/>
              <a:gd name="connsiteX2" fmla="*/ 4090988 w 4791075"/>
              <a:gd name="connsiteY2" fmla="*/ 109620 h 930183"/>
              <a:gd name="connsiteX3" fmla="*/ 3924300 w 4791075"/>
              <a:gd name="connsiteY3" fmla="*/ 381083 h 930183"/>
              <a:gd name="connsiteX4" fmla="*/ 3748088 w 4791075"/>
              <a:gd name="connsiteY4" fmla="*/ 533483 h 930183"/>
              <a:gd name="connsiteX5" fmla="*/ 3457575 w 4791075"/>
              <a:gd name="connsiteY5" fmla="*/ 67159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91075 w 4791075"/>
              <a:gd name="connsiteY0" fmla="*/ 95333 h 930183"/>
              <a:gd name="connsiteX1" fmla="*/ 4410075 w 4791075"/>
              <a:gd name="connsiteY1" fmla="*/ 83 h 930183"/>
              <a:gd name="connsiteX2" fmla="*/ 4090988 w 4791075"/>
              <a:gd name="connsiteY2" fmla="*/ 109620 h 930183"/>
              <a:gd name="connsiteX3" fmla="*/ 3924300 w 4791075"/>
              <a:gd name="connsiteY3" fmla="*/ 381083 h 930183"/>
              <a:gd name="connsiteX4" fmla="*/ 3748088 w 4791075"/>
              <a:gd name="connsiteY4" fmla="*/ 533483 h 930183"/>
              <a:gd name="connsiteX5" fmla="*/ 3419475 w 4791075"/>
              <a:gd name="connsiteY5" fmla="*/ 69064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91075 w 4791075"/>
              <a:gd name="connsiteY0" fmla="*/ 95333 h 930183"/>
              <a:gd name="connsiteX1" fmla="*/ 4410075 w 4791075"/>
              <a:gd name="connsiteY1" fmla="*/ 83 h 930183"/>
              <a:gd name="connsiteX2" fmla="*/ 4090988 w 4791075"/>
              <a:gd name="connsiteY2" fmla="*/ 109620 h 930183"/>
              <a:gd name="connsiteX3" fmla="*/ 3924300 w 4791075"/>
              <a:gd name="connsiteY3" fmla="*/ 381083 h 930183"/>
              <a:gd name="connsiteX4" fmla="*/ 3690938 w 4791075"/>
              <a:gd name="connsiteY4" fmla="*/ 566820 h 930183"/>
              <a:gd name="connsiteX5" fmla="*/ 3419475 w 4791075"/>
              <a:gd name="connsiteY5" fmla="*/ 69064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91075 w 4791075"/>
              <a:gd name="connsiteY0" fmla="*/ 95333 h 930183"/>
              <a:gd name="connsiteX1" fmla="*/ 4410075 w 4791075"/>
              <a:gd name="connsiteY1" fmla="*/ 83 h 930183"/>
              <a:gd name="connsiteX2" fmla="*/ 4090988 w 4791075"/>
              <a:gd name="connsiteY2" fmla="*/ 109620 h 930183"/>
              <a:gd name="connsiteX3" fmla="*/ 3924300 w 4791075"/>
              <a:gd name="connsiteY3" fmla="*/ 381083 h 930183"/>
              <a:gd name="connsiteX4" fmla="*/ 3690938 w 4791075"/>
              <a:gd name="connsiteY4" fmla="*/ 557295 h 930183"/>
              <a:gd name="connsiteX5" fmla="*/ 3419475 w 4791075"/>
              <a:gd name="connsiteY5" fmla="*/ 69064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91075 w 4791075"/>
              <a:gd name="connsiteY0" fmla="*/ 95333 h 930183"/>
              <a:gd name="connsiteX1" fmla="*/ 4410075 w 4791075"/>
              <a:gd name="connsiteY1" fmla="*/ 83 h 930183"/>
              <a:gd name="connsiteX2" fmla="*/ 4090988 w 4791075"/>
              <a:gd name="connsiteY2" fmla="*/ 109620 h 930183"/>
              <a:gd name="connsiteX3" fmla="*/ 3900488 w 4791075"/>
              <a:gd name="connsiteY3" fmla="*/ 395371 h 930183"/>
              <a:gd name="connsiteX4" fmla="*/ 3690938 w 4791075"/>
              <a:gd name="connsiteY4" fmla="*/ 557295 h 930183"/>
              <a:gd name="connsiteX5" fmla="*/ 3419475 w 4791075"/>
              <a:gd name="connsiteY5" fmla="*/ 69064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91075 w 4791075"/>
              <a:gd name="connsiteY0" fmla="*/ 95333 h 930183"/>
              <a:gd name="connsiteX1" fmla="*/ 4410075 w 4791075"/>
              <a:gd name="connsiteY1" fmla="*/ 83 h 930183"/>
              <a:gd name="connsiteX2" fmla="*/ 4114800 w 4791075"/>
              <a:gd name="connsiteY2" fmla="*/ 109620 h 930183"/>
              <a:gd name="connsiteX3" fmla="*/ 3900488 w 4791075"/>
              <a:gd name="connsiteY3" fmla="*/ 395371 h 930183"/>
              <a:gd name="connsiteX4" fmla="*/ 3690938 w 4791075"/>
              <a:gd name="connsiteY4" fmla="*/ 557295 h 930183"/>
              <a:gd name="connsiteX5" fmla="*/ 3419475 w 4791075"/>
              <a:gd name="connsiteY5" fmla="*/ 69064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91075 w 4791075"/>
              <a:gd name="connsiteY0" fmla="*/ 95333 h 930183"/>
              <a:gd name="connsiteX1" fmla="*/ 4443412 w 4791075"/>
              <a:gd name="connsiteY1" fmla="*/ 83 h 930183"/>
              <a:gd name="connsiteX2" fmla="*/ 4114800 w 4791075"/>
              <a:gd name="connsiteY2" fmla="*/ 109620 h 930183"/>
              <a:gd name="connsiteX3" fmla="*/ 3900488 w 4791075"/>
              <a:gd name="connsiteY3" fmla="*/ 395371 h 930183"/>
              <a:gd name="connsiteX4" fmla="*/ 3690938 w 4791075"/>
              <a:gd name="connsiteY4" fmla="*/ 557295 h 930183"/>
              <a:gd name="connsiteX5" fmla="*/ 3419475 w 4791075"/>
              <a:gd name="connsiteY5" fmla="*/ 690645 h 930183"/>
              <a:gd name="connsiteX6" fmla="*/ 3105150 w 4791075"/>
              <a:gd name="connsiteY6" fmla="*/ 800182 h 930183"/>
              <a:gd name="connsiteX7" fmla="*/ 2566988 w 4791075"/>
              <a:gd name="connsiteY7" fmla="*/ 919245 h 930183"/>
              <a:gd name="connsiteX8" fmla="*/ 2105026 w 4791075"/>
              <a:gd name="connsiteY8" fmla="*/ 909720 h 930183"/>
              <a:gd name="connsiteX9" fmla="*/ 1762125 w 4791075"/>
              <a:gd name="connsiteY9" fmla="*/ 785894 h 930183"/>
              <a:gd name="connsiteX10" fmla="*/ 1500188 w 4791075"/>
              <a:gd name="connsiteY10" fmla="*/ 604920 h 930183"/>
              <a:gd name="connsiteX11" fmla="*/ 1271588 w 4791075"/>
              <a:gd name="connsiteY11" fmla="*/ 476333 h 930183"/>
              <a:gd name="connsiteX12" fmla="*/ 1071563 w 4791075"/>
              <a:gd name="connsiteY12" fmla="*/ 504907 h 930183"/>
              <a:gd name="connsiteX13" fmla="*/ 852486 w 4791075"/>
              <a:gd name="connsiteY13" fmla="*/ 709695 h 930183"/>
              <a:gd name="connsiteX14" fmla="*/ 561975 w 4791075"/>
              <a:gd name="connsiteY14" fmla="*/ 823996 h 930183"/>
              <a:gd name="connsiteX15" fmla="*/ 300037 w 4791075"/>
              <a:gd name="connsiteY15" fmla="*/ 876382 h 930183"/>
              <a:gd name="connsiteX16" fmla="*/ 0 w 4791075"/>
              <a:gd name="connsiteY16" fmla="*/ 890670 h 930183"/>
              <a:gd name="connsiteX0" fmla="*/ 4781550 w 4781550"/>
              <a:gd name="connsiteY0" fmla="*/ 114311 h 930111"/>
              <a:gd name="connsiteX1" fmla="*/ 4443412 w 4781550"/>
              <a:gd name="connsiteY1" fmla="*/ 11 h 930111"/>
              <a:gd name="connsiteX2" fmla="*/ 4114800 w 4781550"/>
              <a:gd name="connsiteY2" fmla="*/ 109548 h 930111"/>
              <a:gd name="connsiteX3" fmla="*/ 3900488 w 4781550"/>
              <a:gd name="connsiteY3" fmla="*/ 395299 h 930111"/>
              <a:gd name="connsiteX4" fmla="*/ 3690938 w 4781550"/>
              <a:gd name="connsiteY4" fmla="*/ 557223 h 930111"/>
              <a:gd name="connsiteX5" fmla="*/ 3419475 w 4781550"/>
              <a:gd name="connsiteY5" fmla="*/ 690573 h 930111"/>
              <a:gd name="connsiteX6" fmla="*/ 3105150 w 4781550"/>
              <a:gd name="connsiteY6" fmla="*/ 800110 h 930111"/>
              <a:gd name="connsiteX7" fmla="*/ 2566988 w 4781550"/>
              <a:gd name="connsiteY7" fmla="*/ 919173 h 930111"/>
              <a:gd name="connsiteX8" fmla="*/ 2105026 w 4781550"/>
              <a:gd name="connsiteY8" fmla="*/ 909648 h 930111"/>
              <a:gd name="connsiteX9" fmla="*/ 1762125 w 4781550"/>
              <a:gd name="connsiteY9" fmla="*/ 785822 h 930111"/>
              <a:gd name="connsiteX10" fmla="*/ 1500188 w 4781550"/>
              <a:gd name="connsiteY10" fmla="*/ 604848 h 930111"/>
              <a:gd name="connsiteX11" fmla="*/ 1271588 w 4781550"/>
              <a:gd name="connsiteY11" fmla="*/ 476261 h 930111"/>
              <a:gd name="connsiteX12" fmla="*/ 1071563 w 4781550"/>
              <a:gd name="connsiteY12" fmla="*/ 504835 h 930111"/>
              <a:gd name="connsiteX13" fmla="*/ 852486 w 4781550"/>
              <a:gd name="connsiteY13" fmla="*/ 709623 h 930111"/>
              <a:gd name="connsiteX14" fmla="*/ 561975 w 4781550"/>
              <a:gd name="connsiteY14" fmla="*/ 823924 h 930111"/>
              <a:gd name="connsiteX15" fmla="*/ 300037 w 4781550"/>
              <a:gd name="connsiteY15" fmla="*/ 876310 h 930111"/>
              <a:gd name="connsiteX16" fmla="*/ 0 w 4781550"/>
              <a:gd name="connsiteY16" fmla="*/ 890598 h 930111"/>
              <a:gd name="connsiteX0" fmla="*/ 4781550 w 4781550"/>
              <a:gd name="connsiteY0" fmla="*/ 114311 h 930111"/>
              <a:gd name="connsiteX1" fmla="*/ 4443412 w 4781550"/>
              <a:gd name="connsiteY1" fmla="*/ 11 h 930111"/>
              <a:gd name="connsiteX2" fmla="*/ 4114800 w 4781550"/>
              <a:gd name="connsiteY2" fmla="*/ 109548 h 930111"/>
              <a:gd name="connsiteX3" fmla="*/ 3900488 w 4781550"/>
              <a:gd name="connsiteY3" fmla="*/ 395299 h 930111"/>
              <a:gd name="connsiteX4" fmla="*/ 3690938 w 4781550"/>
              <a:gd name="connsiteY4" fmla="*/ 557223 h 930111"/>
              <a:gd name="connsiteX5" fmla="*/ 3419475 w 4781550"/>
              <a:gd name="connsiteY5" fmla="*/ 690573 h 930111"/>
              <a:gd name="connsiteX6" fmla="*/ 3105150 w 4781550"/>
              <a:gd name="connsiteY6" fmla="*/ 800110 h 930111"/>
              <a:gd name="connsiteX7" fmla="*/ 2566988 w 4781550"/>
              <a:gd name="connsiteY7" fmla="*/ 919173 h 930111"/>
              <a:gd name="connsiteX8" fmla="*/ 2105026 w 4781550"/>
              <a:gd name="connsiteY8" fmla="*/ 909648 h 930111"/>
              <a:gd name="connsiteX9" fmla="*/ 1762125 w 4781550"/>
              <a:gd name="connsiteY9" fmla="*/ 785822 h 930111"/>
              <a:gd name="connsiteX10" fmla="*/ 1500188 w 4781550"/>
              <a:gd name="connsiteY10" fmla="*/ 604848 h 930111"/>
              <a:gd name="connsiteX11" fmla="*/ 1271588 w 4781550"/>
              <a:gd name="connsiteY11" fmla="*/ 476261 h 930111"/>
              <a:gd name="connsiteX12" fmla="*/ 1071563 w 4781550"/>
              <a:gd name="connsiteY12" fmla="*/ 504835 h 930111"/>
              <a:gd name="connsiteX13" fmla="*/ 852486 w 4781550"/>
              <a:gd name="connsiteY13" fmla="*/ 709623 h 930111"/>
              <a:gd name="connsiteX14" fmla="*/ 561975 w 4781550"/>
              <a:gd name="connsiteY14" fmla="*/ 823924 h 930111"/>
              <a:gd name="connsiteX15" fmla="*/ 300037 w 4781550"/>
              <a:gd name="connsiteY15" fmla="*/ 876310 h 930111"/>
              <a:gd name="connsiteX16" fmla="*/ 0 w 4781550"/>
              <a:gd name="connsiteY16" fmla="*/ 890598 h 930111"/>
              <a:gd name="connsiteX0" fmla="*/ 4781550 w 4781550"/>
              <a:gd name="connsiteY0" fmla="*/ 114311 h 930111"/>
              <a:gd name="connsiteX1" fmla="*/ 4443412 w 4781550"/>
              <a:gd name="connsiteY1" fmla="*/ 11 h 930111"/>
              <a:gd name="connsiteX2" fmla="*/ 4114800 w 4781550"/>
              <a:gd name="connsiteY2" fmla="*/ 109548 h 930111"/>
              <a:gd name="connsiteX3" fmla="*/ 3900488 w 4781550"/>
              <a:gd name="connsiteY3" fmla="*/ 404824 h 930111"/>
              <a:gd name="connsiteX4" fmla="*/ 3690938 w 4781550"/>
              <a:gd name="connsiteY4" fmla="*/ 557223 h 930111"/>
              <a:gd name="connsiteX5" fmla="*/ 3419475 w 4781550"/>
              <a:gd name="connsiteY5" fmla="*/ 690573 h 930111"/>
              <a:gd name="connsiteX6" fmla="*/ 3105150 w 4781550"/>
              <a:gd name="connsiteY6" fmla="*/ 800110 h 930111"/>
              <a:gd name="connsiteX7" fmla="*/ 2566988 w 4781550"/>
              <a:gd name="connsiteY7" fmla="*/ 919173 h 930111"/>
              <a:gd name="connsiteX8" fmla="*/ 2105026 w 4781550"/>
              <a:gd name="connsiteY8" fmla="*/ 909648 h 930111"/>
              <a:gd name="connsiteX9" fmla="*/ 1762125 w 4781550"/>
              <a:gd name="connsiteY9" fmla="*/ 785822 h 930111"/>
              <a:gd name="connsiteX10" fmla="*/ 1500188 w 4781550"/>
              <a:gd name="connsiteY10" fmla="*/ 604848 h 930111"/>
              <a:gd name="connsiteX11" fmla="*/ 1271588 w 4781550"/>
              <a:gd name="connsiteY11" fmla="*/ 476261 h 930111"/>
              <a:gd name="connsiteX12" fmla="*/ 1071563 w 4781550"/>
              <a:gd name="connsiteY12" fmla="*/ 504835 h 930111"/>
              <a:gd name="connsiteX13" fmla="*/ 852486 w 4781550"/>
              <a:gd name="connsiteY13" fmla="*/ 709623 h 930111"/>
              <a:gd name="connsiteX14" fmla="*/ 561975 w 4781550"/>
              <a:gd name="connsiteY14" fmla="*/ 823924 h 930111"/>
              <a:gd name="connsiteX15" fmla="*/ 300037 w 4781550"/>
              <a:gd name="connsiteY15" fmla="*/ 876310 h 930111"/>
              <a:gd name="connsiteX16" fmla="*/ 0 w 4781550"/>
              <a:gd name="connsiteY16" fmla="*/ 890598 h 930111"/>
              <a:gd name="connsiteX0" fmla="*/ 4781550 w 4781550"/>
              <a:gd name="connsiteY0" fmla="*/ 114414 h 930214"/>
              <a:gd name="connsiteX1" fmla="*/ 4443412 w 4781550"/>
              <a:gd name="connsiteY1" fmla="*/ 114 h 930214"/>
              <a:gd name="connsiteX2" fmla="*/ 4133850 w 4781550"/>
              <a:gd name="connsiteY2" fmla="*/ 100126 h 930214"/>
              <a:gd name="connsiteX3" fmla="*/ 3900488 w 4781550"/>
              <a:gd name="connsiteY3" fmla="*/ 404927 h 930214"/>
              <a:gd name="connsiteX4" fmla="*/ 3690938 w 4781550"/>
              <a:gd name="connsiteY4" fmla="*/ 557326 h 930214"/>
              <a:gd name="connsiteX5" fmla="*/ 3419475 w 4781550"/>
              <a:gd name="connsiteY5" fmla="*/ 690676 h 930214"/>
              <a:gd name="connsiteX6" fmla="*/ 3105150 w 4781550"/>
              <a:gd name="connsiteY6" fmla="*/ 800213 h 930214"/>
              <a:gd name="connsiteX7" fmla="*/ 2566988 w 4781550"/>
              <a:gd name="connsiteY7" fmla="*/ 919276 h 930214"/>
              <a:gd name="connsiteX8" fmla="*/ 2105026 w 4781550"/>
              <a:gd name="connsiteY8" fmla="*/ 909751 h 930214"/>
              <a:gd name="connsiteX9" fmla="*/ 1762125 w 4781550"/>
              <a:gd name="connsiteY9" fmla="*/ 785925 h 930214"/>
              <a:gd name="connsiteX10" fmla="*/ 1500188 w 4781550"/>
              <a:gd name="connsiteY10" fmla="*/ 604951 h 930214"/>
              <a:gd name="connsiteX11" fmla="*/ 1271588 w 4781550"/>
              <a:gd name="connsiteY11" fmla="*/ 476364 h 930214"/>
              <a:gd name="connsiteX12" fmla="*/ 1071563 w 4781550"/>
              <a:gd name="connsiteY12" fmla="*/ 504938 h 930214"/>
              <a:gd name="connsiteX13" fmla="*/ 852486 w 4781550"/>
              <a:gd name="connsiteY13" fmla="*/ 709726 h 930214"/>
              <a:gd name="connsiteX14" fmla="*/ 561975 w 4781550"/>
              <a:gd name="connsiteY14" fmla="*/ 824027 h 930214"/>
              <a:gd name="connsiteX15" fmla="*/ 300037 w 4781550"/>
              <a:gd name="connsiteY15" fmla="*/ 876413 h 930214"/>
              <a:gd name="connsiteX16" fmla="*/ 0 w 4781550"/>
              <a:gd name="connsiteY16" fmla="*/ 890701 h 930214"/>
              <a:gd name="connsiteX0" fmla="*/ 4781550 w 4781550"/>
              <a:gd name="connsiteY0" fmla="*/ 114414 h 927110"/>
              <a:gd name="connsiteX1" fmla="*/ 4443412 w 4781550"/>
              <a:gd name="connsiteY1" fmla="*/ 114 h 927110"/>
              <a:gd name="connsiteX2" fmla="*/ 4133850 w 4781550"/>
              <a:gd name="connsiteY2" fmla="*/ 100126 h 927110"/>
              <a:gd name="connsiteX3" fmla="*/ 3900488 w 4781550"/>
              <a:gd name="connsiteY3" fmla="*/ 404927 h 927110"/>
              <a:gd name="connsiteX4" fmla="*/ 3690938 w 4781550"/>
              <a:gd name="connsiteY4" fmla="*/ 557326 h 927110"/>
              <a:gd name="connsiteX5" fmla="*/ 3419475 w 4781550"/>
              <a:gd name="connsiteY5" fmla="*/ 690676 h 927110"/>
              <a:gd name="connsiteX6" fmla="*/ 3105150 w 4781550"/>
              <a:gd name="connsiteY6" fmla="*/ 800213 h 927110"/>
              <a:gd name="connsiteX7" fmla="*/ 2633663 w 4781550"/>
              <a:gd name="connsiteY7" fmla="*/ 914514 h 927110"/>
              <a:gd name="connsiteX8" fmla="*/ 2105026 w 4781550"/>
              <a:gd name="connsiteY8" fmla="*/ 909751 h 927110"/>
              <a:gd name="connsiteX9" fmla="*/ 1762125 w 4781550"/>
              <a:gd name="connsiteY9" fmla="*/ 785925 h 927110"/>
              <a:gd name="connsiteX10" fmla="*/ 1500188 w 4781550"/>
              <a:gd name="connsiteY10" fmla="*/ 604951 h 927110"/>
              <a:gd name="connsiteX11" fmla="*/ 1271588 w 4781550"/>
              <a:gd name="connsiteY11" fmla="*/ 476364 h 927110"/>
              <a:gd name="connsiteX12" fmla="*/ 1071563 w 4781550"/>
              <a:gd name="connsiteY12" fmla="*/ 504938 h 927110"/>
              <a:gd name="connsiteX13" fmla="*/ 852486 w 4781550"/>
              <a:gd name="connsiteY13" fmla="*/ 709726 h 927110"/>
              <a:gd name="connsiteX14" fmla="*/ 561975 w 4781550"/>
              <a:gd name="connsiteY14" fmla="*/ 824027 h 927110"/>
              <a:gd name="connsiteX15" fmla="*/ 300037 w 4781550"/>
              <a:gd name="connsiteY15" fmla="*/ 876413 h 927110"/>
              <a:gd name="connsiteX16" fmla="*/ 0 w 4781550"/>
              <a:gd name="connsiteY16" fmla="*/ 890701 h 927110"/>
              <a:gd name="connsiteX0" fmla="*/ 4781550 w 4781550"/>
              <a:gd name="connsiteY0" fmla="*/ 114414 h 927110"/>
              <a:gd name="connsiteX1" fmla="*/ 4443412 w 4781550"/>
              <a:gd name="connsiteY1" fmla="*/ 114 h 927110"/>
              <a:gd name="connsiteX2" fmla="*/ 4133850 w 4781550"/>
              <a:gd name="connsiteY2" fmla="*/ 100126 h 927110"/>
              <a:gd name="connsiteX3" fmla="*/ 3900488 w 4781550"/>
              <a:gd name="connsiteY3" fmla="*/ 404927 h 927110"/>
              <a:gd name="connsiteX4" fmla="*/ 3690938 w 4781550"/>
              <a:gd name="connsiteY4" fmla="*/ 557326 h 927110"/>
              <a:gd name="connsiteX5" fmla="*/ 3419475 w 4781550"/>
              <a:gd name="connsiteY5" fmla="*/ 690676 h 927110"/>
              <a:gd name="connsiteX6" fmla="*/ 3105150 w 4781550"/>
              <a:gd name="connsiteY6" fmla="*/ 800213 h 927110"/>
              <a:gd name="connsiteX7" fmla="*/ 2614613 w 4781550"/>
              <a:gd name="connsiteY7" fmla="*/ 914514 h 927110"/>
              <a:gd name="connsiteX8" fmla="*/ 2105026 w 4781550"/>
              <a:gd name="connsiteY8" fmla="*/ 909751 h 927110"/>
              <a:gd name="connsiteX9" fmla="*/ 1762125 w 4781550"/>
              <a:gd name="connsiteY9" fmla="*/ 785925 h 927110"/>
              <a:gd name="connsiteX10" fmla="*/ 1500188 w 4781550"/>
              <a:gd name="connsiteY10" fmla="*/ 604951 h 927110"/>
              <a:gd name="connsiteX11" fmla="*/ 1271588 w 4781550"/>
              <a:gd name="connsiteY11" fmla="*/ 476364 h 927110"/>
              <a:gd name="connsiteX12" fmla="*/ 1071563 w 4781550"/>
              <a:gd name="connsiteY12" fmla="*/ 504938 h 927110"/>
              <a:gd name="connsiteX13" fmla="*/ 852486 w 4781550"/>
              <a:gd name="connsiteY13" fmla="*/ 709726 h 927110"/>
              <a:gd name="connsiteX14" fmla="*/ 561975 w 4781550"/>
              <a:gd name="connsiteY14" fmla="*/ 824027 h 927110"/>
              <a:gd name="connsiteX15" fmla="*/ 300037 w 4781550"/>
              <a:gd name="connsiteY15" fmla="*/ 876413 h 927110"/>
              <a:gd name="connsiteX16" fmla="*/ 0 w 4781550"/>
              <a:gd name="connsiteY16" fmla="*/ 890701 h 927110"/>
              <a:gd name="connsiteX0" fmla="*/ 4781550 w 4781550"/>
              <a:gd name="connsiteY0" fmla="*/ 114414 h 927110"/>
              <a:gd name="connsiteX1" fmla="*/ 4443412 w 4781550"/>
              <a:gd name="connsiteY1" fmla="*/ 114 h 927110"/>
              <a:gd name="connsiteX2" fmla="*/ 4133850 w 4781550"/>
              <a:gd name="connsiteY2" fmla="*/ 100126 h 927110"/>
              <a:gd name="connsiteX3" fmla="*/ 3900488 w 4781550"/>
              <a:gd name="connsiteY3" fmla="*/ 404927 h 927110"/>
              <a:gd name="connsiteX4" fmla="*/ 3690938 w 4781550"/>
              <a:gd name="connsiteY4" fmla="*/ 557326 h 927110"/>
              <a:gd name="connsiteX5" fmla="*/ 3419475 w 4781550"/>
              <a:gd name="connsiteY5" fmla="*/ 690676 h 927110"/>
              <a:gd name="connsiteX6" fmla="*/ 3105150 w 4781550"/>
              <a:gd name="connsiteY6" fmla="*/ 800213 h 927110"/>
              <a:gd name="connsiteX7" fmla="*/ 2614613 w 4781550"/>
              <a:gd name="connsiteY7" fmla="*/ 914514 h 927110"/>
              <a:gd name="connsiteX8" fmla="*/ 2105026 w 4781550"/>
              <a:gd name="connsiteY8" fmla="*/ 909751 h 927110"/>
              <a:gd name="connsiteX9" fmla="*/ 1762125 w 4781550"/>
              <a:gd name="connsiteY9" fmla="*/ 785925 h 927110"/>
              <a:gd name="connsiteX10" fmla="*/ 1500188 w 4781550"/>
              <a:gd name="connsiteY10" fmla="*/ 604951 h 927110"/>
              <a:gd name="connsiteX11" fmla="*/ 1271588 w 4781550"/>
              <a:gd name="connsiteY11" fmla="*/ 476364 h 927110"/>
              <a:gd name="connsiteX12" fmla="*/ 1071563 w 4781550"/>
              <a:gd name="connsiteY12" fmla="*/ 504938 h 927110"/>
              <a:gd name="connsiteX13" fmla="*/ 852486 w 4781550"/>
              <a:gd name="connsiteY13" fmla="*/ 709726 h 927110"/>
              <a:gd name="connsiteX14" fmla="*/ 561975 w 4781550"/>
              <a:gd name="connsiteY14" fmla="*/ 824027 h 927110"/>
              <a:gd name="connsiteX15" fmla="*/ 300037 w 4781550"/>
              <a:gd name="connsiteY15" fmla="*/ 876413 h 927110"/>
              <a:gd name="connsiteX16" fmla="*/ 0 w 4781550"/>
              <a:gd name="connsiteY16" fmla="*/ 890701 h 927110"/>
              <a:gd name="connsiteX0" fmla="*/ 4781550 w 4781550"/>
              <a:gd name="connsiteY0" fmla="*/ 114414 h 927110"/>
              <a:gd name="connsiteX1" fmla="*/ 4443412 w 4781550"/>
              <a:gd name="connsiteY1" fmla="*/ 114 h 927110"/>
              <a:gd name="connsiteX2" fmla="*/ 4133850 w 4781550"/>
              <a:gd name="connsiteY2" fmla="*/ 100126 h 927110"/>
              <a:gd name="connsiteX3" fmla="*/ 3900488 w 4781550"/>
              <a:gd name="connsiteY3" fmla="*/ 404927 h 927110"/>
              <a:gd name="connsiteX4" fmla="*/ 3690938 w 4781550"/>
              <a:gd name="connsiteY4" fmla="*/ 557326 h 927110"/>
              <a:gd name="connsiteX5" fmla="*/ 3419475 w 4781550"/>
              <a:gd name="connsiteY5" fmla="*/ 690676 h 927110"/>
              <a:gd name="connsiteX6" fmla="*/ 3105150 w 4781550"/>
              <a:gd name="connsiteY6" fmla="*/ 800213 h 927110"/>
              <a:gd name="connsiteX7" fmla="*/ 2614613 w 4781550"/>
              <a:gd name="connsiteY7" fmla="*/ 914514 h 927110"/>
              <a:gd name="connsiteX8" fmla="*/ 2105026 w 4781550"/>
              <a:gd name="connsiteY8" fmla="*/ 909751 h 927110"/>
              <a:gd name="connsiteX9" fmla="*/ 1762125 w 4781550"/>
              <a:gd name="connsiteY9" fmla="*/ 785925 h 927110"/>
              <a:gd name="connsiteX10" fmla="*/ 1500188 w 4781550"/>
              <a:gd name="connsiteY10" fmla="*/ 604951 h 927110"/>
              <a:gd name="connsiteX11" fmla="*/ 1271588 w 4781550"/>
              <a:gd name="connsiteY11" fmla="*/ 476364 h 927110"/>
              <a:gd name="connsiteX12" fmla="*/ 1071563 w 4781550"/>
              <a:gd name="connsiteY12" fmla="*/ 504938 h 927110"/>
              <a:gd name="connsiteX13" fmla="*/ 852486 w 4781550"/>
              <a:gd name="connsiteY13" fmla="*/ 709726 h 927110"/>
              <a:gd name="connsiteX14" fmla="*/ 561975 w 4781550"/>
              <a:gd name="connsiteY14" fmla="*/ 824027 h 927110"/>
              <a:gd name="connsiteX15" fmla="*/ 300037 w 4781550"/>
              <a:gd name="connsiteY15" fmla="*/ 876413 h 927110"/>
              <a:gd name="connsiteX16" fmla="*/ 0 w 4781550"/>
              <a:gd name="connsiteY16" fmla="*/ 890701 h 927110"/>
              <a:gd name="connsiteX0" fmla="*/ 4781550 w 4781550"/>
              <a:gd name="connsiteY0" fmla="*/ 114414 h 926791"/>
              <a:gd name="connsiteX1" fmla="*/ 4443412 w 4781550"/>
              <a:gd name="connsiteY1" fmla="*/ 114 h 926791"/>
              <a:gd name="connsiteX2" fmla="*/ 4133850 w 4781550"/>
              <a:gd name="connsiteY2" fmla="*/ 100126 h 926791"/>
              <a:gd name="connsiteX3" fmla="*/ 3900488 w 4781550"/>
              <a:gd name="connsiteY3" fmla="*/ 404927 h 926791"/>
              <a:gd name="connsiteX4" fmla="*/ 3690938 w 4781550"/>
              <a:gd name="connsiteY4" fmla="*/ 557326 h 926791"/>
              <a:gd name="connsiteX5" fmla="*/ 3419475 w 4781550"/>
              <a:gd name="connsiteY5" fmla="*/ 690676 h 926791"/>
              <a:gd name="connsiteX6" fmla="*/ 3090862 w 4781550"/>
              <a:gd name="connsiteY6" fmla="*/ 804976 h 926791"/>
              <a:gd name="connsiteX7" fmla="*/ 2614613 w 4781550"/>
              <a:gd name="connsiteY7" fmla="*/ 914514 h 926791"/>
              <a:gd name="connsiteX8" fmla="*/ 2105026 w 4781550"/>
              <a:gd name="connsiteY8" fmla="*/ 909751 h 926791"/>
              <a:gd name="connsiteX9" fmla="*/ 1762125 w 4781550"/>
              <a:gd name="connsiteY9" fmla="*/ 785925 h 926791"/>
              <a:gd name="connsiteX10" fmla="*/ 1500188 w 4781550"/>
              <a:gd name="connsiteY10" fmla="*/ 604951 h 926791"/>
              <a:gd name="connsiteX11" fmla="*/ 1271588 w 4781550"/>
              <a:gd name="connsiteY11" fmla="*/ 476364 h 926791"/>
              <a:gd name="connsiteX12" fmla="*/ 1071563 w 4781550"/>
              <a:gd name="connsiteY12" fmla="*/ 504938 h 926791"/>
              <a:gd name="connsiteX13" fmla="*/ 852486 w 4781550"/>
              <a:gd name="connsiteY13" fmla="*/ 709726 h 926791"/>
              <a:gd name="connsiteX14" fmla="*/ 561975 w 4781550"/>
              <a:gd name="connsiteY14" fmla="*/ 824027 h 926791"/>
              <a:gd name="connsiteX15" fmla="*/ 300037 w 4781550"/>
              <a:gd name="connsiteY15" fmla="*/ 876413 h 926791"/>
              <a:gd name="connsiteX16" fmla="*/ 0 w 4781550"/>
              <a:gd name="connsiteY16" fmla="*/ 890701 h 926791"/>
              <a:gd name="connsiteX0" fmla="*/ 4781550 w 4781550"/>
              <a:gd name="connsiteY0" fmla="*/ 114414 h 926791"/>
              <a:gd name="connsiteX1" fmla="*/ 4443412 w 4781550"/>
              <a:gd name="connsiteY1" fmla="*/ 114 h 926791"/>
              <a:gd name="connsiteX2" fmla="*/ 4133850 w 4781550"/>
              <a:gd name="connsiteY2" fmla="*/ 100126 h 926791"/>
              <a:gd name="connsiteX3" fmla="*/ 3900488 w 4781550"/>
              <a:gd name="connsiteY3" fmla="*/ 404927 h 926791"/>
              <a:gd name="connsiteX4" fmla="*/ 3690938 w 4781550"/>
              <a:gd name="connsiteY4" fmla="*/ 557326 h 926791"/>
              <a:gd name="connsiteX5" fmla="*/ 3419475 w 4781550"/>
              <a:gd name="connsiteY5" fmla="*/ 695439 h 926791"/>
              <a:gd name="connsiteX6" fmla="*/ 3090862 w 4781550"/>
              <a:gd name="connsiteY6" fmla="*/ 804976 h 926791"/>
              <a:gd name="connsiteX7" fmla="*/ 2614613 w 4781550"/>
              <a:gd name="connsiteY7" fmla="*/ 914514 h 926791"/>
              <a:gd name="connsiteX8" fmla="*/ 2105026 w 4781550"/>
              <a:gd name="connsiteY8" fmla="*/ 909751 h 926791"/>
              <a:gd name="connsiteX9" fmla="*/ 1762125 w 4781550"/>
              <a:gd name="connsiteY9" fmla="*/ 785925 h 926791"/>
              <a:gd name="connsiteX10" fmla="*/ 1500188 w 4781550"/>
              <a:gd name="connsiteY10" fmla="*/ 604951 h 926791"/>
              <a:gd name="connsiteX11" fmla="*/ 1271588 w 4781550"/>
              <a:gd name="connsiteY11" fmla="*/ 476364 h 926791"/>
              <a:gd name="connsiteX12" fmla="*/ 1071563 w 4781550"/>
              <a:gd name="connsiteY12" fmla="*/ 504938 h 926791"/>
              <a:gd name="connsiteX13" fmla="*/ 852486 w 4781550"/>
              <a:gd name="connsiteY13" fmla="*/ 709726 h 926791"/>
              <a:gd name="connsiteX14" fmla="*/ 561975 w 4781550"/>
              <a:gd name="connsiteY14" fmla="*/ 824027 h 926791"/>
              <a:gd name="connsiteX15" fmla="*/ 300037 w 4781550"/>
              <a:gd name="connsiteY15" fmla="*/ 876413 h 926791"/>
              <a:gd name="connsiteX16" fmla="*/ 0 w 4781550"/>
              <a:gd name="connsiteY16" fmla="*/ 890701 h 926791"/>
              <a:gd name="connsiteX0" fmla="*/ 4781550 w 4781550"/>
              <a:gd name="connsiteY0" fmla="*/ 114414 h 926791"/>
              <a:gd name="connsiteX1" fmla="*/ 4443412 w 4781550"/>
              <a:gd name="connsiteY1" fmla="*/ 114 h 926791"/>
              <a:gd name="connsiteX2" fmla="*/ 4133850 w 4781550"/>
              <a:gd name="connsiteY2" fmla="*/ 100126 h 926791"/>
              <a:gd name="connsiteX3" fmla="*/ 3900488 w 4781550"/>
              <a:gd name="connsiteY3" fmla="*/ 404927 h 926791"/>
              <a:gd name="connsiteX4" fmla="*/ 3729038 w 4781550"/>
              <a:gd name="connsiteY4" fmla="*/ 547801 h 926791"/>
              <a:gd name="connsiteX5" fmla="*/ 3419475 w 4781550"/>
              <a:gd name="connsiteY5" fmla="*/ 695439 h 926791"/>
              <a:gd name="connsiteX6" fmla="*/ 3090862 w 4781550"/>
              <a:gd name="connsiteY6" fmla="*/ 804976 h 926791"/>
              <a:gd name="connsiteX7" fmla="*/ 2614613 w 4781550"/>
              <a:gd name="connsiteY7" fmla="*/ 914514 h 926791"/>
              <a:gd name="connsiteX8" fmla="*/ 2105026 w 4781550"/>
              <a:gd name="connsiteY8" fmla="*/ 909751 h 926791"/>
              <a:gd name="connsiteX9" fmla="*/ 1762125 w 4781550"/>
              <a:gd name="connsiteY9" fmla="*/ 785925 h 926791"/>
              <a:gd name="connsiteX10" fmla="*/ 1500188 w 4781550"/>
              <a:gd name="connsiteY10" fmla="*/ 604951 h 926791"/>
              <a:gd name="connsiteX11" fmla="*/ 1271588 w 4781550"/>
              <a:gd name="connsiteY11" fmla="*/ 476364 h 926791"/>
              <a:gd name="connsiteX12" fmla="*/ 1071563 w 4781550"/>
              <a:gd name="connsiteY12" fmla="*/ 504938 h 926791"/>
              <a:gd name="connsiteX13" fmla="*/ 852486 w 4781550"/>
              <a:gd name="connsiteY13" fmla="*/ 709726 h 926791"/>
              <a:gd name="connsiteX14" fmla="*/ 561975 w 4781550"/>
              <a:gd name="connsiteY14" fmla="*/ 824027 h 926791"/>
              <a:gd name="connsiteX15" fmla="*/ 300037 w 4781550"/>
              <a:gd name="connsiteY15" fmla="*/ 876413 h 926791"/>
              <a:gd name="connsiteX16" fmla="*/ 0 w 4781550"/>
              <a:gd name="connsiteY16" fmla="*/ 890701 h 926791"/>
              <a:gd name="connsiteX0" fmla="*/ 4781550 w 4781550"/>
              <a:gd name="connsiteY0" fmla="*/ 114414 h 926791"/>
              <a:gd name="connsiteX1" fmla="*/ 4443412 w 4781550"/>
              <a:gd name="connsiteY1" fmla="*/ 114 h 926791"/>
              <a:gd name="connsiteX2" fmla="*/ 4133850 w 4781550"/>
              <a:gd name="connsiteY2" fmla="*/ 100126 h 926791"/>
              <a:gd name="connsiteX3" fmla="*/ 3900488 w 4781550"/>
              <a:gd name="connsiteY3" fmla="*/ 404927 h 926791"/>
              <a:gd name="connsiteX4" fmla="*/ 3690938 w 4781550"/>
              <a:gd name="connsiteY4" fmla="*/ 566851 h 926791"/>
              <a:gd name="connsiteX5" fmla="*/ 3419475 w 4781550"/>
              <a:gd name="connsiteY5" fmla="*/ 695439 h 926791"/>
              <a:gd name="connsiteX6" fmla="*/ 3090862 w 4781550"/>
              <a:gd name="connsiteY6" fmla="*/ 804976 h 926791"/>
              <a:gd name="connsiteX7" fmla="*/ 2614613 w 4781550"/>
              <a:gd name="connsiteY7" fmla="*/ 914514 h 926791"/>
              <a:gd name="connsiteX8" fmla="*/ 2105026 w 4781550"/>
              <a:gd name="connsiteY8" fmla="*/ 909751 h 926791"/>
              <a:gd name="connsiteX9" fmla="*/ 1762125 w 4781550"/>
              <a:gd name="connsiteY9" fmla="*/ 785925 h 926791"/>
              <a:gd name="connsiteX10" fmla="*/ 1500188 w 4781550"/>
              <a:gd name="connsiteY10" fmla="*/ 604951 h 926791"/>
              <a:gd name="connsiteX11" fmla="*/ 1271588 w 4781550"/>
              <a:gd name="connsiteY11" fmla="*/ 476364 h 926791"/>
              <a:gd name="connsiteX12" fmla="*/ 1071563 w 4781550"/>
              <a:gd name="connsiteY12" fmla="*/ 504938 h 926791"/>
              <a:gd name="connsiteX13" fmla="*/ 852486 w 4781550"/>
              <a:gd name="connsiteY13" fmla="*/ 709726 h 926791"/>
              <a:gd name="connsiteX14" fmla="*/ 561975 w 4781550"/>
              <a:gd name="connsiteY14" fmla="*/ 824027 h 926791"/>
              <a:gd name="connsiteX15" fmla="*/ 300037 w 4781550"/>
              <a:gd name="connsiteY15" fmla="*/ 876413 h 926791"/>
              <a:gd name="connsiteX16" fmla="*/ 0 w 4781550"/>
              <a:gd name="connsiteY16" fmla="*/ 890701 h 926791"/>
              <a:gd name="connsiteX0" fmla="*/ 4781550 w 4781550"/>
              <a:gd name="connsiteY0" fmla="*/ 114414 h 926791"/>
              <a:gd name="connsiteX1" fmla="*/ 4443412 w 4781550"/>
              <a:gd name="connsiteY1" fmla="*/ 114 h 926791"/>
              <a:gd name="connsiteX2" fmla="*/ 4133850 w 4781550"/>
              <a:gd name="connsiteY2" fmla="*/ 100126 h 926791"/>
              <a:gd name="connsiteX3" fmla="*/ 3900488 w 4781550"/>
              <a:gd name="connsiteY3" fmla="*/ 404927 h 926791"/>
              <a:gd name="connsiteX4" fmla="*/ 3690938 w 4781550"/>
              <a:gd name="connsiteY4" fmla="*/ 566851 h 926791"/>
              <a:gd name="connsiteX5" fmla="*/ 3371850 w 4781550"/>
              <a:gd name="connsiteY5" fmla="*/ 719251 h 926791"/>
              <a:gd name="connsiteX6" fmla="*/ 3090862 w 4781550"/>
              <a:gd name="connsiteY6" fmla="*/ 804976 h 926791"/>
              <a:gd name="connsiteX7" fmla="*/ 2614613 w 4781550"/>
              <a:gd name="connsiteY7" fmla="*/ 914514 h 926791"/>
              <a:gd name="connsiteX8" fmla="*/ 2105026 w 4781550"/>
              <a:gd name="connsiteY8" fmla="*/ 909751 h 926791"/>
              <a:gd name="connsiteX9" fmla="*/ 1762125 w 4781550"/>
              <a:gd name="connsiteY9" fmla="*/ 785925 h 926791"/>
              <a:gd name="connsiteX10" fmla="*/ 1500188 w 4781550"/>
              <a:gd name="connsiteY10" fmla="*/ 604951 h 926791"/>
              <a:gd name="connsiteX11" fmla="*/ 1271588 w 4781550"/>
              <a:gd name="connsiteY11" fmla="*/ 476364 h 926791"/>
              <a:gd name="connsiteX12" fmla="*/ 1071563 w 4781550"/>
              <a:gd name="connsiteY12" fmla="*/ 504938 h 926791"/>
              <a:gd name="connsiteX13" fmla="*/ 852486 w 4781550"/>
              <a:gd name="connsiteY13" fmla="*/ 709726 h 926791"/>
              <a:gd name="connsiteX14" fmla="*/ 561975 w 4781550"/>
              <a:gd name="connsiteY14" fmla="*/ 824027 h 926791"/>
              <a:gd name="connsiteX15" fmla="*/ 300037 w 4781550"/>
              <a:gd name="connsiteY15" fmla="*/ 876413 h 926791"/>
              <a:gd name="connsiteX16" fmla="*/ 0 w 4781550"/>
              <a:gd name="connsiteY16" fmla="*/ 890701 h 926791"/>
              <a:gd name="connsiteX0" fmla="*/ 4781550 w 4781550"/>
              <a:gd name="connsiteY0" fmla="*/ 114414 h 924046"/>
              <a:gd name="connsiteX1" fmla="*/ 4443412 w 4781550"/>
              <a:gd name="connsiteY1" fmla="*/ 114 h 924046"/>
              <a:gd name="connsiteX2" fmla="*/ 4133850 w 4781550"/>
              <a:gd name="connsiteY2" fmla="*/ 100126 h 924046"/>
              <a:gd name="connsiteX3" fmla="*/ 3900488 w 4781550"/>
              <a:gd name="connsiteY3" fmla="*/ 404927 h 924046"/>
              <a:gd name="connsiteX4" fmla="*/ 3690938 w 4781550"/>
              <a:gd name="connsiteY4" fmla="*/ 566851 h 924046"/>
              <a:gd name="connsiteX5" fmla="*/ 3371850 w 4781550"/>
              <a:gd name="connsiteY5" fmla="*/ 719251 h 924046"/>
              <a:gd name="connsiteX6" fmla="*/ 3005137 w 4781550"/>
              <a:gd name="connsiteY6" fmla="*/ 847838 h 924046"/>
              <a:gd name="connsiteX7" fmla="*/ 2614613 w 4781550"/>
              <a:gd name="connsiteY7" fmla="*/ 914514 h 924046"/>
              <a:gd name="connsiteX8" fmla="*/ 2105026 w 4781550"/>
              <a:gd name="connsiteY8" fmla="*/ 909751 h 924046"/>
              <a:gd name="connsiteX9" fmla="*/ 1762125 w 4781550"/>
              <a:gd name="connsiteY9" fmla="*/ 785925 h 924046"/>
              <a:gd name="connsiteX10" fmla="*/ 1500188 w 4781550"/>
              <a:gd name="connsiteY10" fmla="*/ 604951 h 924046"/>
              <a:gd name="connsiteX11" fmla="*/ 1271588 w 4781550"/>
              <a:gd name="connsiteY11" fmla="*/ 476364 h 924046"/>
              <a:gd name="connsiteX12" fmla="*/ 1071563 w 4781550"/>
              <a:gd name="connsiteY12" fmla="*/ 504938 h 924046"/>
              <a:gd name="connsiteX13" fmla="*/ 852486 w 4781550"/>
              <a:gd name="connsiteY13" fmla="*/ 709726 h 924046"/>
              <a:gd name="connsiteX14" fmla="*/ 561975 w 4781550"/>
              <a:gd name="connsiteY14" fmla="*/ 824027 h 924046"/>
              <a:gd name="connsiteX15" fmla="*/ 300037 w 4781550"/>
              <a:gd name="connsiteY15" fmla="*/ 876413 h 924046"/>
              <a:gd name="connsiteX16" fmla="*/ 0 w 4781550"/>
              <a:gd name="connsiteY16" fmla="*/ 890701 h 924046"/>
              <a:gd name="connsiteX0" fmla="*/ 4781550 w 4781550"/>
              <a:gd name="connsiteY0" fmla="*/ 114414 h 923474"/>
              <a:gd name="connsiteX1" fmla="*/ 4443412 w 4781550"/>
              <a:gd name="connsiteY1" fmla="*/ 114 h 923474"/>
              <a:gd name="connsiteX2" fmla="*/ 4133850 w 4781550"/>
              <a:gd name="connsiteY2" fmla="*/ 100126 h 923474"/>
              <a:gd name="connsiteX3" fmla="*/ 3900488 w 4781550"/>
              <a:gd name="connsiteY3" fmla="*/ 404927 h 923474"/>
              <a:gd name="connsiteX4" fmla="*/ 3690938 w 4781550"/>
              <a:gd name="connsiteY4" fmla="*/ 566851 h 923474"/>
              <a:gd name="connsiteX5" fmla="*/ 3371850 w 4781550"/>
              <a:gd name="connsiteY5" fmla="*/ 719251 h 923474"/>
              <a:gd name="connsiteX6" fmla="*/ 3005137 w 4781550"/>
              <a:gd name="connsiteY6" fmla="*/ 847838 h 923474"/>
              <a:gd name="connsiteX7" fmla="*/ 2562225 w 4781550"/>
              <a:gd name="connsiteY7" fmla="*/ 919277 h 923474"/>
              <a:gd name="connsiteX8" fmla="*/ 2614613 w 4781550"/>
              <a:gd name="connsiteY8" fmla="*/ 914514 h 923474"/>
              <a:gd name="connsiteX9" fmla="*/ 2105026 w 4781550"/>
              <a:gd name="connsiteY9" fmla="*/ 909751 h 923474"/>
              <a:gd name="connsiteX10" fmla="*/ 1762125 w 4781550"/>
              <a:gd name="connsiteY10" fmla="*/ 785925 h 923474"/>
              <a:gd name="connsiteX11" fmla="*/ 1500188 w 4781550"/>
              <a:gd name="connsiteY11" fmla="*/ 604951 h 923474"/>
              <a:gd name="connsiteX12" fmla="*/ 1271588 w 4781550"/>
              <a:gd name="connsiteY12" fmla="*/ 476364 h 923474"/>
              <a:gd name="connsiteX13" fmla="*/ 1071563 w 4781550"/>
              <a:gd name="connsiteY13" fmla="*/ 504938 h 923474"/>
              <a:gd name="connsiteX14" fmla="*/ 852486 w 4781550"/>
              <a:gd name="connsiteY14" fmla="*/ 709726 h 923474"/>
              <a:gd name="connsiteX15" fmla="*/ 561975 w 4781550"/>
              <a:gd name="connsiteY15" fmla="*/ 824027 h 923474"/>
              <a:gd name="connsiteX16" fmla="*/ 300037 w 4781550"/>
              <a:gd name="connsiteY16" fmla="*/ 876413 h 923474"/>
              <a:gd name="connsiteX17" fmla="*/ 0 w 4781550"/>
              <a:gd name="connsiteY17" fmla="*/ 890701 h 923474"/>
              <a:gd name="connsiteX0" fmla="*/ 4781550 w 4781550"/>
              <a:gd name="connsiteY0" fmla="*/ 114414 h 923474"/>
              <a:gd name="connsiteX1" fmla="*/ 4443412 w 4781550"/>
              <a:gd name="connsiteY1" fmla="*/ 114 h 923474"/>
              <a:gd name="connsiteX2" fmla="*/ 4133850 w 4781550"/>
              <a:gd name="connsiteY2" fmla="*/ 100126 h 923474"/>
              <a:gd name="connsiteX3" fmla="*/ 3900488 w 4781550"/>
              <a:gd name="connsiteY3" fmla="*/ 404927 h 923474"/>
              <a:gd name="connsiteX4" fmla="*/ 3690938 w 4781550"/>
              <a:gd name="connsiteY4" fmla="*/ 566851 h 923474"/>
              <a:gd name="connsiteX5" fmla="*/ 3371850 w 4781550"/>
              <a:gd name="connsiteY5" fmla="*/ 719251 h 923474"/>
              <a:gd name="connsiteX6" fmla="*/ 2957512 w 4781550"/>
              <a:gd name="connsiteY6" fmla="*/ 852601 h 923474"/>
              <a:gd name="connsiteX7" fmla="*/ 2562225 w 4781550"/>
              <a:gd name="connsiteY7" fmla="*/ 919277 h 923474"/>
              <a:gd name="connsiteX8" fmla="*/ 2614613 w 4781550"/>
              <a:gd name="connsiteY8" fmla="*/ 914514 h 923474"/>
              <a:gd name="connsiteX9" fmla="*/ 2105026 w 4781550"/>
              <a:gd name="connsiteY9" fmla="*/ 909751 h 923474"/>
              <a:gd name="connsiteX10" fmla="*/ 1762125 w 4781550"/>
              <a:gd name="connsiteY10" fmla="*/ 785925 h 923474"/>
              <a:gd name="connsiteX11" fmla="*/ 1500188 w 4781550"/>
              <a:gd name="connsiteY11" fmla="*/ 604951 h 923474"/>
              <a:gd name="connsiteX12" fmla="*/ 1271588 w 4781550"/>
              <a:gd name="connsiteY12" fmla="*/ 476364 h 923474"/>
              <a:gd name="connsiteX13" fmla="*/ 1071563 w 4781550"/>
              <a:gd name="connsiteY13" fmla="*/ 504938 h 923474"/>
              <a:gd name="connsiteX14" fmla="*/ 852486 w 4781550"/>
              <a:gd name="connsiteY14" fmla="*/ 709726 h 923474"/>
              <a:gd name="connsiteX15" fmla="*/ 561975 w 4781550"/>
              <a:gd name="connsiteY15" fmla="*/ 824027 h 923474"/>
              <a:gd name="connsiteX16" fmla="*/ 300037 w 4781550"/>
              <a:gd name="connsiteY16" fmla="*/ 876413 h 923474"/>
              <a:gd name="connsiteX17" fmla="*/ 0 w 4781550"/>
              <a:gd name="connsiteY17" fmla="*/ 890701 h 923474"/>
              <a:gd name="connsiteX0" fmla="*/ 4781550 w 4781550"/>
              <a:gd name="connsiteY0" fmla="*/ 114404 h 923464"/>
              <a:gd name="connsiteX1" fmla="*/ 4443412 w 4781550"/>
              <a:gd name="connsiteY1" fmla="*/ 104 h 923464"/>
              <a:gd name="connsiteX2" fmla="*/ 4133850 w 4781550"/>
              <a:gd name="connsiteY2" fmla="*/ 100116 h 923464"/>
              <a:gd name="connsiteX3" fmla="*/ 3933825 w 4781550"/>
              <a:gd name="connsiteY3" fmla="*/ 381105 h 923464"/>
              <a:gd name="connsiteX4" fmla="*/ 3690938 w 4781550"/>
              <a:gd name="connsiteY4" fmla="*/ 566841 h 923464"/>
              <a:gd name="connsiteX5" fmla="*/ 3371850 w 4781550"/>
              <a:gd name="connsiteY5" fmla="*/ 719241 h 923464"/>
              <a:gd name="connsiteX6" fmla="*/ 2957512 w 4781550"/>
              <a:gd name="connsiteY6" fmla="*/ 852591 h 923464"/>
              <a:gd name="connsiteX7" fmla="*/ 2562225 w 4781550"/>
              <a:gd name="connsiteY7" fmla="*/ 919267 h 923464"/>
              <a:gd name="connsiteX8" fmla="*/ 2614613 w 4781550"/>
              <a:gd name="connsiteY8" fmla="*/ 914504 h 923464"/>
              <a:gd name="connsiteX9" fmla="*/ 2105026 w 4781550"/>
              <a:gd name="connsiteY9" fmla="*/ 909741 h 923464"/>
              <a:gd name="connsiteX10" fmla="*/ 1762125 w 4781550"/>
              <a:gd name="connsiteY10" fmla="*/ 785915 h 923464"/>
              <a:gd name="connsiteX11" fmla="*/ 1500188 w 4781550"/>
              <a:gd name="connsiteY11" fmla="*/ 604941 h 923464"/>
              <a:gd name="connsiteX12" fmla="*/ 1271588 w 4781550"/>
              <a:gd name="connsiteY12" fmla="*/ 476354 h 923464"/>
              <a:gd name="connsiteX13" fmla="*/ 1071563 w 4781550"/>
              <a:gd name="connsiteY13" fmla="*/ 504928 h 923464"/>
              <a:gd name="connsiteX14" fmla="*/ 852486 w 4781550"/>
              <a:gd name="connsiteY14" fmla="*/ 709716 h 923464"/>
              <a:gd name="connsiteX15" fmla="*/ 561975 w 4781550"/>
              <a:gd name="connsiteY15" fmla="*/ 824017 h 923464"/>
              <a:gd name="connsiteX16" fmla="*/ 300037 w 4781550"/>
              <a:gd name="connsiteY16" fmla="*/ 876403 h 923464"/>
              <a:gd name="connsiteX17" fmla="*/ 0 w 4781550"/>
              <a:gd name="connsiteY17" fmla="*/ 890691 h 923464"/>
              <a:gd name="connsiteX0" fmla="*/ 4781550 w 4781550"/>
              <a:gd name="connsiteY0" fmla="*/ 115455 h 924515"/>
              <a:gd name="connsiteX1" fmla="*/ 4443412 w 4781550"/>
              <a:gd name="connsiteY1" fmla="*/ 1155 h 924515"/>
              <a:gd name="connsiteX2" fmla="*/ 4157663 w 4781550"/>
              <a:gd name="connsiteY2" fmla="*/ 77354 h 924515"/>
              <a:gd name="connsiteX3" fmla="*/ 3933825 w 4781550"/>
              <a:gd name="connsiteY3" fmla="*/ 382156 h 924515"/>
              <a:gd name="connsiteX4" fmla="*/ 3690938 w 4781550"/>
              <a:gd name="connsiteY4" fmla="*/ 567892 h 924515"/>
              <a:gd name="connsiteX5" fmla="*/ 3371850 w 4781550"/>
              <a:gd name="connsiteY5" fmla="*/ 720292 h 924515"/>
              <a:gd name="connsiteX6" fmla="*/ 2957512 w 4781550"/>
              <a:gd name="connsiteY6" fmla="*/ 853642 h 924515"/>
              <a:gd name="connsiteX7" fmla="*/ 2562225 w 4781550"/>
              <a:gd name="connsiteY7" fmla="*/ 920318 h 924515"/>
              <a:gd name="connsiteX8" fmla="*/ 2614613 w 4781550"/>
              <a:gd name="connsiteY8" fmla="*/ 915555 h 924515"/>
              <a:gd name="connsiteX9" fmla="*/ 2105026 w 4781550"/>
              <a:gd name="connsiteY9" fmla="*/ 910792 h 924515"/>
              <a:gd name="connsiteX10" fmla="*/ 1762125 w 4781550"/>
              <a:gd name="connsiteY10" fmla="*/ 786966 h 924515"/>
              <a:gd name="connsiteX11" fmla="*/ 1500188 w 4781550"/>
              <a:gd name="connsiteY11" fmla="*/ 605992 h 924515"/>
              <a:gd name="connsiteX12" fmla="*/ 1271588 w 4781550"/>
              <a:gd name="connsiteY12" fmla="*/ 477405 h 924515"/>
              <a:gd name="connsiteX13" fmla="*/ 1071563 w 4781550"/>
              <a:gd name="connsiteY13" fmla="*/ 505979 h 924515"/>
              <a:gd name="connsiteX14" fmla="*/ 852486 w 4781550"/>
              <a:gd name="connsiteY14" fmla="*/ 710767 h 924515"/>
              <a:gd name="connsiteX15" fmla="*/ 561975 w 4781550"/>
              <a:gd name="connsiteY15" fmla="*/ 825068 h 924515"/>
              <a:gd name="connsiteX16" fmla="*/ 300037 w 4781550"/>
              <a:gd name="connsiteY16" fmla="*/ 877454 h 924515"/>
              <a:gd name="connsiteX17" fmla="*/ 0 w 4781550"/>
              <a:gd name="connsiteY17" fmla="*/ 891742 h 924515"/>
              <a:gd name="connsiteX0" fmla="*/ 4781550 w 4781550"/>
              <a:gd name="connsiteY0" fmla="*/ 115455 h 924515"/>
              <a:gd name="connsiteX1" fmla="*/ 4443412 w 4781550"/>
              <a:gd name="connsiteY1" fmla="*/ 1155 h 924515"/>
              <a:gd name="connsiteX2" fmla="*/ 4157663 w 4781550"/>
              <a:gd name="connsiteY2" fmla="*/ 77354 h 924515"/>
              <a:gd name="connsiteX3" fmla="*/ 3933825 w 4781550"/>
              <a:gd name="connsiteY3" fmla="*/ 382156 h 924515"/>
              <a:gd name="connsiteX4" fmla="*/ 3667126 w 4781550"/>
              <a:gd name="connsiteY4" fmla="*/ 563130 h 924515"/>
              <a:gd name="connsiteX5" fmla="*/ 3371850 w 4781550"/>
              <a:gd name="connsiteY5" fmla="*/ 720292 h 924515"/>
              <a:gd name="connsiteX6" fmla="*/ 2957512 w 4781550"/>
              <a:gd name="connsiteY6" fmla="*/ 853642 h 924515"/>
              <a:gd name="connsiteX7" fmla="*/ 2562225 w 4781550"/>
              <a:gd name="connsiteY7" fmla="*/ 920318 h 924515"/>
              <a:gd name="connsiteX8" fmla="*/ 2614613 w 4781550"/>
              <a:gd name="connsiteY8" fmla="*/ 915555 h 924515"/>
              <a:gd name="connsiteX9" fmla="*/ 2105026 w 4781550"/>
              <a:gd name="connsiteY9" fmla="*/ 910792 h 924515"/>
              <a:gd name="connsiteX10" fmla="*/ 1762125 w 4781550"/>
              <a:gd name="connsiteY10" fmla="*/ 786966 h 924515"/>
              <a:gd name="connsiteX11" fmla="*/ 1500188 w 4781550"/>
              <a:gd name="connsiteY11" fmla="*/ 605992 h 924515"/>
              <a:gd name="connsiteX12" fmla="*/ 1271588 w 4781550"/>
              <a:gd name="connsiteY12" fmla="*/ 477405 h 924515"/>
              <a:gd name="connsiteX13" fmla="*/ 1071563 w 4781550"/>
              <a:gd name="connsiteY13" fmla="*/ 505979 h 924515"/>
              <a:gd name="connsiteX14" fmla="*/ 852486 w 4781550"/>
              <a:gd name="connsiteY14" fmla="*/ 710767 h 924515"/>
              <a:gd name="connsiteX15" fmla="*/ 561975 w 4781550"/>
              <a:gd name="connsiteY15" fmla="*/ 825068 h 924515"/>
              <a:gd name="connsiteX16" fmla="*/ 300037 w 4781550"/>
              <a:gd name="connsiteY16" fmla="*/ 877454 h 924515"/>
              <a:gd name="connsiteX17" fmla="*/ 0 w 4781550"/>
              <a:gd name="connsiteY17" fmla="*/ 891742 h 924515"/>
              <a:gd name="connsiteX0" fmla="*/ 4781550 w 4781550"/>
              <a:gd name="connsiteY0" fmla="*/ 115455 h 924515"/>
              <a:gd name="connsiteX1" fmla="*/ 4443412 w 4781550"/>
              <a:gd name="connsiteY1" fmla="*/ 1155 h 924515"/>
              <a:gd name="connsiteX2" fmla="*/ 4157663 w 4781550"/>
              <a:gd name="connsiteY2" fmla="*/ 77354 h 924515"/>
              <a:gd name="connsiteX3" fmla="*/ 3933825 w 4781550"/>
              <a:gd name="connsiteY3" fmla="*/ 382156 h 924515"/>
              <a:gd name="connsiteX4" fmla="*/ 3667126 w 4781550"/>
              <a:gd name="connsiteY4" fmla="*/ 563130 h 924515"/>
              <a:gd name="connsiteX5" fmla="*/ 3371850 w 4781550"/>
              <a:gd name="connsiteY5" fmla="*/ 720292 h 924515"/>
              <a:gd name="connsiteX6" fmla="*/ 2957512 w 4781550"/>
              <a:gd name="connsiteY6" fmla="*/ 853642 h 924515"/>
              <a:gd name="connsiteX7" fmla="*/ 2562225 w 4781550"/>
              <a:gd name="connsiteY7" fmla="*/ 920318 h 924515"/>
              <a:gd name="connsiteX8" fmla="*/ 2614613 w 4781550"/>
              <a:gd name="connsiteY8" fmla="*/ 915555 h 924515"/>
              <a:gd name="connsiteX9" fmla="*/ 2105026 w 4781550"/>
              <a:gd name="connsiteY9" fmla="*/ 910792 h 924515"/>
              <a:gd name="connsiteX10" fmla="*/ 1762125 w 4781550"/>
              <a:gd name="connsiteY10" fmla="*/ 786966 h 924515"/>
              <a:gd name="connsiteX11" fmla="*/ 1500188 w 4781550"/>
              <a:gd name="connsiteY11" fmla="*/ 605992 h 924515"/>
              <a:gd name="connsiteX12" fmla="*/ 1271588 w 4781550"/>
              <a:gd name="connsiteY12" fmla="*/ 477405 h 924515"/>
              <a:gd name="connsiteX13" fmla="*/ 1071563 w 4781550"/>
              <a:gd name="connsiteY13" fmla="*/ 505979 h 924515"/>
              <a:gd name="connsiteX14" fmla="*/ 852486 w 4781550"/>
              <a:gd name="connsiteY14" fmla="*/ 710767 h 924515"/>
              <a:gd name="connsiteX15" fmla="*/ 561975 w 4781550"/>
              <a:gd name="connsiteY15" fmla="*/ 825068 h 924515"/>
              <a:gd name="connsiteX16" fmla="*/ 300037 w 4781550"/>
              <a:gd name="connsiteY16" fmla="*/ 877454 h 924515"/>
              <a:gd name="connsiteX17" fmla="*/ 0 w 4781550"/>
              <a:gd name="connsiteY17" fmla="*/ 891742 h 924515"/>
              <a:gd name="connsiteX0" fmla="*/ 4781550 w 4781550"/>
              <a:gd name="connsiteY0" fmla="*/ 115455 h 924515"/>
              <a:gd name="connsiteX1" fmla="*/ 4443412 w 4781550"/>
              <a:gd name="connsiteY1" fmla="*/ 1155 h 924515"/>
              <a:gd name="connsiteX2" fmla="*/ 4157663 w 4781550"/>
              <a:gd name="connsiteY2" fmla="*/ 77354 h 924515"/>
              <a:gd name="connsiteX3" fmla="*/ 3933825 w 4781550"/>
              <a:gd name="connsiteY3" fmla="*/ 382156 h 924515"/>
              <a:gd name="connsiteX4" fmla="*/ 3652839 w 4781550"/>
              <a:gd name="connsiteY4" fmla="*/ 582180 h 924515"/>
              <a:gd name="connsiteX5" fmla="*/ 3371850 w 4781550"/>
              <a:gd name="connsiteY5" fmla="*/ 720292 h 924515"/>
              <a:gd name="connsiteX6" fmla="*/ 2957512 w 4781550"/>
              <a:gd name="connsiteY6" fmla="*/ 853642 h 924515"/>
              <a:gd name="connsiteX7" fmla="*/ 2562225 w 4781550"/>
              <a:gd name="connsiteY7" fmla="*/ 920318 h 924515"/>
              <a:gd name="connsiteX8" fmla="*/ 2614613 w 4781550"/>
              <a:gd name="connsiteY8" fmla="*/ 915555 h 924515"/>
              <a:gd name="connsiteX9" fmla="*/ 2105026 w 4781550"/>
              <a:gd name="connsiteY9" fmla="*/ 910792 h 924515"/>
              <a:gd name="connsiteX10" fmla="*/ 1762125 w 4781550"/>
              <a:gd name="connsiteY10" fmla="*/ 786966 h 924515"/>
              <a:gd name="connsiteX11" fmla="*/ 1500188 w 4781550"/>
              <a:gd name="connsiteY11" fmla="*/ 605992 h 924515"/>
              <a:gd name="connsiteX12" fmla="*/ 1271588 w 4781550"/>
              <a:gd name="connsiteY12" fmla="*/ 477405 h 924515"/>
              <a:gd name="connsiteX13" fmla="*/ 1071563 w 4781550"/>
              <a:gd name="connsiteY13" fmla="*/ 505979 h 924515"/>
              <a:gd name="connsiteX14" fmla="*/ 852486 w 4781550"/>
              <a:gd name="connsiteY14" fmla="*/ 710767 h 924515"/>
              <a:gd name="connsiteX15" fmla="*/ 561975 w 4781550"/>
              <a:gd name="connsiteY15" fmla="*/ 825068 h 924515"/>
              <a:gd name="connsiteX16" fmla="*/ 300037 w 4781550"/>
              <a:gd name="connsiteY16" fmla="*/ 877454 h 924515"/>
              <a:gd name="connsiteX17" fmla="*/ 0 w 4781550"/>
              <a:gd name="connsiteY17" fmla="*/ 891742 h 924515"/>
              <a:gd name="connsiteX0" fmla="*/ 4781550 w 4781550"/>
              <a:gd name="connsiteY0" fmla="*/ 115455 h 924515"/>
              <a:gd name="connsiteX1" fmla="*/ 4443412 w 4781550"/>
              <a:gd name="connsiteY1" fmla="*/ 1155 h 924515"/>
              <a:gd name="connsiteX2" fmla="*/ 4157663 w 4781550"/>
              <a:gd name="connsiteY2" fmla="*/ 77354 h 924515"/>
              <a:gd name="connsiteX3" fmla="*/ 3933825 w 4781550"/>
              <a:gd name="connsiteY3" fmla="*/ 382156 h 924515"/>
              <a:gd name="connsiteX4" fmla="*/ 3652839 w 4781550"/>
              <a:gd name="connsiteY4" fmla="*/ 582180 h 924515"/>
              <a:gd name="connsiteX5" fmla="*/ 3300413 w 4781550"/>
              <a:gd name="connsiteY5" fmla="*/ 744105 h 924515"/>
              <a:gd name="connsiteX6" fmla="*/ 2957512 w 4781550"/>
              <a:gd name="connsiteY6" fmla="*/ 853642 h 924515"/>
              <a:gd name="connsiteX7" fmla="*/ 2562225 w 4781550"/>
              <a:gd name="connsiteY7" fmla="*/ 920318 h 924515"/>
              <a:gd name="connsiteX8" fmla="*/ 2614613 w 4781550"/>
              <a:gd name="connsiteY8" fmla="*/ 915555 h 924515"/>
              <a:gd name="connsiteX9" fmla="*/ 2105026 w 4781550"/>
              <a:gd name="connsiteY9" fmla="*/ 910792 h 924515"/>
              <a:gd name="connsiteX10" fmla="*/ 1762125 w 4781550"/>
              <a:gd name="connsiteY10" fmla="*/ 786966 h 924515"/>
              <a:gd name="connsiteX11" fmla="*/ 1500188 w 4781550"/>
              <a:gd name="connsiteY11" fmla="*/ 605992 h 924515"/>
              <a:gd name="connsiteX12" fmla="*/ 1271588 w 4781550"/>
              <a:gd name="connsiteY12" fmla="*/ 477405 h 924515"/>
              <a:gd name="connsiteX13" fmla="*/ 1071563 w 4781550"/>
              <a:gd name="connsiteY13" fmla="*/ 505979 h 924515"/>
              <a:gd name="connsiteX14" fmla="*/ 852486 w 4781550"/>
              <a:gd name="connsiteY14" fmla="*/ 710767 h 924515"/>
              <a:gd name="connsiteX15" fmla="*/ 561975 w 4781550"/>
              <a:gd name="connsiteY15" fmla="*/ 825068 h 924515"/>
              <a:gd name="connsiteX16" fmla="*/ 300037 w 4781550"/>
              <a:gd name="connsiteY16" fmla="*/ 877454 h 924515"/>
              <a:gd name="connsiteX17" fmla="*/ 0 w 4781550"/>
              <a:gd name="connsiteY17" fmla="*/ 891742 h 924515"/>
              <a:gd name="connsiteX0" fmla="*/ 4781550 w 4781550"/>
              <a:gd name="connsiteY0" fmla="*/ 115372 h 924432"/>
              <a:gd name="connsiteX1" fmla="*/ 4443412 w 4781550"/>
              <a:gd name="connsiteY1" fmla="*/ 1072 h 924432"/>
              <a:gd name="connsiteX2" fmla="*/ 4157663 w 4781550"/>
              <a:gd name="connsiteY2" fmla="*/ 77271 h 924432"/>
              <a:gd name="connsiteX3" fmla="*/ 3924300 w 4781550"/>
              <a:gd name="connsiteY3" fmla="*/ 367785 h 924432"/>
              <a:gd name="connsiteX4" fmla="*/ 3652839 w 4781550"/>
              <a:gd name="connsiteY4" fmla="*/ 582097 h 924432"/>
              <a:gd name="connsiteX5" fmla="*/ 3300413 w 4781550"/>
              <a:gd name="connsiteY5" fmla="*/ 744022 h 924432"/>
              <a:gd name="connsiteX6" fmla="*/ 2957512 w 4781550"/>
              <a:gd name="connsiteY6" fmla="*/ 853559 h 924432"/>
              <a:gd name="connsiteX7" fmla="*/ 2562225 w 4781550"/>
              <a:gd name="connsiteY7" fmla="*/ 920235 h 924432"/>
              <a:gd name="connsiteX8" fmla="*/ 2614613 w 4781550"/>
              <a:gd name="connsiteY8" fmla="*/ 915472 h 924432"/>
              <a:gd name="connsiteX9" fmla="*/ 2105026 w 4781550"/>
              <a:gd name="connsiteY9" fmla="*/ 910709 h 924432"/>
              <a:gd name="connsiteX10" fmla="*/ 1762125 w 4781550"/>
              <a:gd name="connsiteY10" fmla="*/ 786883 h 924432"/>
              <a:gd name="connsiteX11" fmla="*/ 1500188 w 4781550"/>
              <a:gd name="connsiteY11" fmla="*/ 605909 h 924432"/>
              <a:gd name="connsiteX12" fmla="*/ 1271588 w 4781550"/>
              <a:gd name="connsiteY12" fmla="*/ 477322 h 924432"/>
              <a:gd name="connsiteX13" fmla="*/ 1071563 w 4781550"/>
              <a:gd name="connsiteY13" fmla="*/ 505896 h 924432"/>
              <a:gd name="connsiteX14" fmla="*/ 852486 w 4781550"/>
              <a:gd name="connsiteY14" fmla="*/ 710684 h 924432"/>
              <a:gd name="connsiteX15" fmla="*/ 561975 w 4781550"/>
              <a:gd name="connsiteY15" fmla="*/ 824985 h 924432"/>
              <a:gd name="connsiteX16" fmla="*/ 300037 w 4781550"/>
              <a:gd name="connsiteY16" fmla="*/ 877371 h 924432"/>
              <a:gd name="connsiteX17" fmla="*/ 0 w 4781550"/>
              <a:gd name="connsiteY17" fmla="*/ 891659 h 924432"/>
              <a:gd name="connsiteX0" fmla="*/ 4781550 w 4781550"/>
              <a:gd name="connsiteY0" fmla="*/ 115372 h 924432"/>
              <a:gd name="connsiteX1" fmla="*/ 4443412 w 4781550"/>
              <a:gd name="connsiteY1" fmla="*/ 1072 h 924432"/>
              <a:gd name="connsiteX2" fmla="*/ 4157663 w 4781550"/>
              <a:gd name="connsiteY2" fmla="*/ 77271 h 924432"/>
              <a:gd name="connsiteX3" fmla="*/ 3924300 w 4781550"/>
              <a:gd name="connsiteY3" fmla="*/ 367785 h 924432"/>
              <a:gd name="connsiteX4" fmla="*/ 3652839 w 4781550"/>
              <a:gd name="connsiteY4" fmla="*/ 582097 h 924432"/>
              <a:gd name="connsiteX5" fmla="*/ 3300413 w 4781550"/>
              <a:gd name="connsiteY5" fmla="*/ 744022 h 924432"/>
              <a:gd name="connsiteX6" fmla="*/ 2957512 w 4781550"/>
              <a:gd name="connsiteY6" fmla="*/ 853559 h 924432"/>
              <a:gd name="connsiteX7" fmla="*/ 2562225 w 4781550"/>
              <a:gd name="connsiteY7" fmla="*/ 920235 h 924432"/>
              <a:gd name="connsiteX8" fmla="*/ 2614613 w 4781550"/>
              <a:gd name="connsiteY8" fmla="*/ 915472 h 924432"/>
              <a:gd name="connsiteX9" fmla="*/ 2147888 w 4781550"/>
              <a:gd name="connsiteY9" fmla="*/ 910709 h 924432"/>
              <a:gd name="connsiteX10" fmla="*/ 1762125 w 4781550"/>
              <a:gd name="connsiteY10" fmla="*/ 786883 h 924432"/>
              <a:gd name="connsiteX11" fmla="*/ 1500188 w 4781550"/>
              <a:gd name="connsiteY11" fmla="*/ 605909 h 924432"/>
              <a:gd name="connsiteX12" fmla="*/ 1271588 w 4781550"/>
              <a:gd name="connsiteY12" fmla="*/ 477322 h 924432"/>
              <a:gd name="connsiteX13" fmla="*/ 1071563 w 4781550"/>
              <a:gd name="connsiteY13" fmla="*/ 505896 h 924432"/>
              <a:gd name="connsiteX14" fmla="*/ 852486 w 4781550"/>
              <a:gd name="connsiteY14" fmla="*/ 710684 h 924432"/>
              <a:gd name="connsiteX15" fmla="*/ 561975 w 4781550"/>
              <a:gd name="connsiteY15" fmla="*/ 824985 h 924432"/>
              <a:gd name="connsiteX16" fmla="*/ 300037 w 4781550"/>
              <a:gd name="connsiteY16" fmla="*/ 877371 h 924432"/>
              <a:gd name="connsiteX17" fmla="*/ 0 w 4781550"/>
              <a:gd name="connsiteY17" fmla="*/ 891659 h 924432"/>
              <a:gd name="connsiteX0" fmla="*/ 4781550 w 4781550"/>
              <a:gd name="connsiteY0" fmla="*/ 115372 h 924432"/>
              <a:gd name="connsiteX1" fmla="*/ 4443412 w 4781550"/>
              <a:gd name="connsiteY1" fmla="*/ 1072 h 924432"/>
              <a:gd name="connsiteX2" fmla="*/ 4157663 w 4781550"/>
              <a:gd name="connsiteY2" fmla="*/ 77271 h 924432"/>
              <a:gd name="connsiteX3" fmla="*/ 3924300 w 4781550"/>
              <a:gd name="connsiteY3" fmla="*/ 367785 h 924432"/>
              <a:gd name="connsiteX4" fmla="*/ 3652839 w 4781550"/>
              <a:gd name="connsiteY4" fmla="*/ 582097 h 924432"/>
              <a:gd name="connsiteX5" fmla="*/ 3300413 w 4781550"/>
              <a:gd name="connsiteY5" fmla="*/ 744022 h 924432"/>
              <a:gd name="connsiteX6" fmla="*/ 2957512 w 4781550"/>
              <a:gd name="connsiteY6" fmla="*/ 853559 h 924432"/>
              <a:gd name="connsiteX7" fmla="*/ 2562225 w 4781550"/>
              <a:gd name="connsiteY7" fmla="*/ 920235 h 924432"/>
              <a:gd name="connsiteX8" fmla="*/ 2614613 w 4781550"/>
              <a:gd name="connsiteY8" fmla="*/ 915472 h 924432"/>
              <a:gd name="connsiteX9" fmla="*/ 2109788 w 4781550"/>
              <a:gd name="connsiteY9" fmla="*/ 910709 h 924432"/>
              <a:gd name="connsiteX10" fmla="*/ 1762125 w 4781550"/>
              <a:gd name="connsiteY10" fmla="*/ 786883 h 924432"/>
              <a:gd name="connsiteX11" fmla="*/ 1500188 w 4781550"/>
              <a:gd name="connsiteY11" fmla="*/ 605909 h 924432"/>
              <a:gd name="connsiteX12" fmla="*/ 1271588 w 4781550"/>
              <a:gd name="connsiteY12" fmla="*/ 477322 h 924432"/>
              <a:gd name="connsiteX13" fmla="*/ 1071563 w 4781550"/>
              <a:gd name="connsiteY13" fmla="*/ 505896 h 924432"/>
              <a:gd name="connsiteX14" fmla="*/ 852486 w 4781550"/>
              <a:gd name="connsiteY14" fmla="*/ 710684 h 924432"/>
              <a:gd name="connsiteX15" fmla="*/ 561975 w 4781550"/>
              <a:gd name="connsiteY15" fmla="*/ 824985 h 924432"/>
              <a:gd name="connsiteX16" fmla="*/ 300037 w 4781550"/>
              <a:gd name="connsiteY16" fmla="*/ 877371 h 924432"/>
              <a:gd name="connsiteX17" fmla="*/ 0 w 4781550"/>
              <a:gd name="connsiteY17" fmla="*/ 891659 h 924432"/>
              <a:gd name="connsiteX0" fmla="*/ 4781550 w 4781550"/>
              <a:gd name="connsiteY0" fmla="*/ 115372 h 927378"/>
              <a:gd name="connsiteX1" fmla="*/ 4443412 w 4781550"/>
              <a:gd name="connsiteY1" fmla="*/ 1072 h 927378"/>
              <a:gd name="connsiteX2" fmla="*/ 4157663 w 4781550"/>
              <a:gd name="connsiteY2" fmla="*/ 77271 h 927378"/>
              <a:gd name="connsiteX3" fmla="*/ 3924300 w 4781550"/>
              <a:gd name="connsiteY3" fmla="*/ 367785 h 927378"/>
              <a:gd name="connsiteX4" fmla="*/ 3652839 w 4781550"/>
              <a:gd name="connsiteY4" fmla="*/ 582097 h 927378"/>
              <a:gd name="connsiteX5" fmla="*/ 3300413 w 4781550"/>
              <a:gd name="connsiteY5" fmla="*/ 744022 h 927378"/>
              <a:gd name="connsiteX6" fmla="*/ 2957512 w 4781550"/>
              <a:gd name="connsiteY6" fmla="*/ 853559 h 927378"/>
              <a:gd name="connsiteX7" fmla="*/ 2562225 w 4781550"/>
              <a:gd name="connsiteY7" fmla="*/ 920235 h 927378"/>
              <a:gd name="connsiteX8" fmla="*/ 2386013 w 4781550"/>
              <a:gd name="connsiteY8" fmla="*/ 924997 h 927378"/>
              <a:gd name="connsiteX9" fmla="*/ 2109788 w 4781550"/>
              <a:gd name="connsiteY9" fmla="*/ 910709 h 927378"/>
              <a:gd name="connsiteX10" fmla="*/ 1762125 w 4781550"/>
              <a:gd name="connsiteY10" fmla="*/ 786883 h 927378"/>
              <a:gd name="connsiteX11" fmla="*/ 1500188 w 4781550"/>
              <a:gd name="connsiteY11" fmla="*/ 605909 h 927378"/>
              <a:gd name="connsiteX12" fmla="*/ 1271588 w 4781550"/>
              <a:gd name="connsiteY12" fmla="*/ 477322 h 927378"/>
              <a:gd name="connsiteX13" fmla="*/ 1071563 w 4781550"/>
              <a:gd name="connsiteY13" fmla="*/ 505896 h 927378"/>
              <a:gd name="connsiteX14" fmla="*/ 852486 w 4781550"/>
              <a:gd name="connsiteY14" fmla="*/ 710684 h 927378"/>
              <a:gd name="connsiteX15" fmla="*/ 561975 w 4781550"/>
              <a:gd name="connsiteY15" fmla="*/ 824985 h 927378"/>
              <a:gd name="connsiteX16" fmla="*/ 300037 w 4781550"/>
              <a:gd name="connsiteY16" fmla="*/ 877371 h 927378"/>
              <a:gd name="connsiteX17" fmla="*/ 0 w 4781550"/>
              <a:gd name="connsiteY17" fmla="*/ 891659 h 927378"/>
              <a:gd name="connsiteX0" fmla="*/ 4781550 w 4781550"/>
              <a:gd name="connsiteY0" fmla="*/ 115372 h 926290"/>
              <a:gd name="connsiteX1" fmla="*/ 4443412 w 4781550"/>
              <a:gd name="connsiteY1" fmla="*/ 1072 h 926290"/>
              <a:gd name="connsiteX2" fmla="*/ 4157663 w 4781550"/>
              <a:gd name="connsiteY2" fmla="*/ 77271 h 926290"/>
              <a:gd name="connsiteX3" fmla="*/ 3924300 w 4781550"/>
              <a:gd name="connsiteY3" fmla="*/ 367785 h 926290"/>
              <a:gd name="connsiteX4" fmla="*/ 3652839 w 4781550"/>
              <a:gd name="connsiteY4" fmla="*/ 582097 h 926290"/>
              <a:gd name="connsiteX5" fmla="*/ 3300413 w 4781550"/>
              <a:gd name="connsiteY5" fmla="*/ 744022 h 926290"/>
              <a:gd name="connsiteX6" fmla="*/ 2957512 w 4781550"/>
              <a:gd name="connsiteY6" fmla="*/ 853559 h 926290"/>
              <a:gd name="connsiteX7" fmla="*/ 2671763 w 4781550"/>
              <a:gd name="connsiteY7" fmla="*/ 915472 h 926290"/>
              <a:gd name="connsiteX8" fmla="*/ 2386013 w 4781550"/>
              <a:gd name="connsiteY8" fmla="*/ 924997 h 926290"/>
              <a:gd name="connsiteX9" fmla="*/ 2109788 w 4781550"/>
              <a:gd name="connsiteY9" fmla="*/ 910709 h 926290"/>
              <a:gd name="connsiteX10" fmla="*/ 1762125 w 4781550"/>
              <a:gd name="connsiteY10" fmla="*/ 786883 h 926290"/>
              <a:gd name="connsiteX11" fmla="*/ 1500188 w 4781550"/>
              <a:gd name="connsiteY11" fmla="*/ 605909 h 926290"/>
              <a:gd name="connsiteX12" fmla="*/ 1271588 w 4781550"/>
              <a:gd name="connsiteY12" fmla="*/ 477322 h 926290"/>
              <a:gd name="connsiteX13" fmla="*/ 1071563 w 4781550"/>
              <a:gd name="connsiteY13" fmla="*/ 505896 h 926290"/>
              <a:gd name="connsiteX14" fmla="*/ 852486 w 4781550"/>
              <a:gd name="connsiteY14" fmla="*/ 710684 h 926290"/>
              <a:gd name="connsiteX15" fmla="*/ 561975 w 4781550"/>
              <a:gd name="connsiteY15" fmla="*/ 824985 h 926290"/>
              <a:gd name="connsiteX16" fmla="*/ 300037 w 4781550"/>
              <a:gd name="connsiteY16" fmla="*/ 877371 h 926290"/>
              <a:gd name="connsiteX17" fmla="*/ 0 w 4781550"/>
              <a:gd name="connsiteY17" fmla="*/ 891659 h 926290"/>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52486 w 4781550"/>
              <a:gd name="connsiteY14" fmla="*/ 710684 h 926621"/>
              <a:gd name="connsiteX15" fmla="*/ 561975 w 4781550"/>
              <a:gd name="connsiteY15" fmla="*/ 824985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76299 w 4781550"/>
              <a:gd name="connsiteY14" fmla="*/ 701159 h 926621"/>
              <a:gd name="connsiteX15" fmla="*/ 561975 w 4781550"/>
              <a:gd name="connsiteY15" fmla="*/ 824985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57249 w 4781550"/>
              <a:gd name="connsiteY14" fmla="*/ 715446 h 926621"/>
              <a:gd name="connsiteX15" fmla="*/ 561975 w 4781550"/>
              <a:gd name="connsiteY15" fmla="*/ 824985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57249 w 4781550"/>
              <a:gd name="connsiteY14" fmla="*/ 715446 h 926621"/>
              <a:gd name="connsiteX15" fmla="*/ 533400 w 4781550"/>
              <a:gd name="connsiteY15" fmla="*/ 834510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57249 w 4781550"/>
              <a:gd name="connsiteY14" fmla="*/ 715446 h 926621"/>
              <a:gd name="connsiteX15" fmla="*/ 533400 w 4781550"/>
              <a:gd name="connsiteY15" fmla="*/ 834510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57249 w 4781550"/>
              <a:gd name="connsiteY14" fmla="*/ 715446 h 926621"/>
              <a:gd name="connsiteX15" fmla="*/ 533400 w 4781550"/>
              <a:gd name="connsiteY15" fmla="*/ 834510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33437 w 4781550"/>
              <a:gd name="connsiteY14" fmla="*/ 729733 h 926621"/>
              <a:gd name="connsiteX15" fmla="*/ 533400 w 4781550"/>
              <a:gd name="connsiteY15" fmla="*/ 834510 h 926621"/>
              <a:gd name="connsiteX16" fmla="*/ 300037 w 4781550"/>
              <a:gd name="connsiteY16" fmla="*/ 877371 h 926621"/>
              <a:gd name="connsiteX17" fmla="*/ 0 w 4781550"/>
              <a:gd name="connsiteY17" fmla="*/ 891659 h 926621"/>
              <a:gd name="connsiteX0" fmla="*/ 4781550 w 4781550"/>
              <a:gd name="connsiteY0" fmla="*/ 115372 h 926621"/>
              <a:gd name="connsiteX1" fmla="*/ 4443412 w 4781550"/>
              <a:gd name="connsiteY1" fmla="*/ 1072 h 926621"/>
              <a:gd name="connsiteX2" fmla="*/ 4157663 w 4781550"/>
              <a:gd name="connsiteY2" fmla="*/ 77271 h 926621"/>
              <a:gd name="connsiteX3" fmla="*/ 3924300 w 4781550"/>
              <a:gd name="connsiteY3" fmla="*/ 367785 h 926621"/>
              <a:gd name="connsiteX4" fmla="*/ 3652839 w 4781550"/>
              <a:gd name="connsiteY4" fmla="*/ 582097 h 926621"/>
              <a:gd name="connsiteX5" fmla="*/ 3300413 w 4781550"/>
              <a:gd name="connsiteY5" fmla="*/ 744022 h 926621"/>
              <a:gd name="connsiteX6" fmla="*/ 2957512 w 4781550"/>
              <a:gd name="connsiteY6" fmla="*/ 853559 h 926621"/>
              <a:gd name="connsiteX7" fmla="*/ 2671763 w 4781550"/>
              <a:gd name="connsiteY7" fmla="*/ 910709 h 926621"/>
              <a:gd name="connsiteX8" fmla="*/ 2386013 w 4781550"/>
              <a:gd name="connsiteY8" fmla="*/ 924997 h 926621"/>
              <a:gd name="connsiteX9" fmla="*/ 2109788 w 4781550"/>
              <a:gd name="connsiteY9" fmla="*/ 910709 h 926621"/>
              <a:gd name="connsiteX10" fmla="*/ 1762125 w 4781550"/>
              <a:gd name="connsiteY10" fmla="*/ 786883 h 926621"/>
              <a:gd name="connsiteX11" fmla="*/ 1500188 w 4781550"/>
              <a:gd name="connsiteY11" fmla="*/ 605909 h 926621"/>
              <a:gd name="connsiteX12" fmla="*/ 1271588 w 4781550"/>
              <a:gd name="connsiteY12" fmla="*/ 477322 h 926621"/>
              <a:gd name="connsiteX13" fmla="*/ 1071563 w 4781550"/>
              <a:gd name="connsiteY13" fmla="*/ 505896 h 926621"/>
              <a:gd name="connsiteX14" fmla="*/ 833437 w 4781550"/>
              <a:gd name="connsiteY14" fmla="*/ 729733 h 926621"/>
              <a:gd name="connsiteX15" fmla="*/ 547687 w 4781550"/>
              <a:gd name="connsiteY15" fmla="*/ 844035 h 926621"/>
              <a:gd name="connsiteX16" fmla="*/ 300037 w 4781550"/>
              <a:gd name="connsiteY16" fmla="*/ 877371 h 926621"/>
              <a:gd name="connsiteX17" fmla="*/ 0 w 4781550"/>
              <a:gd name="connsiteY17" fmla="*/ 891659 h 926621"/>
              <a:gd name="connsiteX0" fmla="*/ 4781550 w 4781550"/>
              <a:gd name="connsiteY0" fmla="*/ 115552 h 926801"/>
              <a:gd name="connsiteX1" fmla="*/ 4443412 w 4781550"/>
              <a:gd name="connsiteY1" fmla="*/ 1252 h 926801"/>
              <a:gd name="connsiteX2" fmla="*/ 4157663 w 4781550"/>
              <a:gd name="connsiteY2" fmla="*/ 77451 h 926801"/>
              <a:gd name="connsiteX3" fmla="*/ 3914775 w 4781550"/>
              <a:gd name="connsiteY3" fmla="*/ 396540 h 926801"/>
              <a:gd name="connsiteX4" fmla="*/ 3652839 w 4781550"/>
              <a:gd name="connsiteY4" fmla="*/ 582277 h 926801"/>
              <a:gd name="connsiteX5" fmla="*/ 3300413 w 4781550"/>
              <a:gd name="connsiteY5" fmla="*/ 744202 h 926801"/>
              <a:gd name="connsiteX6" fmla="*/ 2957512 w 4781550"/>
              <a:gd name="connsiteY6" fmla="*/ 853739 h 926801"/>
              <a:gd name="connsiteX7" fmla="*/ 2671763 w 4781550"/>
              <a:gd name="connsiteY7" fmla="*/ 910889 h 926801"/>
              <a:gd name="connsiteX8" fmla="*/ 2386013 w 4781550"/>
              <a:gd name="connsiteY8" fmla="*/ 925177 h 926801"/>
              <a:gd name="connsiteX9" fmla="*/ 2109788 w 4781550"/>
              <a:gd name="connsiteY9" fmla="*/ 910889 h 926801"/>
              <a:gd name="connsiteX10" fmla="*/ 1762125 w 4781550"/>
              <a:gd name="connsiteY10" fmla="*/ 787063 h 926801"/>
              <a:gd name="connsiteX11" fmla="*/ 1500188 w 4781550"/>
              <a:gd name="connsiteY11" fmla="*/ 606089 h 926801"/>
              <a:gd name="connsiteX12" fmla="*/ 1271588 w 4781550"/>
              <a:gd name="connsiteY12" fmla="*/ 477502 h 926801"/>
              <a:gd name="connsiteX13" fmla="*/ 1071563 w 4781550"/>
              <a:gd name="connsiteY13" fmla="*/ 506076 h 926801"/>
              <a:gd name="connsiteX14" fmla="*/ 833437 w 4781550"/>
              <a:gd name="connsiteY14" fmla="*/ 729913 h 926801"/>
              <a:gd name="connsiteX15" fmla="*/ 547687 w 4781550"/>
              <a:gd name="connsiteY15" fmla="*/ 844215 h 926801"/>
              <a:gd name="connsiteX16" fmla="*/ 300037 w 4781550"/>
              <a:gd name="connsiteY16" fmla="*/ 877551 h 926801"/>
              <a:gd name="connsiteX17" fmla="*/ 0 w 4781550"/>
              <a:gd name="connsiteY17" fmla="*/ 891839 h 926801"/>
              <a:gd name="connsiteX0" fmla="*/ 4781550 w 4781550"/>
              <a:gd name="connsiteY0" fmla="*/ 115552 h 926801"/>
              <a:gd name="connsiteX1" fmla="*/ 4443412 w 4781550"/>
              <a:gd name="connsiteY1" fmla="*/ 1252 h 926801"/>
              <a:gd name="connsiteX2" fmla="*/ 4157663 w 4781550"/>
              <a:gd name="connsiteY2" fmla="*/ 77451 h 926801"/>
              <a:gd name="connsiteX3" fmla="*/ 3914775 w 4781550"/>
              <a:gd name="connsiteY3" fmla="*/ 396540 h 926801"/>
              <a:gd name="connsiteX4" fmla="*/ 3595689 w 4781550"/>
              <a:gd name="connsiteY4" fmla="*/ 625140 h 926801"/>
              <a:gd name="connsiteX5" fmla="*/ 3300413 w 4781550"/>
              <a:gd name="connsiteY5" fmla="*/ 744202 h 926801"/>
              <a:gd name="connsiteX6" fmla="*/ 2957512 w 4781550"/>
              <a:gd name="connsiteY6" fmla="*/ 853739 h 926801"/>
              <a:gd name="connsiteX7" fmla="*/ 2671763 w 4781550"/>
              <a:gd name="connsiteY7" fmla="*/ 910889 h 926801"/>
              <a:gd name="connsiteX8" fmla="*/ 2386013 w 4781550"/>
              <a:gd name="connsiteY8" fmla="*/ 925177 h 926801"/>
              <a:gd name="connsiteX9" fmla="*/ 2109788 w 4781550"/>
              <a:gd name="connsiteY9" fmla="*/ 910889 h 926801"/>
              <a:gd name="connsiteX10" fmla="*/ 1762125 w 4781550"/>
              <a:gd name="connsiteY10" fmla="*/ 787063 h 926801"/>
              <a:gd name="connsiteX11" fmla="*/ 1500188 w 4781550"/>
              <a:gd name="connsiteY11" fmla="*/ 606089 h 926801"/>
              <a:gd name="connsiteX12" fmla="*/ 1271588 w 4781550"/>
              <a:gd name="connsiteY12" fmla="*/ 477502 h 926801"/>
              <a:gd name="connsiteX13" fmla="*/ 1071563 w 4781550"/>
              <a:gd name="connsiteY13" fmla="*/ 506076 h 926801"/>
              <a:gd name="connsiteX14" fmla="*/ 833437 w 4781550"/>
              <a:gd name="connsiteY14" fmla="*/ 729913 h 926801"/>
              <a:gd name="connsiteX15" fmla="*/ 547687 w 4781550"/>
              <a:gd name="connsiteY15" fmla="*/ 844215 h 926801"/>
              <a:gd name="connsiteX16" fmla="*/ 300037 w 4781550"/>
              <a:gd name="connsiteY16" fmla="*/ 877551 h 926801"/>
              <a:gd name="connsiteX17" fmla="*/ 0 w 4781550"/>
              <a:gd name="connsiteY17" fmla="*/ 891839 h 926801"/>
              <a:gd name="connsiteX0" fmla="*/ 4781550 w 4781550"/>
              <a:gd name="connsiteY0" fmla="*/ 115552 h 926801"/>
              <a:gd name="connsiteX1" fmla="*/ 4443412 w 4781550"/>
              <a:gd name="connsiteY1" fmla="*/ 1252 h 926801"/>
              <a:gd name="connsiteX2" fmla="*/ 4157663 w 4781550"/>
              <a:gd name="connsiteY2" fmla="*/ 77451 h 926801"/>
              <a:gd name="connsiteX3" fmla="*/ 3914775 w 4781550"/>
              <a:gd name="connsiteY3" fmla="*/ 396540 h 926801"/>
              <a:gd name="connsiteX4" fmla="*/ 3595689 w 4781550"/>
              <a:gd name="connsiteY4" fmla="*/ 625140 h 926801"/>
              <a:gd name="connsiteX5" fmla="*/ 3300413 w 4781550"/>
              <a:gd name="connsiteY5" fmla="*/ 763252 h 926801"/>
              <a:gd name="connsiteX6" fmla="*/ 2957512 w 4781550"/>
              <a:gd name="connsiteY6" fmla="*/ 853739 h 926801"/>
              <a:gd name="connsiteX7" fmla="*/ 2671763 w 4781550"/>
              <a:gd name="connsiteY7" fmla="*/ 910889 h 926801"/>
              <a:gd name="connsiteX8" fmla="*/ 2386013 w 4781550"/>
              <a:gd name="connsiteY8" fmla="*/ 925177 h 926801"/>
              <a:gd name="connsiteX9" fmla="*/ 2109788 w 4781550"/>
              <a:gd name="connsiteY9" fmla="*/ 910889 h 926801"/>
              <a:gd name="connsiteX10" fmla="*/ 1762125 w 4781550"/>
              <a:gd name="connsiteY10" fmla="*/ 787063 h 926801"/>
              <a:gd name="connsiteX11" fmla="*/ 1500188 w 4781550"/>
              <a:gd name="connsiteY11" fmla="*/ 606089 h 926801"/>
              <a:gd name="connsiteX12" fmla="*/ 1271588 w 4781550"/>
              <a:gd name="connsiteY12" fmla="*/ 477502 h 926801"/>
              <a:gd name="connsiteX13" fmla="*/ 1071563 w 4781550"/>
              <a:gd name="connsiteY13" fmla="*/ 506076 h 926801"/>
              <a:gd name="connsiteX14" fmla="*/ 833437 w 4781550"/>
              <a:gd name="connsiteY14" fmla="*/ 729913 h 926801"/>
              <a:gd name="connsiteX15" fmla="*/ 547687 w 4781550"/>
              <a:gd name="connsiteY15" fmla="*/ 844215 h 926801"/>
              <a:gd name="connsiteX16" fmla="*/ 300037 w 4781550"/>
              <a:gd name="connsiteY16" fmla="*/ 877551 h 926801"/>
              <a:gd name="connsiteX17" fmla="*/ 0 w 4781550"/>
              <a:gd name="connsiteY17" fmla="*/ 891839 h 926801"/>
              <a:gd name="connsiteX0" fmla="*/ 4781550 w 4781550"/>
              <a:gd name="connsiteY0" fmla="*/ 115552 h 926801"/>
              <a:gd name="connsiteX1" fmla="*/ 4443412 w 4781550"/>
              <a:gd name="connsiteY1" fmla="*/ 1252 h 926801"/>
              <a:gd name="connsiteX2" fmla="*/ 4157663 w 4781550"/>
              <a:gd name="connsiteY2" fmla="*/ 77451 h 926801"/>
              <a:gd name="connsiteX3" fmla="*/ 3914775 w 4781550"/>
              <a:gd name="connsiteY3" fmla="*/ 396540 h 926801"/>
              <a:gd name="connsiteX4" fmla="*/ 3595689 w 4781550"/>
              <a:gd name="connsiteY4" fmla="*/ 625140 h 926801"/>
              <a:gd name="connsiteX5" fmla="*/ 3300413 w 4781550"/>
              <a:gd name="connsiteY5" fmla="*/ 763252 h 926801"/>
              <a:gd name="connsiteX6" fmla="*/ 2971799 w 4781550"/>
              <a:gd name="connsiteY6" fmla="*/ 868027 h 926801"/>
              <a:gd name="connsiteX7" fmla="*/ 2671763 w 4781550"/>
              <a:gd name="connsiteY7" fmla="*/ 910889 h 926801"/>
              <a:gd name="connsiteX8" fmla="*/ 2386013 w 4781550"/>
              <a:gd name="connsiteY8" fmla="*/ 925177 h 926801"/>
              <a:gd name="connsiteX9" fmla="*/ 2109788 w 4781550"/>
              <a:gd name="connsiteY9" fmla="*/ 910889 h 926801"/>
              <a:gd name="connsiteX10" fmla="*/ 1762125 w 4781550"/>
              <a:gd name="connsiteY10" fmla="*/ 787063 h 926801"/>
              <a:gd name="connsiteX11" fmla="*/ 1500188 w 4781550"/>
              <a:gd name="connsiteY11" fmla="*/ 606089 h 926801"/>
              <a:gd name="connsiteX12" fmla="*/ 1271588 w 4781550"/>
              <a:gd name="connsiteY12" fmla="*/ 477502 h 926801"/>
              <a:gd name="connsiteX13" fmla="*/ 1071563 w 4781550"/>
              <a:gd name="connsiteY13" fmla="*/ 506076 h 926801"/>
              <a:gd name="connsiteX14" fmla="*/ 833437 w 4781550"/>
              <a:gd name="connsiteY14" fmla="*/ 729913 h 926801"/>
              <a:gd name="connsiteX15" fmla="*/ 547687 w 4781550"/>
              <a:gd name="connsiteY15" fmla="*/ 844215 h 926801"/>
              <a:gd name="connsiteX16" fmla="*/ 300037 w 4781550"/>
              <a:gd name="connsiteY16" fmla="*/ 877551 h 926801"/>
              <a:gd name="connsiteX17" fmla="*/ 0 w 4781550"/>
              <a:gd name="connsiteY17" fmla="*/ 891839 h 926801"/>
              <a:gd name="connsiteX0" fmla="*/ 4781550 w 4781550"/>
              <a:gd name="connsiteY0" fmla="*/ 115552 h 930688"/>
              <a:gd name="connsiteX1" fmla="*/ 4443412 w 4781550"/>
              <a:gd name="connsiteY1" fmla="*/ 1252 h 930688"/>
              <a:gd name="connsiteX2" fmla="*/ 4157663 w 4781550"/>
              <a:gd name="connsiteY2" fmla="*/ 77451 h 930688"/>
              <a:gd name="connsiteX3" fmla="*/ 3914775 w 4781550"/>
              <a:gd name="connsiteY3" fmla="*/ 396540 h 930688"/>
              <a:gd name="connsiteX4" fmla="*/ 3595689 w 4781550"/>
              <a:gd name="connsiteY4" fmla="*/ 625140 h 930688"/>
              <a:gd name="connsiteX5" fmla="*/ 3300413 w 4781550"/>
              <a:gd name="connsiteY5" fmla="*/ 763252 h 930688"/>
              <a:gd name="connsiteX6" fmla="*/ 2971799 w 4781550"/>
              <a:gd name="connsiteY6" fmla="*/ 868027 h 930688"/>
              <a:gd name="connsiteX7" fmla="*/ 2643188 w 4781550"/>
              <a:gd name="connsiteY7" fmla="*/ 925176 h 930688"/>
              <a:gd name="connsiteX8" fmla="*/ 2386013 w 4781550"/>
              <a:gd name="connsiteY8" fmla="*/ 925177 h 930688"/>
              <a:gd name="connsiteX9" fmla="*/ 2109788 w 4781550"/>
              <a:gd name="connsiteY9" fmla="*/ 910889 h 930688"/>
              <a:gd name="connsiteX10" fmla="*/ 1762125 w 4781550"/>
              <a:gd name="connsiteY10" fmla="*/ 787063 h 930688"/>
              <a:gd name="connsiteX11" fmla="*/ 1500188 w 4781550"/>
              <a:gd name="connsiteY11" fmla="*/ 606089 h 930688"/>
              <a:gd name="connsiteX12" fmla="*/ 1271588 w 4781550"/>
              <a:gd name="connsiteY12" fmla="*/ 477502 h 930688"/>
              <a:gd name="connsiteX13" fmla="*/ 1071563 w 4781550"/>
              <a:gd name="connsiteY13" fmla="*/ 506076 h 930688"/>
              <a:gd name="connsiteX14" fmla="*/ 833437 w 4781550"/>
              <a:gd name="connsiteY14" fmla="*/ 729913 h 930688"/>
              <a:gd name="connsiteX15" fmla="*/ 547687 w 4781550"/>
              <a:gd name="connsiteY15" fmla="*/ 844215 h 930688"/>
              <a:gd name="connsiteX16" fmla="*/ 300037 w 4781550"/>
              <a:gd name="connsiteY16" fmla="*/ 877551 h 930688"/>
              <a:gd name="connsiteX17" fmla="*/ 0 w 4781550"/>
              <a:gd name="connsiteY17" fmla="*/ 891839 h 930688"/>
              <a:gd name="connsiteX0" fmla="*/ 4781550 w 4781550"/>
              <a:gd name="connsiteY0" fmla="*/ 115552 h 944572"/>
              <a:gd name="connsiteX1" fmla="*/ 4443412 w 4781550"/>
              <a:gd name="connsiteY1" fmla="*/ 1252 h 944572"/>
              <a:gd name="connsiteX2" fmla="*/ 4157663 w 4781550"/>
              <a:gd name="connsiteY2" fmla="*/ 77451 h 944572"/>
              <a:gd name="connsiteX3" fmla="*/ 3914775 w 4781550"/>
              <a:gd name="connsiteY3" fmla="*/ 396540 h 944572"/>
              <a:gd name="connsiteX4" fmla="*/ 3595689 w 4781550"/>
              <a:gd name="connsiteY4" fmla="*/ 625140 h 944572"/>
              <a:gd name="connsiteX5" fmla="*/ 3300413 w 4781550"/>
              <a:gd name="connsiteY5" fmla="*/ 763252 h 944572"/>
              <a:gd name="connsiteX6" fmla="*/ 2971799 w 4781550"/>
              <a:gd name="connsiteY6" fmla="*/ 868027 h 944572"/>
              <a:gd name="connsiteX7" fmla="*/ 2643188 w 4781550"/>
              <a:gd name="connsiteY7" fmla="*/ 925176 h 944572"/>
              <a:gd name="connsiteX8" fmla="*/ 2357438 w 4781550"/>
              <a:gd name="connsiteY8" fmla="*/ 944227 h 944572"/>
              <a:gd name="connsiteX9" fmla="*/ 2109788 w 4781550"/>
              <a:gd name="connsiteY9" fmla="*/ 910889 h 944572"/>
              <a:gd name="connsiteX10" fmla="*/ 1762125 w 4781550"/>
              <a:gd name="connsiteY10" fmla="*/ 787063 h 944572"/>
              <a:gd name="connsiteX11" fmla="*/ 1500188 w 4781550"/>
              <a:gd name="connsiteY11" fmla="*/ 606089 h 944572"/>
              <a:gd name="connsiteX12" fmla="*/ 1271588 w 4781550"/>
              <a:gd name="connsiteY12" fmla="*/ 477502 h 944572"/>
              <a:gd name="connsiteX13" fmla="*/ 1071563 w 4781550"/>
              <a:gd name="connsiteY13" fmla="*/ 506076 h 944572"/>
              <a:gd name="connsiteX14" fmla="*/ 833437 w 4781550"/>
              <a:gd name="connsiteY14" fmla="*/ 729913 h 944572"/>
              <a:gd name="connsiteX15" fmla="*/ 547687 w 4781550"/>
              <a:gd name="connsiteY15" fmla="*/ 844215 h 944572"/>
              <a:gd name="connsiteX16" fmla="*/ 300037 w 4781550"/>
              <a:gd name="connsiteY16" fmla="*/ 877551 h 944572"/>
              <a:gd name="connsiteX17" fmla="*/ 0 w 4781550"/>
              <a:gd name="connsiteY17" fmla="*/ 891839 h 944572"/>
              <a:gd name="connsiteX0" fmla="*/ 4781550 w 4781550"/>
              <a:gd name="connsiteY0" fmla="*/ 115552 h 952533"/>
              <a:gd name="connsiteX1" fmla="*/ 4443412 w 4781550"/>
              <a:gd name="connsiteY1" fmla="*/ 1252 h 952533"/>
              <a:gd name="connsiteX2" fmla="*/ 4157663 w 4781550"/>
              <a:gd name="connsiteY2" fmla="*/ 77451 h 952533"/>
              <a:gd name="connsiteX3" fmla="*/ 3914775 w 4781550"/>
              <a:gd name="connsiteY3" fmla="*/ 396540 h 952533"/>
              <a:gd name="connsiteX4" fmla="*/ 3595689 w 4781550"/>
              <a:gd name="connsiteY4" fmla="*/ 625140 h 952533"/>
              <a:gd name="connsiteX5" fmla="*/ 3300413 w 4781550"/>
              <a:gd name="connsiteY5" fmla="*/ 763252 h 952533"/>
              <a:gd name="connsiteX6" fmla="*/ 2971799 w 4781550"/>
              <a:gd name="connsiteY6" fmla="*/ 868027 h 952533"/>
              <a:gd name="connsiteX7" fmla="*/ 2643188 w 4781550"/>
              <a:gd name="connsiteY7" fmla="*/ 925176 h 952533"/>
              <a:gd name="connsiteX8" fmla="*/ 2357438 w 4781550"/>
              <a:gd name="connsiteY8" fmla="*/ 944227 h 952533"/>
              <a:gd name="connsiteX9" fmla="*/ 1762125 w 4781550"/>
              <a:gd name="connsiteY9" fmla="*/ 787063 h 952533"/>
              <a:gd name="connsiteX10" fmla="*/ 1500188 w 4781550"/>
              <a:gd name="connsiteY10" fmla="*/ 606089 h 952533"/>
              <a:gd name="connsiteX11" fmla="*/ 1271588 w 4781550"/>
              <a:gd name="connsiteY11" fmla="*/ 477502 h 952533"/>
              <a:gd name="connsiteX12" fmla="*/ 1071563 w 4781550"/>
              <a:gd name="connsiteY12" fmla="*/ 506076 h 952533"/>
              <a:gd name="connsiteX13" fmla="*/ 833437 w 4781550"/>
              <a:gd name="connsiteY13" fmla="*/ 729913 h 952533"/>
              <a:gd name="connsiteX14" fmla="*/ 547687 w 4781550"/>
              <a:gd name="connsiteY14" fmla="*/ 844215 h 952533"/>
              <a:gd name="connsiteX15" fmla="*/ 300037 w 4781550"/>
              <a:gd name="connsiteY15" fmla="*/ 877551 h 952533"/>
              <a:gd name="connsiteX16" fmla="*/ 0 w 4781550"/>
              <a:gd name="connsiteY16" fmla="*/ 891839 h 952533"/>
              <a:gd name="connsiteX0" fmla="*/ 4781550 w 4781550"/>
              <a:gd name="connsiteY0" fmla="*/ 115552 h 941483"/>
              <a:gd name="connsiteX1" fmla="*/ 4443412 w 4781550"/>
              <a:gd name="connsiteY1" fmla="*/ 1252 h 941483"/>
              <a:gd name="connsiteX2" fmla="*/ 4157663 w 4781550"/>
              <a:gd name="connsiteY2" fmla="*/ 77451 h 941483"/>
              <a:gd name="connsiteX3" fmla="*/ 3914775 w 4781550"/>
              <a:gd name="connsiteY3" fmla="*/ 396540 h 941483"/>
              <a:gd name="connsiteX4" fmla="*/ 3595689 w 4781550"/>
              <a:gd name="connsiteY4" fmla="*/ 625140 h 941483"/>
              <a:gd name="connsiteX5" fmla="*/ 3300413 w 4781550"/>
              <a:gd name="connsiteY5" fmla="*/ 763252 h 941483"/>
              <a:gd name="connsiteX6" fmla="*/ 2971799 w 4781550"/>
              <a:gd name="connsiteY6" fmla="*/ 868027 h 941483"/>
              <a:gd name="connsiteX7" fmla="*/ 2643188 w 4781550"/>
              <a:gd name="connsiteY7" fmla="*/ 925176 h 941483"/>
              <a:gd name="connsiteX8" fmla="*/ 2181226 w 4781550"/>
              <a:gd name="connsiteY8" fmla="*/ 929940 h 941483"/>
              <a:gd name="connsiteX9" fmla="*/ 1762125 w 4781550"/>
              <a:gd name="connsiteY9" fmla="*/ 787063 h 941483"/>
              <a:gd name="connsiteX10" fmla="*/ 1500188 w 4781550"/>
              <a:gd name="connsiteY10" fmla="*/ 606089 h 941483"/>
              <a:gd name="connsiteX11" fmla="*/ 1271588 w 4781550"/>
              <a:gd name="connsiteY11" fmla="*/ 477502 h 941483"/>
              <a:gd name="connsiteX12" fmla="*/ 1071563 w 4781550"/>
              <a:gd name="connsiteY12" fmla="*/ 506076 h 941483"/>
              <a:gd name="connsiteX13" fmla="*/ 833437 w 4781550"/>
              <a:gd name="connsiteY13" fmla="*/ 729913 h 941483"/>
              <a:gd name="connsiteX14" fmla="*/ 547687 w 4781550"/>
              <a:gd name="connsiteY14" fmla="*/ 844215 h 941483"/>
              <a:gd name="connsiteX15" fmla="*/ 300037 w 4781550"/>
              <a:gd name="connsiteY15" fmla="*/ 877551 h 941483"/>
              <a:gd name="connsiteX16" fmla="*/ 0 w 4781550"/>
              <a:gd name="connsiteY16" fmla="*/ 891839 h 941483"/>
              <a:gd name="connsiteX0" fmla="*/ 4781550 w 4781550"/>
              <a:gd name="connsiteY0" fmla="*/ 115552 h 939825"/>
              <a:gd name="connsiteX1" fmla="*/ 4443412 w 4781550"/>
              <a:gd name="connsiteY1" fmla="*/ 1252 h 939825"/>
              <a:gd name="connsiteX2" fmla="*/ 4157663 w 4781550"/>
              <a:gd name="connsiteY2" fmla="*/ 77451 h 939825"/>
              <a:gd name="connsiteX3" fmla="*/ 3914775 w 4781550"/>
              <a:gd name="connsiteY3" fmla="*/ 396540 h 939825"/>
              <a:gd name="connsiteX4" fmla="*/ 3595689 w 4781550"/>
              <a:gd name="connsiteY4" fmla="*/ 625140 h 939825"/>
              <a:gd name="connsiteX5" fmla="*/ 3300413 w 4781550"/>
              <a:gd name="connsiteY5" fmla="*/ 763252 h 939825"/>
              <a:gd name="connsiteX6" fmla="*/ 2971799 w 4781550"/>
              <a:gd name="connsiteY6" fmla="*/ 868027 h 939825"/>
              <a:gd name="connsiteX7" fmla="*/ 2614613 w 4781550"/>
              <a:gd name="connsiteY7" fmla="*/ 920414 h 939825"/>
              <a:gd name="connsiteX8" fmla="*/ 2181226 w 4781550"/>
              <a:gd name="connsiteY8" fmla="*/ 929940 h 939825"/>
              <a:gd name="connsiteX9" fmla="*/ 1762125 w 4781550"/>
              <a:gd name="connsiteY9" fmla="*/ 787063 h 939825"/>
              <a:gd name="connsiteX10" fmla="*/ 1500188 w 4781550"/>
              <a:gd name="connsiteY10" fmla="*/ 606089 h 939825"/>
              <a:gd name="connsiteX11" fmla="*/ 1271588 w 4781550"/>
              <a:gd name="connsiteY11" fmla="*/ 477502 h 939825"/>
              <a:gd name="connsiteX12" fmla="*/ 1071563 w 4781550"/>
              <a:gd name="connsiteY12" fmla="*/ 506076 h 939825"/>
              <a:gd name="connsiteX13" fmla="*/ 833437 w 4781550"/>
              <a:gd name="connsiteY13" fmla="*/ 729913 h 939825"/>
              <a:gd name="connsiteX14" fmla="*/ 547687 w 4781550"/>
              <a:gd name="connsiteY14" fmla="*/ 844215 h 939825"/>
              <a:gd name="connsiteX15" fmla="*/ 300037 w 4781550"/>
              <a:gd name="connsiteY15" fmla="*/ 877551 h 939825"/>
              <a:gd name="connsiteX16" fmla="*/ 0 w 4781550"/>
              <a:gd name="connsiteY16" fmla="*/ 891839 h 939825"/>
              <a:gd name="connsiteX0" fmla="*/ 4781550 w 4781550"/>
              <a:gd name="connsiteY0" fmla="*/ 115552 h 939825"/>
              <a:gd name="connsiteX1" fmla="*/ 4443412 w 4781550"/>
              <a:gd name="connsiteY1" fmla="*/ 1252 h 939825"/>
              <a:gd name="connsiteX2" fmla="*/ 4157663 w 4781550"/>
              <a:gd name="connsiteY2" fmla="*/ 77451 h 939825"/>
              <a:gd name="connsiteX3" fmla="*/ 3914775 w 4781550"/>
              <a:gd name="connsiteY3" fmla="*/ 396540 h 939825"/>
              <a:gd name="connsiteX4" fmla="*/ 3595689 w 4781550"/>
              <a:gd name="connsiteY4" fmla="*/ 625140 h 939825"/>
              <a:gd name="connsiteX5" fmla="*/ 3300413 w 4781550"/>
              <a:gd name="connsiteY5" fmla="*/ 763252 h 939825"/>
              <a:gd name="connsiteX6" fmla="*/ 2990849 w 4781550"/>
              <a:gd name="connsiteY6" fmla="*/ 858502 h 939825"/>
              <a:gd name="connsiteX7" fmla="*/ 2614613 w 4781550"/>
              <a:gd name="connsiteY7" fmla="*/ 920414 h 939825"/>
              <a:gd name="connsiteX8" fmla="*/ 2181226 w 4781550"/>
              <a:gd name="connsiteY8" fmla="*/ 929940 h 939825"/>
              <a:gd name="connsiteX9" fmla="*/ 1762125 w 4781550"/>
              <a:gd name="connsiteY9" fmla="*/ 787063 h 939825"/>
              <a:gd name="connsiteX10" fmla="*/ 1500188 w 4781550"/>
              <a:gd name="connsiteY10" fmla="*/ 606089 h 939825"/>
              <a:gd name="connsiteX11" fmla="*/ 1271588 w 4781550"/>
              <a:gd name="connsiteY11" fmla="*/ 477502 h 939825"/>
              <a:gd name="connsiteX12" fmla="*/ 1071563 w 4781550"/>
              <a:gd name="connsiteY12" fmla="*/ 506076 h 939825"/>
              <a:gd name="connsiteX13" fmla="*/ 833437 w 4781550"/>
              <a:gd name="connsiteY13" fmla="*/ 729913 h 939825"/>
              <a:gd name="connsiteX14" fmla="*/ 547687 w 4781550"/>
              <a:gd name="connsiteY14" fmla="*/ 844215 h 939825"/>
              <a:gd name="connsiteX15" fmla="*/ 300037 w 4781550"/>
              <a:gd name="connsiteY15" fmla="*/ 877551 h 939825"/>
              <a:gd name="connsiteX16" fmla="*/ 0 w 4781550"/>
              <a:gd name="connsiteY16" fmla="*/ 891839 h 939825"/>
              <a:gd name="connsiteX0" fmla="*/ 4781550 w 4781550"/>
              <a:gd name="connsiteY0" fmla="*/ 115552 h 933246"/>
              <a:gd name="connsiteX1" fmla="*/ 4443412 w 4781550"/>
              <a:gd name="connsiteY1" fmla="*/ 1252 h 933246"/>
              <a:gd name="connsiteX2" fmla="*/ 4157663 w 4781550"/>
              <a:gd name="connsiteY2" fmla="*/ 77451 h 933246"/>
              <a:gd name="connsiteX3" fmla="*/ 3914775 w 4781550"/>
              <a:gd name="connsiteY3" fmla="*/ 396540 h 933246"/>
              <a:gd name="connsiteX4" fmla="*/ 3595689 w 4781550"/>
              <a:gd name="connsiteY4" fmla="*/ 625140 h 933246"/>
              <a:gd name="connsiteX5" fmla="*/ 3300413 w 4781550"/>
              <a:gd name="connsiteY5" fmla="*/ 763252 h 933246"/>
              <a:gd name="connsiteX6" fmla="*/ 2990849 w 4781550"/>
              <a:gd name="connsiteY6" fmla="*/ 858502 h 933246"/>
              <a:gd name="connsiteX7" fmla="*/ 2614613 w 4781550"/>
              <a:gd name="connsiteY7" fmla="*/ 920414 h 933246"/>
              <a:gd name="connsiteX8" fmla="*/ 2143126 w 4781550"/>
              <a:gd name="connsiteY8" fmla="*/ 920415 h 933246"/>
              <a:gd name="connsiteX9" fmla="*/ 1762125 w 4781550"/>
              <a:gd name="connsiteY9" fmla="*/ 787063 h 933246"/>
              <a:gd name="connsiteX10" fmla="*/ 1500188 w 4781550"/>
              <a:gd name="connsiteY10" fmla="*/ 606089 h 933246"/>
              <a:gd name="connsiteX11" fmla="*/ 1271588 w 4781550"/>
              <a:gd name="connsiteY11" fmla="*/ 477502 h 933246"/>
              <a:gd name="connsiteX12" fmla="*/ 1071563 w 4781550"/>
              <a:gd name="connsiteY12" fmla="*/ 506076 h 933246"/>
              <a:gd name="connsiteX13" fmla="*/ 833437 w 4781550"/>
              <a:gd name="connsiteY13" fmla="*/ 729913 h 933246"/>
              <a:gd name="connsiteX14" fmla="*/ 547687 w 4781550"/>
              <a:gd name="connsiteY14" fmla="*/ 844215 h 933246"/>
              <a:gd name="connsiteX15" fmla="*/ 300037 w 4781550"/>
              <a:gd name="connsiteY15" fmla="*/ 877551 h 933246"/>
              <a:gd name="connsiteX16" fmla="*/ 0 w 4781550"/>
              <a:gd name="connsiteY16" fmla="*/ 891839 h 933246"/>
              <a:gd name="connsiteX0" fmla="*/ 4781550 w 4781550"/>
              <a:gd name="connsiteY0" fmla="*/ 115552 h 928333"/>
              <a:gd name="connsiteX1" fmla="*/ 4443412 w 4781550"/>
              <a:gd name="connsiteY1" fmla="*/ 1252 h 928333"/>
              <a:gd name="connsiteX2" fmla="*/ 4157663 w 4781550"/>
              <a:gd name="connsiteY2" fmla="*/ 77451 h 928333"/>
              <a:gd name="connsiteX3" fmla="*/ 3914775 w 4781550"/>
              <a:gd name="connsiteY3" fmla="*/ 396540 h 928333"/>
              <a:gd name="connsiteX4" fmla="*/ 3595689 w 4781550"/>
              <a:gd name="connsiteY4" fmla="*/ 625140 h 928333"/>
              <a:gd name="connsiteX5" fmla="*/ 3300413 w 4781550"/>
              <a:gd name="connsiteY5" fmla="*/ 763252 h 928333"/>
              <a:gd name="connsiteX6" fmla="*/ 2990849 w 4781550"/>
              <a:gd name="connsiteY6" fmla="*/ 858502 h 928333"/>
              <a:gd name="connsiteX7" fmla="*/ 2614613 w 4781550"/>
              <a:gd name="connsiteY7" fmla="*/ 920414 h 928333"/>
              <a:gd name="connsiteX8" fmla="*/ 2119313 w 4781550"/>
              <a:gd name="connsiteY8" fmla="*/ 910890 h 928333"/>
              <a:gd name="connsiteX9" fmla="*/ 1762125 w 4781550"/>
              <a:gd name="connsiteY9" fmla="*/ 787063 h 928333"/>
              <a:gd name="connsiteX10" fmla="*/ 1500188 w 4781550"/>
              <a:gd name="connsiteY10" fmla="*/ 606089 h 928333"/>
              <a:gd name="connsiteX11" fmla="*/ 1271588 w 4781550"/>
              <a:gd name="connsiteY11" fmla="*/ 477502 h 928333"/>
              <a:gd name="connsiteX12" fmla="*/ 1071563 w 4781550"/>
              <a:gd name="connsiteY12" fmla="*/ 506076 h 928333"/>
              <a:gd name="connsiteX13" fmla="*/ 833437 w 4781550"/>
              <a:gd name="connsiteY13" fmla="*/ 729913 h 928333"/>
              <a:gd name="connsiteX14" fmla="*/ 547687 w 4781550"/>
              <a:gd name="connsiteY14" fmla="*/ 844215 h 928333"/>
              <a:gd name="connsiteX15" fmla="*/ 300037 w 4781550"/>
              <a:gd name="connsiteY15" fmla="*/ 877551 h 928333"/>
              <a:gd name="connsiteX16" fmla="*/ 0 w 4781550"/>
              <a:gd name="connsiteY16" fmla="*/ 891839 h 928333"/>
              <a:gd name="connsiteX0" fmla="*/ 4781550 w 4781550"/>
              <a:gd name="connsiteY0" fmla="*/ 115552 h 928333"/>
              <a:gd name="connsiteX1" fmla="*/ 4443412 w 4781550"/>
              <a:gd name="connsiteY1" fmla="*/ 1252 h 928333"/>
              <a:gd name="connsiteX2" fmla="*/ 4157663 w 4781550"/>
              <a:gd name="connsiteY2" fmla="*/ 77451 h 928333"/>
              <a:gd name="connsiteX3" fmla="*/ 3914775 w 4781550"/>
              <a:gd name="connsiteY3" fmla="*/ 396540 h 928333"/>
              <a:gd name="connsiteX4" fmla="*/ 3595689 w 4781550"/>
              <a:gd name="connsiteY4" fmla="*/ 625140 h 928333"/>
              <a:gd name="connsiteX5" fmla="*/ 3300413 w 4781550"/>
              <a:gd name="connsiteY5" fmla="*/ 763252 h 928333"/>
              <a:gd name="connsiteX6" fmla="*/ 2990849 w 4781550"/>
              <a:gd name="connsiteY6" fmla="*/ 858502 h 928333"/>
              <a:gd name="connsiteX7" fmla="*/ 2614613 w 4781550"/>
              <a:gd name="connsiteY7" fmla="*/ 920414 h 928333"/>
              <a:gd name="connsiteX8" fmla="*/ 2119313 w 4781550"/>
              <a:gd name="connsiteY8" fmla="*/ 910890 h 928333"/>
              <a:gd name="connsiteX9" fmla="*/ 1762125 w 4781550"/>
              <a:gd name="connsiteY9" fmla="*/ 787063 h 928333"/>
              <a:gd name="connsiteX10" fmla="*/ 1485900 w 4781550"/>
              <a:gd name="connsiteY10" fmla="*/ 582277 h 928333"/>
              <a:gd name="connsiteX11" fmla="*/ 1271588 w 4781550"/>
              <a:gd name="connsiteY11" fmla="*/ 477502 h 928333"/>
              <a:gd name="connsiteX12" fmla="*/ 1071563 w 4781550"/>
              <a:gd name="connsiteY12" fmla="*/ 506076 h 928333"/>
              <a:gd name="connsiteX13" fmla="*/ 833437 w 4781550"/>
              <a:gd name="connsiteY13" fmla="*/ 729913 h 928333"/>
              <a:gd name="connsiteX14" fmla="*/ 547687 w 4781550"/>
              <a:gd name="connsiteY14" fmla="*/ 844215 h 928333"/>
              <a:gd name="connsiteX15" fmla="*/ 300037 w 4781550"/>
              <a:gd name="connsiteY15" fmla="*/ 877551 h 928333"/>
              <a:gd name="connsiteX16" fmla="*/ 0 w 4781550"/>
              <a:gd name="connsiteY16" fmla="*/ 891839 h 928333"/>
              <a:gd name="connsiteX0" fmla="*/ 4781550 w 4781550"/>
              <a:gd name="connsiteY0" fmla="*/ 115552 h 927830"/>
              <a:gd name="connsiteX1" fmla="*/ 4443412 w 4781550"/>
              <a:gd name="connsiteY1" fmla="*/ 1252 h 927830"/>
              <a:gd name="connsiteX2" fmla="*/ 4157663 w 4781550"/>
              <a:gd name="connsiteY2" fmla="*/ 77451 h 927830"/>
              <a:gd name="connsiteX3" fmla="*/ 3914775 w 4781550"/>
              <a:gd name="connsiteY3" fmla="*/ 396540 h 927830"/>
              <a:gd name="connsiteX4" fmla="*/ 3595689 w 4781550"/>
              <a:gd name="connsiteY4" fmla="*/ 625140 h 927830"/>
              <a:gd name="connsiteX5" fmla="*/ 3300413 w 4781550"/>
              <a:gd name="connsiteY5" fmla="*/ 763252 h 927830"/>
              <a:gd name="connsiteX6" fmla="*/ 2990849 w 4781550"/>
              <a:gd name="connsiteY6" fmla="*/ 858502 h 927830"/>
              <a:gd name="connsiteX7" fmla="*/ 2614613 w 4781550"/>
              <a:gd name="connsiteY7" fmla="*/ 920414 h 927830"/>
              <a:gd name="connsiteX8" fmla="*/ 2119313 w 4781550"/>
              <a:gd name="connsiteY8" fmla="*/ 910890 h 927830"/>
              <a:gd name="connsiteX9" fmla="*/ 1795462 w 4781550"/>
              <a:gd name="connsiteY9" fmla="*/ 796588 h 927830"/>
              <a:gd name="connsiteX10" fmla="*/ 1485900 w 4781550"/>
              <a:gd name="connsiteY10" fmla="*/ 582277 h 927830"/>
              <a:gd name="connsiteX11" fmla="*/ 1271588 w 4781550"/>
              <a:gd name="connsiteY11" fmla="*/ 477502 h 927830"/>
              <a:gd name="connsiteX12" fmla="*/ 1071563 w 4781550"/>
              <a:gd name="connsiteY12" fmla="*/ 506076 h 927830"/>
              <a:gd name="connsiteX13" fmla="*/ 833437 w 4781550"/>
              <a:gd name="connsiteY13" fmla="*/ 729913 h 927830"/>
              <a:gd name="connsiteX14" fmla="*/ 547687 w 4781550"/>
              <a:gd name="connsiteY14" fmla="*/ 844215 h 927830"/>
              <a:gd name="connsiteX15" fmla="*/ 300037 w 4781550"/>
              <a:gd name="connsiteY15" fmla="*/ 877551 h 927830"/>
              <a:gd name="connsiteX16" fmla="*/ 0 w 4781550"/>
              <a:gd name="connsiteY16" fmla="*/ 891839 h 927830"/>
              <a:gd name="connsiteX0" fmla="*/ 4781550 w 4781550"/>
              <a:gd name="connsiteY0" fmla="*/ 115552 h 927830"/>
              <a:gd name="connsiteX1" fmla="*/ 4443412 w 4781550"/>
              <a:gd name="connsiteY1" fmla="*/ 1252 h 927830"/>
              <a:gd name="connsiteX2" fmla="*/ 4157663 w 4781550"/>
              <a:gd name="connsiteY2" fmla="*/ 77451 h 927830"/>
              <a:gd name="connsiteX3" fmla="*/ 3914775 w 4781550"/>
              <a:gd name="connsiteY3" fmla="*/ 396540 h 927830"/>
              <a:gd name="connsiteX4" fmla="*/ 3595689 w 4781550"/>
              <a:gd name="connsiteY4" fmla="*/ 625140 h 927830"/>
              <a:gd name="connsiteX5" fmla="*/ 3300413 w 4781550"/>
              <a:gd name="connsiteY5" fmla="*/ 763252 h 927830"/>
              <a:gd name="connsiteX6" fmla="*/ 2990849 w 4781550"/>
              <a:gd name="connsiteY6" fmla="*/ 858502 h 927830"/>
              <a:gd name="connsiteX7" fmla="*/ 2614613 w 4781550"/>
              <a:gd name="connsiteY7" fmla="*/ 920414 h 927830"/>
              <a:gd name="connsiteX8" fmla="*/ 2133600 w 4781550"/>
              <a:gd name="connsiteY8" fmla="*/ 910890 h 927830"/>
              <a:gd name="connsiteX9" fmla="*/ 1795462 w 4781550"/>
              <a:gd name="connsiteY9" fmla="*/ 796588 h 927830"/>
              <a:gd name="connsiteX10" fmla="*/ 1485900 w 4781550"/>
              <a:gd name="connsiteY10" fmla="*/ 582277 h 927830"/>
              <a:gd name="connsiteX11" fmla="*/ 1271588 w 4781550"/>
              <a:gd name="connsiteY11" fmla="*/ 477502 h 927830"/>
              <a:gd name="connsiteX12" fmla="*/ 1071563 w 4781550"/>
              <a:gd name="connsiteY12" fmla="*/ 506076 h 927830"/>
              <a:gd name="connsiteX13" fmla="*/ 833437 w 4781550"/>
              <a:gd name="connsiteY13" fmla="*/ 729913 h 927830"/>
              <a:gd name="connsiteX14" fmla="*/ 547687 w 4781550"/>
              <a:gd name="connsiteY14" fmla="*/ 844215 h 927830"/>
              <a:gd name="connsiteX15" fmla="*/ 300037 w 4781550"/>
              <a:gd name="connsiteY15" fmla="*/ 877551 h 927830"/>
              <a:gd name="connsiteX16" fmla="*/ 0 w 4781550"/>
              <a:gd name="connsiteY16" fmla="*/ 891839 h 927830"/>
              <a:gd name="connsiteX0" fmla="*/ 4781550 w 4781550"/>
              <a:gd name="connsiteY0" fmla="*/ 115552 h 924881"/>
              <a:gd name="connsiteX1" fmla="*/ 4443412 w 4781550"/>
              <a:gd name="connsiteY1" fmla="*/ 1252 h 924881"/>
              <a:gd name="connsiteX2" fmla="*/ 4157663 w 4781550"/>
              <a:gd name="connsiteY2" fmla="*/ 77451 h 924881"/>
              <a:gd name="connsiteX3" fmla="*/ 3914775 w 4781550"/>
              <a:gd name="connsiteY3" fmla="*/ 396540 h 924881"/>
              <a:gd name="connsiteX4" fmla="*/ 3595689 w 4781550"/>
              <a:gd name="connsiteY4" fmla="*/ 625140 h 924881"/>
              <a:gd name="connsiteX5" fmla="*/ 3300413 w 4781550"/>
              <a:gd name="connsiteY5" fmla="*/ 763252 h 924881"/>
              <a:gd name="connsiteX6" fmla="*/ 2990849 w 4781550"/>
              <a:gd name="connsiteY6" fmla="*/ 858502 h 924881"/>
              <a:gd name="connsiteX7" fmla="*/ 2590800 w 4781550"/>
              <a:gd name="connsiteY7" fmla="*/ 915651 h 924881"/>
              <a:gd name="connsiteX8" fmla="*/ 2133600 w 4781550"/>
              <a:gd name="connsiteY8" fmla="*/ 910890 h 924881"/>
              <a:gd name="connsiteX9" fmla="*/ 1795462 w 4781550"/>
              <a:gd name="connsiteY9" fmla="*/ 796588 h 924881"/>
              <a:gd name="connsiteX10" fmla="*/ 1485900 w 4781550"/>
              <a:gd name="connsiteY10" fmla="*/ 582277 h 924881"/>
              <a:gd name="connsiteX11" fmla="*/ 1271588 w 4781550"/>
              <a:gd name="connsiteY11" fmla="*/ 477502 h 924881"/>
              <a:gd name="connsiteX12" fmla="*/ 1071563 w 4781550"/>
              <a:gd name="connsiteY12" fmla="*/ 506076 h 924881"/>
              <a:gd name="connsiteX13" fmla="*/ 833437 w 4781550"/>
              <a:gd name="connsiteY13" fmla="*/ 729913 h 924881"/>
              <a:gd name="connsiteX14" fmla="*/ 547687 w 4781550"/>
              <a:gd name="connsiteY14" fmla="*/ 844215 h 924881"/>
              <a:gd name="connsiteX15" fmla="*/ 300037 w 4781550"/>
              <a:gd name="connsiteY15" fmla="*/ 877551 h 924881"/>
              <a:gd name="connsiteX16" fmla="*/ 0 w 4781550"/>
              <a:gd name="connsiteY16" fmla="*/ 891839 h 924881"/>
              <a:gd name="connsiteX0" fmla="*/ 4781550 w 4781550"/>
              <a:gd name="connsiteY0" fmla="*/ 115552 h 924881"/>
              <a:gd name="connsiteX1" fmla="*/ 4443412 w 4781550"/>
              <a:gd name="connsiteY1" fmla="*/ 1252 h 924881"/>
              <a:gd name="connsiteX2" fmla="*/ 4157663 w 4781550"/>
              <a:gd name="connsiteY2" fmla="*/ 77451 h 924881"/>
              <a:gd name="connsiteX3" fmla="*/ 3914775 w 4781550"/>
              <a:gd name="connsiteY3" fmla="*/ 396540 h 924881"/>
              <a:gd name="connsiteX4" fmla="*/ 3595689 w 4781550"/>
              <a:gd name="connsiteY4" fmla="*/ 625140 h 924881"/>
              <a:gd name="connsiteX5" fmla="*/ 3300413 w 4781550"/>
              <a:gd name="connsiteY5" fmla="*/ 763252 h 924881"/>
              <a:gd name="connsiteX6" fmla="*/ 3019424 w 4781550"/>
              <a:gd name="connsiteY6" fmla="*/ 834690 h 924881"/>
              <a:gd name="connsiteX7" fmla="*/ 2590800 w 4781550"/>
              <a:gd name="connsiteY7" fmla="*/ 915651 h 924881"/>
              <a:gd name="connsiteX8" fmla="*/ 2133600 w 4781550"/>
              <a:gd name="connsiteY8" fmla="*/ 910890 h 924881"/>
              <a:gd name="connsiteX9" fmla="*/ 1795462 w 4781550"/>
              <a:gd name="connsiteY9" fmla="*/ 796588 h 924881"/>
              <a:gd name="connsiteX10" fmla="*/ 1485900 w 4781550"/>
              <a:gd name="connsiteY10" fmla="*/ 582277 h 924881"/>
              <a:gd name="connsiteX11" fmla="*/ 1271588 w 4781550"/>
              <a:gd name="connsiteY11" fmla="*/ 477502 h 924881"/>
              <a:gd name="connsiteX12" fmla="*/ 1071563 w 4781550"/>
              <a:gd name="connsiteY12" fmla="*/ 506076 h 924881"/>
              <a:gd name="connsiteX13" fmla="*/ 833437 w 4781550"/>
              <a:gd name="connsiteY13" fmla="*/ 729913 h 924881"/>
              <a:gd name="connsiteX14" fmla="*/ 547687 w 4781550"/>
              <a:gd name="connsiteY14" fmla="*/ 844215 h 924881"/>
              <a:gd name="connsiteX15" fmla="*/ 300037 w 4781550"/>
              <a:gd name="connsiteY15" fmla="*/ 877551 h 924881"/>
              <a:gd name="connsiteX16" fmla="*/ 0 w 4781550"/>
              <a:gd name="connsiteY16" fmla="*/ 891839 h 924881"/>
              <a:gd name="connsiteX0" fmla="*/ 4781550 w 4781550"/>
              <a:gd name="connsiteY0" fmla="*/ 115552 h 924881"/>
              <a:gd name="connsiteX1" fmla="*/ 4443412 w 4781550"/>
              <a:gd name="connsiteY1" fmla="*/ 1252 h 924881"/>
              <a:gd name="connsiteX2" fmla="*/ 4157663 w 4781550"/>
              <a:gd name="connsiteY2" fmla="*/ 77451 h 924881"/>
              <a:gd name="connsiteX3" fmla="*/ 3914775 w 4781550"/>
              <a:gd name="connsiteY3" fmla="*/ 396540 h 924881"/>
              <a:gd name="connsiteX4" fmla="*/ 3595689 w 4781550"/>
              <a:gd name="connsiteY4" fmla="*/ 625140 h 924881"/>
              <a:gd name="connsiteX5" fmla="*/ 3305176 w 4781550"/>
              <a:gd name="connsiteY5" fmla="*/ 729915 h 924881"/>
              <a:gd name="connsiteX6" fmla="*/ 3019424 w 4781550"/>
              <a:gd name="connsiteY6" fmla="*/ 834690 h 924881"/>
              <a:gd name="connsiteX7" fmla="*/ 2590800 w 4781550"/>
              <a:gd name="connsiteY7" fmla="*/ 915651 h 924881"/>
              <a:gd name="connsiteX8" fmla="*/ 2133600 w 4781550"/>
              <a:gd name="connsiteY8" fmla="*/ 910890 h 924881"/>
              <a:gd name="connsiteX9" fmla="*/ 1795462 w 4781550"/>
              <a:gd name="connsiteY9" fmla="*/ 796588 h 924881"/>
              <a:gd name="connsiteX10" fmla="*/ 1485900 w 4781550"/>
              <a:gd name="connsiteY10" fmla="*/ 582277 h 924881"/>
              <a:gd name="connsiteX11" fmla="*/ 1271588 w 4781550"/>
              <a:gd name="connsiteY11" fmla="*/ 477502 h 924881"/>
              <a:gd name="connsiteX12" fmla="*/ 1071563 w 4781550"/>
              <a:gd name="connsiteY12" fmla="*/ 506076 h 924881"/>
              <a:gd name="connsiteX13" fmla="*/ 833437 w 4781550"/>
              <a:gd name="connsiteY13" fmla="*/ 729913 h 924881"/>
              <a:gd name="connsiteX14" fmla="*/ 547687 w 4781550"/>
              <a:gd name="connsiteY14" fmla="*/ 844215 h 924881"/>
              <a:gd name="connsiteX15" fmla="*/ 300037 w 4781550"/>
              <a:gd name="connsiteY15" fmla="*/ 877551 h 924881"/>
              <a:gd name="connsiteX16" fmla="*/ 0 w 4781550"/>
              <a:gd name="connsiteY16" fmla="*/ 891839 h 924881"/>
              <a:gd name="connsiteX0" fmla="*/ 4781550 w 4781550"/>
              <a:gd name="connsiteY0" fmla="*/ 115552 h 924881"/>
              <a:gd name="connsiteX1" fmla="*/ 4443412 w 4781550"/>
              <a:gd name="connsiteY1" fmla="*/ 1252 h 924881"/>
              <a:gd name="connsiteX2" fmla="*/ 4157663 w 4781550"/>
              <a:gd name="connsiteY2" fmla="*/ 77451 h 924881"/>
              <a:gd name="connsiteX3" fmla="*/ 3914775 w 4781550"/>
              <a:gd name="connsiteY3" fmla="*/ 396540 h 924881"/>
              <a:gd name="connsiteX4" fmla="*/ 3595689 w 4781550"/>
              <a:gd name="connsiteY4" fmla="*/ 625140 h 924881"/>
              <a:gd name="connsiteX5" fmla="*/ 3305176 w 4781550"/>
              <a:gd name="connsiteY5" fmla="*/ 729915 h 924881"/>
              <a:gd name="connsiteX6" fmla="*/ 2981324 w 4781550"/>
              <a:gd name="connsiteY6" fmla="*/ 834690 h 924881"/>
              <a:gd name="connsiteX7" fmla="*/ 2590800 w 4781550"/>
              <a:gd name="connsiteY7" fmla="*/ 915651 h 924881"/>
              <a:gd name="connsiteX8" fmla="*/ 2133600 w 4781550"/>
              <a:gd name="connsiteY8" fmla="*/ 910890 h 924881"/>
              <a:gd name="connsiteX9" fmla="*/ 1795462 w 4781550"/>
              <a:gd name="connsiteY9" fmla="*/ 796588 h 924881"/>
              <a:gd name="connsiteX10" fmla="*/ 1485900 w 4781550"/>
              <a:gd name="connsiteY10" fmla="*/ 582277 h 924881"/>
              <a:gd name="connsiteX11" fmla="*/ 1271588 w 4781550"/>
              <a:gd name="connsiteY11" fmla="*/ 477502 h 924881"/>
              <a:gd name="connsiteX12" fmla="*/ 1071563 w 4781550"/>
              <a:gd name="connsiteY12" fmla="*/ 506076 h 924881"/>
              <a:gd name="connsiteX13" fmla="*/ 833437 w 4781550"/>
              <a:gd name="connsiteY13" fmla="*/ 729913 h 924881"/>
              <a:gd name="connsiteX14" fmla="*/ 547687 w 4781550"/>
              <a:gd name="connsiteY14" fmla="*/ 844215 h 924881"/>
              <a:gd name="connsiteX15" fmla="*/ 300037 w 4781550"/>
              <a:gd name="connsiteY15" fmla="*/ 877551 h 924881"/>
              <a:gd name="connsiteX16" fmla="*/ 0 w 4781550"/>
              <a:gd name="connsiteY16" fmla="*/ 891839 h 924881"/>
              <a:gd name="connsiteX0" fmla="*/ 4781550 w 4781550"/>
              <a:gd name="connsiteY0" fmla="*/ 115552 h 924881"/>
              <a:gd name="connsiteX1" fmla="*/ 4443412 w 4781550"/>
              <a:gd name="connsiteY1" fmla="*/ 1252 h 924881"/>
              <a:gd name="connsiteX2" fmla="*/ 4157663 w 4781550"/>
              <a:gd name="connsiteY2" fmla="*/ 77451 h 924881"/>
              <a:gd name="connsiteX3" fmla="*/ 3914775 w 4781550"/>
              <a:gd name="connsiteY3" fmla="*/ 396540 h 924881"/>
              <a:gd name="connsiteX4" fmla="*/ 3595689 w 4781550"/>
              <a:gd name="connsiteY4" fmla="*/ 625140 h 924881"/>
              <a:gd name="connsiteX5" fmla="*/ 3305176 w 4781550"/>
              <a:gd name="connsiteY5" fmla="*/ 729915 h 924881"/>
              <a:gd name="connsiteX6" fmla="*/ 2981324 w 4781550"/>
              <a:gd name="connsiteY6" fmla="*/ 834690 h 924881"/>
              <a:gd name="connsiteX7" fmla="*/ 2538412 w 4781550"/>
              <a:gd name="connsiteY7" fmla="*/ 915651 h 924881"/>
              <a:gd name="connsiteX8" fmla="*/ 2133600 w 4781550"/>
              <a:gd name="connsiteY8" fmla="*/ 910890 h 924881"/>
              <a:gd name="connsiteX9" fmla="*/ 1795462 w 4781550"/>
              <a:gd name="connsiteY9" fmla="*/ 796588 h 924881"/>
              <a:gd name="connsiteX10" fmla="*/ 1485900 w 4781550"/>
              <a:gd name="connsiteY10" fmla="*/ 582277 h 924881"/>
              <a:gd name="connsiteX11" fmla="*/ 1271588 w 4781550"/>
              <a:gd name="connsiteY11" fmla="*/ 477502 h 924881"/>
              <a:gd name="connsiteX12" fmla="*/ 1071563 w 4781550"/>
              <a:gd name="connsiteY12" fmla="*/ 506076 h 924881"/>
              <a:gd name="connsiteX13" fmla="*/ 833437 w 4781550"/>
              <a:gd name="connsiteY13" fmla="*/ 729913 h 924881"/>
              <a:gd name="connsiteX14" fmla="*/ 547687 w 4781550"/>
              <a:gd name="connsiteY14" fmla="*/ 844215 h 924881"/>
              <a:gd name="connsiteX15" fmla="*/ 300037 w 4781550"/>
              <a:gd name="connsiteY15" fmla="*/ 877551 h 924881"/>
              <a:gd name="connsiteX16" fmla="*/ 0 w 4781550"/>
              <a:gd name="connsiteY16" fmla="*/ 891839 h 924881"/>
              <a:gd name="connsiteX0" fmla="*/ 4781550 w 4781550"/>
              <a:gd name="connsiteY0" fmla="*/ 115552 h 924881"/>
              <a:gd name="connsiteX1" fmla="*/ 4443412 w 4781550"/>
              <a:gd name="connsiteY1" fmla="*/ 1252 h 924881"/>
              <a:gd name="connsiteX2" fmla="*/ 4157663 w 4781550"/>
              <a:gd name="connsiteY2" fmla="*/ 77451 h 924881"/>
              <a:gd name="connsiteX3" fmla="*/ 3914775 w 4781550"/>
              <a:gd name="connsiteY3" fmla="*/ 396540 h 924881"/>
              <a:gd name="connsiteX4" fmla="*/ 3624264 w 4781550"/>
              <a:gd name="connsiteY4" fmla="*/ 601328 h 924881"/>
              <a:gd name="connsiteX5" fmla="*/ 3305176 w 4781550"/>
              <a:gd name="connsiteY5" fmla="*/ 729915 h 924881"/>
              <a:gd name="connsiteX6" fmla="*/ 2981324 w 4781550"/>
              <a:gd name="connsiteY6" fmla="*/ 834690 h 924881"/>
              <a:gd name="connsiteX7" fmla="*/ 2538412 w 4781550"/>
              <a:gd name="connsiteY7" fmla="*/ 915651 h 924881"/>
              <a:gd name="connsiteX8" fmla="*/ 2133600 w 4781550"/>
              <a:gd name="connsiteY8" fmla="*/ 910890 h 924881"/>
              <a:gd name="connsiteX9" fmla="*/ 1795462 w 4781550"/>
              <a:gd name="connsiteY9" fmla="*/ 796588 h 924881"/>
              <a:gd name="connsiteX10" fmla="*/ 1485900 w 4781550"/>
              <a:gd name="connsiteY10" fmla="*/ 582277 h 924881"/>
              <a:gd name="connsiteX11" fmla="*/ 1271588 w 4781550"/>
              <a:gd name="connsiteY11" fmla="*/ 477502 h 924881"/>
              <a:gd name="connsiteX12" fmla="*/ 1071563 w 4781550"/>
              <a:gd name="connsiteY12" fmla="*/ 506076 h 924881"/>
              <a:gd name="connsiteX13" fmla="*/ 833437 w 4781550"/>
              <a:gd name="connsiteY13" fmla="*/ 729913 h 924881"/>
              <a:gd name="connsiteX14" fmla="*/ 547687 w 4781550"/>
              <a:gd name="connsiteY14" fmla="*/ 844215 h 924881"/>
              <a:gd name="connsiteX15" fmla="*/ 300037 w 4781550"/>
              <a:gd name="connsiteY15" fmla="*/ 877551 h 924881"/>
              <a:gd name="connsiteX16" fmla="*/ 0 w 4781550"/>
              <a:gd name="connsiteY16" fmla="*/ 891839 h 924881"/>
              <a:gd name="connsiteX0" fmla="*/ 4781550 w 4781550"/>
              <a:gd name="connsiteY0" fmla="*/ 115399 h 924728"/>
              <a:gd name="connsiteX1" fmla="*/ 4443412 w 4781550"/>
              <a:gd name="connsiteY1" fmla="*/ 1099 h 924728"/>
              <a:gd name="connsiteX2" fmla="*/ 4157663 w 4781550"/>
              <a:gd name="connsiteY2" fmla="*/ 77298 h 924728"/>
              <a:gd name="connsiteX3" fmla="*/ 3943350 w 4781550"/>
              <a:gd name="connsiteY3" fmla="*/ 372574 h 924728"/>
              <a:gd name="connsiteX4" fmla="*/ 3624264 w 4781550"/>
              <a:gd name="connsiteY4" fmla="*/ 601175 h 924728"/>
              <a:gd name="connsiteX5" fmla="*/ 3305176 w 4781550"/>
              <a:gd name="connsiteY5" fmla="*/ 729762 h 924728"/>
              <a:gd name="connsiteX6" fmla="*/ 2981324 w 4781550"/>
              <a:gd name="connsiteY6" fmla="*/ 834537 h 924728"/>
              <a:gd name="connsiteX7" fmla="*/ 2538412 w 4781550"/>
              <a:gd name="connsiteY7" fmla="*/ 915498 h 924728"/>
              <a:gd name="connsiteX8" fmla="*/ 2133600 w 4781550"/>
              <a:gd name="connsiteY8" fmla="*/ 910737 h 924728"/>
              <a:gd name="connsiteX9" fmla="*/ 1795462 w 4781550"/>
              <a:gd name="connsiteY9" fmla="*/ 796435 h 924728"/>
              <a:gd name="connsiteX10" fmla="*/ 1485900 w 4781550"/>
              <a:gd name="connsiteY10" fmla="*/ 582124 h 924728"/>
              <a:gd name="connsiteX11" fmla="*/ 1271588 w 4781550"/>
              <a:gd name="connsiteY11" fmla="*/ 477349 h 924728"/>
              <a:gd name="connsiteX12" fmla="*/ 1071563 w 4781550"/>
              <a:gd name="connsiteY12" fmla="*/ 505923 h 924728"/>
              <a:gd name="connsiteX13" fmla="*/ 833437 w 4781550"/>
              <a:gd name="connsiteY13" fmla="*/ 729760 h 924728"/>
              <a:gd name="connsiteX14" fmla="*/ 547687 w 4781550"/>
              <a:gd name="connsiteY14" fmla="*/ 844062 h 924728"/>
              <a:gd name="connsiteX15" fmla="*/ 300037 w 4781550"/>
              <a:gd name="connsiteY15" fmla="*/ 877398 h 924728"/>
              <a:gd name="connsiteX16" fmla="*/ 0 w 4781550"/>
              <a:gd name="connsiteY16" fmla="*/ 891686 h 924728"/>
              <a:gd name="connsiteX0" fmla="*/ 4781550 w 4781550"/>
              <a:gd name="connsiteY0" fmla="*/ 115399 h 924728"/>
              <a:gd name="connsiteX1" fmla="*/ 4443412 w 4781550"/>
              <a:gd name="connsiteY1" fmla="*/ 1099 h 924728"/>
              <a:gd name="connsiteX2" fmla="*/ 4157663 w 4781550"/>
              <a:gd name="connsiteY2" fmla="*/ 77298 h 924728"/>
              <a:gd name="connsiteX3" fmla="*/ 3943350 w 4781550"/>
              <a:gd name="connsiteY3" fmla="*/ 372574 h 924728"/>
              <a:gd name="connsiteX4" fmla="*/ 3624264 w 4781550"/>
              <a:gd name="connsiteY4" fmla="*/ 601175 h 924728"/>
              <a:gd name="connsiteX5" fmla="*/ 3305176 w 4781550"/>
              <a:gd name="connsiteY5" fmla="*/ 729762 h 924728"/>
              <a:gd name="connsiteX6" fmla="*/ 2981324 w 4781550"/>
              <a:gd name="connsiteY6" fmla="*/ 834537 h 924728"/>
              <a:gd name="connsiteX7" fmla="*/ 2538412 w 4781550"/>
              <a:gd name="connsiteY7" fmla="*/ 915498 h 924728"/>
              <a:gd name="connsiteX8" fmla="*/ 2133600 w 4781550"/>
              <a:gd name="connsiteY8" fmla="*/ 910737 h 924728"/>
              <a:gd name="connsiteX9" fmla="*/ 1795462 w 4781550"/>
              <a:gd name="connsiteY9" fmla="*/ 796435 h 924728"/>
              <a:gd name="connsiteX10" fmla="*/ 1485900 w 4781550"/>
              <a:gd name="connsiteY10" fmla="*/ 582124 h 924728"/>
              <a:gd name="connsiteX11" fmla="*/ 1271588 w 4781550"/>
              <a:gd name="connsiteY11" fmla="*/ 477349 h 924728"/>
              <a:gd name="connsiteX12" fmla="*/ 1071563 w 4781550"/>
              <a:gd name="connsiteY12" fmla="*/ 505923 h 924728"/>
              <a:gd name="connsiteX13" fmla="*/ 833437 w 4781550"/>
              <a:gd name="connsiteY13" fmla="*/ 729760 h 924728"/>
              <a:gd name="connsiteX14" fmla="*/ 547687 w 4781550"/>
              <a:gd name="connsiteY14" fmla="*/ 844062 h 924728"/>
              <a:gd name="connsiteX15" fmla="*/ 300037 w 4781550"/>
              <a:gd name="connsiteY15" fmla="*/ 877398 h 924728"/>
              <a:gd name="connsiteX16" fmla="*/ 0 w 4781550"/>
              <a:gd name="connsiteY16" fmla="*/ 891686 h 924728"/>
              <a:gd name="connsiteX0" fmla="*/ 4781550 w 4781550"/>
              <a:gd name="connsiteY0" fmla="*/ 115212 h 924541"/>
              <a:gd name="connsiteX1" fmla="*/ 4443412 w 4781550"/>
              <a:gd name="connsiteY1" fmla="*/ 912 h 924541"/>
              <a:gd name="connsiteX2" fmla="*/ 4157663 w 4781550"/>
              <a:gd name="connsiteY2" fmla="*/ 77111 h 924541"/>
              <a:gd name="connsiteX3" fmla="*/ 3952875 w 4781550"/>
              <a:gd name="connsiteY3" fmla="*/ 334287 h 924541"/>
              <a:gd name="connsiteX4" fmla="*/ 3624264 w 4781550"/>
              <a:gd name="connsiteY4" fmla="*/ 600988 h 924541"/>
              <a:gd name="connsiteX5" fmla="*/ 3305176 w 4781550"/>
              <a:gd name="connsiteY5" fmla="*/ 729575 h 924541"/>
              <a:gd name="connsiteX6" fmla="*/ 2981324 w 4781550"/>
              <a:gd name="connsiteY6" fmla="*/ 834350 h 924541"/>
              <a:gd name="connsiteX7" fmla="*/ 2538412 w 4781550"/>
              <a:gd name="connsiteY7" fmla="*/ 915311 h 924541"/>
              <a:gd name="connsiteX8" fmla="*/ 2133600 w 4781550"/>
              <a:gd name="connsiteY8" fmla="*/ 910550 h 924541"/>
              <a:gd name="connsiteX9" fmla="*/ 1795462 w 4781550"/>
              <a:gd name="connsiteY9" fmla="*/ 796248 h 924541"/>
              <a:gd name="connsiteX10" fmla="*/ 1485900 w 4781550"/>
              <a:gd name="connsiteY10" fmla="*/ 581937 h 924541"/>
              <a:gd name="connsiteX11" fmla="*/ 1271588 w 4781550"/>
              <a:gd name="connsiteY11" fmla="*/ 477162 h 924541"/>
              <a:gd name="connsiteX12" fmla="*/ 1071563 w 4781550"/>
              <a:gd name="connsiteY12" fmla="*/ 505736 h 924541"/>
              <a:gd name="connsiteX13" fmla="*/ 833437 w 4781550"/>
              <a:gd name="connsiteY13" fmla="*/ 729573 h 924541"/>
              <a:gd name="connsiteX14" fmla="*/ 547687 w 4781550"/>
              <a:gd name="connsiteY14" fmla="*/ 843875 h 924541"/>
              <a:gd name="connsiteX15" fmla="*/ 300037 w 4781550"/>
              <a:gd name="connsiteY15" fmla="*/ 877211 h 924541"/>
              <a:gd name="connsiteX16" fmla="*/ 0 w 4781550"/>
              <a:gd name="connsiteY16" fmla="*/ 891499 h 924541"/>
              <a:gd name="connsiteX0" fmla="*/ 4838700 w 4838700"/>
              <a:gd name="connsiteY0" fmla="*/ 115212 h 924541"/>
              <a:gd name="connsiteX1" fmla="*/ 4500562 w 4838700"/>
              <a:gd name="connsiteY1" fmla="*/ 912 h 924541"/>
              <a:gd name="connsiteX2" fmla="*/ 4214813 w 4838700"/>
              <a:gd name="connsiteY2" fmla="*/ 77111 h 924541"/>
              <a:gd name="connsiteX3" fmla="*/ 4010025 w 4838700"/>
              <a:gd name="connsiteY3" fmla="*/ 334287 h 924541"/>
              <a:gd name="connsiteX4" fmla="*/ 3681414 w 4838700"/>
              <a:gd name="connsiteY4" fmla="*/ 600988 h 924541"/>
              <a:gd name="connsiteX5" fmla="*/ 3362326 w 4838700"/>
              <a:gd name="connsiteY5" fmla="*/ 729575 h 924541"/>
              <a:gd name="connsiteX6" fmla="*/ 3038474 w 4838700"/>
              <a:gd name="connsiteY6" fmla="*/ 834350 h 924541"/>
              <a:gd name="connsiteX7" fmla="*/ 2595562 w 4838700"/>
              <a:gd name="connsiteY7" fmla="*/ 915311 h 924541"/>
              <a:gd name="connsiteX8" fmla="*/ 2190750 w 4838700"/>
              <a:gd name="connsiteY8" fmla="*/ 910550 h 924541"/>
              <a:gd name="connsiteX9" fmla="*/ 1852612 w 4838700"/>
              <a:gd name="connsiteY9" fmla="*/ 796248 h 924541"/>
              <a:gd name="connsiteX10" fmla="*/ 1543050 w 4838700"/>
              <a:gd name="connsiteY10" fmla="*/ 581937 h 924541"/>
              <a:gd name="connsiteX11" fmla="*/ 1328738 w 4838700"/>
              <a:gd name="connsiteY11" fmla="*/ 477162 h 924541"/>
              <a:gd name="connsiteX12" fmla="*/ 1128713 w 4838700"/>
              <a:gd name="connsiteY12" fmla="*/ 505736 h 924541"/>
              <a:gd name="connsiteX13" fmla="*/ 890587 w 4838700"/>
              <a:gd name="connsiteY13" fmla="*/ 729573 h 924541"/>
              <a:gd name="connsiteX14" fmla="*/ 604837 w 4838700"/>
              <a:gd name="connsiteY14" fmla="*/ 843875 h 924541"/>
              <a:gd name="connsiteX15" fmla="*/ 357187 w 4838700"/>
              <a:gd name="connsiteY15" fmla="*/ 877211 h 924541"/>
              <a:gd name="connsiteX16" fmla="*/ 0 w 4838700"/>
              <a:gd name="connsiteY16" fmla="*/ 879593 h 924541"/>
              <a:gd name="connsiteX0" fmla="*/ 4731544 w 4731544"/>
              <a:gd name="connsiteY0" fmla="*/ 115212 h 924541"/>
              <a:gd name="connsiteX1" fmla="*/ 4393406 w 4731544"/>
              <a:gd name="connsiteY1" fmla="*/ 912 h 924541"/>
              <a:gd name="connsiteX2" fmla="*/ 4107657 w 4731544"/>
              <a:gd name="connsiteY2" fmla="*/ 77111 h 924541"/>
              <a:gd name="connsiteX3" fmla="*/ 3902869 w 4731544"/>
              <a:gd name="connsiteY3" fmla="*/ 334287 h 924541"/>
              <a:gd name="connsiteX4" fmla="*/ 3574258 w 4731544"/>
              <a:gd name="connsiteY4" fmla="*/ 600988 h 924541"/>
              <a:gd name="connsiteX5" fmla="*/ 3255170 w 4731544"/>
              <a:gd name="connsiteY5" fmla="*/ 729575 h 924541"/>
              <a:gd name="connsiteX6" fmla="*/ 2931318 w 4731544"/>
              <a:gd name="connsiteY6" fmla="*/ 834350 h 924541"/>
              <a:gd name="connsiteX7" fmla="*/ 2488406 w 4731544"/>
              <a:gd name="connsiteY7" fmla="*/ 915311 h 924541"/>
              <a:gd name="connsiteX8" fmla="*/ 2083594 w 4731544"/>
              <a:gd name="connsiteY8" fmla="*/ 910550 h 924541"/>
              <a:gd name="connsiteX9" fmla="*/ 1745456 w 4731544"/>
              <a:gd name="connsiteY9" fmla="*/ 796248 h 924541"/>
              <a:gd name="connsiteX10" fmla="*/ 1435894 w 4731544"/>
              <a:gd name="connsiteY10" fmla="*/ 581937 h 924541"/>
              <a:gd name="connsiteX11" fmla="*/ 1221582 w 4731544"/>
              <a:gd name="connsiteY11" fmla="*/ 477162 h 924541"/>
              <a:gd name="connsiteX12" fmla="*/ 1021557 w 4731544"/>
              <a:gd name="connsiteY12" fmla="*/ 505736 h 924541"/>
              <a:gd name="connsiteX13" fmla="*/ 783431 w 4731544"/>
              <a:gd name="connsiteY13" fmla="*/ 729573 h 924541"/>
              <a:gd name="connsiteX14" fmla="*/ 497681 w 4731544"/>
              <a:gd name="connsiteY14" fmla="*/ 843875 h 924541"/>
              <a:gd name="connsiteX15" fmla="*/ 250031 w 4731544"/>
              <a:gd name="connsiteY15" fmla="*/ 877211 h 924541"/>
              <a:gd name="connsiteX16" fmla="*/ 0 w 4731544"/>
              <a:gd name="connsiteY16" fmla="*/ 879593 h 924541"/>
              <a:gd name="connsiteX0" fmla="*/ 4719638 w 4719638"/>
              <a:gd name="connsiteY0" fmla="*/ 115212 h 924541"/>
              <a:gd name="connsiteX1" fmla="*/ 4381500 w 4719638"/>
              <a:gd name="connsiteY1" fmla="*/ 912 h 924541"/>
              <a:gd name="connsiteX2" fmla="*/ 4095751 w 4719638"/>
              <a:gd name="connsiteY2" fmla="*/ 77111 h 924541"/>
              <a:gd name="connsiteX3" fmla="*/ 3890963 w 4719638"/>
              <a:gd name="connsiteY3" fmla="*/ 334287 h 924541"/>
              <a:gd name="connsiteX4" fmla="*/ 3562352 w 4719638"/>
              <a:gd name="connsiteY4" fmla="*/ 600988 h 924541"/>
              <a:gd name="connsiteX5" fmla="*/ 3243264 w 4719638"/>
              <a:gd name="connsiteY5" fmla="*/ 729575 h 924541"/>
              <a:gd name="connsiteX6" fmla="*/ 2919412 w 4719638"/>
              <a:gd name="connsiteY6" fmla="*/ 834350 h 924541"/>
              <a:gd name="connsiteX7" fmla="*/ 2476500 w 4719638"/>
              <a:gd name="connsiteY7" fmla="*/ 915311 h 924541"/>
              <a:gd name="connsiteX8" fmla="*/ 2071688 w 4719638"/>
              <a:gd name="connsiteY8" fmla="*/ 910550 h 924541"/>
              <a:gd name="connsiteX9" fmla="*/ 1733550 w 4719638"/>
              <a:gd name="connsiteY9" fmla="*/ 796248 h 924541"/>
              <a:gd name="connsiteX10" fmla="*/ 1423988 w 4719638"/>
              <a:gd name="connsiteY10" fmla="*/ 581937 h 924541"/>
              <a:gd name="connsiteX11" fmla="*/ 1209676 w 4719638"/>
              <a:gd name="connsiteY11" fmla="*/ 477162 h 924541"/>
              <a:gd name="connsiteX12" fmla="*/ 1009651 w 4719638"/>
              <a:gd name="connsiteY12" fmla="*/ 505736 h 924541"/>
              <a:gd name="connsiteX13" fmla="*/ 771525 w 4719638"/>
              <a:gd name="connsiteY13" fmla="*/ 729573 h 924541"/>
              <a:gd name="connsiteX14" fmla="*/ 485775 w 4719638"/>
              <a:gd name="connsiteY14" fmla="*/ 843875 h 924541"/>
              <a:gd name="connsiteX15" fmla="*/ 238125 w 4719638"/>
              <a:gd name="connsiteY15" fmla="*/ 877211 h 924541"/>
              <a:gd name="connsiteX16" fmla="*/ 0 w 4719638"/>
              <a:gd name="connsiteY16" fmla="*/ 879593 h 924541"/>
              <a:gd name="connsiteX0" fmla="*/ 4700588 w 4700588"/>
              <a:gd name="connsiteY0" fmla="*/ 115212 h 924541"/>
              <a:gd name="connsiteX1" fmla="*/ 4362450 w 4700588"/>
              <a:gd name="connsiteY1" fmla="*/ 912 h 924541"/>
              <a:gd name="connsiteX2" fmla="*/ 4076701 w 4700588"/>
              <a:gd name="connsiteY2" fmla="*/ 77111 h 924541"/>
              <a:gd name="connsiteX3" fmla="*/ 3871913 w 4700588"/>
              <a:gd name="connsiteY3" fmla="*/ 334287 h 924541"/>
              <a:gd name="connsiteX4" fmla="*/ 3543302 w 4700588"/>
              <a:gd name="connsiteY4" fmla="*/ 600988 h 924541"/>
              <a:gd name="connsiteX5" fmla="*/ 3224214 w 4700588"/>
              <a:gd name="connsiteY5" fmla="*/ 729575 h 924541"/>
              <a:gd name="connsiteX6" fmla="*/ 2900362 w 4700588"/>
              <a:gd name="connsiteY6" fmla="*/ 834350 h 924541"/>
              <a:gd name="connsiteX7" fmla="*/ 2457450 w 4700588"/>
              <a:gd name="connsiteY7" fmla="*/ 915311 h 924541"/>
              <a:gd name="connsiteX8" fmla="*/ 2052638 w 4700588"/>
              <a:gd name="connsiteY8" fmla="*/ 910550 h 924541"/>
              <a:gd name="connsiteX9" fmla="*/ 1714500 w 4700588"/>
              <a:gd name="connsiteY9" fmla="*/ 796248 h 924541"/>
              <a:gd name="connsiteX10" fmla="*/ 1404938 w 4700588"/>
              <a:gd name="connsiteY10" fmla="*/ 581937 h 924541"/>
              <a:gd name="connsiteX11" fmla="*/ 1190626 w 4700588"/>
              <a:gd name="connsiteY11" fmla="*/ 477162 h 924541"/>
              <a:gd name="connsiteX12" fmla="*/ 990601 w 4700588"/>
              <a:gd name="connsiteY12" fmla="*/ 505736 h 924541"/>
              <a:gd name="connsiteX13" fmla="*/ 752475 w 4700588"/>
              <a:gd name="connsiteY13" fmla="*/ 729573 h 924541"/>
              <a:gd name="connsiteX14" fmla="*/ 466725 w 4700588"/>
              <a:gd name="connsiteY14" fmla="*/ 843875 h 924541"/>
              <a:gd name="connsiteX15" fmla="*/ 219075 w 4700588"/>
              <a:gd name="connsiteY15" fmla="*/ 877211 h 924541"/>
              <a:gd name="connsiteX16" fmla="*/ 0 w 4700588"/>
              <a:gd name="connsiteY16" fmla="*/ 879593 h 924541"/>
              <a:gd name="connsiteX0" fmla="*/ 4774406 w 4774406"/>
              <a:gd name="connsiteY0" fmla="*/ 115212 h 924541"/>
              <a:gd name="connsiteX1" fmla="*/ 4436268 w 4774406"/>
              <a:gd name="connsiteY1" fmla="*/ 912 h 924541"/>
              <a:gd name="connsiteX2" fmla="*/ 4150519 w 4774406"/>
              <a:gd name="connsiteY2" fmla="*/ 77111 h 924541"/>
              <a:gd name="connsiteX3" fmla="*/ 3945731 w 4774406"/>
              <a:gd name="connsiteY3" fmla="*/ 334287 h 924541"/>
              <a:gd name="connsiteX4" fmla="*/ 3617120 w 4774406"/>
              <a:gd name="connsiteY4" fmla="*/ 600988 h 924541"/>
              <a:gd name="connsiteX5" fmla="*/ 3298032 w 4774406"/>
              <a:gd name="connsiteY5" fmla="*/ 729575 h 924541"/>
              <a:gd name="connsiteX6" fmla="*/ 2974180 w 4774406"/>
              <a:gd name="connsiteY6" fmla="*/ 834350 h 924541"/>
              <a:gd name="connsiteX7" fmla="*/ 2531268 w 4774406"/>
              <a:gd name="connsiteY7" fmla="*/ 915311 h 924541"/>
              <a:gd name="connsiteX8" fmla="*/ 2126456 w 4774406"/>
              <a:gd name="connsiteY8" fmla="*/ 910550 h 924541"/>
              <a:gd name="connsiteX9" fmla="*/ 1788318 w 4774406"/>
              <a:gd name="connsiteY9" fmla="*/ 796248 h 924541"/>
              <a:gd name="connsiteX10" fmla="*/ 1478756 w 4774406"/>
              <a:gd name="connsiteY10" fmla="*/ 581937 h 924541"/>
              <a:gd name="connsiteX11" fmla="*/ 1264444 w 4774406"/>
              <a:gd name="connsiteY11" fmla="*/ 477162 h 924541"/>
              <a:gd name="connsiteX12" fmla="*/ 1064419 w 4774406"/>
              <a:gd name="connsiteY12" fmla="*/ 505736 h 924541"/>
              <a:gd name="connsiteX13" fmla="*/ 826293 w 4774406"/>
              <a:gd name="connsiteY13" fmla="*/ 729573 h 924541"/>
              <a:gd name="connsiteX14" fmla="*/ 540543 w 4774406"/>
              <a:gd name="connsiteY14" fmla="*/ 843875 h 924541"/>
              <a:gd name="connsiteX15" fmla="*/ 292893 w 4774406"/>
              <a:gd name="connsiteY15" fmla="*/ 877211 h 924541"/>
              <a:gd name="connsiteX16" fmla="*/ 0 w 4774406"/>
              <a:gd name="connsiteY16" fmla="*/ 879593 h 924541"/>
              <a:gd name="connsiteX0" fmla="*/ 4814888 w 4814888"/>
              <a:gd name="connsiteY0" fmla="*/ 115212 h 924541"/>
              <a:gd name="connsiteX1" fmla="*/ 4476750 w 4814888"/>
              <a:gd name="connsiteY1" fmla="*/ 912 h 924541"/>
              <a:gd name="connsiteX2" fmla="*/ 4191001 w 4814888"/>
              <a:gd name="connsiteY2" fmla="*/ 77111 h 924541"/>
              <a:gd name="connsiteX3" fmla="*/ 3986213 w 4814888"/>
              <a:gd name="connsiteY3" fmla="*/ 334287 h 924541"/>
              <a:gd name="connsiteX4" fmla="*/ 3657602 w 4814888"/>
              <a:gd name="connsiteY4" fmla="*/ 600988 h 924541"/>
              <a:gd name="connsiteX5" fmla="*/ 3338514 w 4814888"/>
              <a:gd name="connsiteY5" fmla="*/ 729575 h 924541"/>
              <a:gd name="connsiteX6" fmla="*/ 3014662 w 4814888"/>
              <a:gd name="connsiteY6" fmla="*/ 834350 h 924541"/>
              <a:gd name="connsiteX7" fmla="*/ 2571750 w 4814888"/>
              <a:gd name="connsiteY7" fmla="*/ 915311 h 924541"/>
              <a:gd name="connsiteX8" fmla="*/ 2166938 w 4814888"/>
              <a:gd name="connsiteY8" fmla="*/ 910550 h 924541"/>
              <a:gd name="connsiteX9" fmla="*/ 1828800 w 4814888"/>
              <a:gd name="connsiteY9" fmla="*/ 796248 h 924541"/>
              <a:gd name="connsiteX10" fmla="*/ 1519238 w 4814888"/>
              <a:gd name="connsiteY10" fmla="*/ 581937 h 924541"/>
              <a:gd name="connsiteX11" fmla="*/ 1304926 w 4814888"/>
              <a:gd name="connsiteY11" fmla="*/ 477162 h 924541"/>
              <a:gd name="connsiteX12" fmla="*/ 1104901 w 4814888"/>
              <a:gd name="connsiteY12" fmla="*/ 505736 h 924541"/>
              <a:gd name="connsiteX13" fmla="*/ 866775 w 4814888"/>
              <a:gd name="connsiteY13" fmla="*/ 729573 h 924541"/>
              <a:gd name="connsiteX14" fmla="*/ 581025 w 4814888"/>
              <a:gd name="connsiteY14" fmla="*/ 843875 h 924541"/>
              <a:gd name="connsiteX15" fmla="*/ 333375 w 4814888"/>
              <a:gd name="connsiteY15" fmla="*/ 877211 h 924541"/>
              <a:gd name="connsiteX16" fmla="*/ 0 w 4814888"/>
              <a:gd name="connsiteY16" fmla="*/ 879593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82611 w 4730724"/>
              <a:gd name="connsiteY13" fmla="*/ 729573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68184 w 4730724"/>
              <a:gd name="connsiteY13" fmla="*/ 739098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2993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60969 w 4730724"/>
              <a:gd name="connsiteY13" fmla="*/ 751004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573438 w 4730724"/>
              <a:gd name="connsiteY4" fmla="*/ 60098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8193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81938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45579 w 4730724"/>
              <a:gd name="connsiteY4" fmla="*/ 565269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45579 w 4730724"/>
              <a:gd name="connsiteY4" fmla="*/ 565269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45579 w 4730724"/>
              <a:gd name="connsiteY4" fmla="*/ 565269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11913 w 4730724"/>
              <a:gd name="connsiteY4" fmla="*/ 591463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8365 w 4730724"/>
              <a:gd name="connsiteY4" fmla="*/ 577175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8365 w 4730724"/>
              <a:gd name="connsiteY4" fmla="*/ 577175 h 924541"/>
              <a:gd name="connsiteX5" fmla="*/ 3254350 w 4730724"/>
              <a:gd name="connsiteY5" fmla="*/ 729575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8365 w 4730724"/>
              <a:gd name="connsiteY4" fmla="*/ 577175 h 924541"/>
              <a:gd name="connsiteX5" fmla="*/ 3254350 w 4730724"/>
              <a:gd name="connsiteY5" fmla="*/ 739100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8365 w 4730724"/>
              <a:gd name="connsiteY4" fmla="*/ 577175 h 924541"/>
              <a:gd name="connsiteX5" fmla="*/ 3254350 w 4730724"/>
              <a:gd name="connsiteY5" fmla="*/ 741481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72413 h 924541"/>
              <a:gd name="connsiteX5" fmla="*/ 3254350 w 4730724"/>
              <a:gd name="connsiteY5" fmla="*/ 741481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254350 w 4730724"/>
              <a:gd name="connsiteY5" fmla="*/ 741481 h 924541"/>
              <a:gd name="connsiteX6" fmla="*/ 2930498 w 4730724"/>
              <a:gd name="connsiteY6" fmla="*/ 834350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254350 w 4730724"/>
              <a:gd name="connsiteY5" fmla="*/ 741481 h 924541"/>
              <a:gd name="connsiteX6" fmla="*/ 2920880 w 4730724"/>
              <a:gd name="connsiteY6" fmla="*/ 846256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271183 w 4730724"/>
              <a:gd name="connsiteY5" fmla="*/ 746243 h 924541"/>
              <a:gd name="connsiteX6" fmla="*/ 2920880 w 4730724"/>
              <a:gd name="connsiteY6" fmla="*/ 846256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271183 w 4730724"/>
              <a:gd name="connsiteY5" fmla="*/ 746243 h 924541"/>
              <a:gd name="connsiteX6" fmla="*/ 2942523 w 4730724"/>
              <a:gd name="connsiteY6" fmla="*/ 848637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290420 w 4730724"/>
              <a:gd name="connsiteY5" fmla="*/ 743862 h 924541"/>
              <a:gd name="connsiteX6" fmla="*/ 2942523 w 4730724"/>
              <a:gd name="connsiteY6" fmla="*/ 848637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319276 w 4730724"/>
              <a:gd name="connsiteY5" fmla="*/ 743862 h 924541"/>
              <a:gd name="connsiteX6" fmla="*/ 2942523 w 4730724"/>
              <a:gd name="connsiteY6" fmla="*/ 848637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304848 w 4730724"/>
              <a:gd name="connsiteY5" fmla="*/ 743862 h 924541"/>
              <a:gd name="connsiteX6" fmla="*/ 2942523 w 4730724"/>
              <a:gd name="connsiteY6" fmla="*/ 848637 h 924541"/>
              <a:gd name="connsiteX7" fmla="*/ 2487586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541"/>
              <a:gd name="connsiteX1" fmla="*/ 4392586 w 4730724"/>
              <a:gd name="connsiteY1" fmla="*/ 912 h 924541"/>
              <a:gd name="connsiteX2" fmla="*/ 4106837 w 4730724"/>
              <a:gd name="connsiteY2" fmla="*/ 77111 h 924541"/>
              <a:gd name="connsiteX3" fmla="*/ 3902049 w 4730724"/>
              <a:gd name="connsiteY3" fmla="*/ 334287 h 924541"/>
              <a:gd name="connsiteX4" fmla="*/ 3635960 w 4730724"/>
              <a:gd name="connsiteY4" fmla="*/ 567650 h 924541"/>
              <a:gd name="connsiteX5" fmla="*/ 3304848 w 4730724"/>
              <a:gd name="connsiteY5" fmla="*/ 743862 h 924541"/>
              <a:gd name="connsiteX6" fmla="*/ 2942523 w 4730724"/>
              <a:gd name="connsiteY6" fmla="*/ 848637 h 924541"/>
              <a:gd name="connsiteX7" fmla="*/ 2509229 w 4730724"/>
              <a:gd name="connsiteY7" fmla="*/ 915311 h 924541"/>
              <a:gd name="connsiteX8" fmla="*/ 2082774 w 4730724"/>
              <a:gd name="connsiteY8" fmla="*/ 910550 h 924541"/>
              <a:gd name="connsiteX9" fmla="*/ 1744636 w 4730724"/>
              <a:gd name="connsiteY9" fmla="*/ 796248 h 924541"/>
              <a:gd name="connsiteX10" fmla="*/ 1435074 w 4730724"/>
              <a:gd name="connsiteY10" fmla="*/ 581937 h 924541"/>
              <a:gd name="connsiteX11" fmla="*/ 1220762 w 4730724"/>
              <a:gd name="connsiteY11" fmla="*/ 477162 h 924541"/>
              <a:gd name="connsiteX12" fmla="*/ 1020737 w 4730724"/>
              <a:gd name="connsiteY12" fmla="*/ 505736 h 924541"/>
              <a:gd name="connsiteX13" fmla="*/ 777802 w 4730724"/>
              <a:gd name="connsiteY13" fmla="*/ 734335 h 924541"/>
              <a:gd name="connsiteX14" fmla="*/ 496861 w 4730724"/>
              <a:gd name="connsiteY14" fmla="*/ 843875 h 924541"/>
              <a:gd name="connsiteX15" fmla="*/ 249211 w 4730724"/>
              <a:gd name="connsiteY15" fmla="*/ 877211 h 924541"/>
              <a:gd name="connsiteX16" fmla="*/ 0 w 4730724"/>
              <a:gd name="connsiteY16" fmla="*/ 884356 h 924541"/>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2942523 w 4730724"/>
              <a:gd name="connsiteY6" fmla="*/ 848637 h 924112"/>
              <a:gd name="connsiteX7" fmla="*/ 2509229 w 4730724"/>
              <a:gd name="connsiteY7" fmla="*/ 915311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77802 w 4730724"/>
              <a:gd name="connsiteY14" fmla="*/ 734335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2942523 w 4730724"/>
              <a:gd name="connsiteY6" fmla="*/ 848637 h 924112"/>
              <a:gd name="connsiteX7" fmla="*/ 2564537 w 4730724"/>
              <a:gd name="connsiteY7" fmla="*/ 915311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77802 w 4730724"/>
              <a:gd name="connsiteY14" fmla="*/ 734335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2942523 w 4730724"/>
              <a:gd name="connsiteY6" fmla="*/ 848637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77802 w 4730724"/>
              <a:gd name="connsiteY14" fmla="*/ 734335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77802 w 4730724"/>
              <a:gd name="connsiteY14" fmla="*/ 734335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00246 w 4730724"/>
              <a:gd name="connsiteY14" fmla="*/ 718460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84215 w 4730724"/>
              <a:gd name="connsiteY14" fmla="*/ 727985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97040 w 4730724"/>
              <a:gd name="connsiteY14" fmla="*/ 721635 h 924112"/>
              <a:gd name="connsiteX15" fmla="*/ 496861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97040 w 4730724"/>
              <a:gd name="connsiteY14" fmla="*/ 721635 h 924112"/>
              <a:gd name="connsiteX15" fmla="*/ 546593 w 4730724"/>
              <a:gd name="connsiteY15" fmla="*/ 837525 h 924112"/>
              <a:gd name="connsiteX16" fmla="*/ 496861 w 4730724"/>
              <a:gd name="connsiteY16" fmla="*/ 843875 h 924112"/>
              <a:gd name="connsiteX17" fmla="*/ 249211 w 4730724"/>
              <a:gd name="connsiteY17" fmla="*/ 877211 h 924112"/>
              <a:gd name="connsiteX18" fmla="*/ 0 w 4730724"/>
              <a:gd name="connsiteY18"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97040 w 4730724"/>
              <a:gd name="connsiteY14" fmla="*/ 721635 h 924112"/>
              <a:gd name="connsiteX15" fmla="*/ 546593 w 4730724"/>
              <a:gd name="connsiteY15" fmla="*/ 83752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97040 w 4730724"/>
              <a:gd name="connsiteY14" fmla="*/ 721635 h 924112"/>
              <a:gd name="connsiteX15" fmla="*/ 553006 w 4730724"/>
              <a:gd name="connsiteY15" fmla="*/ 843875 h 924112"/>
              <a:gd name="connsiteX16" fmla="*/ 249211 w 4730724"/>
              <a:gd name="connsiteY16" fmla="*/ 87721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797040 w 4730724"/>
              <a:gd name="connsiteY14" fmla="*/ 721635 h 924112"/>
              <a:gd name="connsiteX15" fmla="*/ 553006 w 4730724"/>
              <a:gd name="connsiteY15" fmla="*/ 843875 h 924112"/>
              <a:gd name="connsiteX16" fmla="*/ 226767 w 4730724"/>
              <a:gd name="connsiteY16" fmla="*/ 886736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25896 w 4730724"/>
              <a:gd name="connsiteY14" fmla="*/ 708935 h 924112"/>
              <a:gd name="connsiteX15" fmla="*/ 553006 w 4730724"/>
              <a:gd name="connsiteY15" fmla="*/ 843875 h 924112"/>
              <a:gd name="connsiteX16" fmla="*/ 226767 w 4730724"/>
              <a:gd name="connsiteY16" fmla="*/ 886736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15285 h 924112"/>
              <a:gd name="connsiteX15" fmla="*/ 553006 w 4730724"/>
              <a:gd name="connsiteY15" fmla="*/ 843875 h 924112"/>
              <a:gd name="connsiteX16" fmla="*/ 226767 w 4730724"/>
              <a:gd name="connsiteY16" fmla="*/ 886736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15285 h 924112"/>
              <a:gd name="connsiteX15" fmla="*/ 553006 w 4730724"/>
              <a:gd name="connsiteY15" fmla="*/ 843875 h 924112"/>
              <a:gd name="connsiteX16" fmla="*/ 178673 w 4730724"/>
              <a:gd name="connsiteY16" fmla="*/ 886736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15285 h 924112"/>
              <a:gd name="connsiteX15" fmla="*/ 553006 w 4730724"/>
              <a:gd name="connsiteY15" fmla="*/ 843875 h 924112"/>
              <a:gd name="connsiteX16" fmla="*/ 204323 w 4730724"/>
              <a:gd name="connsiteY16" fmla="*/ 896261 h 924112"/>
              <a:gd name="connsiteX17" fmla="*/ 0 w 4730724"/>
              <a:gd name="connsiteY17"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15285 h 924112"/>
              <a:gd name="connsiteX15" fmla="*/ 553006 w 4730724"/>
              <a:gd name="connsiteY15" fmla="*/ 843875 h 924112"/>
              <a:gd name="connsiteX16" fmla="*/ 0 w 4730724"/>
              <a:gd name="connsiteY16"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15285 h 924112"/>
              <a:gd name="connsiteX15" fmla="*/ 553006 w 4730724"/>
              <a:gd name="connsiteY15" fmla="*/ 843875 h 924112"/>
              <a:gd name="connsiteX16" fmla="*/ 0 w 4730724"/>
              <a:gd name="connsiteY16"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15285 h 924112"/>
              <a:gd name="connsiteX15" fmla="*/ 504912 w 4730724"/>
              <a:gd name="connsiteY15" fmla="*/ 859750 h 924112"/>
              <a:gd name="connsiteX16" fmla="*/ 0 w 4730724"/>
              <a:gd name="connsiteY16" fmla="*/ 884356 h 924112"/>
              <a:gd name="connsiteX0" fmla="*/ 4730724 w 4730724"/>
              <a:gd name="connsiteY0" fmla="*/ 115212 h 924112"/>
              <a:gd name="connsiteX1" fmla="*/ 4392586 w 4730724"/>
              <a:gd name="connsiteY1" fmla="*/ 912 h 924112"/>
              <a:gd name="connsiteX2" fmla="*/ 4106837 w 4730724"/>
              <a:gd name="connsiteY2" fmla="*/ 77111 h 924112"/>
              <a:gd name="connsiteX3" fmla="*/ 3902049 w 4730724"/>
              <a:gd name="connsiteY3" fmla="*/ 334287 h 924112"/>
              <a:gd name="connsiteX4" fmla="*/ 3635960 w 4730724"/>
              <a:gd name="connsiteY4" fmla="*/ 567650 h 924112"/>
              <a:gd name="connsiteX5" fmla="*/ 3304848 w 4730724"/>
              <a:gd name="connsiteY5" fmla="*/ 743862 h 924112"/>
              <a:gd name="connsiteX6" fmla="*/ 3038710 w 4730724"/>
              <a:gd name="connsiteY6" fmla="*/ 834350 h 924112"/>
              <a:gd name="connsiteX7" fmla="*/ 2694389 w 4730724"/>
              <a:gd name="connsiteY7" fmla="*/ 903405 h 924112"/>
              <a:gd name="connsiteX8" fmla="*/ 2403001 w 4730724"/>
              <a:gd name="connsiteY8" fmla="*/ 922456 h 924112"/>
              <a:gd name="connsiteX9" fmla="*/ 2082774 w 4730724"/>
              <a:gd name="connsiteY9" fmla="*/ 910550 h 924112"/>
              <a:gd name="connsiteX10" fmla="*/ 1744636 w 4730724"/>
              <a:gd name="connsiteY10" fmla="*/ 796248 h 924112"/>
              <a:gd name="connsiteX11" fmla="*/ 1435074 w 4730724"/>
              <a:gd name="connsiteY11" fmla="*/ 581937 h 924112"/>
              <a:gd name="connsiteX12" fmla="*/ 1220762 w 4730724"/>
              <a:gd name="connsiteY12" fmla="*/ 477162 h 924112"/>
              <a:gd name="connsiteX13" fmla="*/ 1020737 w 4730724"/>
              <a:gd name="connsiteY13" fmla="*/ 505736 h 924112"/>
              <a:gd name="connsiteX14" fmla="*/ 816277 w 4730724"/>
              <a:gd name="connsiteY14" fmla="*/ 705760 h 924112"/>
              <a:gd name="connsiteX15" fmla="*/ 504912 w 4730724"/>
              <a:gd name="connsiteY15" fmla="*/ 859750 h 924112"/>
              <a:gd name="connsiteX16" fmla="*/ 0 w 4730724"/>
              <a:gd name="connsiteY16" fmla="*/ 884356 h 924112"/>
              <a:gd name="connsiteX0" fmla="*/ 4786032 w 4786032"/>
              <a:gd name="connsiteY0" fmla="*/ 115212 h 924112"/>
              <a:gd name="connsiteX1" fmla="*/ 4447894 w 4786032"/>
              <a:gd name="connsiteY1" fmla="*/ 912 h 924112"/>
              <a:gd name="connsiteX2" fmla="*/ 4162145 w 4786032"/>
              <a:gd name="connsiteY2" fmla="*/ 77111 h 924112"/>
              <a:gd name="connsiteX3" fmla="*/ 3957357 w 4786032"/>
              <a:gd name="connsiteY3" fmla="*/ 334287 h 924112"/>
              <a:gd name="connsiteX4" fmla="*/ 3691268 w 4786032"/>
              <a:gd name="connsiteY4" fmla="*/ 567650 h 924112"/>
              <a:gd name="connsiteX5" fmla="*/ 3360156 w 4786032"/>
              <a:gd name="connsiteY5" fmla="*/ 743862 h 924112"/>
              <a:gd name="connsiteX6" fmla="*/ 3094018 w 4786032"/>
              <a:gd name="connsiteY6" fmla="*/ 834350 h 924112"/>
              <a:gd name="connsiteX7" fmla="*/ 2749697 w 4786032"/>
              <a:gd name="connsiteY7" fmla="*/ 903405 h 924112"/>
              <a:gd name="connsiteX8" fmla="*/ 2458309 w 4786032"/>
              <a:gd name="connsiteY8" fmla="*/ 922456 h 924112"/>
              <a:gd name="connsiteX9" fmla="*/ 2138082 w 4786032"/>
              <a:gd name="connsiteY9" fmla="*/ 910550 h 924112"/>
              <a:gd name="connsiteX10" fmla="*/ 1799944 w 4786032"/>
              <a:gd name="connsiteY10" fmla="*/ 796248 h 924112"/>
              <a:gd name="connsiteX11" fmla="*/ 1490382 w 4786032"/>
              <a:gd name="connsiteY11" fmla="*/ 581937 h 924112"/>
              <a:gd name="connsiteX12" fmla="*/ 1276070 w 4786032"/>
              <a:gd name="connsiteY12" fmla="*/ 477162 h 924112"/>
              <a:gd name="connsiteX13" fmla="*/ 1076045 w 4786032"/>
              <a:gd name="connsiteY13" fmla="*/ 505736 h 924112"/>
              <a:gd name="connsiteX14" fmla="*/ 871585 w 4786032"/>
              <a:gd name="connsiteY14" fmla="*/ 705760 h 924112"/>
              <a:gd name="connsiteX15" fmla="*/ 560220 w 4786032"/>
              <a:gd name="connsiteY15" fmla="*/ 859750 h 924112"/>
              <a:gd name="connsiteX16" fmla="*/ 0 w 4786032"/>
              <a:gd name="connsiteY16" fmla="*/ 893881 h 924112"/>
              <a:gd name="connsiteX0" fmla="*/ 4798055 w 4798055"/>
              <a:gd name="connsiteY0" fmla="*/ 115212 h 924112"/>
              <a:gd name="connsiteX1" fmla="*/ 4459917 w 4798055"/>
              <a:gd name="connsiteY1" fmla="*/ 912 h 924112"/>
              <a:gd name="connsiteX2" fmla="*/ 4174168 w 4798055"/>
              <a:gd name="connsiteY2" fmla="*/ 77111 h 924112"/>
              <a:gd name="connsiteX3" fmla="*/ 3969380 w 4798055"/>
              <a:gd name="connsiteY3" fmla="*/ 334287 h 924112"/>
              <a:gd name="connsiteX4" fmla="*/ 3703291 w 4798055"/>
              <a:gd name="connsiteY4" fmla="*/ 567650 h 924112"/>
              <a:gd name="connsiteX5" fmla="*/ 3372179 w 4798055"/>
              <a:gd name="connsiteY5" fmla="*/ 743862 h 924112"/>
              <a:gd name="connsiteX6" fmla="*/ 3106041 w 4798055"/>
              <a:gd name="connsiteY6" fmla="*/ 834350 h 924112"/>
              <a:gd name="connsiteX7" fmla="*/ 2761720 w 4798055"/>
              <a:gd name="connsiteY7" fmla="*/ 903405 h 924112"/>
              <a:gd name="connsiteX8" fmla="*/ 2470332 w 4798055"/>
              <a:gd name="connsiteY8" fmla="*/ 922456 h 924112"/>
              <a:gd name="connsiteX9" fmla="*/ 2150105 w 4798055"/>
              <a:gd name="connsiteY9" fmla="*/ 910550 h 924112"/>
              <a:gd name="connsiteX10" fmla="*/ 1811967 w 4798055"/>
              <a:gd name="connsiteY10" fmla="*/ 796248 h 924112"/>
              <a:gd name="connsiteX11" fmla="*/ 1502405 w 4798055"/>
              <a:gd name="connsiteY11" fmla="*/ 581937 h 924112"/>
              <a:gd name="connsiteX12" fmla="*/ 1288093 w 4798055"/>
              <a:gd name="connsiteY12" fmla="*/ 477162 h 924112"/>
              <a:gd name="connsiteX13" fmla="*/ 1088068 w 4798055"/>
              <a:gd name="connsiteY13" fmla="*/ 505736 h 924112"/>
              <a:gd name="connsiteX14" fmla="*/ 883608 w 4798055"/>
              <a:gd name="connsiteY14" fmla="*/ 705760 h 924112"/>
              <a:gd name="connsiteX15" fmla="*/ 572243 w 4798055"/>
              <a:gd name="connsiteY15" fmla="*/ 859750 h 924112"/>
              <a:gd name="connsiteX16" fmla="*/ 0 w 4798055"/>
              <a:gd name="connsiteY16" fmla="*/ 891500 h 924112"/>
              <a:gd name="connsiteX0" fmla="*/ 4798055 w 4798055"/>
              <a:gd name="connsiteY0" fmla="*/ 115212 h 924112"/>
              <a:gd name="connsiteX1" fmla="*/ 4459917 w 4798055"/>
              <a:gd name="connsiteY1" fmla="*/ 912 h 924112"/>
              <a:gd name="connsiteX2" fmla="*/ 4174168 w 4798055"/>
              <a:gd name="connsiteY2" fmla="*/ 77111 h 924112"/>
              <a:gd name="connsiteX3" fmla="*/ 3969380 w 4798055"/>
              <a:gd name="connsiteY3" fmla="*/ 334287 h 924112"/>
              <a:gd name="connsiteX4" fmla="*/ 3703291 w 4798055"/>
              <a:gd name="connsiteY4" fmla="*/ 567650 h 924112"/>
              <a:gd name="connsiteX5" fmla="*/ 3372179 w 4798055"/>
              <a:gd name="connsiteY5" fmla="*/ 743862 h 924112"/>
              <a:gd name="connsiteX6" fmla="*/ 3106041 w 4798055"/>
              <a:gd name="connsiteY6" fmla="*/ 834350 h 924112"/>
              <a:gd name="connsiteX7" fmla="*/ 2761720 w 4798055"/>
              <a:gd name="connsiteY7" fmla="*/ 903405 h 924112"/>
              <a:gd name="connsiteX8" fmla="*/ 2470332 w 4798055"/>
              <a:gd name="connsiteY8" fmla="*/ 922456 h 924112"/>
              <a:gd name="connsiteX9" fmla="*/ 2150105 w 4798055"/>
              <a:gd name="connsiteY9" fmla="*/ 910550 h 924112"/>
              <a:gd name="connsiteX10" fmla="*/ 1811967 w 4798055"/>
              <a:gd name="connsiteY10" fmla="*/ 796248 h 924112"/>
              <a:gd name="connsiteX11" fmla="*/ 1502405 w 4798055"/>
              <a:gd name="connsiteY11" fmla="*/ 581937 h 924112"/>
              <a:gd name="connsiteX12" fmla="*/ 1288093 w 4798055"/>
              <a:gd name="connsiteY12" fmla="*/ 477162 h 924112"/>
              <a:gd name="connsiteX13" fmla="*/ 1088068 w 4798055"/>
              <a:gd name="connsiteY13" fmla="*/ 505736 h 924112"/>
              <a:gd name="connsiteX14" fmla="*/ 883608 w 4798055"/>
              <a:gd name="connsiteY14" fmla="*/ 705760 h 924112"/>
              <a:gd name="connsiteX15" fmla="*/ 572243 w 4798055"/>
              <a:gd name="connsiteY15" fmla="*/ 859750 h 924112"/>
              <a:gd name="connsiteX16" fmla="*/ 0 w 4798055"/>
              <a:gd name="connsiteY16" fmla="*/ 891500 h 924112"/>
              <a:gd name="connsiteX0" fmla="*/ 4798055 w 4798055"/>
              <a:gd name="connsiteY0" fmla="*/ 115212 h 924112"/>
              <a:gd name="connsiteX1" fmla="*/ 4459917 w 4798055"/>
              <a:gd name="connsiteY1" fmla="*/ 912 h 924112"/>
              <a:gd name="connsiteX2" fmla="*/ 4174168 w 4798055"/>
              <a:gd name="connsiteY2" fmla="*/ 77111 h 924112"/>
              <a:gd name="connsiteX3" fmla="*/ 3969380 w 4798055"/>
              <a:gd name="connsiteY3" fmla="*/ 334287 h 924112"/>
              <a:gd name="connsiteX4" fmla="*/ 3703291 w 4798055"/>
              <a:gd name="connsiteY4" fmla="*/ 567650 h 924112"/>
              <a:gd name="connsiteX5" fmla="*/ 3372179 w 4798055"/>
              <a:gd name="connsiteY5" fmla="*/ 743862 h 924112"/>
              <a:gd name="connsiteX6" fmla="*/ 3106041 w 4798055"/>
              <a:gd name="connsiteY6" fmla="*/ 834350 h 924112"/>
              <a:gd name="connsiteX7" fmla="*/ 2761720 w 4798055"/>
              <a:gd name="connsiteY7" fmla="*/ 903405 h 924112"/>
              <a:gd name="connsiteX8" fmla="*/ 2470332 w 4798055"/>
              <a:gd name="connsiteY8" fmla="*/ 922456 h 924112"/>
              <a:gd name="connsiteX9" fmla="*/ 2150105 w 4798055"/>
              <a:gd name="connsiteY9" fmla="*/ 910550 h 924112"/>
              <a:gd name="connsiteX10" fmla="*/ 1811967 w 4798055"/>
              <a:gd name="connsiteY10" fmla="*/ 796248 h 924112"/>
              <a:gd name="connsiteX11" fmla="*/ 1502405 w 4798055"/>
              <a:gd name="connsiteY11" fmla="*/ 581937 h 924112"/>
              <a:gd name="connsiteX12" fmla="*/ 1288093 w 4798055"/>
              <a:gd name="connsiteY12" fmla="*/ 477162 h 924112"/>
              <a:gd name="connsiteX13" fmla="*/ 1088068 w 4798055"/>
              <a:gd name="connsiteY13" fmla="*/ 505736 h 924112"/>
              <a:gd name="connsiteX14" fmla="*/ 883608 w 4798055"/>
              <a:gd name="connsiteY14" fmla="*/ 705760 h 924112"/>
              <a:gd name="connsiteX15" fmla="*/ 572243 w 4798055"/>
              <a:gd name="connsiteY15" fmla="*/ 859750 h 924112"/>
              <a:gd name="connsiteX16" fmla="*/ 77682 w 4798055"/>
              <a:gd name="connsiteY16" fmla="*/ 893881 h 924112"/>
              <a:gd name="connsiteX17" fmla="*/ 0 w 4798055"/>
              <a:gd name="connsiteY17" fmla="*/ 891500 h 924112"/>
              <a:gd name="connsiteX0" fmla="*/ 4798055 w 4798055"/>
              <a:gd name="connsiteY0" fmla="*/ 115212 h 924112"/>
              <a:gd name="connsiteX1" fmla="*/ 4459917 w 4798055"/>
              <a:gd name="connsiteY1" fmla="*/ 912 h 924112"/>
              <a:gd name="connsiteX2" fmla="*/ 4174168 w 4798055"/>
              <a:gd name="connsiteY2" fmla="*/ 77111 h 924112"/>
              <a:gd name="connsiteX3" fmla="*/ 3969380 w 4798055"/>
              <a:gd name="connsiteY3" fmla="*/ 334287 h 924112"/>
              <a:gd name="connsiteX4" fmla="*/ 3703291 w 4798055"/>
              <a:gd name="connsiteY4" fmla="*/ 567650 h 924112"/>
              <a:gd name="connsiteX5" fmla="*/ 3372179 w 4798055"/>
              <a:gd name="connsiteY5" fmla="*/ 743862 h 924112"/>
              <a:gd name="connsiteX6" fmla="*/ 3106041 w 4798055"/>
              <a:gd name="connsiteY6" fmla="*/ 834350 h 924112"/>
              <a:gd name="connsiteX7" fmla="*/ 2761720 w 4798055"/>
              <a:gd name="connsiteY7" fmla="*/ 903405 h 924112"/>
              <a:gd name="connsiteX8" fmla="*/ 2470332 w 4798055"/>
              <a:gd name="connsiteY8" fmla="*/ 922456 h 924112"/>
              <a:gd name="connsiteX9" fmla="*/ 2150105 w 4798055"/>
              <a:gd name="connsiteY9" fmla="*/ 910550 h 924112"/>
              <a:gd name="connsiteX10" fmla="*/ 1811967 w 4798055"/>
              <a:gd name="connsiteY10" fmla="*/ 796248 h 924112"/>
              <a:gd name="connsiteX11" fmla="*/ 1502405 w 4798055"/>
              <a:gd name="connsiteY11" fmla="*/ 581937 h 924112"/>
              <a:gd name="connsiteX12" fmla="*/ 1288093 w 4798055"/>
              <a:gd name="connsiteY12" fmla="*/ 477162 h 924112"/>
              <a:gd name="connsiteX13" fmla="*/ 1088068 w 4798055"/>
              <a:gd name="connsiteY13" fmla="*/ 505736 h 924112"/>
              <a:gd name="connsiteX14" fmla="*/ 883608 w 4798055"/>
              <a:gd name="connsiteY14" fmla="*/ 705760 h 924112"/>
              <a:gd name="connsiteX15" fmla="*/ 572243 w 4798055"/>
              <a:gd name="connsiteY15" fmla="*/ 859750 h 924112"/>
              <a:gd name="connsiteX16" fmla="*/ 116156 w 4798055"/>
              <a:gd name="connsiteY16" fmla="*/ 893881 h 924112"/>
              <a:gd name="connsiteX17" fmla="*/ 0 w 4798055"/>
              <a:gd name="connsiteY17" fmla="*/ 891500 h 924112"/>
              <a:gd name="connsiteX0" fmla="*/ 4798055 w 4798055"/>
              <a:gd name="connsiteY0" fmla="*/ 115212 h 924112"/>
              <a:gd name="connsiteX1" fmla="*/ 4459917 w 4798055"/>
              <a:gd name="connsiteY1" fmla="*/ 912 h 924112"/>
              <a:gd name="connsiteX2" fmla="*/ 4174168 w 4798055"/>
              <a:gd name="connsiteY2" fmla="*/ 77111 h 924112"/>
              <a:gd name="connsiteX3" fmla="*/ 3969380 w 4798055"/>
              <a:gd name="connsiteY3" fmla="*/ 334287 h 924112"/>
              <a:gd name="connsiteX4" fmla="*/ 3703291 w 4798055"/>
              <a:gd name="connsiteY4" fmla="*/ 567650 h 924112"/>
              <a:gd name="connsiteX5" fmla="*/ 3372179 w 4798055"/>
              <a:gd name="connsiteY5" fmla="*/ 743862 h 924112"/>
              <a:gd name="connsiteX6" fmla="*/ 3106041 w 4798055"/>
              <a:gd name="connsiteY6" fmla="*/ 834350 h 924112"/>
              <a:gd name="connsiteX7" fmla="*/ 2761720 w 4798055"/>
              <a:gd name="connsiteY7" fmla="*/ 903405 h 924112"/>
              <a:gd name="connsiteX8" fmla="*/ 2470332 w 4798055"/>
              <a:gd name="connsiteY8" fmla="*/ 922456 h 924112"/>
              <a:gd name="connsiteX9" fmla="*/ 2150105 w 4798055"/>
              <a:gd name="connsiteY9" fmla="*/ 910550 h 924112"/>
              <a:gd name="connsiteX10" fmla="*/ 1811967 w 4798055"/>
              <a:gd name="connsiteY10" fmla="*/ 796248 h 924112"/>
              <a:gd name="connsiteX11" fmla="*/ 1502405 w 4798055"/>
              <a:gd name="connsiteY11" fmla="*/ 581937 h 924112"/>
              <a:gd name="connsiteX12" fmla="*/ 1288093 w 4798055"/>
              <a:gd name="connsiteY12" fmla="*/ 477162 h 924112"/>
              <a:gd name="connsiteX13" fmla="*/ 1088068 w 4798055"/>
              <a:gd name="connsiteY13" fmla="*/ 505736 h 924112"/>
              <a:gd name="connsiteX14" fmla="*/ 883608 w 4798055"/>
              <a:gd name="connsiteY14" fmla="*/ 705760 h 924112"/>
              <a:gd name="connsiteX15" fmla="*/ 572243 w 4798055"/>
              <a:gd name="connsiteY15" fmla="*/ 859750 h 924112"/>
              <a:gd name="connsiteX16" fmla="*/ 219558 w 4798055"/>
              <a:gd name="connsiteY16" fmla="*/ 901025 h 924112"/>
              <a:gd name="connsiteX17" fmla="*/ 0 w 4798055"/>
              <a:gd name="connsiteY17" fmla="*/ 891500 h 924112"/>
              <a:gd name="connsiteX0" fmla="*/ 4812206 w 4812206"/>
              <a:gd name="connsiteY0" fmla="*/ 115212 h 924112"/>
              <a:gd name="connsiteX1" fmla="*/ 4474068 w 4812206"/>
              <a:gd name="connsiteY1" fmla="*/ 912 h 924112"/>
              <a:gd name="connsiteX2" fmla="*/ 4188319 w 4812206"/>
              <a:gd name="connsiteY2" fmla="*/ 77111 h 924112"/>
              <a:gd name="connsiteX3" fmla="*/ 3983531 w 4812206"/>
              <a:gd name="connsiteY3" fmla="*/ 334287 h 924112"/>
              <a:gd name="connsiteX4" fmla="*/ 3717442 w 4812206"/>
              <a:gd name="connsiteY4" fmla="*/ 567650 h 924112"/>
              <a:gd name="connsiteX5" fmla="*/ 3386330 w 4812206"/>
              <a:gd name="connsiteY5" fmla="*/ 743862 h 924112"/>
              <a:gd name="connsiteX6" fmla="*/ 3120192 w 4812206"/>
              <a:gd name="connsiteY6" fmla="*/ 834350 h 924112"/>
              <a:gd name="connsiteX7" fmla="*/ 2775871 w 4812206"/>
              <a:gd name="connsiteY7" fmla="*/ 903405 h 924112"/>
              <a:gd name="connsiteX8" fmla="*/ 2484483 w 4812206"/>
              <a:gd name="connsiteY8" fmla="*/ 922456 h 924112"/>
              <a:gd name="connsiteX9" fmla="*/ 2164256 w 4812206"/>
              <a:gd name="connsiteY9" fmla="*/ 910550 h 924112"/>
              <a:gd name="connsiteX10" fmla="*/ 1826118 w 4812206"/>
              <a:gd name="connsiteY10" fmla="*/ 796248 h 924112"/>
              <a:gd name="connsiteX11" fmla="*/ 1516556 w 4812206"/>
              <a:gd name="connsiteY11" fmla="*/ 581937 h 924112"/>
              <a:gd name="connsiteX12" fmla="*/ 1302244 w 4812206"/>
              <a:gd name="connsiteY12" fmla="*/ 477162 h 924112"/>
              <a:gd name="connsiteX13" fmla="*/ 1102219 w 4812206"/>
              <a:gd name="connsiteY13" fmla="*/ 505736 h 924112"/>
              <a:gd name="connsiteX14" fmla="*/ 897759 w 4812206"/>
              <a:gd name="connsiteY14" fmla="*/ 705760 h 924112"/>
              <a:gd name="connsiteX15" fmla="*/ 586394 w 4812206"/>
              <a:gd name="connsiteY15" fmla="*/ 859750 h 924112"/>
              <a:gd name="connsiteX16" fmla="*/ 233709 w 4812206"/>
              <a:gd name="connsiteY16" fmla="*/ 901025 h 924112"/>
              <a:gd name="connsiteX17" fmla="*/ 14151 w 4812206"/>
              <a:gd name="connsiteY17" fmla="*/ 891500 h 924112"/>
              <a:gd name="connsiteX18" fmla="*/ 22097 w 4812206"/>
              <a:gd name="connsiteY18" fmla="*/ 894675 h 924112"/>
              <a:gd name="connsiteX0" fmla="*/ 5014556 w 5014556"/>
              <a:gd name="connsiteY0" fmla="*/ 115212 h 924112"/>
              <a:gd name="connsiteX1" fmla="*/ 4676418 w 5014556"/>
              <a:gd name="connsiteY1" fmla="*/ 912 h 924112"/>
              <a:gd name="connsiteX2" fmla="*/ 4390669 w 5014556"/>
              <a:gd name="connsiteY2" fmla="*/ 77111 h 924112"/>
              <a:gd name="connsiteX3" fmla="*/ 4185881 w 5014556"/>
              <a:gd name="connsiteY3" fmla="*/ 334287 h 924112"/>
              <a:gd name="connsiteX4" fmla="*/ 3919792 w 5014556"/>
              <a:gd name="connsiteY4" fmla="*/ 567650 h 924112"/>
              <a:gd name="connsiteX5" fmla="*/ 3588680 w 5014556"/>
              <a:gd name="connsiteY5" fmla="*/ 743862 h 924112"/>
              <a:gd name="connsiteX6" fmla="*/ 3322542 w 5014556"/>
              <a:gd name="connsiteY6" fmla="*/ 834350 h 924112"/>
              <a:gd name="connsiteX7" fmla="*/ 2978221 w 5014556"/>
              <a:gd name="connsiteY7" fmla="*/ 903405 h 924112"/>
              <a:gd name="connsiteX8" fmla="*/ 2686833 w 5014556"/>
              <a:gd name="connsiteY8" fmla="*/ 922456 h 924112"/>
              <a:gd name="connsiteX9" fmla="*/ 2366606 w 5014556"/>
              <a:gd name="connsiteY9" fmla="*/ 910550 h 924112"/>
              <a:gd name="connsiteX10" fmla="*/ 2028468 w 5014556"/>
              <a:gd name="connsiteY10" fmla="*/ 796248 h 924112"/>
              <a:gd name="connsiteX11" fmla="*/ 1718906 w 5014556"/>
              <a:gd name="connsiteY11" fmla="*/ 581937 h 924112"/>
              <a:gd name="connsiteX12" fmla="*/ 1504594 w 5014556"/>
              <a:gd name="connsiteY12" fmla="*/ 477162 h 924112"/>
              <a:gd name="connsiteX13" fmla="*/ 1304569 w 5014556"/>
              <a:gd name="connsiteY13" fmla="*/ 505736 h 924112"/>
              <a:gd name="connsiteX14" fmla="*/ 1100109 w 5014556"/>
              <a:gd name="connsiteY14" fmla="*/ 705760 h 924112"/>
              <a:gd name="connsiteX15" fmla="*/ 788744 w 5014556"/>
              <a:gd name="connsiteY15" fmla="*/ 859750 h 924112"/>
              <a:gd name="connsiteX16" fmla="*/ 436059 w 5014556"/>
              <a:gd name="connsiteY16" fmla="*/ 901025 h 924112"/>
              <a:gd name="connsiteX17" fmla="*/ 216501 w 5014556"/>
              <a:gd name="connsiteY17" fmla="*/ 891500 h 924112"/>
              <a:gd name="connsiteX18" fmla="*/ 11 w 5014556"/>
              <a:gd name="connsiteY18" fmla="*/ 627975 h 924112"/>
              <a:gd name="connsiteX0" fmla="*/ 5283872 w 5283872"/>
              <a:gd name="connsiteY0" fmla="*/ 115212 h 924112"/>
              <a:gd name="connsiteX1" fmla="*/ 4945734 w 5283872"/>
              <a:gd name="connsiteY1" fmla="*/ 912 h 924112"/>
              <a:gd name="connsiteX2" fmla="*/ 4659985 w 5283872"/>
              <a:gd name="connsiteY2" fmla="*/ 77111 h 924112"/>
              <a:gd name="connsiteX3" fmla="*/ 4455197 w 5283872"/>
              <a:gd name="connsiteY3" fmla="*/ 334287 h 924112"/>
              <a:gd name="connsiteX4" fmla="*/ 4189108 w 5283872"/>
              <a:gd name="connsiteY4" fmla="*/ 567650 h 924112"/>
              <a:gd name="connsiteX5" fmla="*/ 3857996 w 5283872"/>
              <a:gd name="connsiteY5" fmla="*/ 743862 h 924112"/>
              <a:gd name="connsiteX6" fmla="*/ 3591858 w 5283872"/>
              <a:gd name="connsiteY6" fmla="*/ 834350 h 924112"/>
              <a:gd name="connsiteX7" fmla="*/ 3247537 w 5283872"/>
              <a:gd name="connsiteY7" fmla="*/ 903405 h 924112"/>
              <a:gd name="connsiteX8" fmla="*/ 2956149 w 5283872"/>
              <a:gd name="connsiteY8" fmla="*/ 922456 h 924112"/>
              <a:gd name="connsiteX9" fmla="*/ 2635922 w 5283872"/>
              <a:gd name="connsiteY9" fmla="*/ 910550 h 924112"/>
              <a:gd name="connsiteX10" fmla="*/ 2297784 w 5283872"/>
              <a:gd name="connsiteY10" fmla="*/ 796248 h 924112"/>
              <a:gd name="connsiteX11" fmla="*/ 1988222 w 5283872"/>
              <a:gd name="connsiteY11" fmla="*/ 581937 h 924112"/>
              <a:gd name="connsiteX12" fmla="*/ 1773910 w 5283872"/>
              <a:gd name="connsiteY12" fmla="*/ 477162 h 924112"/>
              <a:gd name="connsiteX13" fmla="*/ 1573885 w 5283872"/>
              <a:gd name="connsiteY13" fmla="*/ 505736 h 924112"/>
              <a:gd name="connsiteX14" fmla="*/ 1369425 w 5283872"/>
              <a:gd name="connsiteY14" fmla="*/ 705760 h 924112"/>
              <a:gd name="connsiteX15" fmla="*/ 1058060 w 5283872"/>
              <a:gd name="connsiteY15" fmla="*/ 859750 h 924112"/>
              <a:gd name="connsiteX16" fmla="*/ 705375 w 5283872"/>
              <a:gd name="connsiteY16" fmla="*/ 901025 h 924112"/>
              <a:gd name="connsiteX17" fmla="*/ 485817 w 5283872"/>
              <a:gd name="connsiteY17" fmla="*/ 891500 h 924112"/>
              <a:gd name="connsiteX18" fmla="*/ 4 w 5283872"/>
              <a:gd name="connsiteY18" fmla="*/ 456525 h 924112"/>
              <a:gd name="connsiteX0" fmla="*/ 5283878 w 5283878"/>
              <a:gd name="connsiteY0" fmla="*/ 115212 h 924112"/>
              <a:gd name="connsiteX1" fmla="*/ 4945740 w 5283878"/>
              <a:gd name="connsiteY1" fmla="*/ 912 h 924112"/>
              <a:gd name="connsiteX2" fmla="*/ 4659991 w 5283878"/>
              <a:gd name="connsiteY2" fmla="*/ 77111 h 924112"/>
              <a:gd name="connsiteX3" fmla="*/ 4455203 w 5283878"/>
              <a:gd name="connsiteY3" fmla="*/ 334287 h 924112"/>
              <a:gd name="connsiteX4" fmla="*/ 4189114 w 5283878"/>
              <a:gd name="connsiteY4" fmla="*/ 567650 h 924112"/>
              <a:gd name="connsiteX5" fmla="*/ 3858002 w 5283878"/>
              <a:gd name="connsiteY5" fmla="*/ 743862 h 924112"/>
              <a:gd name="connsiteX6" fmla="*/ 3591864 w 5283878"/>
              <a:gd name="connsiteY6" fmla="*/ 834350 h 924112"/>
              <a:gd name="connsiteX7" fmla="*/ 3247543 w 5283878"/>
              <a:gd name="connsiteY7" fmla="*/ 903405 h 924112"/>
              <a:gd name="connsiteX8" fmla="*/ 2956155 w 5283878"/>
              <a:gd name="connsiteY8" fmla="*/ 922456 h 924112"/>
              <a:gd name="connsiteX9" fmla="*/ 2635928 w 5283878"/>
              <a:gd name="connsiteY9" fmla="*/ 910550 h 924112"/>
              <a:gd name="connsiteX10" fmla="*/ 2297790 w 5283878"/>
              <a:gd name="connsiteY10" fmla="*/ 796248 h 924112"/>
              <a:gd name="connsiteX11" fmla="*/ 1988228 w 5283878"/>
              <a:gd name="connsiteY11" fmla="*/ 581937 h 924112"/>
              <a:gd name="connsiteX12" fmla="*/ 1773916 w 5283878"/>
              <a:gd name="connsiteY12" fmla="*/ 477162 h 924112"/>
              <a:gd name="connsiteX13" fmla="*/ 1573891 w 5283878"/>
              <a:gd name="connsiteY13" fmla="*/ 505736 h 924112"/>
              <a:gd name="connsiteX14" fmla="*/ 1369431 w 5283878"/>
              <a:gd name="connsiteY14" fmla="*/ 705760 h 924112"/>
              <a:gd name="connsiteX15" fmla="*/ 1058066 w 5283878"/>
              <a:gd name="connsiteY15" fmla="*/ 859750 h 924112"/>
              <a:gd name="connsiteX16" fmla="*/ 705381 w 5283878"/>
              <a:gd name="connsiteY16" fmla="*/ 901025 h 924112"/>
              <a:gd name="connsiteX17" fmla="*/ 485823 w 5283878"/>
              <a:gd name="connsiteY17" fmla="*/ 891500 h 924112"/>
              <a:gd name="connsiteX18" fmla="*/ 10 w 5283878"/>
              <a:gd name="connsiteY18" fmla="*/ 456525 h 924112"/>
              <a:gd name="connsiteX0" fmla="*/ 5283878 w 5283878"/>
              <a:gd name="connsiteY0" fmla="*/ 115212 h 924112"/>
              <a:gd name="connsiteX1" fmla="*/ 4945740 w 5283878"/>
              <a:gd name="connsiteY1" fmla="*/ 912 h 924112"/>
              <a:gd name="connsiteX2" fmla="*/ 4659991 w 5283878"/>
              <a:gd name="connsiteY2" fmla="*/ 77111 h 924112"/>
              <a:gd name="connsiteX3" fmla="*/ 4455203 w 5283878"/>
              <a:gd name="connsiteY3" fmla="*/ 334287 h 924112"/>
              <a:gd name="connsiteX4" fmla="*/ 4189114 w 5283878"/>
              <a:gd name="connsiteY4" fmla="*/ 567650 h 924112"/>
              <a:gd name="connsiteX5" fmla="*/ 3858002 w 5283878"/>
              <a:gd name="connsiteY5" fmla="*/ 743862 h 924112"/>
              <a:gd name="connsiteX6" fmla="*/ 3591864 w 5283878"/>
              <a:gd name="connsiteY6" fmla="*/ 834350 h 924112"/>
              <a:gd name="connsiteX7" fmla="*/ 3247543 w 5283878"/>
              <a:gd name="connsiteY7" fmla="*/ 903405 h 924112"/>
              <a:gd name="connsiteX8" fmla="*/ 2956155 w 5283878"/>
              <a:gd name="connsiteY8" fmla="*/ 922456 h 924112"/>
              <a:gd name="connsiteX9" fmla="*/ 2635928 w 5283878"/>
              <a:gd name="connsiteY9" fmla="*/ 910550 h 924112"/>
              <a:gd name="connsiteX10" fmla="*/ 2297790 w 5283878"/>
              <a:gd name="connsiteY10" fmla="*/ 796248 h 924112"/>
              <a:gd name="connsiteX11" fmla="*/ 1988228 w 5283878"/>
              <a:gd name="connsiteY11" fmla="*/ 581937 h 924112"/>
              <a:gd name="connsiteX12" fmla="*/ 1773916 w 5283878"/>
              <a:gd name="connsiteY12" fmla="*/ 477162 h 924112"/>
              <a:gd name="connsiteX13" fmla="*/ 1573891 w 5283878"/>
              <a:gd name="connsiteY13" fmla="*/ 505736 h 924112"/>
              <a:gd name="connsiteX14" fmla="*/ 1369431 w 5283878"/>
              <a:gd name="connsiteY14" fmla="*/ 705760 h 924112"/>
              <a:gd name="connsiteX15" fmla="*/ 1058066 w 5283878"/>
              <a:gd name="connsiteY15" fmla="*/ 859750 h 924112"/>
              <a:gd name="connsiteX16" fmla="*/ 705381 w 5283878"/>
              <a:gd name="connsiteY16" fmla="*/ 901025 h 924112"/>
              <a:gd name="connsiteX17" fmla="*/ 485823 w 5283878"/>
              <a:gd name="connsiteY17" fmla="*/ 891500 h 924112"/>
              <a:gd name="connsiteX18" fmla="*/ 10 w 5283878"/>
              <a:gd name="connsiteY18" fmla="*/ 456525 h 924112"/>
              <a:gd name="connsiteX0" fmla="*/ 5283878 w 5283878"/>
              <a:gd name="connsiteY0" fmla="*/ 115212 h 924112"/>
              <a:gd name="connsiteX1" fmla="*/ 4945740 w 5283878"/>
              <a:gd name="connsiteY1" fmla="*/ 912 h 924112"/>
              <a:gd name="connsiteX2" fmla="*/ 4659991 w 5283878"/>
              <a:gd name="connsiteY2" fmla="*/ 77111 h 924112"/>
              <a:gd name="connsiteX3" fmla="*/ 4455203 w 5283878"/>
              <a:gd name="connsiteY3" fmla="*/ 334287 h 924112"/>
              <a:gd name="connsiteX4" fmla="*/ 4189114 w 5283878"/>
              <a:gd name="connsiteY4" fmla="*/ 567650 h 924112"/>
              <a:gd name="connsiteX5" fmla="*/ 3858002 w 5283878"/>
              <a:gd name="connsiteY5" fmla="*/ 743862 h 924112"/>
              <a:gd name="connsiteX6" fmla="*/ 3591864 w 5283878"/>
              <a:gd name="connsiteY6" fmla="*/ 834350 h 924112"/>
              <a:gd name="connsiteX7" fmla="*/ 3247543 w 5283878"/>
              <a:gd name="connsiteY7" fmla="*/ 903405 h 924112"/>
              <a:gd name="connsiteX8" fmla="*/ 2956155 w 5283878"/>
              <a:gd name="connsiteY8" fmla="*/ 922456 h 924112"/>
              <a:gd name="connsiteX9" fmla="*/ 2635928 w 5283878"/>
              <a:gd name="connsiteY9" fmla="*/ 910550 h 924112"/>
              <a:gd name="connsiteX10" fmla="*/ 2297790 w 5283878"/>
              <a:gd name="connsiteY10" fmla="*/ 796248 h 924112"/>
              <a:gd name="connsiteX11" fmla="*/ 1988228 w 5283878"/>
              <a:gd name="connsiteY11" fmla="*/ 581937 h 924112"/>
              <a:gd name="connsiteX12" fmla="*/ 1773916 w 5283878"/>
              <a:gd name="connsiteY12" fmla="*/ 477162 h 924112"/>
              <a:gd name="connsiteX13" fmla="*/ 1573891 w 5283878"/>
              <a:gd name="connsiteY13" fmla="*/ 505736 h 924112"/>
              <a:gd name="connsiteX14" fmla="*/ 1369431 w 5283878"/>
              <a:gd name="connsiteY14" fmla="*/ 705760 h 924112"/>
              <a:gd name="connsiteX15" fmla="*/ 1058066 w 5283878"/>
              <a:gd name="connsiteY15" fmla="*/ 859750 h 924112"/>
              <a:gd name="connsiteX16" fmla="*/ 705381 w 5283878"/>
              <a:gd name="connsiteY16" fmla="*/ 901025 h 924112"/>
              <a:gd name="connsiteX17" fmla="*/ 485823 w 5283878"/>
              <a:gd name="connsiteY17" fmla="*/ 891500 h 924112"/>
              <a:gd name="connsiteX18" fmla="*/ 10 w 5283878"/>
              <a:gd name="connsiteY18" fmla="*/ 456525 h 924112"/>
              <a:gd name="connsiteX0" fmla="*/ 5283878 w 5283878"/>
              <a:gd name="connsiteY0" fmla="*/ 115212 h 924112"/>
              <a:gd name="connsiteX1" fmla="*/ 4945740 w 5283878"/>
              <a:gd name="connsiteY1" fmla="*/ 912 h 924112"/>
              <a:gd name="connsiteX2" fmla="*/ 4659991 w 5283878"/>
              <a:gd name="connsiteY2" fmla="*/ 77111 h 924112"/>
              <a:gd name="connsiteX3" fmla="*/ 4455203 w 5283878"/>
              <a:gd name="connsiteY3" fmla="*/ 334287 h 924112"/>
              <a:gd name="connsiteX4" fmla="*/ 4189114 w 5283878"/>
              <a:gd name="connsiteY4" fmla="*/ 567650 h 924112"/>
              <a:gd name="connsiteX5" fmla="*/ 3858002 w 5283878"/>
              <a:gd name="connsiteY5" fmla="*/ 743862 h 924112"/>
              <a:gd name="connsiteX6" fmla="*/ 3591864 w 5283878"/>
              <a:gd name="connsiteY6" fmla="*/ 834350 h 924112"/>
              <a:gd name="connsiteX7" fmla="*/ 3247543 w 5283878"/>
              <a:gd name="connsiteY7" fmla="*/ 903405 h 924112"/>
              <a:gd name="connsiteX8" fmla="*/ 2956155 w 5283878"/>
              <a:gd name="connsiteY8" fmla="*/ 922456 h 924112"/>
              <a:gd name="connsiteX9" fmla="*/ 2635928 w 5283878"/>
              <a:gd name="connsiteY9" fmla="*/ 910550 h 924112"/>
              <a:gd name="connsiteX10" fmla="*/ 2297790 w 5283878"/>
              <a:gd name="connsiteY10" fmla="*/ 796248 h 924112"/>
              <a:gd name="connsiteX11" fmla="*/ 1988228 w 5283878"/>
              <a:gd name="connsiteY11" fmla="*/ 581937 h 924112"/>
              <a:gd name="connsiteX12" fmla="*/ 1773916 w 5283878"/>
              <a:gd name="connsiteY12" fmla="*/ 477162 h 924112"/>
              <a:gd name="connsiteX13" fmla="*/ 1573891 w 5283878"/>
              <a:gd name="connsiteY13" fmla="*/ 505736 h 924112"/>
              <a:gd name="connsiteX14" fmla="*/ 1369431 w 5283878"/>
              <a:gd name="connsiteY14" fmla="*/ 705760 h 924112"/>
              <a:gd name="connsiteX15" fmla="*/ 1058066 w 5283878"/>
              <a:gd name="connsiteY15" fmla="*/ 859750 h 924112"/>
              <a:gd name="connsiteX16" fmla="*/ 705381 w 5283878"/>
              <a:gd name="connsiteY16" fmla="*/ 901025 h 924112"/>
              <a:gd name="connsiteX17" fmla="*/ 476205 w 5283878"/>
              <a:gd name="connsiteY17" fmla="*/ 898644 h 924112"/>
              <a:gd name="connsiteX18" fmla="*/ 10 w 5283878"/>
              <a:gd name="connsiteY18" fmla="*/ 456525 h 924112"/>
              <a:gd name="connsiteX0" fmla="*/ 5283883 w 5283883"/>
              <a:gd name="connsiteY0" fmla="*/ 115212 h 924112"/>
              <a:gd name="connsiteX1" fmla="*/ 4945745 w 5283883"/>
              <a:gd name="connsiteY1" fmla="*/ 912 h 924112"/>
              <a:gd name="connsiteX2" fmla="*/ 4659996 w 5283883"/>
              <a:gd name="connsiteY2" fmla="*/ 77111 h 924112"/>
              <a:gd name="connsiteX3" fmla="*/ 4455208 w 5283883"/>
              <a:gd name="connsiteY3" fmla="*/ 334287 h 924112"/>
              <a:gd name="connsiteX4" fmla="*/ 4189119 w 5283883"/>
              <a:gd name="connsiteY4" fmla="*/ 567650 h 924112"/>
              <a:gd name="connsiteX5" fmla="*/ 3858007 w 5283883"/>
              <a:gd name="connsiteY5" fmla="*/ 743862 h 924112"/>
              <a:gd name="connsiteX6" fmla="*/ 3591869 w 5283883"/>
              <a:gd name="connsiteY6" fmla="*/ 834350 h 924112"/>
              <a:gd name="connsiteX7" fmla="*/ 3247548 w 5283883"/>
              <a:gd name="connsiteY7" fmla="*/ 903405 h 924112"/>
              <a:gd name="connsiteX8" fmla="*/ 2956160 w 5283883"/>
              <a:gd name="connsiteY8" fmla="*/ 922456 h 924112"/>
              <a:gd name="connsiteX9" fmla="*/ 2635933 w 5283883"/>
              <a:gd name="connsiteY9" fmla="*/ 910550 h 924112"/>
              <a:gd name="connsiteX10" fmla="*/ 2297795 w 5283883"/>
              <a:gd name="connsiteY10" fmla="*/ 796248 h 924112"/>
              <a:gd name="connsiteX11" fmla="*/ 1988233 w 5283883"/>
              <a:gd name="connsiteY11" fmla="*/ 581937 h 924112"/>
              <a:gd name="connsiteX12" fmla="*/ 1773921 w 5283883"/>
              <a:gd name="connsiteY12" fmla="*/ 477162 h 924112"/>
              <a:gd name="connsiteX13" fmla="*/ 1573896 w 5283883"/>
              <a:gd name="connsiteY13" fmla="*/ 505736 h 924112"/>
              <a:gd name="connsiteX14" fmla="*/ 1369436 w 5283883"/>
              <a:gd name="connsiteY14" fmla="*/ 705760 h 924112"/>
              <a:gd name="connsiteX15" fmla="*/ 1058071 w 5283883"/>
              <a:gd name="connsiteY15" fmla="*/ 859750 h 924112"/>
              <a:gd name="connsiteX16" fmla="*/ 705386 w 5283883"/>
              <a:gd name="connsiteY16" fmla="*/ 901025 h 924112"/>
              <a:gd name="connsiteX17" fmla="*/ 476210 w 5283883"/>
              <a:gd name="connsiteY17" fmla="*/ 898644 h 924112"/>
              <a:gd name="connsiteX18" fmla="*/ 15 w 5283883"/>
              <a:gd name="connsiteY18" fmla="*/ 456525 h 924112"/>
              <a:gd name="connsiteX0" fmla="*/ 5283883 w 5283883"/>
              <a:gd name="connsiteY0" fmla="*/ 115212 h 924112"/>
              <a:gd name="connsiteX1" fmla="*/ 4945745 w 5283883"/>
              <a:gd name="connsiteY1" fmla="*/ 912 h 924112"/>
              <a:gd name="connsiteX2" fmla="*/ 4659996 w 5283883"/>
              <a:gd name="connsiteY2" fmla="*/ 77111 h 924112"/>
              <a:gd name="connsiteX3" fmla="*/ 4455208 w 5283883"/>
              <a:gd name="connsiteY3" fmla="*/ 334287 h 924112"/>
              <a:gd name="connsiteX4" fmla="*/ 4189119 w 5283883"/>
              <a:gd name="connsiteY4" fmla="*/ 567650 h 924112"/>
              <a:gd name="connsiteX5" fmla="*/ 3858007 w 5283883"/>
              <a:gd name="connsiteY5" fmla="*/ 743862 h 924112"/>
              <a:gd name="connsiteX6" fmla="*/ 3591869 w 5283883"/>
              <a:gd name="connsiteY6" fmla="*/ 834350 h 924112"/>
              <a:gd name="connsiteX7" fmla="*/ 3247548 w 5283883"/>
              <a:gd name="connsiteY7" fmla="*/ 903405 h 924112"/>
              <a:gd name="connsiteX8" fmla="*/ 2956160 w 5283883"/>
              <a:gd name="connsiteY8" fmla="*/ 922456 h 924112"/>
              <a:gd name="connsiteX9" fmla="*/ 2635933 w 5283883"/>
              <a:gd name="connsiteY9" fmla="*/ 910550 h 924112"/>
              <a:gd name="connsiteX10" fmla="*/ 2297795 w 5283883"/>
              <a:gd name="connsiteY10" fmla="*/ 796248 h 924112"/>
              <a:gd name="connsiteX11" fmla="*/ 1988233 w 5283883"/>
              <a:gd name="connsiteY11" fmla="*/ 581937 h 924112"/>
              <a:gd name="connsiteX12" fmla="*/ 1773921 w 5283883"/>
              <a:gd name="connsiteY12" fmla="*/ 477162 h 924112"/>
              <a:gd name="connsiteX13" fmla="*/ 1573896 w 5283883"/>
              <a:gd name="connsiteY13" fmla="*/ 505736 h 924112"/>
              <a:gd name="connsiteX14" fmla="*/ 1369436 w 5283883"/>
              <a:gd name="connsiteY14" fmla="*/ 705760 h 924112"/>
              <a:gd name="connsiteX15" fmla="*/ 1058071 w 5283883"/>
              <a:gd name="connsiteY15" fmla="*/ 859750 h 924112"/>
              <a:gd name="connsiteX16" fmla="*/ 705386 w 5283883"/>
              <a:gd name="connsiteY16" fmla="*/ 901025 h 924112"/>
              <a:gd name="connsiteX17" fmla="*/ 476210 w 5283883"/>
              <a:gd name="connsiteY17" fmla="*/ 898644 h 924112"/>
              <a:gd name="connsiteX18" fmla="*/ 15 w 5283883"/>
              <a:gd name="connsiteY18" fmla="*/ 456525 h 924112"/>
              <a:gd name="connsiteX0" fmla="*/ 5283883 w 5283883"/>
              <a:gd name="connsiteY0" fmla="*/ 115212 h 924112"/>
              <a:gd name="connsiteX1" fmla="*/ 4945745 w 5283883"/>
              <a:gd name="connsiteY1" fmla="*/ 912 h 924112"/>
              <a:gd name="connsiteX2" fmla="*/ 4659996 w 5283883"/>
              <a:gd name="connsiteY2" fmla="*/ 77111 h 924112"/>
              <a:gd name="connsiteX3" fmla="*/ 4455208 w 5283883"/>
              <a:gd name="connsiteY3" fmla="*/ 334287 h 924112"/>
              <a:gd name="connsiteX4" fmla="*/ 4189119 w 5283883"/>
              <a:gd name="connsiteY4" fmla="*/ 567650 h 924112"/>
              <a:gd name="connsiteX5" fmla="*/ 3858007 w 5283883"/>
              <a:gd name="connsiteY5" fmla="*/ 743862 h 924112"/>
              <a:gd name="connsiteX6" fmla="*/ 3591869 w 5283883"/>
              <a:gd name="connsiteY6" fmla="*/ 834350 h 924112"/>
              <a:gd name="connsiteX7" fmla="*/ 3247548 w 5283883"/>
              <a:gd name="connsiteY7" fmla="*/ 903405 h 924112"/>
              <a:gd name="connsiteX8" fmla="*/ 2956160 w 5283883"/>
              <a:gd name="connsiteY8" fmla="*/ 922456 h 924112"/>
              <a:gd name="connsiteX9" fmla="*/ 2635933 w 5283883"/>
              <a:gd name="connsiteY9" fmla="*/ 910550 h 924112"/>
              <a:gd name="connsiteX10" fmla="*/ 2297795 w 5283883"/>
              <a:gd name="connsiteY10" fmla="*/ 796248 h 924112"/>
              <a:gd name="connsiteX11" fmla="*/ 1988233 w 5283883"/>
              <a:gd name="connsiteY11" fmla="*/ 581937 h 924112"/>
              <a:gd name="connsiteX12" fmla="*/ 1773921 w 5283883"/>
              <a:gd name="connsiteY12" fmla="*/ 477162 h 924112"/>
              <a:gd name="connsiteX13" fmla="*/ 1573896 w 5283883"/>
              <a:gd name="connsiteY13" fmla="*/ 505736 h 924112"/>
              <a:gd name="connsiteX14" fmla="*/ 1369436 w 5283883"/>
              <a:gd name="connsiteY14" fmla="*/ 705760 h 924112"/>
              <a:gd name="connsiteX15" fmla="*/ 1058071 w 5283883"/>
              <a:gd name="connsiteY15" fmla="*/ 859750 h 924112"/>
              <a:gd name="connsiteX16" fmla="*/ 765503 w 5283883"/>
              <a:gd name="connsiteY16" fmla="*/ 901025 h 924112"/>
              <a:gd name="connsiteX17" fmla="*/ 476210 w 5283883"/>
              <a:gd name="connsiteY17" fmla="*/ 898644 h 924112"/>
              <a:gd name="connsiteX18" fmla="*/ 15 w 5283883"/>
              <a:gd name="connsiteY18" fmla="*/ 456525 h 924112"/>
              <a:gd name="connsiteX0" fmla="*/ 5283884 w 5283884"/>
              <a:gd name="connsiteY0" fmla="*/ 115212 h 924112"/>
              <a:gd name="connsiteX1" fmla="*/ 4945746 w 5283884"/>
              <a:gd name="connsiteY1" fmla="*/ 912 h 924112"/>
              <a:gd name="connsiteX2" fmla="*/ 4659997 w 5283884"/>
              <a:gd name="connsiteY2" fmla="*/ 77111 h 924112"/>
              <a:gd name="connsiteX3" fmla="*/ 4455209 w 5283884"/>
              <a:gd name="connsiteY3" fmla="*/ 334287 h 924112"/>
              <a:gd name="connsiteX4" fmla="*/ 4189120 w 5283884"/>
              <a:gd name="connsiteY4" fmla="*/ 567650 h 924112"/>
              <a:gd name="connsiteX5" fmla="*/ 3858008 w 5283884"/>
              <a:gd name="connsiteY5" fmla="*/ 743862 h 924112"/>
              <a:gd name="connsiteX6" fmla="*/ 3591870 w 5283884"/>
              <a:gd name="connsiteY6" fmla="*/ 834350 h 924112"/>
              <a:gd name="connsiteX7" fmla="*/ 3247549 w 5283884"/>
              <a:gd name="connsiteY7" fmla="*/ 903405 h 924112"/>
              <a:gd name="connsiteX8" fmla="*/ 2956161 w 5283884"/>
              <a:gd name="connsiteY8" fmla="*/ 922456 h 924112"/>
              <a:gd name="connsiteX9" fmla="*/ 2635934 w 5283884"/>
              <a:gd name="connsiteY9" fmla="*/ 910550 h 924112"/>
              <a:gd name="connsiteX10" fmla="*/ 2297796 w 5283884"/>
              <a:gd name="connsiteY10" fmla="*/ 796248 h 924112"/>
              <a:gd name="connsiteX11" fmla="*/ 1988234 w 5283884"/>
              <a:gd name="connsiteY11" fmla="*/ 581937 h 924112"/>
              <a:gd name="connsiteX12" fmla="*/ 1773922 w 5283884"/>
              <a:gd name="connsiteY12" fmla="*/ 477162 h 924112"/>
              <a:gd name="connsiteX13" fmla="*/ 1573897 w 5283884"/>
              <a:gd name="connsiteY13" fmla="*/ 505736 h 924112"/>
              <a:gd name="connsiteX14" fmla="*/ 1369437 w 5283884"/>
              <a:gd name="connsiteY14" fmla="*/ 705760 h 924112"/>
              <a:gd name="connsiteX15" fmla="*/ 1058072 w 5283884"/>
              <a:gd name="connsiteY15" fmla="*/ 859750 h 924112"/>
              <a:gd name="connsiteX16" fmla="*/ 765504 w 5283884"/>
              <a:gd name="connsiteY16" fmla="*/ 901025 h 924112"/>
              <a:gd name="connsiteX17" fmla="*/ 464188 w 5283884"/>
              <a:gd name="connsiteY17" fmla="*/ 893882 h 924112"/>
              <a:gd name="connsiteX18" fmla="*/ 16 w 5283884"/>
              <a:gd name="connsiteY18" fmla="*/ 456525 h 924112"/>
              <a:gd name="connsiteX0" fmla="*/ 5283884 w 5283884"/>
              <a:gd name="connsiteY0" fmla="*/ 115212 h 924112"/>
              <a:gd name="connsiteX1" fmla="*/ 4945746 w 5283884"/>
              <a:gd name="connsiteY1" fmla="*/ 912 h 924112"/>
              <a:gd name="connsiteX2" fmla="*/ 4659997 w 5283884"/>
              <a:gd name="connsiteY2" fmla="*/ 77111 h 924112"/>
              <a:gd name="connsiteX3" fmla="*/ 4455209 w 5283884"/>
              <a:gd name="connsiteY3" fmla="*/ 334287 h 924112"/>
              <a:gd name="connsiteX4" fmla="*/ 4189120 w 5283884"/>
              <a:gd name="connsiteY4" fmla="*/ 567650 h 924112"/>
              <a:gd name="connsiteX5" fmla="*/ 3858008 w 5283884"/>
              <a:gd name="connsiteY5" fmla="*/ 743862 h 924112"/>
              <a:gd name="connsiteX6" fmla="*/ 3591870 w 5283884"/>
              <a:gd name="connsiteY6" fmla="*/ 834350 h 924112"/>
              <a:gd name="connsiteX7" fmla="*/ 3247549 w 5283884"/>
              <a:gd name="connsiteY7" fmla="*/ 903405 h 924112"/>
              <a:gd name="connsiteX8" fmla="*/ 2956161 w 5283884"/>
              <a:gd name="connsiteY8" fmla="*/ 922456 h 924112"/>
              <a:gd name="connsiteX9" fmla="*/ 2635934 w 5283884"/>
              <a:gd name="connsiteY9" fmla="*/ 910550 h 924112"/>
              <a:gd name="connsiteX10" fmla="*/ 2297796 w 5283884"/>
              <a:gd name="connsiteY10" fmla="*/ 796248 h 924112"/>
              <a:gd name="connsiteX11" fmla="*/ 1988234 w 5283884"/>
              <a:gd name="connsiteY11" fmla="*/ 581937 h 924112"/>
              <a:gd name="connsiteX12" fmla="*/ 1773922 w 5283884"/>
              <a:gd name="connsiteY12" fmla="*/ 477162 h 924112"/>
              <a:gd name="connsiteX13" fmla="*/ 1573897 w 5283884"/>
              <a:gd name="connsiteY13" fmla="*/ 505736 h 924112"/>
              <a:gd name="connsiteX14" fmla="*/ 1369437 w 5283884"/>
              <a:gd name="connsiteY14" fmla="*/ 705760 h 924112"/>
              <a:gd name="connsiteX15" fmla="*/ 1058072 w 5283884"/>
              <a:gd name="connsiteY15" fmla="*/ 859750 h 924112"/>
              <a:gd name="connsiteX16" fmla="*/ 784741 w 5283884"/>
              <a:gd name="connsiteY16" fmla="*/ 893881 h 924112"/>
              <a:gd name="connsiteX17" fmla="*/ 464188 w 5283884"/>
              <a:gd name="connsiteY17" fmla="*/ 893882 h 924112"/>
              <a:gd name="connsiteX18" fmla="*/ 16 w 5283884"/>
              <a:gd name="connsiteY18" fmla="*/ 456525 h 924112"/>
              <a:gd name="connsiteX0" fmla="*/ 5252629 w 5252629"/>
              <a:gd name="connsiteY0" fmla="*/ 115212 h 924112"/>
              <a:gd name="connsiteX1" fmla="*/ 4914491 w 5252629"/>
              <a:gd name="connsiteY1" fmla="*/ 912 h 924112"/>
              <a:gd name="connsiteX2" fmla="*/ 4628742 w 5252629"/>
              <a:gd name="connsiteY2" fmla="*/ 77111 h 924112"/>
              <a:gd name="connsiteX3" fmla="*/ 4423954 w 5252629"/>
              <a:gd name="connsiteY3" fmla="*/ 334287 h 924112"/>
              <a:gd name="connsiteX4" fmla="*/ 4157865 w 5252629"/>
              <a:gd name="connsiteY4" fmla="*/ 567650 h 924112"/>
              <a:gd name="connsiteX5" fmla="*/ 3826753 w 5252629"/>
              <a:gd name="connsiteY5" fmla="*/ 743862 h 924112"/>
              <a:gd name="connsiteX6" fmla="*/ 3560615 w 5252629"/>
              <a:gd name="connsiteY6" fmla="*/ 834350 h 924112"/>
              <a:gd name="connsiteX7" fmla="*/ 3216294 w 5252629"/>
              <a:gd name="connsiteY7" fmla="*/ 903405 h 924112"/>
              <a:gd name="connsiteX8" fmla="*/ 2924906 w 5252629"/>
              <a:gd name="connsiteY8" fmla="*/ 922456 h 924112"/>
              <a:gd name="connsiteX9" fmla="*/ 2604679 w 5252629"/>
              <a:gd name="connsiteY9" fmla="*/ 910550 h 924112"/>
              <a:gd name="connsiteX10" fmla="*/ 2266541 w 5252629"/>
              <a:gd name="connsiteY10" fmla="*/ 796248 h 924112"/>
              <a:gd name="connsiteX11" fmla="*/ 1956979 w 5252629"/>
              <a:gd name="connsiteY11" fmla="*/ 581937 h 924112"/>
              <a:gd name="connsiteX12" fmla="*/ 1742667 w 5252629"/>
              <a:gd name="connsiteY12" fmla="*/ 477162 h 924112"/>
              <a:gd name="connsiteX13" fmla="*/ 1542642 w 5252629"/>
              <a:gd name="connsiteY13" fmla="*/ 505736 h 924112"/>
              <a:gd name="connsiteX14" fmla="*/ 1338182 w 5252629"/>
              <a:gd name="connsiteY14" fmla="*/ 705760 h 924112"/>
              <a:gd name="connsiteX15" fmla="*/ 1026817 w 5252629"/>
              <a:gd name="connsiteY15" fmla="*/ 859750 h 924112"/>
              <a:gd name="connsiteX16" fmla="*/ 753486 w 5252629"/>
              <a:gd name="connsiteY16" fmla="*/ 893881 h 924112"/>
              <a:gd name="connsiteX17" fmla="*/ 432933 w 5252629"/>
              <a:gd name="connsiteY17" fmla="*/ 893882 h 924112"/>
              <a:gd name="connsiteX18" fmla="*/ 22 w 5252629"/>
              <a:gd name="connsiteY18" fmla="*/ 499387 h 924112"/>
              <a:gd name="connsiteX0" fmla="*/ 5283883 w 5283883"/>
              <a:gd name="connsiteY0" fmla="*/ 115212 h 924112"/>
              <a:gd name="connsiteX1" fmla="*/ 4945745 w 5283883"/>
              <a:gd name="connsiteY1" fmla="*/ 912 h 924112"/>
              <a:gd name="connsiteX2" fmla="*/ 4659996 w 5283883"/>
              <a:gd name="connsiteY2" fmla="*/ 77111 h 924112"/>
              <a:gd name="connsiteX3" fmla="*/ 4455208 w 5283883"/>
              <a:gd name="connsiteY3" fmla="*/ 334287 h 924112"/>
              <a:gd name="connsiteX4" fmla="*/ 4189119 w 5283883"/>
              <a:gd name="connsiteY4" fmla="*/ 567650 h 924112"/>
              <a:gd name="connsiteX5" fmla="*/ 3858007 w 5283883"/>
              <a:gd name="connsiteY5" fmla="*/ 743862 h 924112"/>
              <a:gd name="connsiteX6" fmla="*/ 3591869 w 5283883"/>
              <a:gd name="connsiteY6" fmla="*/ 834350 h 924112"/>
              <a:gd name="connsiteX7" fmla="*/ 3247548 w 5283883"/>
              <a:gd name="connsiteY7" fmla="*/ 903405 h 924112"/>
              <a:gd name="connsiteX8" fmla="*/ 2956160 w 5283883"/>
              <a:gd name="connsiteY8" fmla="*/ 922456 h 924112"/>
              <a:gd name="connsiteX9" fmla="*/ 2635933 w 5283883"/>
              <a:gd name="connsiteY9" fmla="*/ 910550 h 924112"/>
              <a:gd name="connsiteX10" fmla="*/ 2297795 w 5283883"/>
              <a:gd name="connsiteY10" fmla="*/ 796248 h 924112"/>
              <a:gd name="connsiteX11" fmla="*/ 1988233 w 5283883"/>
              <a:gd name="connsiteY11" fmla="*/ 581937 h 924112"/>
              <a:gd name="connsiteX12" fmla="*/ 1773921 w 5283883"/>
              <a:gd name="connsiteY12" fmla="*/ 477162 h 924112"/>
              <a:gd name="connsiteX13" fmla="*/ 1573896 w 5283883"/>
              <a:gd name="connsiteY13" fmla="*/ 505736 h 924112"/>
              <a:gd name="connsiteX14" fmla="*/ 1369436 w 5283883"/>
              <a:gd name="connsiteY14" fmla="*/ 705760 h 924112"/>
              <a:gd name="connsiteX15" fmla="*/ 1058071 w 5283883"/>
              <a:gd name="connsiteY15" fmla="*/ 859750 h 924112"/>
              <a:gd name="connsiteX16" fmla="*/ 784740 w 5283883"/>
              <a:gd name="connsiteY16" fmla="*/ 893881 h 924112"/>
              <a:gd name="connsiteX17" fmla="*/ 464187 w 5283883"/>
              <a:gd name="connsiteY17" fmla="*/ 893882 h 924112"/>
              <a:gd name="connsiteX18" fmla="*/ 16 w 5283883"/>
              <a:gd name="connsiteY18" fmla="*/ 454144 h 924112"/>
              <a:gd name="connsiteX0" fmla="*/ 5197351 w 5197351"/>
              <a:gd name="connsiteY0" fmla="*/ 115212 h 924112"/>
              <a:gd name="connsiteX1" fmla="*/ 4859213 w 5197351"/>
              <a:gd name="connsiteY1" fmla="*/ 912 h 924112"/>
              <a:gd name="connsiteX2" fmla="*/ 4573464 w 5197351"/>
              <a:gd name="connsiteY2" fmla="*/ 77111 h 924112"/>
              <a:gd name="connsiteX3" fmla="*/ 4368676 w 5197351"/>
              <a:gd name="connsiteY3" fmla="*/ 334287 h 924112"/>
              <a:gd name="connsiteX4" fmla="*/ 4102587 w 5197351"/>
              <a:gd name="connsiteY4" fmla="*/ 567650 h 924112"/>
              <a:gd name="connsiteX5" fmla="*/ 3771475 w 5197351"/>
              <a:gd name="connsiteY5" fmla="*/ 743862 h 924112"/>
              <a:gd name="connsiteX6" fmla="*/ 3505337 w 5197351"/>
              <a:gd name="connsiteY6" fmla="*/ 834350 h 924112"/>
              <a:gd name="connsiteX7" fmla="*/ 3161016 w 5197351"/>
              <a:gd name="connsiteY7" fmla="*/ 903405 h 924112"/>
              <a:gd name="connsiteX8" fmla="*/ 2869628 w 5197351"/>
              <a:gd name="connsiteY8" fmla="*/ 922456 h 924112"/>
              <a:gd name="connsiteX9" fmla="*/ 2549401 w 5197351"/>
              <a:gd name="connsiteY9" fmla="*/ 910550 h 924112"/>
              <a:gd name="connsiteX10" fmla="*/ 2211263 w 5197351"/>
              <a:gd name="connsiteY10" fmla="*/ 796248 h 924112"/>
              <a:gd name="connsiteX11" fmla="*/ 1901701 w 5197351"/>
              <a:gd name="connsiteY11" fmla="*/ 581937 h 924112"/>
              <a:gd name="connsiteX12" fmla="*/ 1687389 w 5197351"/>
              <a:gd name="connsiteY12" fmla="*/ 477162 h 924112"/>
              <a:gd name="connsiteX13" fmla="*/ 1487364 w 5197351"/>
              <a:gd name="connsiteY13" fmla="*/ 505736 h 924112"/>
              <a:gd name="connsiteX14" fmla="*/ 1282904 w 5197351"/>
              <a:gd name="connsiteY14" fmla="*/ 705760 h 924112"/>
              <a:gd name="connsiteX15" fmla="*/ 971539 w 5197351"/>
              <a:gd name="connsiteY15" fmla="*/ 859750 h 924112"/>
              <a:gd name="connsiteX16" fmla="*/ 698208 w 5197351"/>
              <a:gd name="connsiteY16" fmla="*/ 893881 h 924112"/>
              <a:gd name="connsiteX17" fmla="*/ 377655 w 5197351"/>
              <a:gd name="connsiteY17" fmla="*/ 893882 h 924112"/>
              <a:gd name="connsiteX18" fmla="*/ 52 w 5197351"/>
              <a:gd name="connsiteY18" fmla="*/ 516056 h 924112"/>
              <a:gd name="connsiteX0" fmla="*/ 5230993 w 5230993"/>
              <a:gd name="connsiteY0" fmla="*/ 115212 h 924112"/>
              <a:gd name="connsiteX1" fmla="*/ 4892855 w 5230993"/>
              <a:gd name="connsiteY1" fmla="*/ 912 h 924112"/>
              <a:gd name="connsiteX2" fmla="*/ 4607106 w 5230993"/>
              <a:gd name="connsiteY2" fmla="*/ 77111 h 924112"/>
              <a:gd name="connsiteX3" fmla="*/ 4402318 w 5230993"/>
              <a:gd name="connsiteY3" fmla="*/ 334287 h 924112"/>
              <a:gd name="connsiteX4" fmla="*/ 4136229 w 5230993"/>
              <a:gd name="connsiteY4" fmla="*/ 567650 h 924112"/>
              <a:gd name="connsiteX5" fmla="*/ 3805117 w 5230993"/>
              <a:gd name="connsiteY5" fmla="*/ 743862 h 924112"/>
              <a:gd name="connsiteX6" fmla="*/ 3538979 w 5230993"/>
              <a:gd name="connsiteY6" fmla="*/ 834350 h 924112"/>
              <a:gd name="connsiteX7" fmla="*/ 3194658 w 5230993"/>
              <a:gd name="connsiteY7" fmla="*/ 903405 h 924112"/>
              <a:gd name="connsiteX8" fmla="*/ 2903270 w 5230993"/>
              <a:gd name="connsiteY8" fmla="*/ 922456 h 924112"/>
              <a:gd name="connsiteX9" fmla="*/ 2583043 w 5230993"/>
              <a:gd name="connsiteY9" fmla="*/ 910550 h 924112"/>
              <a:gd name="connsiteX10" fmla="*/ 2244905 w 5230993"/>
              <a:gd name="connsiteY10" fmla="*/ 796248 h 924112"/>
              <a:gd name="connsiteX11" fmla="*/ 1935343 w 5230993"/>
              <a:gd name="connsiteY11" fmla="*/ 581937 h 924112"/>
              <a:gd name="connsiteX12" fmla="*/ 1721031 w 5230993"/>
              <a:gd name="connsiteY12" fmla="*/ 477162 h 924112"/>
              <a:gd name="connsiteX13" fmla="*/ 1521006 w 5230993"/>
              <a:gd name="connsiteY13" fmla="*/ 505736 h 924112"/>
              <a:gd name="connsiteX14" fmla="*/ 1316546 w 5230993"/>
              <a:gd name="connsiteY14" fmla="*/ 705760 h 924112"/>
              <a:gd name="connsiteX15" fmla="*/ 1005181 w 5230993"/>
              <a:gd name="connsiteY15" fmla="*/ 859750 h 924112"/>
              <a:gd name="connsiteX16" fmla="*/ 731850 w 5230993"/>
              <a:gd name="connsiteY16" fmla="*/ 893881 h 924112"/>
              <a:gd name="connsiteX17" fmla="*/ 411297 w 5230993"/>
              <a:gd name="connsiteY17" fmla="*/ 893882 h 924112"/>
              <a:gd name="connsiteX18" fmla="*/ 28 w 5230993"/>
              <a:gd name="connsiteY18" fmla="*/ 542250 h 924112"/>
              <a:gd name="connsiteX0" fmla="*/ 5180551 w 5180551"/>
              <a:gd name="connsiteY0" fmla="*/ 115212 h 924112"/>
              <a:gd name="connsiteX1" fmla="*/ 4842413 w 5180551"/>
              <a:gd name="connsiteY1" fmla="*/ 912 h 924112"/>
              <a:gd name="connsiteX2" fmla="*/ 4556664 w 5180551"/>
              <a:gd name="connsiteY2" fmla="*/ 77111 h 924112"/>
              <a:gd name="connsiteX3" fmla="*/ 4351876 w 5180551"/>
              <a:gd name="connsiteY3" fmla="*/ 334287 h 924112"/>
              <a:gd name="connsiteX4" fmla="*/ 4085787 w 5180551"/>
              <a:gd name="connsiteY4" fmla="*/ 567650 h 924112"/>
              <a:gd name="connsiteX5" fmla="*/ 3754675 w 5180551"/>
              <a:gd name="connsiteY5" fmla="*/ 743862 h 924112"/>
              <a:gd name="connsiteX6" fmla="*/ 3488537 w 5180551"/>
              <a:gd name="connsiteY6" fmla="*/ 834350 h 924112"/>
              <a:gd name="connsiteX7" fmla="*/ 3144216 w 5180551"/>
              <a:gd name="connsiteY7" fmla="*/ 903405 h 924112"/>
              <a:gd name="connsiteX8" fmla="*/ 2852828 w 5180551"/>
              <a:gd name="connsiteY8" fmla="*/ 922456 h 924112"/>
              <a:gd name="connsiteX9" fmla="*/ 2532601 w 5180551"/>
              <a:gd name="connsiteY9" fmla="*/ 910550 h 924112"/>
              <a:gd name="connsiteX10" fmla="*/ 2194463 w 5180551"/>
              <a:gd name="connsiteY10" fmla="*/ 796248 h 924112"/>
              <a:gd name="connsiteX11" fmla="*/ 1884901 w 5180551"/>
              <a:gd name="connsiteY11" fmla="*/ 581937 h 924112"/>
              <a:gd name="connsiteX12" fmla="*/ 1670589 w 5180551"/>
              <a:gd name="connsiteY12" fmla="*/ 477162 h 924112"/>
              <a:gd name="connsiteX13" fmla="*/ 1470564 w 5180551"/>
              <a:gd name="connsiteY13" fmla="*/ 505736 h 924112"/>
              <a:gd name="connsiteX14" fmla="*/ 1266104 w 5180551"/>
              <a:gd name="connsiteY14" fmla="*/ 705760 h 924112"/>
              <a:gd name="connsiteX15" fmla="*/ 954739 w 5180551"/>
              <a:gd name="connsiteY15" fmla="*/ 859750 h 924112"/>
              <a:gd name="connsiteX16" fmla="*/ 681408 w 5180551"/>
              <a:gd name="connsiteY16" fmla="*/ 893881 h 924112"/>
              <a:gd name="connsiteX17" fmla="*/ 360855 w 5180551"/>
              <a:gd name="connsiteY17" fmla="*/ 893882 h 924112"/>
              <a:gd name="connsiteX18" fmla="*/ 85 w 5180551"/>
              <a:gd name="connsiteY18" fmla="*/ 461288 h 924112"/>
              <a:gd name="connsiteX0" fmla="*/ 5288691 w 5288691"/>
              <a:gd name="connsiteY0" fmla="*/ 115212 h 924112"/>
              <a:gd name="connsiteX1" fmla="*/ 4950553 w 5288691"/>
              <a:gd name="connsiteY1" fmla="*/ 912 h 924112"/>
              <a:gd name="connsiteX2" fmla="*/ 4664804 w 5288691"/>
              <a:gd name="connsiteY2" fmla="*/ 77111 h 924112"/>
              <a:gd name="connsiteX3" fmla="*/ 4460016 w 5288691"/>
              <a:gd name="connsiteY3" fmla="*/ 334287 h 924112"/>
              <a:gd name="connsiteX4" fmla="*/ 4193927 w 5288691"/>
              <a:gd name="connsiteY4" fmla="*/ 567650 h 924112"/>
              <a:gd name="connsiteX5" fmla="*/ 3862815 w 5288691"/>
              <a:gd name="connsiteY5" fmla="*/ 743862 h 924112"/>
              <a:gd name="connsiteX6" fmla="*/ 3596677 w 5288691"/>
              <a:gd name="connsiteY6" fmla="*/ 834350 h 924112"/>
              <a:gd name="connsiteX7" fmla="*/ 3252356 w 5288691"/>
              <a:gd name="connsiteY7" fmla="*/ 903405 h 924112"/>
              <a:gd name="connsiteX8" fmla="*/ 2960968 w 5288691"/>
              <a:gd name="connsiteY8" fmla="*/ 922456 h 924112"/>
              <a:gd name="connsiteX9" fmla="*/ 2640741 w 5288691"/>
              <a:gd name="connsiteY9" fmla="*/ 910550 h 924112"/>
              <a:gd name="connsiteX10" fmla="*/ 2302603 w 5288691"/>
              <a:gd name="connsiteY10" fmla="*/ 796248 h 924112"/>
              <a:gd name="connsiteX11" fmla="*/ 1993041 w 5288691"/>
              <a:gd name="connsiteY11" fmla="*/ 581937 h 924112"/>
              <a:gd name="connsiteX12" fmla="*/ 1778729 w 5288691"/>
              <a:gd name="connsiteY12" fmla="*/ 477162 h 924112"/>
              <a:gd name="connsiteX13" fmla="*/ 1578704 w 5288691"/>
              <a:gd name="connsiteY13" fmla="*/ 505736 h 924112"/>
              <a:gd name="connsiteX14" fmla="*/ 1374244 w 5288691"/>
              <a:gd name="connsiteY14" fmla="*/ 705760 h 924112"/>
              <a:gd name="connsiteX15" fmla="*/ 1062879 w 5288691"/>
              <a:gd name="connsiteY15" fmla="*/ 859750 h 924112"/>
              <a:gd name="connsiteX16" fmla="*/ 789548 w 5288691"/>
              <a:gd name="connsiteY16" fmla="*/ 893881 h 924112"/>
              <a:gd name="connsiteX17" fmla="*/ 468995 w 5288691"/>
              <a:gd name="connsiteY17" fmla="*/ 893882 h 924112"/>
              <a:gd name="connsiteX18" fmla="*/ 15 w 5288691"/>
              <a:gd name="connsiteY18" fmla="*/ 442238 h 924112"/>
              <a:gd name="connsiteX0" fmla="*/ 5305167 w 5305167"/>
              <a:gd name="connsiteY0" fmla="*/ 115212 h 924112"/>
              <a:gd name="connsiteX1" fmla="*/ 4967029 w 5305167"/>
              <a:gd name="connsiteY1" fmla="*/ 912 h 924112"/>
              <a:gd name="connsiteX2" fmla="*/ 4681280 w 5305167"/>
              <a:gd name="connsiteY2" fmla="*/ 77111 h 924112"/>
              <a:gd name="connsiteX3" fmla="*/ 4476492 w 5305167"/>
              <a:gd name="connsiteY3" fmla="*/ 334287 h 924112"/>
              <a:gd name="connsiteX4" fmla="*/ 4210403 w 5305167"/>
              <a:gd name="connsiteY4" fmla="*/ 567650 h 924112"/>
              <a:gd name="connsiteX5" fmla="*/ 3879291 w 5305167"/>
              <a:gd name="connsiteY5" fmla="*/ 743862 h 924112"/>
              <a:gd name="connsiteX6" fmla="*/ 3613153 w 5305167"/>
              <a:gd name="connsiteY6" fmla="*/ 834350 h 924112"/>
              <a:gd name="connsiteX7" fmla="*/ 3268832 w 5305167"/>
              <a:gd name="connsiteY7" fmla="*/ 903405 h 924112"/>
              <a:gd name="connsiteX8" fmla="*/ 2977444 w 5305167"/>
              <a:gd name="connsiteY8" fmla="*/ 922456 h 924112"/>
              <a:gd name="connsiteX9" fmla="*/ 2657217 w 5305167"/>
              <a:gd name="connsiteY9" fmla="*/ 910550 h 924112"/>
              <a:gd name="connsiteX10" fmla="*/ 2319079 w 5305167"/>
              <a:gd name="connsiteY10" fmla="*/ 796248 h 924112"/>
              <a:gd name="connsiteX11" fmla="*/ 2009517 w 5305167"/>
              <a:gd name="connsiteY11" fmla="*/ 581937 h 924112"/>
              <a:gd name="connsiteX12" fmla="*/ 1795205 w 5305167"/>
              <a:gd name="connsiteY12" fmla="*/ 477162 h 924112"/>
              <a:gd name="connsiteX13" fmla="*/ 1595180 w 5305167"/>
              <a:gd name="connsiteY13" fmla="*/ 505736 h 924112"/>
              <a:gd name="connsiteX14" fmla="*/ 1390720 w 5305167"/>
              <a:gd name="connsiteY14" fmla="*/ 705760 h 924112"/>
              <a:gd name="connsiteX15" fmla="*/ 1079355 w 5305167"/>
              <a:gd name="connsiteY15" fmla="*/ 859750 h 924112"/>
              <a:gd name="connsiteX16" fmla="*/ 806024 w 5305167"/>
              <a:gd name="connsiteY16" fmla="*/ 893881 h 924112"/>
              <a:gd name="connsiteX17" fmla="*/ 485471 w 5305167"/>
              <a:gd name="connsiteY17" fmla="*/ 893882 h 924112"/>
              <a:gd name="connsiteX18" fmla="*/ 41340 w 5305167"/>
              <a:gd name="connsiteY18" fmla="*/ 505738 h 924112"/>
              <a:gd name="connsiteX19" fmla="*/ 16491 w 5305167"/>
              <a:gd name="connsiteY19" fmla="*/ 442238 h 924112"/>
              <a:gd name="connsiteX0" fmla="*/ 5365352 w 5365352"/>
              <a:gd name="connsiteY0" fmla="*/ 115212 h 924112"/>
              <a:gd name="connsiteX1" fmla="*/ 5027214 w 5365352"/>
              <a:gd name="connsiteY1" fmla="*/ 912 h 924112"/>
              <a:gd name="connsiteX2" fmla="*/ 4741465 w 5365352"/>
              <a:gd name="connsiteY2" fmla="*/ 77111 h 924112"/>
              <a:gd name="connsiteX3" fmla="*/ 4536677 w 5365352"/>
              <a:gd name="connsiteY3" fmla="*/ 334287 h 924112"/>
              <a:gd name="connsiteX4" fmla="*/ 4270588 w 5365352"/>
              <a:gd name="connsiteY4" fmla="*/ 567650 h 924112"/>
              <a:gd name="connsiteX5" fmla="*/ 3939476 w 5365352"/>
              <a:gd name="connsiteY5" fmla="*/ 743862 h 924112"/>
              <a:gd name="connsiteX6" fmla="*/ 3673338 w 5365352"/>
              <a:gd name="connsiteY6" fmla="*/ 834350 h 924112"/>
              <a:gd name="connsiteX7" fmla="*/ 3329017 w 5365352"/>
              <a:gd name="connsiteY7" fmla="*/ 903405 h 924112"/>
              <a:gd name="connsiteX8" fmla="*/ 3037629 w 5365352"/>
              <a:gd name="connsiteY8" fmla="*/ 922456 h 924112"/>
              <a:gd name="connsiteX9" fmla="*/ 2717402 w 5365352"/>
              <a:gd name="connsiteY9" fmla="*/ 910550 h 924112"/>
              <a:gd name="connsiteX10" fmla="*/ 2379264 w 5365352"/>
              <a:gd name="connsiteY10" fmla="*/ 796248 h 924112"/>
              <a:gd name="connsiteX11" fmla="*/ 2069702 w 5365352"/>
              <a:gd name="connsiteY11" fmla="*/ 581937 h 924112"/>
              <a:gd name="connsiteX12" fmla="*/ 1855390 w 5365352"/>
              <a:gd name="connsiteY12" fmla="*/ 477162 h 924112"/>
              <a:gd name="connsiteX13" fmla="*/ 1655365 w 5365352"/>
              <a:gd name="connsiteY13" fmla="*/ 505736 h 924112"/>
              <a:gd name="connsiteX14" fmla="*/ 1450905 w 5365352"/>
              <a:gd name="connsiteY14" fmla="*/ 705760 h 924112"/>
              <a:gd name="connsiteX15" fmla="*/ 1139540 w 5365352"/>
              <a:gd name="connsiteY15" fmla="*/ 859750 h 924112"/>
              <a:gd name="connsiteX16" fmla="*/ 866209 w 5365352"/>
              <a:gd name="connsiteY16" fmla="*/ 893881 h 924112"/>
              <a:gd name="connsiteX17" fmla="*/ 545656 w 5365352"/>
              <a:gd name="connsiteY17" fmla="*/ 893882 h 924112"/>
              <a:gd name="connsiteX18" fmla="*/ 101525 w 5365352"/>
              <a:gd name="connsiteY18" fmla="*/ 505738 h 924112"/>
              <a:gd name="connsiteX19" fmla="*/ 76676 w 5365352"/>
              <a:gd name="connsiteY19" fmla="*/ 442238 h 924112"/>
              <a:gd name="connsiteX0" fmla="*/ 5263827 w 5263827"/>
              <a:gd name="connsiteY0" fmla="*/ 115212 h 924112"/>
              <a:gd name="connsiteX1" fmla="*/ 4925689 w 5263827"/>
              <a:gd name="connsiteY1" fmla="*/ 912 h 924112"/>
              <a:gd name="connsiteX2" fmla="*/ 4639940 w 5263827"/>
              <a:gd name="connsiteY2" fmla="*/ 77111 h 924112"/>
              <a:gd name="connsiteX3" fmla="*/ 4435152 w 5263827"/>
              <a:gd name="connsiteY3" fmla="*/ 334287 h 924112"/>
              <a:gd name="connsiteX4" fmla="*/ 4169063 w 5263827"/>
              <a:gd name="connsiteY4" fmla="*/ 567650 h 924112"/>
              <a:gd name="connsiteX5" fmla="*/ 3837951 w 5263827"/>
              <a:gd name="connsiteY5" fmla="*/ 743862 h 924112"/>
              <a:gd name="connsiteX6" fmla="*/ 3571813 w 5263827"/>
              <a:gd name="connsiteY6" fmla="*/ 834350 h 924112"/>
              <a:gd name="connsiteX7" fmla="*/ 3227492 w 5263827"/>
              <a:gd name="connsiteY7" fmla="*/ 903405 h 924112"/>
              <a:gd name="connsiteX8" fmla="*/ 2936104 w 5263827"/>
              <a:gd name="connsiteY8" fmla="*/ 922456 h 924112"/>
              <a:gd name="connsiteX9" fmla="*/ 2615877 w 5263827"/>
              <a:gd name="connsiteY9" fmla="*/ 910550 h 924112"/>
              <a:gd name="connsiteX10" fmla="*/ 2277739 w 5263827"/>
              <a:gd name="connsiteY10" fmla="*/ 796248 h 924112"/>
              <a:gd name="connsiteX11" fmla="*/ 1968177 w 5263827"/>
              <a:gd name="connsiteY11" fmla="*/ 581937 h 924112"/>
              <a:gd name="connsiteX12" fmla="*/ 1753865 w 5263827"/>
              <a:gd name="connsiteY12" fmla="*/ 477162 h 924112"/>
              <a:gd name="connsiteX13" fmla="*/ 1553840 w 5263827"/>
              <a:gd name="connsiteY13" fmla="*/ 505736 h 924112"/>
              <a:gd name="connsiteX14" fmla="*/ 1349380 w 5263827"/>
              <a:gd name="connsiteY14" fmla="*/ 705760 h 924112"/>
              <a:gd name="connsiteX15" fmla="*/ 1038015 w 5263827"/>
              <a:gd name="connsiteY15" fmla="*/ 859750 h 924112"/>
              <a:gd name="connsiteX16" fmla="*/ 764684 w 5263827"/>
              <a:gd name="connsiteY16" fmla="*/ 893881 h 924112"/>
              <a:gd name="connsiteX17" fmla="*/ 444131 w 5263827"/>
              <a:gd name="connsiteY17" fmla="*/ 893882 h 924112"/>
              <a:gd name="connsiteX18" fmla="*/ 0 w 5263827"/>
              <a:gd name="connsiteY18" fmla="*/ 505738 h 924112"/>
              <a:gd name="connsiteX0" fmla="*/ 5263827 w 5263827"/>
              <a:gd name="connsiteY0" fmla="*/ 115212 h 924112"/>
              <a:gd name="connsiteX1" fmla="*/ 4925689 w 5263827"/>
              <a:gd name="connsiteY1" fmla="*/ 912 h 924112"/>
              <a:gd name="connsiteX2" fmla="*/ 4639940 w 5263827"/>
              <a:gd name="connsiteY2" fmla="*/ 77111 h 924112"/>
              <a:gd name="connsiteX3" fmla="*/ 4435152 w 5263827"/>
              <a:gd name="connsiteY3" fmla="*/ 334287 h 924112"/>
              <a:gd name="connsiteX4" fmla="*/ 4169063 w 5263827"/>
              <a:gd name="connsiteY4" fmla="*/ 567650 h 924112"/>
              <a:gd name="connsiteX5" fmla="*/ 3837951 w 5263827"/>
              <a:gd name="connsiteY5" fmla="*/ 743862 h 924112"/>
              <a:gd name="connsiteX6" fmla="*/ 3571813 w 5263827"/>
              <a:gd name="connsiteY6" fmla="*/ 834350 h 924112"/>
              <a:gd name="connsiteX7" fmla="*/ 3227492 w 5263827"/>
              <a:gd name="connsiteY7" fmla="*/ 903405 h 924112"/>
              <a:gd name="connsiteX8" fmla="*/ 2936104 w 5263827"/>
              <a:gd name="connsiteY8" fmla="*/ 922456 h 924112"/>
              <a:gd name="connsiteX9" fmla="*/ 2615877 w 5263827"/>
              <a:gd name="connsiteY9" fmla="*/ 910550 h 924112"/>
              <a:gd name="connsiteX10" fmla="*/ 2277739 w 5263827"/>
              <a:gd name="connsiteY10" fmla="*/ 796248 h 924112"/>
              <a:gd name="connsiteX11" fmla="*/ 1968177 w 5263827"/>
              <a:gd name="connsiteY11" fmla="*/ 581937 h 924112"/>
              <a:gd name="connsiteX12" fmla="*/ 1753865 w 5263827"/>
              <a:gd name="connsiteY12" fmla="*/ 477162 h 924112"/>
              <a:gd name="connsiteX13" fmla="*/ 1553840 w 5263827"/>
              <a:gd name="connsiteY13" fmla="*/ 505736 h 924112"/>
              <a:gd name="connsiteX14" fmla="*/ 1349380 w 5263827"/>
              <a:gd name="connsiteY14" fmla="*/ 705760 h 924112"/>
              <a:gd name="connsiteX15" fmla="*/ 1038015 w 5263827"/>
              <a:gd name="connsiteY15" fmla="*/ 859750 h 924112"/>
              <a:gd name="connsiteX16" fmla="*/ 764684 w 5263827"/>
              <a:gd name="connsiteY16" fmla="*/ 893881 h 924112"/>
              <a:gd name="connsiteX17" fmla="*/ 444131 w 5263827"/>
              <a:gd name="connsiteY17" fmla="*/ 893882 h 924112"/>
              <a:gd name="connsiteX18" fmla="*/ 0 w 5263827"/>
              <a:gd name="connsiteY18" fmla="*/ 505738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77797 w 5297493"/>
              <a:gd name="connsiteY17" fmla="*/ 893882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77797 w 5297493"/>
              <a:gd name="connsiteY17" fmla="*/ 893882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77797 w 5297493"/>
              <a:gd name="connsiteY17" fmla="*/ 893882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77797 w 5297493"/>
              <a:gd name="connsiteY17" fmla="*/ 893882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77797 w 5297493"/>
              <a:gd name="connsiteY17" fmla="*/ 893882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41727 w 5297493"/>
              <a:gd name="connsiteY17" fmla="*/ 891500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41727 w 5297493"/>
              <a:gd name="connsiteY17" fmla="*/ 891500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41727 w 5297493"/>
              <a:gd name="connsiteY17" fmla="*/ 891500 h 924112"/>
              <a:gd name="connsiteX18" fmla="*/ 0 w 5297493"/>
              <a:gd name="connsiteY18" fmla="*/ 436681 h 924112"/>
              <a:gd name="connsiteX0" fmla="*/ 5297493 w 5297493"/>
              <a:gd name="connsiteY0" fmla="*/ 115212 h 924112"/>
              <a:gd name="connsiteX1" fmla="*/ 4959355 w 5297493"/>
              <a:gd name="connsiteY1" fmla="*/ 912 h 924112"/>
              <a:gd name="connsiteX2" fmla="*/ 4673606 w 5297493"/>
              <a:gd name="connsiteY2" fmla="*/ 77111 h 924112"/>
              <a:gd name="connsiteX3" fmla="*/ 4468818 w 5297493"/>
              <a:gd name="connsiteY3" fmla="*/ 334287 h 924112"/>
              <a:gd name="connsiteX4" fmla="*/ 4202729 w 5297493"/>
              <a:gd name="connsiteY4" fmla="*/ 567650 h 924112"/>
              <a:gd name="connsiteX5" fmla="*/ 3871617 w 5297493"/>
              <a:gd name="connsiteY5" fmla="*/ 743862 h 924112"/>
              <a:gd name="connsiteX6" fmla="*/ 3605479 w 5297493"/>
              <a:gd name="connsiteY6" fmla="*/ 834350 h 924112"/>
              <a:gd name="connsiteX7" fmla="*/ 3261158 w 5297493"/>
              <a:gd name="connsiteY7" fmla="*/ 903405 h 924112"/>
              <a:gd name="connsiteX8" fmla="*/ 2969770 w 5297493"/>
              <a:gd name="connsiteY8" fmla="*/ 922456 h 924112"/>
              <a:gd name="connsiteX9" fmla="*/ 2649543 w 5297493"/>
              <a:gd name="connsiteY9" fmla="*/ 910550 h 924112"/>
              <a:gd name="connsiteX10" fmla="*/ 2311405 w 5297493"/>
              <a:gd name="connsiteY10" fmla="*/ 796248 h 924112"/>
              <a:gd name="connsiteX11" fmla="*/ 2001843 w 5297493"/>
              <a:gd name="connsiteY11" fmla="*/ 581937 h 924112"/>
              <a:gd name="connsiteX12" fmla="*/ 1787531 w 5297493"/>
              <a:gd name="connsiteY12" fmla="*/ 477162 h 924112"/>
              <a:gd name="connsiteX13" fmla="*/ 1587506 w 5297493"/>
              <a:gd name="connsiteY13" fmla="*/ 505736 h 924112"/>
              <a:gd name="connsiteX14" fmla="*/ 1383046 w 5297493"/>
              <a:gd name="connsiteY14" fmla="*/ 705760 h 924112"/>
              <a:gd name="connsiteX15" fmla="*/ 1071681 w 5297493"/>
              <a:gd name="connsiteY15" fmla="*/ 859750 h 924112"/>
              <a:gd name="connsiteX16" fmla="*/ 798350 w 5297493"/>
              <a:gd name="connsiteY16" fmla="*/ 893881 h 924112"/>
              <a:gd name="connsiteX17" fmla="*/ 441727 w 5297493"/>
              <a:gd name="connsiteY17" fmla="*/ 891500 h 924112"/>
              <a:gd name="connsiteX18" fmla="*/ 0 w 5297493"/>
              <a:gd name="connsiteY18" fmla="*/ 436681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2715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2715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2715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788731 w 5287874"/>
              <a:gd name="connsiteY16" fmla="*/ 893881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803159 w 5287874"/>
              <a:gd name="connsiteY16" fmla="*/ 896262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73427 w 5287874"/>
              <a:gd name="connsiteY14" fmla="*/ 705760 h 924112"/>
              <a:gd name="connsiteX15" fmla="*/ 1062062 w 5287874"/>
              <a:gd name="connsiteY15" fmla="*/ 859750 h 924112"/>
              <a:gd name="connsiteX16" fmla="*/ 803159 w 5287874"/>
              <a:gd name="connsiteY16" fmla="*/ 896262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44571 w 5287874"/>
              <a:gd name="connsiteY14" fmla="*/ 724810 h 924112"/>
              <a:gd name="connsiteX15" fmla="*/ 1062062 w 5287874"/>
              <a:gd name="connsiteY15" fmla="*/ 859750 h 924112"/>
              <a:gd name="connsiteX16" fmla="*/ 803159 w 5287874"/>
              <a:gd name="connsiteY16" fmla="*/ 896262 h 924112"/>
              <a:gd name="connsiteX17" fmla="*/ 432108 w 5287874"/>
              <a:gd name="connsiteY17" fmla="*/ 891500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44571 w 5287874"/>
              <a:gd name="connsiteY14" fmla="*/ 724810 h 924112"/>
              <a:gd name="connsiteX15" fmla="*/ 1062062 w 5287874"/>
              <a:gd name="connsiteY15" fmla="*/ 859750 h 924112"/>
              <a:gd name="connsiteX16" fmla="*/ 803159 w 5287874"/>
              <a:gd name="connsiteY16" fmla="*/ 896262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44571 w 5287874"/>
              <a:gd name="connsiteY14" fmla="*/ 724810 h 924112"/>
              <a:gd name="connsiteX15" fmla="*/ 1062062 w 5287874"/>
              <a:gd name="connsiteY15" fmla="*/ 859750 h 924112"/>
              <a:gd name="connsiteX16" fmla="*/ 792464 w 5287874"/>
              <a:gd name="connsiteY16" fmla="*/ 709145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44571 w 5287874"/>
              <a:gd name="connsiteY14" fmla="*/ 724810 h 924112"/>
              <a:gd name="connsiteX15" fmla="*/ 1062062 w 5287874"/>
              <a:gd name="connsiteY15" fmla="*/ 859750 h 924112"/>
              <a:gd name="connsiteX16" fmla="*/ 792464 w 5287874"/>
              <a:gd name="connsiteY16" fmla="*/ 747981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477162 h 924112"/>
              <a:gd name="connsiteX13" fmla="*/ 1577887 w 5287874"/>
              <a:gd name="connsiteY13" fmla="*/ 505736 h 924112"/>
              <a:gd name="connsiteX14" fmla="*/ 1344571 w 5287874"/>
              <a:gd name="connsiteY14" fmla="*/ 724810 h 924112"/>
              <a:gd name="connsiteX15" fmla="*/ 1058497 w 5287874"/>
              <a:gd name="connsiteY15" fmla="*/ 736182 h 924112"/>
              <a:gd name="connsiteX16" fmla="*/ 792464 w 5287874"/>
              <a:gd name="connsiteY16" fmla="*/ 747981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335942 h 924112"/>
              <a:gd name="connsiteX13" fmla="*/ 1577887 w 5287874"/>
              <a:gd name="connsiteY13" fmla="*/ 505736 h 924112"/>
              <a:gd name="connsiteX14" fmla="*/ 1344571 w 5287874"/>
              <a:gd name="connsiteY14" fmla="*/ 724810 h 924112"/>
              <a:gd name="connsiteX15" fmla="*/ 1058497 w 5287874"/>
              <a:gd name="connsiteY15" fmla="*/ 736182 h 924112"/>
              <a:gd name="connsiteX16" fmla="*/ 792464 w 5287874"/>
              <a:gd name="connsiteY16" fmla="*/ 747981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1992224 w 5287874"/>
              <a:gd name="connsiteY11" fmla="*/ 581937 h 924112"/>
              <a:gd name="connsiteX12" fmla="*/ 1777912 w 5287874"/>
              <a:gd name="connsiteY12" fmla="*/ 335942 h 924112"/>
              <a:gd name="connsiteX13" fmla="*/ 1552930 w 5287874"/>
              <a:gd name="connsiteY13" fmla="*/ 466901 h 924112"/>
              <a:gd name="connsiteX14" fmla="*/ 1344571 w 5287874"/>
              <a:gd name="connsiteY14" fmla="*/ 724810 h 924112"/>
              <a:gd name="connsiteX15" fmla="*/ 1058497 w 5287874"/>
              <a:gd name="connsiteY15" fmla="*/ 736182 h 924112"/>
              <a:gd name="connsiteX16" fmla="*/ 792464 w 5287874"/>
              <a:gd name="connsiteY16" fmla="*/ 747981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4920 w 5287874"/>
              <a:gd name="connsiteY11" fmla="*/ 553693 h 924112"/>
              <a:gd name="connsiteX12" fmla="*/ 1777912 w 5287874"/>
              <a:gd name="connsiteY12" fmla="*/ 335942 h 924112"/>
              <a:gd name="connsiteX13" fmla="*/ 1552930 w 5287874"/>
              <a:gd name="connsiteY13" fmla="*/ 466901 h 924112"/>
              <a:gd name="connsiteX14" fmla="*/ 1344571 w 5287874"/>
              <a:gd name="connsiteY14" fmla="*/ 724810 h 924112"/>
              <a:gd name="connsiteX15" fmla="*/ 1058497 w 5287874"/>
              <a:gd name="connsiteY15" fmla="*/ 736182 h 924112"/>
              <a:gd name="connsiteX16" fmla="*/ 792464 w 5287874"/>
              <a:gd name="connsiteY16" fmla="*/ 747981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4920 w 5287874"/>
              <a:gd name="connsiteY11" fmla="*/ 553693 h 924112"/>
              <a:gd name="connsiteX12" fmla="*/ 1777912 w 5287874"/>
              <a:gd name="connsiteY12" fmla="*/ 335942 h 924112"/>
              <a:gd name="connsiteX13" fmla="*/ 1552930 w 5287874"/>
              <a:gd name="connsiteY13" fmla="*/ 466901 h 924112"/>
              <a:gd name="connsiteX14" fmla="*/ 1312484 w 5287874"/>
              <a:gd name="connsiteY14" fmla="*/ 661261 h 924112"/>
              <a:gd name="connsiteX15" fmla="*/ 1058497 w 5287874"/>
              <a:gd name="connsiteY15" fmla="*/ 736182 h 924112"/>
              <a:gd name="connsiteX16" fmla="*/ 792464 w 5287874"/>
              <a:gd name="connsiteY16" fmla="*/ 747981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4920 w 5287874"/>
              <a:gd name="connsiteY11" fmla="*/ 553693 h 924112"/>
              <a:gd name="connsiteX12" fmla="*/ 1777912 w 5287874"/>
              <a:gd name="connsiteY12" fmla="*/ 335942 h 924112"/>
              <a:gd name="connsiteX13" fmla="*/ 1552930 w 5287874"/>
              <a:gd name="connsiteY13" fmla="*/ 466901 h 924112"/>
              <a:gd name="connsiteX14" fmla="*/ 1312484 w 5287874"/>
              <a:gd name="connsiteY14" fmla="*/ 661261 h 924112"/>
              <a:gd name="connsiteX15" fmla="*/ 1058497 w 5287874"/>
              <a:gd name="connsiteY15" fmla="*/ 736182 h 924112"/>
              <a:gd name="connsiteX16" fmla="*/ 806725 w 5287874"/>
              <a:gd name="connsiteY16" fmla="*/ 737389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4920 w 5287874"/>
              <a:gd name="connsiteY11" fmla="*/ 553693 h 924112"/>
              <a:gd name="connsiteX12" fmla="*/ 1777912 w 5287874"/>
              <a:gd name="connsiteY12" fmla="*/ 335942 h 924112"/>
              <a:gd name="connsiteX13" fmla="*/ 1552930 w 5287874"/>
              <a:gd name="connsiteY13" fmla="*/ 466901 h 924112"/>
              <a:gd name="connsiteX14" fmla="*/ 1312484 w 5287874"/>
              <a:gd name="connsiteY14" fmla="*/ 661261 h 924112"/>
              <a:gd name="connsiteX15" fmla="*/ 1065628 w 5287874"/>
              <a:gd name="connsiteY15" fmla="*/ 700877 h 924112"/>
              <a:gd name="connsiteX16" fmla="*/ 806725 w 5287874"/>
              <a:gd name="connsiteY16" fmla="*/ 737389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4920 w 5287874"/>
              <a:gd name="connsiteY11" fmla="*/ 553693 h 924112"/>
              <a:gd name="connsiteX12" fmla="*/ 1777912 w 5287874"/>
              <a:gd name="connsiteY12" fmla="*/ 335942 h 924112"/>
              <a:gd name="connsiteX13" fmla="*/ 1552930 w 5287874"/>
              <a:gd name="connsiteY13" fmla="*/ 466901 h 924112"/>
              <a:gd name="connsiteX14" fmla="*/ 1305354 w 5287874"/>
              <a:gd name="connsiteY14" fmla="*/ 636548 h 924112"/>
              <a:gd name="connsiteX15" fmla="*/ 1065628 w 5287874"/>
              <a:gd name="connsiteY15" fmla="*/ 700877 h 924112"/>
              <a:gd name="connsiteX16" fmla="*/ 806725 w 5287874"/>
              <a:gd name="connsiteY16" fmla="*/ 737389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1355 w 5287874"/>
              <a:gd name="connsiteY11" fmla="*/ 574876 h 924112"/>
              <a:gd name="connsiteX12" fmla="*/ 1777912 w 5287874"/>
              <a:gd name="connsiteY12" fmla="*/ 335942 h 924112"/>
              <a:gd name="connsiteX13" fmla="*/ 1552930 w 5287874"/>
              <a:gd name="connsiteY13" fmla="*/ 466901 h 924112"/>
              <a:gd name="connsiteX14" fmla="*/ 1305354 w 5287874"/>
              <a:gd name="connsiteY14" fmla="*/ 636548 h 924112"/>
              <a:gd name="connsiteX15" fmla="*/ 1065628 w 5287874"/>
              <a:gd name="connsiteY15" fmla="*/ 700877 h 924112"/>
              <a:gd name="connsiteX16" fmla="*/ 806725 w 5287874"/>
              <a:gd name="connsiteY16" fmla="*/ 737389 h 924112"/>
              <a:gd name="connsiteX17" fmla="*/ 453499 w 5287874"/>
              <a:gd name="connsiteY17" fmla="*/ 757341 h 924112"/>
              <a:gd name="connsiteX18" fmla="*/ 0 w 5287874"/>
              <a:gd name="connsiteY18"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081355 w 5287874"/>
              <a:gd name="connsiteY11" fmla="*/ 574876 h 924112"/>
              <a:gd name="connsiteX12" fmla="*/ 1981374 w 5287874"/>
              <a:gd name="connsiteY12" fmla="*/ 422288 h 924112"/>
              <a:gd name="connsiteX13" fmla="*/ 1777912 w 5287874"/>
              <a:gd name="connsiteY13" fmla="*/ 335942 h 924112"/>
              <a:gd name="connsiteX14" fmla="*/ 1552930 w 5287874"/>
              <a:gd name="connsiteY14" fmla="*/ 466901 h 924112"/>
              <a:gd name="connsiteX15" fmla="*/ 1305354 w 5287874"/>
              <a:gd name="connsiteY15" fmla="*/ 636548 h 924112"/>
              <a:gd name="connsiteX16" fmla="*/ 1065628 w 5287874"/>
              <a:gd name="connsiteY16" fmla="*/ 700877 h 924112"/>
              <a:gd name="connsiteX17" fmla="*/ 806725 w 5287874"/>
              <a:gd name="connsiteY17" fmla="*/ 737389 h 924112"/>
              <a:gd name="connsiteX18" fmla="*/ 453499 w 5287874"/>
              <a:gd name="connsiteY18" fmla="*/ 757341 h 924112"/>
              <a:gd name="connsiteX19" fmla="*/ 0 w 5287874"/>
              <a:gd name="connsiteY19" fmla="*/ 446206 h 924112"/>
              <a:gd name="connsiteX0" fmla="*/ 5287874 w 5287874"/>
              <a:gd name="connsiteY0" fmla="*/ 115212 h 924112"/>
              <a:gd name="connsiteX1" fmla="*/ 4949736 w 5287874"/>
              <a:gd name="connsiteY1" fmla="*/ 912 h 924112"/>
              <a:gd name="connsiteX2" fmla="*/ 4663987 w 5287874"/>
              <a:gd name="connsiteY2" fmla="*/ 77111 h 924112"/>
              <a:gd name="connsiteX3" fmla="*/ 4459199 w 5287874"/>
              <a:gd name="connsiteY3" fmla="*/ 334287 h 924112"/>
              <a:gd name="connsiteX4" fmla="*/ 4193110 w 5287874"/>
              <a:gd name="connsiteY4" fmla="*/ 567650 h 924112"/>
              <a:gd name="connsiteX5" fmla="*/ 3861998 w 5287874"/>
              <a:gd name="connsiteY5" fmla="*/ 743862 h 924112"/>
              <a:gd name="connsiteX6" fmla="*/ 3595860 w 5287874"/>
              <a:gd name="connsiteY6" fmla="*/ 834350 h 924112"/>
              <a:gd name="connsiteX7" fmla="*/ 3251539 w 5287874"/>
              <a:gd name="connsiteY7" fmla="*/ 903405 h 924112"/>
              <a:gd name="connsiteX8" fmla="*/ 2960151 w 5287874"/>
              <a:gd name="connsiteY8" fmla="*/ 922456 h 924112"/>
              <a:gd name="connsiteX9" fmla="*/ 2639924 w 5287874"/>
              <a:gd name="connsiteY9" fmla="*/ 910550 h 924112"/>
              <a:gd name="connsiteX10" fmla="*/ 2301786 w 5287874"/>
              <a:gd name="connsiteY10" fmla="*/ 796248 h 924112"/>
              <a:gd name="connsiteX11" fmla="*/ 2106312 w 5287874"/>
              <a:gd name="connsiteY11" fmla="*/ 546632 h 924112"/>
              <a:gd name="connsiteX12" fmla="*/ 1981374 w 5287874"/>
              <a:gd name="connsiteY12" fmla="*/ 422288 h 924112"/>
              <a:gd name="connsiteX13" fmla="*/ 1777912 w 5287874"/>
              <a:gd name="connsiteY13" fmla="*/ 335942 h 924112"/>
              <a:gd name="connsiteX14" fmla="*/ 1552930 w 5287874"/>
              <a:gd name="connsiteY14" fmla="*/ 466901 h 924112"/>
              <a:gd name="connsiteX15" fmla="*/ 1305354 w 5287874"/>
              <a:gd name="connsiteY15" fmla="*/ 636548 h 924112"/>
              <a:gd name="connsiteX16" fmla="*/ 1065628 w 5287874"/>
              <a:gd name="connsiteY16" fmla="*/ 700877 h 924112"/>
              <a:gd name="connsiteX17" fmla="*/ 806725 w 5287874"/>
              <a:gd name="connsiteY17" fmla="*/ 737389 h 924112"/>
              <a:gd name="connsiteX18" fmla="*/ 453499 w 5287874"/>
              <a:gd name="connsiteY18" fmla="*/ 757341 h 924112"/>
              <a:gd name="connsiteX19" fmla="*/ 0 w 5287874"/>
              <a:gd name="connsiteY19" fmla="*/ 446206 h 924112"/>
              <a:gd name="connsiteX0" fmla="*/ 5287874 w 5287874"/>
              <a:gd name="connsiteY0" fmla="*/ 115212 h 929746"/>
              <a:gd name="connsiteX1" fmla="*/ 4949736 w 5287874"/>
              <a:gd name="connsiteY1" fmla="*/ 912 h 929746"/>
              <a:gd name="connsiteX2" fmla="*/ 4663987 w 5287874"/>
              <a:gd name="connsiteY2" fmla="*/ 77111 h 929746"/>
              <a:gd name="connsiteX3" fmla="*/ 4459199 w 5287874"/>
              <a:gd name="connsiteY3" fmla="*/ 334287 h 929746"/>
              <a:gd name="connsiteX4" fmla="*/ 4193110 w 5287874"/>
              <a:gd name="connsiteY4" fmla="*/ 567650 h 929746"/>
              <a:gd name="connsiteX5" fmla="*/ 3861998 w 5287874"/>
              <a:gd name="connsiteY5" fmla="*/ 743862 h 929746"/>
              <a:gd name="connsiteX6" fmla="*/ 3595860 w 5287874"/>
              <a:gd name="connsiteY6" fmla="*/ 834350 h 929746"/>
              <a:gd name="connsiteX7" fmla="*/ 3251539 w 5287874"/>
              <a:gd name="connsiteY7" fmla="*/ 903405 h 929746"/>
              <a:gd name="connsiteX8" fmla="*/ 2960151 w 5287874"/>
              <a:gd name="connsiteY8" fmla="*/ 922456 h 929746"/>
              <a:gd name="connsiteX9" fmla="*/ 2639924 w 5287874"/>
              <a:gd name="connsiteY9" fmla="*/ 910550 h 929746"/>
              <a:gd name="connsiteX10" fmla="*/ 2398047 w 5287874"/>
              <a:gd name="connsiteY10" fmla="*/ 711516 h 929746"/>
              <a:gd name="connsiteX11" fmla="*/ 2106312 w 5287874"/>
              <a:gd name="connsiteY11" fmla="*/ 546632 h 929746"/>
              <a:gd name="connsiteX12" fmla="*/ 1981374 w 5287874"/>
              <a:gd name="connsiteY12" fmla="*/ 422288 h 929746"/>
              <a:gd name="connsiteX13" fmla="*/ 1777912 w 5287874"/>
              <a:gd name="connsiteY13" fmla="*/ 335942 h 929746"/>
              <a:gd name="connsiteX14" fmla="*/ 1552930 w 5287874"/>
              <a:gd name="connsiteY14" fmla="*/ 466901 h 929746"/>
              <a:gd name="connsiteX15" fmla="*/ 1305354 w 5287874"/>
              <a:gd name="connsiteY15" fmla="*/ 636548 h 929746"/>
              <a:gd name="connsiteX16" fmla="*/ 1065628 w 5287874"/>
              <a:gd name="connsiteY16" fmla="*/ 700877 h 929746"/>
              <a:gd name="connsiteX17" fmla="*/ 806725 w 5287874"/>
              <a:gd name="connsiteY17" fmla="*/ 737389 h 929746"/>
              <a:gd name="connsiteX18" fmla="*/ 453499 w 5287874"/>
              <a:gd name="connsiteY18" fmla="*/ 757341 h 929746"/>
              <a:gd name="connsiteX19" fmla="*/ 0 w 5287874"/>
              <a:gd name="connsiteY19" fmla="*/ 446206 h 929746"/>
              <a:gd name="connsiteX0" fmla="*/ 5287874 w 5287874"/>
              <a:gd name="connsiteY0" fmla="*/ 115212 h 929746"/>
              <a:gd name="connsiteX1" fmla="*/ 4949736 w 5287874"/>
              <a:gd name="connsiteY1" fmla="*/ 912 h 929746"/>
              <a:gd name="connsiteX2" fmla="*/ 4663987 w 5287874"/>
              <a:gd name="connsiteY2" fmla="*/ 77111 h 929746"/>
              <a:gd name="connsiteX3" fmla="*/ 4459199 w 5287874"/>
              <a:gd name="connsiteY3" fmla="*/ 334287 h 929746"/>
              <a:gd name="connsiteX4" fmla="*/ 4193110 w 5287874"/>
              <a:gd name="connsiteY4" fmla="*/ 567650 h 929746"/>
              <a:gd name="connsiteX5" fmla="*/ 3861998 w 5287874"/>
              <a:gd name="connsiteY5" fmla="*/ 743862 h 929746"/>
              <a:gd name="connsiteX6" fmla="*/ 3595860 w 5287874"/>
              <a:gd name="connsiteY6" fmla="*/ 834350 h 929746"/>
              <a:gd name="connsiteX7" fmla="*/ 3251539 w 5287874"/>
              <a:gd name="connsiteY7" fmla="*/ 903405 h 929746"/>
              <a:gd name="connsiteX8" fmla="*/ 2960151 w 5287874"/>
              <a:gd name="connsiteY8" fmla="*/ 922456 h 929746"/>
              <a:gd name="connsiteX9" fmla="*/ 2639924 w 5287874"/>
              <a:gd name="connsiteY9" fmla="*/ 910550 h 929746"/>
              <a:gd name="connsiteX10" fmla="*/ 2398047 w 5287874"/>
              <a:gd name="connsiteY10" fmla="*/ 711516 h 929746"/>
              <a:gd name="connsiteX11" fmla="*/ 2106312 w 5287874"/>
              <a:gd name="connsiteY11" fmla="*/ 546632 h 929746"/>
              <a:gd name="connsiteX12" fmla="*/ 1981374 w 5287874"/>
              <a:gd name="connsiteY12" fmla="*/ 422288 h 929746"/>
              <a:gd name="connsiteX13" fmla="*/ 1781478 w 5287874"/>
              <a:gd name="connsiteY13" fmla="*/ 286515 h 929746"/>
              <a:gd name="connsiteX14" fmla="*/ 1552930 w 5287874"/>
              <a:gd name="connsiteY14" fmla="*/ 466901 h 929746"/>
              <a:gd name="connsiteX15" fmla="*/ 1305354 w 5287874"/>
              <a:gd name="connsiteY15" fmla="*/ 636548 h 929746"/>
              <a:gd name="connsiteX16" fmla="*/ 1065628 w 5287874"/>
              <a:gd name="connsiteY16" fmla="*/ 700877 h 929746"/>
              <a:gd name="connsiteX17" fmla="*/ 806725 w 5287874"/>
              <a:gd name="connsiteY17" fmla="*/ 737389 h 929746"/>
              <a:gd name="connsiteX18" fmla="*/ 453499 w 5287874"/>
              <a:gd name="connsiteY18" fmla="*/ 757341 h 929746"/>
              <a:gd name="connsiteX19" fmla="*/ 0 w 5287874"/>
              <a:gd name="connsiteY19" fmla="*/ 446206 h 929746"/>
              <a:gd name="connsiteX0" fmla="*/ 5287874 w 5287874"/>
              <a:gd name="connsiteY0" fmla="*/ 115212 h 929746"/>
              <a:gd name="connsiteX1" fmla="*/ 4949736 w 5287874"/>
              <a:gd name="connsiteY1" fmla="*/ 912 h 929746"/>
              <a:gd name="connsiteX2" fmla="*/ 4663987 w 5287874"/>
              <a:gd name="connsiteY2" fmla="*/ 77111 h 929746"/>
              <a:gd name="connsiteX3" fmla="*/ 4459199 w 5287874"/>
              <a:gd name="connsiteY3" fmla="*/ 334287 h 929746"/>
              <a:gd name="connsiteX4" fmla="*/ 4193110 w 5287874"/>
              <a:gd name="connsiteY4" fmla="*/ 567650 h 929746"/>
              <a:gd name="connsiteX5" fmla="*/ 3861998 w 5287874"/>
              <a:gd name="connsiteY5" fmla="*/ 743862 h 929746"/>
              <a:gd name="connsiteX6" fmla="*/ 3595860 w 5287874"/>
              <a:gd name="connsiteY6" fmla="*/ 834350 h 929746"/>
              <a:gd name="connsiteX7" fmla="*/ 3251539 w 5287874"/>
              <a:gd name="connsiteY7" fmla="*/ 903405 h 929746"/>
              <a:gd name="connsiteX8" fmla="*/ 2960151 w 5287874"/>
              <a:gd name="connsiteY8" fmla="*/ 922456 h 929746"/>
              <a:gd name="connsiteX9" fmla="*/ 2639924 w 5287874"/>
              <a:gd name="connsiteY9" fmla="*/ 910550 h 929746"/>
              <a:gd name="connsiteX10" fmla="*/ 2398047 w 5287874"/>
              <a:gd name="connsiteY10" fmla="*/ 711516 h 929746"/>
              <a:gd name="connsiteX11" fmla="*/ 2106312 w 5287874"/>
              <a:gd name="connsiteY11" fmla="*/ 546632 h 929746"/>
              <a:gd name="connsiteX12" fmla="*/ 1984939 w 5287874"/>
              <a:gd name="connsiteY12" fmla="*/ 411696 h 929746"/>
              <a:gd name="connsiteX13" fmla="*/ 1781478 w 5287874"/>
              <a:gd name="connsiteY13" fmla="*/ 286515 h 929746"/>
              <a:gd name="connsiteX14" fmla="*/ 1552930 w 5287874"/>
              <a:gd name="connsiteY14" fmla="*/ 466901 h 929746"/>
              <a:gd name="connsiteX15" fmla="*/ 1305354 w 5287874"/>
              <a:gd name="connsiteY15" fmla="*/ 636548 h 929746"/>
              <a:gd name="connsiteX16" fmla="*/ 1065628 w 5287874"/>
              <a:gd name="connsiteY16" fmla="*/ 700877 h 929746"/>
              <a:gd name="connsiteX17" fmla="*/ 806725 w 5287874"/>
              <a:gd name="connsiteY17" fmla="*/ 737389 h 929746"/>
              <a:gd name="connsiteX18" fmla="*/ 453499 w 5287874"/>
              <a:gd name="connsiteY18" fmla="*/ 757341 h 929746"/>
              <a:gd name="connsiteX19" fmla="*/ 0 w 5287874"/>
              <a:gd name="connsiteY19" fmla="*/ 446206 h 929746"/>
              <a:gd name="connsiteX0" fmla="*/ 5287874 w 5287874"/>
              <a:gd name="connsiteY0" fmla="*/ 115212 h 929746"/>
              <a:gd name="connsiteX1" fmla="*/ 4949736 w 5287874"/>
              <a:gd name="connsiteY1" fmla="*/ 912 h 929746"/>
              <a:gd name="connsiteX2" fmla="*/ 4663987 w 5287874"/>
              <a:gd name="connsiteY2" fmla="*/ 77111 h 929746"/>
              <a:gd name="connsiteX3" fmla="*/ 4459199 w 5287874"/>
              <a:gd name="connsiteY3" fmla="*/ 334287 h 929746"/>
              <a:gd name="connsiteX4" fmla="*/ 4193110 w 5287874"/>
              <a:gd name="connsiteY4" fmla="*/ 567650 h 929746"/>
              <a:gd name="connsiteX5" fmla="*/ 3861998 w 5287874"/>
              <a:gd name="connsiteY5" fmla="*/ 743862 h 929746"/>
              <a:gd name="connsiteX6" fmla="*/ 3595860 w 5287874"/>
              <a:gd name="connsiteY6" fmla="*/ 834350 h 929746"/>
              <a:gd name="connsiteX7" fmla="*/ 3251539 w 5287874"/>
              <a:gd name="connsiteY7" fmla="*/ 903405 h 929746"/>
              <a:gd name="connsiteX8" fmla="*/ 2960151 w 5287874"/>
              <a:gd name="connsiteY8" fmla="*/ 922456 h 929746"/>
              <a:gd name="connsiteX9" fmla="*/ 2639924 w 5287874"/>
              <a:gd name="connsiteY9" fmla="*/ 910550 h 929746"/>
              <a:gd name="connsiteX10" fmla="*/ 2398047 w 5287874"/>
              <a:gd name="connsiteY10" fmla="*/ 711516 h 929746"/>
              <a:gd name="connsiteX11" fmla="*/ 2141964 w 5287874"/>
              <a:gd name="connsiteY11" fmla="*/ 518388 h 929746"/>
              <a:gd name="connsiteX12" fmla="*/ 1984939 w 5287874"/>
              <a:gd name="connsiteY12" fmla="*/ 411696 h 929746"/>
              <a:gd name="connsiteX13" fmla="*/ 1781478 w 5287874"/>
              <a:gd name="connsiteY13" fmla="*/ 286515 h 929746"/>
              <a:gd name="connsiteX14" fmla="*/ 1552930 w 5287874"/>
              <a:gd name="connsiteY14" fmla="*/ 466901 h 929746"/>
              <a:gd name="connsiteX15" fmla="*/ 1305354 w 5287874"/>
              <a:gd name="connsiteY15" fmla="*/ 636548 h 929746"/>
              <a:gd name="connsiteX16" fmla="*/ 1065628 w 5287874"/>
              <a:gd name="connsiteY16" fmla="*/ 700877 h 929746"/>
              <a:gd name="connsiteX17" fmla="*/ 806725 w 5287874"/>
              <a:gd name="connsiteY17" fmla="*/ 737389 h 929746"/>
              <a:gd name="connsiteX18" fmla="*/ 453499 w 5287874"/>
              <a:gd name="connsiteY18" fmla="*/ 757341 h 929746"/>
              <a:gd name="connsiteX19" fmla="*/ 0 w 5287874"/>
              <a:gd name="connsiteY19" fmla="*/ 446206 h 929746"/>
              <a:gd name="connsiteX0" fmla="*/ 5287874 w 5287874"/>
              <a:gd name="connsiteY0" fmla="*/ 115212 h 931997"/>
              <a:gd name="connsiteX1" fmla="*/ 4949736 w 5287874"/>
              <a:gd name="connsiteY1" fmla="*/ 912 h 931997"/>
              <a:gd name="connsiteX2" fmla="*/ 4663987 w 5287874"/>
              <a:gd name="connsiteY2" fmla="*/ 77111 h 931997"/>
              <a:gd name="connsiteX3" fmla="*/ 4459199 w 5287874"/>
              <a:gd name="connsiteY3" fmla="*/ 334287 h 931997"/>
              <a:gd name="connsiteX4" fmla="*/ 4193110 w 5287874"/>
              <a:gd name="connsiteY4" fmla="*/ 567650 h 931997"/>
              <a:gd name="connsiteX5" fmla="*/ 3861998 w 5287874"/>
              <a:gd name="connsiteY5" fmla="*/ 743862 h 931997"/>
              <a:gd name="connsiteX6" fmla="*/ 3595860 w 5287874"/>
              <a:gd name="connsiteY6" fmla="*/ 834350 h 931997"/>
              <a:gd name="connsiteX7" fmla="*/ 3251539 w 5287874"/>
              <a:gd name="connsiteY7" fmla="*/ 903405 h 931997"/>
              <a:gd name="connsiteX8" fmla="*/ 2960151 w 5287874"/>
              <a:gd name="connsiteY8" fmla="*/ 922456 h 931997"/>
              <a:gd name="connsiteX9" fmla="*/ 2639924 w 5287874"/>
              <a:gd name="connsiteY9" fmla="*/ 910550 h 931997"/>
              <a:gd name="connsiteX10" fmla="*/ 2383786 w 5287874"/>
              <a:gd name="connsiteY10" fmla="*/ 679742 h 931997"/>
              <a:gd name="connsiteX11" fmla="*/ 2141964 w 5287874"/>
              <a:gd name="connsiteY11" fmla="*/ 518388 h 931997"/>
              <a:gd name="connsiteX12" fmla="*/ 1984939 w 5287874"/>
              <a:gd name="connsiteY12" fmla="*/ 411696 h 931997"/>
              <a:gd name="connsiteX13" fmla="*/ 1781478 w 5287874"/>
              <a:gd name="connsiteY13" fmla="*/ 286515 h 931997"/>
              <a:gd name="connsiteX14" fmla="*/ 1552930 w 5287874"/>
              <a:gd name="connsiteY14" fmla="*/ 466901 h 931997"/>
              <a:gd name="connsiteX15" fmla="*/ 1305354 w 5287874"/>
              <a:gd name="connsiteY15" fmla="*/ 636548 h 931997"/>
              <a:gd name="connsiteX16" fmla="*/ 1065628 w 5287874"/>
              <a:gd name="connsiteY16" fmla="*/ 700877 h 931997"/>
              <a:gd name="connsiteX17" fmla="*/ 806725 w 5287874"/>
              <a:gd name="connsiteY17" fmla="*/ 737389 h 931997"/>
              <a:gd name="connsiteX18" fmla="*/ 453499 w 5287874"/>
              <a:gd name="connsiteY18" fmla="*/ 757341 h 931997"/>
              <a:gd name="connsiteX19" fmla="*/ 0 w 5287874"/>
              <a:gd name="connsiteY19" fmla="*/ 446206 h 931997"/>
              <a:gd name="connsiteX0" fmla="*/ 5287874 w 5287874"/>
              <a:gd name="connsiteY0" fmla="*/ 115212 h 939660"/>
              <a:gd name="connsiteX1" fmla="*/ 4949736 w 5287874"/>
              <a:gd name="connsiteY1" fmla="*/ 912 h 939660"/>
              <a:gd name="connsiteX2" fmla="*/ 4663987 w 5287874"/>
              <a:gd name="connsiteY2" fmla="*/ 77111 h 939660"/>
              <a:gd name="connsiteX3" fmla="*/ 4459199 w 5287874"/>
              <a:gd name="connsiteY3" fmla="*/ 334287 h 939660"/>
              <a:gd name="connsiteX4" fmla="*/ 4193110 w 5287874"/>
              <a:gd name="connsiteY4" fmla="*/ 567650 h 939660"/>
              <a:gd name="connsiteX5" fmla="*/ 3861998 w 5287874"/>
              <a:gd name="connsiteY5" fmla="*/ 743862 h 939660"/>
              <a:gd name="connsiteX6" fmla="*/ 3595860 w 5287874"/>
              <a:gd name="connsiteY6" fmla="*/ 834350 h 939660"/>
              <a:gd name="connsiteX7" fmla="*/ 3251539 w 5287874"/>
              <a:gd name="connsiteY7" fmla="*/ 903405 h 939660"/>
              <a:gd name="connsiteX8" fmla="*/ 2960151 w 5287874"/>
              <a:gd name="connsiteY8" fmla="*/ 922456 h 939660"/>
              <a:gd name="connsiteX9" fmla="*/ 2828882 w 5287874"/>
              <a:gd name="connsiteY9" fmla="*/ 642231 h 939660"/>
              <a:gd name="connsiteX10" fmla="*/ 2383786 w 5287874"/>
              <a:gd name="connsiteY10" fmla="*/ 679742 h 939660"/>
              <a:gd name="connsiteX11" fmla="*/ 2141964 w 5287874"/>
              <a:gd name="connsiteY11" fmla="*/ 518388 h 939660"/>
              <a:gd name="connsiteX12" fmla="*/ 1984939 w 5287874"/>
              <a:gd name="connsiteY12" fmla="*/ 411696 h 939660"/>
              <a:gd name="connsiteX13" fmla="*/ 1781478 w 5287874"/>
              <a:gd name="connsiteY13" fmla="*/ 286515 h 939660"/>
              <a:gd name="connsiteX14" fmla="*/ 1552930 w 5287874"/>
              <a:gd name="connsiteY14" fmla="*/ 466901 h 939660"/>
              <a:gd name="connsiteX15" fmla="*/ 1305354 w 5287874"/>
              <a:gd name="connsiteY15" fmla="*/ 636548 h 939660"/>
              <a:gd name="connsiteX16" fmla="*/ 1065628 w 5287874"/>
              <a:gd name="connsiteY16" fmla="*/ 700877 h 939660"/>
              <a:gd name="connsiteX17" fmla="*/ 806725 w 5287874"/>
              <a:gd name="connsiteY17" fmla="*/ 737389 h 939660"/>
              <a:gd name="connsiteX18" fmla="*/ 453499 w 5287874"/>
              <a:gd name="connsiteY18" fmla="*/ 757341 h 939660"/>
              <a:gd name="connsiteX19" fmla="*/ 0 w 5287874"/>
              <a:gd name="connsiteY19" fmla="*/ 446206 h 939660"/>
              <a:gd name="connsiteX0" fmla="*/ 5287874 w 5287874"/>
              <a:gd name="connsiteY0" fmla="*/ 115212 h 939660"/>
              <a:gd name="connsiteX1" fmla="*/ 4949736 w 5287874"/>
              <a:gd name="connsiteY1" fmla="*/ 912 h 939660"/>
              <a:gd name="connsiteX2" fmla="*/ 4663987 w 5287874"/>
              <a:gd name="connsiteY2" fmla="*/ 77111 h 939660"/>
              <a:gd name="connsiteX3" fmla="*/ 4459199 w 5287874"/>
              <a:gd name="connsiteY3" fmla="*/ 334287 h 939660"/>
              <a:gd name="connsiteX4" fmla="*/ 4193110 w 5287874"/>
              <a:gd name="connsiteY4" fmla="*/ 567650 h 939660"/>
              <a:gd name="connsiteX5" fmla="*/ 3861998 w 5287874"/>
              <a:gd name="connsiteY5" fmla="*/ 743862 h 939660"/>
              <a:gd name="connsiteX6" fmla="*/ 3595860 w 5287874"/>
              <a:gd name="connsiteY6" fmla="*/ 834350 h 939660"/>
              <a:gd name="connsiteX7" fmla="*/ 3251539 w 5287874"/>
              <a:gd name="connsiteY7" fmla="*/ 903405 h 939660"/>
              <a:gd name="connsiteX8" fmla="*/ 2960151 w 5287874"/>
              <a:gd name="connsiteY8" fmla="*/ 922456 h 939660"/>
              <a:gd name="connsiteX9" fmla="*/ 2828882 w 5287874"/>
              <a:gd name="connsiteY9" fmla="*/ 642231 h 939660"/>
              <a:gd name="connsiteX10" fmla="*/ 2383786 w 5287874"/>
              <a:gd name="connsiteY10" fmla="*/ 679742 h 939660"/>
              <a:gd name="connsiteX11" fmla="*/ 2152660 w 5287874"/>
              <a:gd name="connsiteY11" fmla="*/ 500735 h 939660"/>
              <a:gd name="connsiteX12" fmla="*/ 1984939 w 5287874"/>
              <a:gd name="connsiteY12" fmla="*/ 411696 h 939660"/>
              <a:gd name="connsiteX13" fmla="*/ 1781478 w 5287874"/>
              <a:gd name="connsiteY13" fmla="*/ 286515 h 939660"/>
              <a:gd name="connsiteX14" fmla="*/ 1552930 w 5287874"/>
              <a:gd name="connsiteY14" fmla="*/ 466901 h 939660"/>
              <a:gd name="connsiteX15" fmla="*/ 1305354 w 5287874"/>
              <a:gd name="connsiteY15" fmla="*/ 636548 h 939660"/>
              <a:gd name="connsiteX16" fmla="*/ 1065628 w 5287874"/>
              <a:gd name="connsiteY16" fmla="*/ 700877 h 939660"/>
              <a:gd name="connsiteX17" fmla="*/ 806725 w 5287874"/>
              <a:gd name="connsiteY17" fmla="*/ 737389 h 939660"/>
              <a:gd name="connsiteX18" fmla="*/ 453499 w 5287874"/>
              <a:gd name="connsiteY18" fmla="*/ 757341 h 939660"/>
              <a:gd name="connsiteX19" fmla="*/ 0 w 5287874"/>
              <a:gd name="connsiteY19" fmla="*/ 446206 h 939660"/>
              <a:gd name="connsiteX0" fmla="*/ 5287874 w 5287874"/>
              <a:gd name="connsiteY0" fmla="*/ 115212 h 939660"/>
              <a:gd name="connsiteX1" fmla="*/ 4949736 w 5287874"/>
              <a:gd name="connsiteY1" fmla="*/ 912 h 939660"/>
              <a:gd name="connsiteX2" fmla="*/ 4663987 w 5287874"/>
              <a:gd name="connsiteY2" fmla="*/ 77111 h 939660"/>
              <a:gd name="connsiteX3" fmla="*/ 4459199 w 5287874"/>
              <a:gd name="connsiteY3" fmla="*/ 334287 h 939660"/>
              <a:gd name="connsiteX4" fmla="*/ 4193110 w 5287874"/>
              <a:gd name="connsiteY4" fmla="*/ 567650 h 939660"/>
              <a:gd name="connsiteX5" fmla="*/ 3861998 w 5287874"/>
              <a:gd name="connsiteY5" fmla="*/ 743862 h 939660"/>
              <a:gd name="connsiteX6" fmla="*/ 3595860 w 5287874"/>
              <a:gd name="connsiteY6" fmla="*/ 834350 h 939660"/>
              <a:gd name="connsiteX7" fmla="*/ 3251539 w 5287874"/>
              <a:gd name="connsiteY7" fmla="*/ 903405 h 939660"/>
              <a:gd name="connsiteX8" fmla="*/ 2960151 w 5287874"/>
              <a:gd name="connsiteY8" fmla="*/ 922456 h 939660"/>
              <a:gd name="connsiteX9" fmla="*/ 2828882 w 5287874"/>
              <a:gd name="connsiteY9" fmla="*/ 642231 h 939660"/>
              <a:gd name="connsiteX10" fmla="*/ 2401613 w 5287874"/>
              <a:gd name="connsiteY10" fmla="*/ 612663 h 939660"/>
              <a:gd name="connsiteX11" fmla="*/ 2152660 w 5287874"/>
              <a:gd name="connsiteY11" fmla="*/ 500735 h 939660"/>
              <a:gd name="connsiteX12" fmla="*/ 1984939 w 5287874"/>
              <a:gd name="connsiteY12" fmla="*/ 411696 h 939660"/>
              <a:gd name="connsiteX13" fmla="*/ 1781478 w 5287874"/>
              <a:gd name="connsiteY13" fmla="*/ 286515 h 939660"/>
              <a:gd name="connsiteX14" fmla="*/ 1552930 w 5287874"/>
              <a:gd name="connsiteY14" fmla="*/ 466901 h 939660"/>
              <a:gd name="connsiteX15" fmla="*/ 1305354 w 5287874"/>
              <a:gd name="connsiteY15" fmla="*/ 636548 h 939660"/>
              <a:gd name="connsiteX16" fmla="*/ 1065628 w 5287874"/>
              <a:gd name="connsiteY16" fmla="*/ 700877 h 939660"/>
              <a:gd name="connsiteX17" fmla="*/ 806725 w 5287874"/>
              <a:gd name="connsiteY17" fmla="*/ 737389 h 939660"/>
              <a:gd name="connsiteX18" fmla="*/ 453499 w 5287874"/>
              <a:gd name="connsiteY18" fmla="*/ 757341 h 939660"/>
              <a:gd name="connsiteX19" fmla="*/ 0 w 5287874"/>
              <a:gd name="connsiteY19" fmla="*/ 446206 h 939660"/>
              <a:gd name="connsiteX0" fmla="*/ 5287874 w 5287874"/>
              <a:gd name="connsiteY0" fmla="*/ 115212 h 939660"/>
              <a:gd name="connsiteX1" fmla="*/ 4949736 w 5287874"/>
              <a:gd name="connsiteY1" fmla="*/ 912 h 939660"/>
              <a:gd name="connsiteX2" fmla="*/ 4663987 w 5287874"/>
              <a:gd name="connsiteY2" fmla="*/ 77111 h 939660"/>
              <a:gd name="connsiteX3" fmla="*/ 4459199 w 5287874"/>
              <a:gd name="connsiteY3" fmla="*/ 334287 h 939660"/>
              <a:gd name="connsiteX4" fmla="*/ 4193110 w 5287874"/>
              <a:gd name="connsiteY4" fmla="*/ 567650 h 939660"/>
              <a:gd name="connsiteX5" fmla="*/ 3861998 w 5287874"/>
              <a:gd name="connsiteY5" fmla="*/ 743862 h 939660"/>
              <a:gd name="connsiteX6" fmla="*/ 3595860 w 5287874"/>
              <a:gd name="connsiteY6" fmla="*/ 834350 h 939660"/>
              <a:gd name="connsiteX7" fmla="*/ 3251539 w 5287874"/>
              <a:gd name="connsiteY7" fmla="*/ 903405 h 939660"/>
              <a:gd name="connsiteX8" fmla="*/ 2960151 w 5287874"/>
              <a:gd name="connsiteY8" fmla="*/ 922456 h 939660"/>
              <a:gd name="connsiteX9" fmla="*/ 2778969 w 5287874"/>
              <a:gd name="connsiteY9" fmla="*/ 642231 h 939660"/>
              <a:gd name="connsiteX10" fmla="*/ 2401613 w 5287874"/>
              <a:gd name="connsiteY10" fmla="*/ 612663 h 939660"/>
              <a:gd name="connsiteX11" fmla="*/ 2152660 w 5287874"/>
              <a:gd name="connsiteY11" fmla="*/ 500735 h 939660"/>
              <a:gd name="connsiteX12" fmla="*/ 1984939 w 5287874"/>
              <a:gd name="connsiteY12" fmla="*/ 411696 h 939660"/>
              <a:gd name="connsiteX13" fmla="*/ 1781478 w 5287874"/>
              <a:gd name="connsiteY13" fmla="*/ 286515 h 939660"/>
              <a:gd name="connsiteX14" fmla="*/ 1552930 w 5287874"/>
              <a:gd name="connsiteY14" fmla="*/ 466901 h 939660"/>
              <a:gd name="connsiteX15" fmla="*/ 1305354 w 5287874"/>
              <a:gd name="connsiteY15" fmla="*/ 636548 h 939660"/>
              <a:gd name="connsiteX16" fmla="*/ 1065628 w 5287874"/>
              <a:gd name="connsiteY16" fmla="*/ 700877 h 939660"/>
              <a:gd name="connsiteX17" fmla="*/ 806725 w 5287874"/>
              <a:gd name="connsiteY17" fmla="*/ 737389 h 939660"/>
              <a:gd name="connsiteX18" fmla="*/ 453499 w 5287874"/>
              <a:gd name="connsiteY18" fmla="*/ 757341 h 939660"/>
              <a:gd name="connsiteX19" fmla="*/ 0 w 5287874"/>
              <a:gd name="connsiteY19" fmla="*/ 446206 h 939660"/>
              <a:gd name="connsiteX0" fmla="*/ 5287874 w 5287874"/>
              <a:gd name="connsiteY0" fmla="*/ 115212 h 923663"/>
              <a:gd name="connsiteX1" fmla="*/ 4949736 w 5287874"/>
              <a:gd name="connsiteY1" fmla="*/ 912 h 923663"/>
              <a:gd name="connsiteX2" fmla="*/ 4663987 w 5287874"/>
              <a:gd name="connsiteY2" fmla="*/ 77111 h 923663"/>
              <a:gd name="connsiteX3" fmla="*/ 4459199 w 5287874"/>
              <a:gd name="connsiteY3" fmla="*/ 334287 h 923663"/>
              <a:gd name="connsiteX4" fmla="*/ 4193110 w 5287874"/>
              <a:gd name="connsiteY4" fmla="*/ 567650 h 923663"/>
              <a:gd name="connsiteX5" fmla="*/ 3861998 w 5287874"/>
              <a:gd name="connsiteY5" fmla="*/ 743862 h 923663"/>
              <a:gd name="connsiteX6" fmla="*/ 3595860 w 5287874"/>
              <a:gd name="connsiteY6" fmla="*/ 834350 h 923663"/>
              <a:gd name="connsiteX7" fmla="*/ 3269366 w 5287874"/>
              <a:gd name="connsiteY7" fmla="*/ 518580 h 923663"/>
              <a:gd name="connsiteX8" fmla="*/ 2960151 w 5287874"/>
              <a:gd name="connsiteY8" fmla="*/ 922456 h 923663"/>
              <a:gd name="connsiteX9" fmla="*/ 2778969 w 5287874"/>
              <a:gd name="connsiteY9" fmla="*/ 642231 h 923663"/>
              <a:gd name="connsiteX10" fmla="*/ 2401613 w 5287874"/>
              <a:gd name="connsiteY10" fmla="*/ 612663 h 923663"/>
              <a:gd name="connsiteX11" fmla="*/ 2152660 w 5287874"/>
              <a:gd name="connsiteY11" fmla="*/ 500735 h 923663"/>
              <a:gd name="connsiteX12" fmla="*/ 1984939 w 5287874"/>
              <a:gd name="connsiteY12" fmla="*/ 411696 h 923663"/>
              <a:gd name="connsiteX13" fmla="*/ 1781478 w 5287874"/>
              <a:gd name="connsiteY13" fmla="*/ 286515 h 923663"/>
              <a:gd name="connsiteX14" fmla="*/ 1552930 w 5287874"/>
              <a:gd name="connsiteY14" fmla="*/ 466901 h 923663"/>
              <a:gd name="connsiteX15" fmla="*/ 1305354 w 5287874"/>
              <a:gd name="connsiteY15" fmla="*/ 636548 h 923663"/>
              <a:gd name="connsiteX16" fmla="*/ 1065628 w 5287874"/>
              <a:gd name="connsiteY16" fmla="*/ 700877 h 923663"/>
              <a:gd name="connsiteX17" fmla="*/ 806725 w 5287874"/>
              <a:gd name="connsiteY17" fmla="*/ 737389 h 923663"/>
              <a:gd name="connsiteX18" fmla="*/ 453499 w 5287874"/>
              <a:gd name="connsiteY18" fmla="*/ 757341 h 923663"/>
              <a:gd name="connsiteX19" fmla="*/ 0 w 5287874"/>
              <a:gd name="connsiteY19" fmla="*/ 446206 h 923663"/>
              <a:gd name="connsiteX0" fmla="*/ 5287874 w 5287874"/>
              <a:gd name="connsiteY0" fmla="*/ 115212 h 843792"/>
              <a:gd name="connsiteX1" fmla="*/ 4949736 w 5287874"/>
              <a:gd name="connsiteY1" fmla="*/ 912 h 843792"/>
              <a:gd name="connsiteX2" fmla="*/ 4663987 w 5287874"/>
              <a:gd name="connsiteY2" fmla="*/ 77111 h 843792"/>
              <a:gd name="connsiteX3" fmla="*/ 4459199 w 5287874"/>
              <a:gd name="connsiteY3" fmla="*/ 334287 h 843792"/>
              <a:gd name="connsiteX4" fmla="*/ 4193110 w 5287874"/>
              <a:gd name="connsiteY4" fmla="*/ 567650 h 843792"/>
              <a:gd name="connsiteX5" fmla="*/ 3861998 w 5287874"/>
              <a:gd name="connsiteY5" fmla="*/ 743862 h 843792"/>
              <a:gd name="connsiteX6" fmla="*/ 3595860 w 5287874"/>
              <a:gd name="connsiteY6" fmla="*/ 834350 h 843792"/>
              <a:gd name="connsiteX7" fmla="*/ 3269366 w 5287874"/>
              <a:gd name="connsiteY7" fmla="*/ 518580 h 843792"/>
              <a:gd name="connsiteX8" fmla="*/ 3017195 w 5287874"/>
              <a:gd name="connsiteY8" fmla="*/ 594119 h 843792"/>
              <a:gd name="connsiteX9" fmla="*/ 2778969 w 5287874"/>
              <a:gd name="connsiteY9" fmla="*/ 642231 h 843792"/>
              <a:gd name="connsiteX10" fmla="*/ 2401613 w 5287874"/>
              <a:gd name="connsiteY10" fmla="*/ 612663 h 843792"/>
              <a:gd name="connsiteX11" fmla="*/ 2152660 w 5287874"/>
              <a:gd name="connsiteY11" fmla="*/ 500735 h 843792"/>
              <a:gd name="connsiteX12" fmla="*/ 1984939 w 5287874"/>
              <a:gd name="connsiteY12" fmla="*/ 411696 h 843792"/>
              <a:gd name="connsiteX13" fmla="*/ 1781478 w 5287874"/>
              <a:gd name="connsiteY13" fmla="*/ 286515 h 843792"/>
              <a:gd name="connsiteX14" fmla="*/ 1552930 w 5287874"/>
              <a:gd name="connsiteY14" fmla="*/ 466901 h 843792"/>
              <a:gd name="connsiteX15" fmla="*/ 1305354 w 5287874"/>
              <a:gd name="connsiteY15" fmla="*/ 636548 h 843792"/>
              <a:gd name="connsiteX16" fmla="*/ 1065628 w 5287874"/>
              <a:gd name="connsiteY16" fmla="*/ 700877 h 843792"/>
              <a:gd name="connsiteX17" fmla="*/ 806725 w 5287874"/>
              <a:gd name="connsiteY17" fmla="*/ 737389 h 843792"/>
              <a:gd name="connsiteX18" fmla="*/ 453499 w 5287874"/>
              <a:gd name="connsiteY18" fmla="*/ 757341 h 843792"/>
              <a:gd name="connsiteX19" fmla="*/ 0 w 5287874"/>
              <a:gd name="connsiteY19" fmla="*/ 446206 h 843792"/>
              <a:gd name="connsiteX0" fmla="*/ 5287874 w 5287874"/>
              <a:gd name="connsiteY0" fmla="*/ 115212 h 843792"/>
              <a:gd name="connsiteX1" fmla="*/ 4949736 w 5287874"/>
              <a:gd name="connsiteY1" fmla="*/ 912 h 843792"/>
              <a:gd name="connsiteX2" fmla="*/ 4663987 w 5287874"/>
              <a:gd name="connsiteY2" fmla="*/ 77111 h 843792"/>
              <a:gd name="connsiteX3" fmla="*/ 4459199 w 5287874"/>
              <a:gd name="connsiteY3" fmla="*/ 334287 h 843792"/>
              <a:gd name="connsiteX4" fmla="*/ 4193110 w 5287874"/>
              <a:gd name="connsiteY4" fmla="*/ 567650 h 843792"/>
              <a:gd name="connsiteX5" fmla="*/ 3861998 w 5287874"/>
              <a:gd name="connsiteY5" fmla="*/ 743862 h 843792"/>
              <a:gd name="connsiteX6" fmla="*/ 3595860 w 5287874"/>
              <a:gd name="connsiteY6" fmla="*/ 834350 h 843792"/>
              <a:gd name="connsiteX7" fmla="*/ 3269366 w 5287874"/>
              <a:gd name="connsiteY7" fmla="*/ 518580 h 843792"/>
              <a:gd name="connsiteX8" fmla="*/ 3017195 w 5287874"/>
              <a:gd name="connsiteY8" fmla="*/ 594119 h 843792"/>
              <a:gd name="connsiteX9" fmla="*/ 2778969 w 5287874"/>
              <a:gd name="connsiteY9" fmla="*/ 642231 h 843792"/>
              <a:gd name="connsiteX10" fmla="*/ 2401613 w 5287874"/>
              <a:gd name="connsiteY10" fmla="*/ 612663 h 843792"/>
              <a:gd name="connsiteX11" fmla="*/ 2152660 w 5287874"/>
              <a:gd name="connsiteY11" fmla="*/ 500735 h 843792"/>
              <a:gd name="connsiteX12" fmla="*/ 2006331 w 5287874"/>
              <a:gd name="connsiteY12" fmla="*/ 365800 h 843792"/>
              <a:gd name="connsiteX13" fmla="*/ 1781478 w 5287874"/>
              <a:gd name="connsiteY13" fmla="*/ 286515 h 843792"/>
              <a:gd name="connsiteX14" fmla="*/ 1552930 w 5287874"/>
              <a:gd name="connsiteY14" fmla="*/ 466901 h 843792"/>
              <a:gd name="connsiteX15" fmla="*/ 1305354 w 5287874"/>
              <a:gd name="connsiteY15" fmla="*/ 636548 h 843792"/>
              <a:gd name="connsiteX16" fmla="*/ 1065628 w 5287874"/>
              <a:gd name="connsiteY16" fmla="*/ 700877 h 843792"/>
              <a:gd name="connsiteX17" fmla="*/ 806725 w 5287874"/>
              <a:gd name="connsiteY17" fmla="*/ 737389 h 843792"/>
              <a:gd name="connsiteX18" fmla="*/ 453499 w 5287874"/>
              <a:gd name="connsiteY18" fmla="*/ 757341 h 843792"/>
              <a:gd name="connsiteX19" fmla="*/ 0 w 5287874"/>
              <a:gd name="connsiteY19" fmla="*/ 446206 h 843792"/>
              <a:gd name="connsiteX0" fmla="*/ 5287874 w 5287874"/>
              <a:gd name="connsiteY0" fmla="*/ 115212 h 762792"/>
              <a:gd name="connsiteX1" fmla="*/ 4949736 w 5287874"/>
              <a:gd name="connsiteY1" fmla="*/ 912 h 762792"/>
              <a:gd name="connsiteX2" fmla="*/ 4663987 w 5287874"/>
              <a:gd name="connsiteY2" fmla="*/ 77111 h 762792"/>
              <a:gd name="connsiteX3" fmla="*/ 4459199 w 5287874"/>
              <a:gd name="connsiteY3" fmla="*/ 334287 h 762792"/>
              <a:gd name="connsiteX4" fmla="*/ 4193110 w 5287874"/>
              <a:gd name="connsiteY4" fmla="*/ 567650 h 762792"/>
              <a:gd name="connsiteX5" fmla="*/ 3861998 w 5287874"/>
              <a:gd name="connsiteY5" fmla="*/ 743862 h 762792"/>
              <a:gd name="connsiteX6" fmla="*/ 3688556 w 5287874"/>
              <a:gd name="connsiteY6" fmla="*/ 234164 h 762792"/>
              <a:gd name="connsiteX7" fmla="*/ 3269366 w 5287874"/>
              <a:gd name="connsiteY7" fmla="*/ 518580 h 762792"/>
              <a:gd name="connsiteX8" fmla="*/ 3017195 w 5287874"/>
              <a:gd name="connsiteY8" fmla="*/ 594119 h 762792"/>
              <a:gd name="connsiteX9" fmla="*/ 2778969 w 5287874"/>
              <a:gd name="connsiteY9" fmla="*/ 642231 h 762792"/>
              <a:gd name="connsiteX10" fmla="*/ 2401613 w 5287874"/>
              <a:gd name="connsiteY10" fmla="*/ 612663 h 762792"/>
              <a:gd name="connsiteX11" fmla="*/ 2152660 w 5287874"/>
              <a:gd name="connsiteY11" fmla="*/ 500735 h 762792"/>
              <a:gd name="connsiteX12" fmla="*/ 2006331 w 5287874"/>
              <a:gd name="connsiteY12" fmla="*/ 365800 h 762792"/>
              <a:gd name="connsiteX13" fmla="*/ 1781478 w 5287874"/>
              <a:gd name="connsiteY13" fmla="*/ 286515 h 762792"/>
              <a:gd name="connsiteX14" fmla="*/ 1552930 w 5287874"/>
              <a:gd name="connsiteY14" fmla="*/ 466901 h 762792"/>
              <a:gd name="connsiteX15" fmla="*/ 1305354 w 5287874"/>
              <a:gd name="connsiteY15" fmla="*/ 636548 h 762792"/>
              <a:gd name="connsiteX16" fmla="*/ 1065628 w 5287874"/>
              <a:gd name="connsiteY16" fmla="*/ 700877 h 762792"/>
              <a:gd name="connsiteX17" fmla="*/ 806725 w 5287874"/>
              <a:gd name="connsiteY17" fmla="*/ 737389 h 762792"/>
              <a:gd name="connsiteX18" fmla="*/ 453499 w 5287874"/>
              <a:gd name="connsiteY18" fmla="*/ 757341 h 762792"/>
              <a:gd name="connsiteX19" fmla="*/ 0 w 5287874"/>
              <a:gd name="connsiteY19" fmla="*/ 446206 h 762792"/>
              <a:gd name="connsiteX0" fmla="*/ 5287874 w 5287874"/>
              <a:gd name="connsiteY0" fmla="*/ 147912 h 803176"/>
              <a:gd name="connsiteX1" fmla="*/ 4949736 w 5287874"/>
              <a:gd name="connsiteY1" fmla="*/ 33612 h 803176"/>
              <a:gd name="connsiteX2" fmla="*/ 4663987 w 5287874"/>
              <a:gd name="connsiteY2" fmla="*/ 109811 h 803176"/>
              <a:gd name="connsiteX3" fmla="*/ 4459199 w 5287874"/>
              <a:gd name="connsiteY3" fmla="*/ 366987 h 803176"/>
              <a:gd name="connsiteX4" fmla="*/ 4193110 w 5287874"/>
              <a:gd name="connsiteY4" fmla="*/ 600350 h 803176"/>
              <a:gd name="connsiteX5" fmla="*/ 3861998 w 5287874"/>
              <a:gd name="connsiteY5" fmla="*/ 776562 h 803176"/>
              <a:gd name="connsiteX6" fmla="*/ 3820470 w 5287874"/>
              <a:gd name="connsiteY6" fmla="*/ 2077 h 803176"/>
              <a:gd name="connsiteX7" fmla="*/ 3269366 w 5287874"/>
              <a:gd name="connsiteY7" fmla="*/ 551280 h 803176"/>
              <a:gd name="connsiteX8" fmla="*/ 3017195 w 5287874"/>
              <a:gd name="connsiteY8" fmla="*/ 626819 h 803176"/>
              <a:gd name="connsiteX9" fmla="*/ 2778969 w 5287874"/>
              <a:gd name="connsiteY9" fmla="*/ 674931 h 803176"/>
              <a:gd name="connsiteX10" fmla="*/ 2401613 w 5287874"/>
              <a:gd name="connsiteY10" fmla="*/ 645363 h 803176"/>
              <a:gd name="connsiteX11" fmla="*/ 2152660 w 5287874"/>
              <a:gd name="connsiteY11" fmla="*/ 533435 h 803176"/>
              <a:gd name="connsiteX12" fmla="*/ 2006331 w 5287874"/>
              <a:gd name="connsiteY12" fmla="*/ 398500 h 803176"/>
              <a:gd name="connsiteX13" fmla="*/ 1781478 w 5287874"/>
              <a:gd name="connsiteY13" fmla="*/ 319215 h 803176"/>
              <a:gd name="connsiteX14" fmla="*/ 1552930 w 5287874"/>
              <a:gd name="connsiteY14" fmla="*/ 499601 h 803176"/>
              <a:gd name="connsiteX15" fmla="*/ 1305354 w 5287874"/>
              <a:gd name="connsiteY15" fmla="*/ 669248 h 803176"/>
              <a:gd name="connsiteX16" fmla="*/ 1065628 w 5287874"/>
              <a:gd name="connsiteY16" fmla="*/ 733577 h 803176"/>
              <a:gd name="connsiteX17" fmla="*/ 806725 w 5287874"/>
              <a:gd name="connsiteY17" fmla="*/ 770089 h 803176"/>
              <a:gd name="connsiteX18" fmla="*/ 453499 w 5287874"/>
              <a:gd name="connsiteY18" fmla="*/ 790041 h 803176"/>
              <a:gd name="connsiteX19" fmla="*/ 0 w 5287874"/>
              <a:gd name="connsiteY19" fmla="*/ 478906 h 803176"/>
              <a:gd name="connsiteX0" fmla="*/ 5287874 w 5287874"/>
              <a:gd name="connsiteY0" fmla="*/ 248835 h 896415"/>
              <a:gd name="connsiteX1" fmla="*/ 4949736 w 5287874"/>
              <a:gd name="connsiteY1" fmla="*/ 134535 h 896415"/>
              <a:gd name="connsiteX2" fmla="*/ 4663987 w 5287874"/>
              <a:gd name="connsiteY2" fmla="*/ 210734 h 896415"/>
              <a:gd name="connsiteX3" fmla="*/ 4459199 w 5287874"/>
              <a:gd name="connsiteY3" fmla="*/ 467910 h 896415"/>
              <a:gd name="connsiteX4" fmla="*/ 4193110 w 5287874"/>
              <a:gd name="connsiteY4" fmla="*/ 701273 h 896415"/>
              <a:gd name="connsiteX5" fmla="*/ 4154347 w 5287874"/>
              <a:gd name="connsiteY5" fmla="*/ 54878 h 896415"/>
              <a:gd name="connsiteX6" fmla="*/ 3820470 w 5287874"/>
              <a:gd name="connsiteY6" fmla="*/ 103000 h 896415"/>
              <a:gd name="connsiteX7" fmla="*/ 3269366 w 5287874"/>
              <a:gd name="connsiteY7" fmla="*/ 652203 h 896415"/>
              <a:gd name="connsiteX8" fmla="*/ 3017195 w 5287874"/>
              <a:gd name="connsiteY8" fmla="*/ 727742 h 896415"/>
              <a:gd name="connsiteX9" fmla="*/ 2778969 w 5287874"/>
              <a:gd name="connsiteY9" fmla="*/ 775854 h 896415"/>
              <a:gd name="connsiteX10" fmla="*/ 2401613 w 5287874"/>
              <a:gd name="connsiteY10" fmla="*/ 746286 h 896415"/>
              <a:gd name="connsiteX11" fmla="*/ 2152660 w 5287874"/>
              <a:gd name="connsiteY11" fmla="*/ 634358 h 896415"/>
              <a:gd name="connsiteX12" fmla="*/ 2006331 w 5287874"/>
              <a:gd name="connsiteY12" fmla="*/ 499423 h 896415"/>
              <a:gd name="connsiteX13" fmla="*/ 1781478 w 5287874"/>
              <a:gd name="connsiteY13" fmla="*/ 420138 h 896415"/>
              <a:gd name="connsiteX14" fmla="*/ 1552930 w 5287874"/>
              <a:gd name="connsiteY14" fmla="*/ 600524 h 896415"/>
              <a:gd name="connsiteX15" fmla="*/ 1305354 w 5287874"/>
              <a:gd name="connsiteY15" fmla="*/ 770171 h 896415"/>
              <a:gd name="connsiteX16" fmla="*/ 1065628 w 5287874"/>
              <a:gd name="connsiteY16" fmla="*/ 834500 h 896415"/>
              <a:gd name="connsiteX17" fmla="*/ 806725 w 5287874"/>
              <a:gd name="connsiteY17" fmla="*/ 871012 h 896415"/>
              <a:gd name="connsiteX18" fmla="*/ 453499 w 5287874"/>
              <a:gd name="connsiteY18" fmla="*/ 890964 h 896415"/>
              <a:gd name="connsiteX19" fmla="*/ 0 w 5287874"/>
              <a:gd name="connsiteY19" fmla="*/ 579829 h 896415"/>
              <a:gd name="connsiteX0" fmla="*/ 5287874 w 5287874"/>
              <a:gd name="connsiteY0" fmla="*/ 220960 h 868540"/>
              <a:gd name="connsiteX1" fmla="*/ 4949736 w 5287874"/>
              <a:gd name="connsiteY1" fmla="*/ 106660 h 868540"/>
              <a:gd name="connsiteX2" fmla="*/ 4663987 w 5287874"/>
              <a:gd name="connsiteY2" fmla="*/ 182859 h 868540"/>
              <a:gd name="connsiteX3" fmla="*/ 4459199 w 5287874"/>
              <a:gd name="connsiteY3" fmla="*/ 440035 h 868540"/>
              <a:gd name="connsiteX4" fmla="*/ 4378502 w 5287874"/>
              <a:gd name="connsiteY4" fmla="*/ 34377 h 868540"/>
              <a:gd name="connsiteX5" fmla="*/ 4154347 w 5287874"/>
              <a:gd name="connsiteY5" fmla="*/ 27003 h 868540"/>
              <a:gd name="connsiteX6" fmla="*/ 3820470 w 5287874"/>
              <a:gd name="connsiteY6" fmla="*/ 75125 h 868540"/>
              <a:gd name="connsiteX7" fmla="*/ 3269366 w 5287874"/>
              <a:gd name="connsiteY7" fmla="*/ 624328 h 868540"/>
              <a:gd name="connsiteX8" fmla="*/ 3017195 w 5287874"/>
              <a:gd name="connsiteY8" fmla="*/ 699867 h 868540"/>
              <a:gd name="connsiteX9" fmla="*/ 2778969 w 5287874"/>
              <a:gd name="connsiteY9" fmla="*/ 747979 h 868540"/>
              <a:gd name="connsiteX10" fmla="*/ 2401613 w 5287874"/>
              <a:gd name="connsiteY10" fmla="*/ 718411 h 868540"/>
              <a:gd name="connsiteX11" fmla="*/ 2152660 w 5287874"/>
              <a:gd name="connsiteY11" fmla="*/ 606483 h 868540"/>
              <a:gd name="connsiteX12" fmla="*/ 2006331 w 5287874"/>
              <a:gd name="connsiteY12" fmla="*/ 471548 h 868540"/>
              <a:gd name="connsiteX13" fmla="*/ 1781478 w 5287874"/>
              <a:gd name="connsiteY13" fmla="*/ 392263 h 868540"/>
              <a:gd name="connsiteX14" fmla="*/ 1552930 w 5287874"/>
              <a:gd name="connsiteY14" fmla="*/ 572649 h 868540"/>
              <a:gd name="connsiteX15" fmla="*/ 1305354 w 5287874"/>
              <a:gd name="connsiteY15" fmla="*/ 742296 h 868540"/>
              <a:gd name="connsiteX16" fmla="*/ 1065628 w 5287874"/>
              <a:gd name="connsiteY16" fmla="*/ 806625 h 868540"/>
              <a:gd name="connsiteX17" fmla="*/ 806725 w 5287874"/>
              <a:gd name="connsiteY17" fmla="*/ 843137 h 868540"/>
              <a:gd name="connsiteX18" fmla="*/ 453499 w 5287874"/>
              <a:gd name="connsiteY18" fmla="*/ 863089 h 868540"/>
              <a:gd name="connsiteX19" fmla="*/ 0 w 5287874"/>
              <a:gd name="connsiteY19" fmla="*/ 551954 h 868540"/>
              <a:gd name="connsiteX0" fmla="*/ 5287874 w 5287874"/>
              <a:gd name="connsiteY0" fmla="*/ 296334 h 943914"/>
              <a:gd name="connsiteX1" fmla="*/ 4949736 w 5287874"/>
              <a:gd name="connsiteY1" fmla="*/ 182034 h 943914"/>
              <a:gd name="connsiteX2" fmla="*/ 4663987 w 5287874"/>
              <a:gd name="connsiteY2" fmla="*/ 258233 h 943914"/>
              <a:gd name="connsiteX3" fmla="*/ 4623200 w 5287874"/>
              <a:gd name="connsiteY3" fmla="*/ 3486 h 943914"/>
              <a:gd name="connsiteX4" fmla="*/ 4378502 w 5287874"/>
              <a:gd name="connsiteY4" fmla="*/ 109751 h 943914"/>
              <a:gd name="connsiteX5" fmla="*/ 4154347 w 5287874"/>
              <a:gd name="connsiteY5" fmla="*/ 102377 h 943914"/>
              <a:gd name="connsiteX6" fmla="*/ 3820470 w 5287874"/>
              <a:gd name="connsiteY6" fmla="*/ 150499 h 943914"/>
              <a:gd name="connsiteX7" fmla="*/ 3269366 w 5287874"/>
              <a:gd name="connsiteY7" fmla="*/ 699702 h 943914"/>
              <a:gd name="connsiteX8" fmla="*/ 3017195 w 5287874"/>
              <a:gd name="connsiteY8" fmla="*/ 775241 h 943914"/>
              <a:gd name="connsiteX9" fmla="*/ 2778969 w 5287874"/>
              <a:gd name="connsiteY9" fmla="*/ 823353 h 943914"/>
              <a:gd name="connsiteX10" fmla="*/ 2401613 w 5287874"/>
              <a:gd name="connsiteY10" fmla="*/ 793785 h 943914"/>
              <a:gd name="connsiteX11" fmla="*/ 2152660 w 5287874"/>
              <a:gd name="connsiteY11" fmla="*/ 681857 h 943914"/>
              <a:gd name="connsiteX12" fmla="*/ 2006331 w 5287874"/>
              <a:gd name="connsiteY12" fmla="*/ 546922 h 943914"/>
              <a:gd name="connsiteX13" fmla="*/ 1781478 w 5287874"/>
              <a:gd name="connsiteY13" fmla="*/ 467637 h 943914"/>
              <a:gd name="connsiteX14" fmla="*/ 1552930 w 5287874"/>
              <a:gd name="connsiteY14" fmla="*/ 648023 h 943914"/>
              <a:gd name="connsiteX15" fmla="*/ 1305354 w 5287874"/>
              <a:gd name="connsiteY15" fmla="*/ 817670 h 943914"/>
              <a:gd name="connsiteX16" fmla="*/ 1065628 w 5287874"/>
              <a:gd name="connsiteY16" fmla="*/ 881999 h 943914"/>
              <a:gd name="connsiteX17" fmla="*/ 806725 w 5287874"/>
              <a:gd name="connsiteY17" fmla="*/ 918511 h 943914"/>
              <a:gd name="connsiteX18" fmla="*/ 453499 w 5287874"/>
              <a:gd name="connsiteY18" fmla="*/ 938463 h 943914"/>
              <a:gd name="connsiteX19" fmla="*/ 0 w 5287874"/>
              <a:gd name="connsiteY19" fmla="*/ 627328 h 943914"/>
              <a:gd name="connsiteX0" fmla="*/ 5287874 w 5287874"/>
              <a:gd name="connsiteY0" fmla="*/ 330120 h 977700"/>
              <a:gd name="connsiteX1" fmla="*/ 4949736 w 5287874"/>
              <a:gd name="connsiteY1" fmla="*/ 215820 h 977700"/>
              <a:gd name="connsiteX2" fmla="*/ 4663987 w 5287874"/>
              <a:gd name="connsiteY2" fmla="*/ 292019 h 977700"/>
              <a:gd name="connsiteX3" fmla="*/ 4623200 w 5287874"/>
              <a:gd name="connsiteY3" fmla="*/ 37272 h 977700"/>
              <a:gd name="connsiteX4" fmla="*/ 4378502 w 5287874"/>
              <a:gd name="connsiteY4" fmla="*/ 143537 h 977700"/>
              <a:gd name="connsiteX5" fmla="*/ 4154347 w 5287874"/>
              <a:gd name="connsiteY5" fmla="*/ 136163 h 977700"/>
              <a:gd name="connsiteX6" fmla="*/ 3970210 w 5287874"/>
              <a:gd name="connsiteY6" fmla="*/ 28943 h 977700"/>
              <a:gd name="connsiteX7" fmla="*/ 3269366 w 5287874"/>
              <a:gd name="connsiteY7" fmla="*/ 733488 h 977700"/>
              <a:gd name="connsiteX8" fmla="*/ 3017195 w 5287874"/>
              <a:gd name="connsiteY8" fmla="*/ 809027 h 977700"/>
              <a:gd name="connsiteX9" fmla="*/ 2778969 w 5287874"/>
              <a:gd name="connsiteY9" fmla="*/ 857139 h 977700"/>
              <a:gd name="connsiteX10" fmla="*/ 2401613 w 5287874"/>
              <a:gd name="connsiteY10" fmla="*/ 827571 h 977700"/>
              <a:gd name="connsiteX11" fmla="*/ 2152660 w 5287874"/>
              <a:gd name="connsiteY11" fmla="*/ 715643 h 977700"/>
              <a:gd name="connsiteX12" fmla="*/ 2006331 w 5287874"/>
              <a:gd name="connsiteY12" fmla="*/ 580708 h 977700"/>
              <a:gd name="connsiteX13" fmla="*/ 1781478 w 5287874"/>
              <a:gd name="connsiteY13" fmla="*/ 501423 h 977700"/>
              <a:gd name="connsiteX14" fmla="*/ 1552930 w 5287874"/>
              <a:gd name="connsiteY14" fmla="*/ 681809 h 977700"/>
              <a:gd name="connsiteX15" fmla="*/ 1305354 w 5287874"/>
              <a:gd name="connsiteY15" fmla="*/ 851456 h 977700"/>
              <a:gd name="connsiteX16" fmla="*/ 1065628 w 5287874"/>
              <a:gd name="connsiteY16" fmla="*/ 915785 h 977700"/>
              <a:gd name="connsiteX17" fmla="*/ 806725 w 5287874"/>
              <a:gd name="connsiteY17" fmla="*/ 952297 h 977700"/>
              <a:gd name="connsiteX18" fmla="*/ 453499 w 5287874"/>
              <a:gd name="connsiteY18" fmla="*/ 972249 h 977700"/>
              <a:gd name="connsiteX19" fmla="*/ 0 w 5287874"/>
              <a:gd name="connsiteY19" fmla="*/ 661114 h 977700"/>
              <a:gd name="connsiteX0" fmla="*/ 5287874 w 5287874"/>
              <a:gd name="connsiteY0" fmla="*/ 325798 h 973378"/>
              <a:gd name="connsiteX1" fmla="*/ 4949736 w 5287874"/>
              <a:gd name="connsiteY1" fmla="*/ 211498 h 973378"/>
              <a:gd name="connsiteX2" fmla="*/ 4663987 w 5287874"/>
              <a:gd name="connsiteY2" fmla="*/ 287697 h 973378"/>
              <a:gd name="connsiteX3" fmla="*/ 4623200 w 5287874"/>
              <a:gd name="connsiteY3" fmla="*/ 32950 h 973378"/>
              <a:gd name="connsiteX4" fmla="*/ 4378502 w 5287874"/>
              <a:gd name="connsiteY4" fmla="*/ 139215 h 973378"/>
              <a:gd name="connsiteX5" fmla="*/ 4154347 w 5287874"/>
              <a:gd name="connsiteY5" fmla="*/ 131841 h 973378"/>
              <a:gd name="connsiteX6" fmla="*/ 3970210 w 5287874"/>
              <a:gd name="connsiteY6" fmla="*/ 24621 h 973378"/>
              <a:gd name="connsiteX7" fmla="*/ 3237279 w 5287874"/>
              <a:gd name="connsiteY7" fmla="*/ 662086 h 973378"/>
              <a:gd name="connsiteX8" fmla="*/ 3017195 w 5287874"/>
              <a:gd name="connsiteY8" fmla="*/ 804705 h 973378"/>
              <a:gd name="connsiteX9" fmla="*/ 2778969 w 5287874"/>
              <a:gd name="connsiteY9" fmla="*/ 852817 h 973378"/>
              <a:gd name="connsiteX10" fmla="*/ 2401613 w 5287874"/>
              <a:gd name="connsiteY10" fmla="*/ 823249 h 973378"/>
              <a:gd name="connsiteX11" fmla="*/ 2152660 w 5287874"/>
              <a:gd name="connsiteY11" fmla="*/ 711321 h 973378"/>
              <a:gd name="connsiteX12" fmla="*/ 2006331 w 5287874"/>
              <a:gd name="connsiteY12" fmla="*/ 576386 h 973378"/>
              <a:gd name="connsiteX13" fmla="*/ 1781478 w 5287874"/>
              <a:gd name="connsiteY13" fmla="*/ 497101 h 973378"/>
              <a:gd name="connsiteX14" fmla="*/ 1552930 w 5287874"/>
              <a:gd name="connsiteY14" fmla="*/ 677487 h 973378"/>
              <a:gd name="connsiteX15" fmla="*/ 1305354 w 5287874"/>
              <a:gd name="connsiteY15" fmla="*/ 847134 h 973378"/>
              <a:gd name="connsiteX16" fmla="*/ 1065628 w 5287874"/>
              <a:gd name="connsiteY16" fmla="*/ 911463 h 973378"/>
              <a:gd name="connsiteX17" fmla="*/ 806725 w 5287874"/>
              <a:gd name="connsiteY17" fmla="*/ 947975 h 973378"/>
              <a:gd name="connsiteX18" fmla="*/ 453499 w 5287874"/>
              <a:gd name="connsiteY18" fmla="*/ 967927 h 973378"/>
              <a:gd name="connsiteX19" fmla="*/ 0 w 5287874"/>
              <a:gd name="connsiteY19" fmla="*/ 656792 h 973378"/>
              <a:gd name="connsiteX0" fmla="*/ 5287874 w 5287874"/>
              <a:gd name="connsiteY0" fmla="*/ 341067 h 988647"/>
              <a:gd name="connsiteX1" fmla="*/ 4949736 w 5287874"/>
              <a:gd name="connsiteY1" fmla="*/ 226767 h 988647"/>
              <a:gd name="connsiteX2" fmla="*/ 4663987 w 5287874"/>
              <a:gd name="connsiteY2" fmla="*/ 302966 h 988647"/>
              <a:gd name="connsiteX3" fmla="*/ 4623200 w 5287874"/>
              <a:gd name="connsiteY3" fmla="*/ 48219 h 988647"/>
              <a:gd name="connsiteX4" fmla="*/ 4378502 w 5287874"/>
              <a:gd name="connsiteY4" fmla="*/ 154484 h 988647"/>
              <a:gd name="connsiteX5" fmla="*/ 4222087 w 5287874"/>
              <a:gd name="connsiteY5" fmla="*/ 76500 h 988647"/>
              <a:gd name="connsiteX6" fmla="*/ 3970210 w 5287874"/>
              <a:gd name="connsiteY6" fmla="*/ 39890 h 988647"/>
              <a:gd name="connsiteX7" fmla="*/ 3237279 w 5287874"/>
              <a:gd name="connsiteY7" fmla="*/ 677355 h 988647"/>
              <a:gd name="connsiteX8" fmla="*/ 3017195 w 5287874"/>
              <a:gd name="connsiteY8" fmla="*/ 819974 h 988647"/>
              <a:gd name="connsiteX9" fmla="*/ 2778969 w 5287874"/>
              <a:gd name="connsiteY9" fmla="*/ 868086 h 988647"/>
              <a:gd name="connsiteX10" fmla="*/ 2401613 w 5287874"/>
              <a:gd name="connsiteY10" fmla="*/ 838518 h 988647"/>
              <a:gd name="connsiteX11" fmla="*/ 2152660 w 5287874"/>
              <a:gd name="connsiteY11" fmla="*/ 726590 h 988647"/>
              <a:gd name="connsiteX12" fmla="*/ 2006331 w 5287874"/>
              <a:gd name="connsiteY12" fmla="*/ 591655 h 988647"/>
              <a:gd name="connsiteX13" fmla="*/ 1781478 w 5287874"/>
              <a:gd name="connsiteY13" fmla="*/ 512370 h 988647"/>
              <a:gd name="connsiteX14" fmla="*/ 1552930 w 5287874"/>
              <a:gd name="connsiteY14" fmla="*/ 692756 h 988647"/>
              <a:gd name="connsiteX15" fmla="*/ 1305354 w 5287874"/>
              <a:gd name="connsiteY15" fmla="*/ 862403 h 988647"/>
              <a:gd name="connsiteX16" fmla="*/ 1065628 w 5287874"/>
              <a:gd name="connsiteY16" fmla="*/ 926732 h 988647"/>
              <a:gd name="connsiteX17" fmla="*/ 806725 w 5287874"/>
              <a:gd name="connsiteY17" fmla="*/ 963244 h 988647"/>
              <a:gd name="connsiteX18" fmla="*/ 453499 w 5287874"/>
              <a:gd name="connsiteY18" fmla="*/ 983196 h 988647"/>
              <a:gd name="connsiteX19" fmla="*/ 0 w 5287874"/>
              <a:gd name="connsiteY19" fmla="*/ 672061 h 988647"/>
              <a:gd name="connsiteX0" fmla="*/ 5287874 w 5287874"/>
              <a:gd name="connsiteY0" fmla="*/ 345198 h 992778"/>
              <a:gd name="connsiteX1" fmla="*/ 4949736 w 5287874"/>
              <a:gd name="connsiteY1" fmla="*/ 230898 h 992778"/>
              <a:gd name="connsiteX2" fmla="*/ 4663987 w 5287874"/>
              <a:gd name="connsiteY2" fmla="*/ 307097 h 992778"/>
              <a:gd name="connsiteX3" fmla="*/ 4623200 w 5287874"/>
              <a:gd name="connsiteY3" fmla="*/ 52350 h 992778"/>
              <a:gd name="connsiteX4" fmla="*/ 4403459 w 5287874"/>
              <a:gd name="connsiteY4" fmla="*/ 285713 h 992778"/>
              <a:gd name="connsiteX5" fmla="*/ 4222087 w 5287874"/>
              <a:gd name="connsiteY5" fmla="*/ 80631 h 992778"/>
              <a:gd name="connsiteX6" fmla="*/ 3970210 w 5287874"/>
              <a:gd name="connsiteY6" fmla="*/ 44021 h 992778"/>
              <a:gd name="connsiteX7" fmla="*/ 3237279 w 5287874"/>
              <a:gd name="connsiteY7" fmla="*/ 681486 h 992778"/>
              <a:gd name="connsiteX8" fmla="*/ 3017195 w 5287874"/>
              <a:gd name="connsiteY8" fmla="*/ 824105 h 992778"/>
              <a:gd name="connsiteX9" fmla="*/ 2778969 w 5287874"/>
              <a:gd name="connsiteY9" fmla="*/ 872217 h 992778"/>
              <a:gd name="connsiteX10" fmla="*/ 2401613 w 5287874"/>
              <a:gd name="connsiteY10" fmla="*/ 842649 h 992778"/>
              <a:gd name="connsiteX11" fmla="*/ 2152660 w 5287874"/>
              <a:gd name="connsiteY11" fmla="*/ 730721 h 992778"/>
              <a:gd name="connsiteX12" fmla="*/ 2006331 w 5287874"/>
              <a:gd name="connsiteY12" fmla="*/ 595786 h 992778"/>
              <a:gd name="connsiteX13" fmla="*/ 1781478 w 5287874"/>
              <a:gd name="connsiteY13" fmla="*/ 516501 h 992778"/>
              <a:gd name="connsiteX14" fmla="*/ 1552930 w 5287874"/>
              <a:gd name="connsiteY14" fmla="*/ 696887 h 992778"/>
              <a:gd name="connsiteX15" fmla="*/ 1305354 w 5287874"/>
              <a:gd name="connsiteY15" fmla="*/ 866534 h 992778"/>
              <a:gd name="connsiteX16" fmla="*/ 1065628 w 5287874"/>
              <a:gd name="connsiteY16" fmla="*/ 930863 h 992778"/>
              <a:gd name="connsiteX17" fmla="*/ 806725 w 5287874"/>
              <a:gd name="connsiteY17" fmla="*/ 967375 h 992778"/>
              <a:gd name="connsiteX18" fmla="*/ 453499 w 5287874"/>
              <a:gd name="connsiteY18" fmla="*/ 987327 h 992778"/>
              <a:gd name="connsiteX19" fmla="*/ 0 w 5287874"/>
              <a:gd name="connsiteY19" fmla="*/ 676192 h 992778"/>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22087 w 6571833"/>
              <a:gd name="connsiteY5" fmla="*/ 506468 h 1418615"/>
              <a:gd name="connsiteX6" fmla="*/ 3970210 w 6571833"/>
              <a:gd name="connsiteY6" fmla="*/ 469858 h 1418615"/>
              <a:gd name="connsiteX7" fmla="*/ 3237279 w 6571833"/>
              <a:gd name="connsiteY7" fmla="*/ 1107323 h 1418615"/>
              <a:gd name="connsiteX8" fmla="*/ 3017195 w 6571833"/>
              <a:gd name="connsiteY8" fmla="*/ 1249942 h 1418615"/>
              <a:gd name="connsiteX9" fmla="*/ 2778969 w 6571833"/>
              <a:gd name="connsiteY9" fmla="*/ 1298054 h 1418615"/>
              <a:gd name="connsiteX10" fmla="*/ 2401613 w 6571833"/>
              <a:gd name="connsiteY10" fmla="*/ 1268486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22087 w 6571833"/>
              <a:gd name="connsiteY5" fmla="*/ 506468 h 1418615"/>
              <a:gd name="connsiteX6" fmla="*/ 3970210 w 6571833"/>
              <a:gd name="connsiteY6" fmla="*/ 469858 h 1418615"/>
              <a:gd name="connsiteX7" fmla="*/ 3237279 w 6571833"/>
              <a:gd name="connsiteY7" fmla="*/ 1107323 h 1418615"/>
              <a:gd name="connsiteX8" fmla="*/ 3017195 w 6571833"/>
              <a:gd name="connsiteY8" fmla="*/ 1249942 h 1418615"/>
              <a:gd name="connsiteX9" fmla="*/ 2778969 w 6571833"/>
              <a:gd name="connsiteY9" fmla="*/ 1298054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22087 w 6571833"/>
              <a:gd name="connsiteY5" fmla="*/ 506468 h 1418615"/>
              <a:gd name="connsiteX6" fmla="*/ 3970210 w 6571833"/>
              <a:gd name="connsiteY6" fmla="*/ 469858 h 1418615"/>
              <a:gd name="connsiteX7" fmla="*/ 3237279 w 6571833"/>
              <a:gd name="connsiteY7" fmla="*/ 1107323 h 1418615"/>
              <a:gd name="connsiteX8" fmla="*/ 3017195 w 6571833"/>
              <a:gd name="connsiteY8" fmla="*/ 124994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22087 w 6571833"/>
              <a:gd name="connsiteY5" fmla="*/ 506468 h 1418615"/>
              <a:gd name="connsiteX6" fmla="*/ 3970210 w 6571833"/>
              <a:gd name="connsiteY6" fmla="*/ 469858 h 1418615"/>
              <a:gd name="connsiteX7" fmla="*/ 3237279 w 6571833"/>
              <a:gd name="connsiteY7" fmla="*/ 1107323 h 1418615"/>
              <a:gd name="connsiteX8" fmla="*/ 3052372 w 6571833"/>
              <a:gd name="connsiteY8" fmla="*/ 118898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22087 w 6571833"/>
              <a:gd name="connsiteY5" fmla="*/ 506468 h 1418615"/>
              <a:gd name="connsiteX6" fmla="*/ 3970210 w 6571833"/>
              <a:gd name="connsiteY6" fmla="*/ 469858 h 1418615"/>
              <a:gd name="connsiteX7" fmla="*/ 3263662 w 6571833"/>
              <a:gd name="connsiteY7" fmla="*/ 1028946 h 1418615"/>
              <a:gd name="connsiteX8" fmla="*/ 3052372 w 6571833"/>
              <a:gd name="connsiteY8" fmla="*/ 118898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22087 w 6571833"/>
              <a:gd name="connsiteY5" fmla="*/ 506468 h 1418615"/>
              <a:gd name="connsiteX6" fmla="*/ 3688795 w 6571833"/>
              <a:gd name="connsiteY6" fmla="*/ 661446 h 1418615"/>
              <a:gd name="connsiteX7" fmla="*/ 3263662 w 6571833"/>
              <a:gd name="connsiteY7" fmla="*/ 1028946 h 1418615"/>
              <a:gd name="connsiteX8" fmla="*/ 3052372 w 6571833"/>
              <a:gd name="connsiteY8" fmla="*/ 118898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478187 h 1418615"/>
              <a:gd name="connsiteX4" fmla="*/ 4403459 w 6571833"/>
              <a:gd name="connsiteY4" fmla="*/ 711550 h 1418615"/>
              <a:gd name="connsiteX5" fmla="*/ 4283647 w 6571833"/>
              <a:gd name="connsiteY5" fmla="*/ 767725 h 1418615"/>
              <a:gd name="connsiteX6" fmla="*/ 3688795 w 6571833"/>
              <a:gd name="connsiteY6" fmla="*/ 661446 h 1418615"/>
              <a:gd name="connsiteX7" fmla="*/ 3263662 w 6571833"/>
              <a:gd name="connsiteY7" fmla="*/ 1028946 h 1418615"/>
              <a:gd name="connsiteX8" fmla="*/ 3052372 w 6571833"/>
              <a:gd name="connsiteY8" fmla="*/ 118898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896199 h 1418615"/>
              <a:gd name="connsiteX4" fmla="*/ 4403459 w 6571833"/>
              <a:gd name="connsiteY4" fmla="*/ 711550 h 1418615"/>
              <a:gd name="connsiteX5" fmla="*/ 4283647 w 6571833"/>
              <a:gd name="connsiteY5" fmla="*/ 767725 h 1418615"/>
              <a:gd name="connsiteX6" fmla="*/ 3688795 w 6571833"/>
              <a:gd name="connsiteY6" fmla="*/ 661446 h 1418615"/>
              <a:gd name="connsiteX7" fmla="*/ 3263662 w 6571833"/>
              <a:gd name="connsiteY7" fmla="*/ 1028946 h 1418615"/>
              <a:gd name="connsiteX8" fmla="*/ 3052372 w 6571833"/>
              <a:gd name="connsiteY8" fmla="*/ 118898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680 h 1418615"/>
              <a:gd name="connsiteX1" fmla="*/ 4949736 w 6571833"/>
              <a:gd name="connsiteY1" fmla="*/ 656735 h 1418615"/>
              <a:gd name="connsiteX2" fmla="*/ 4663987 w 6571833"/>
              <a:gd name="connsiteY2" fmla="*/ 732934 h 1418615"/>
              <a:gd name="connsiteX3" fmla="*/ 4623200 w 6571833"/>
              <a:gd name="connsiteY3" fmla="*/ 896199 h 1418615"/>
              <a:gd name="connsiteX4" fmla="*/ 4465019 w 6571833"/>
              <a:gd name="connsiteY4" fmla="*/ 894430 h 1418615"/>
              <a:gd name="connsiteX5" fmla="*/ 4283647 w 6571833"/>
              <a:gd name="connsiteY5" fmla="*/ 767725 h 1418615"/>
              <a:gd name="connsiteX6" fmla="*/ 3688795 w 6571833"/>
              <a:gd name="connsiteY6" fmla="*/ 661446 h 1418615"/>
              <a:gd name="connsiteX7" fmla="*/ 3263662 w 6571833"/>
              <a:gd name="connsiteY7" fmla="*/ 1028946 h 1418615"/>
              <a:gd name="connsiteX8" fmla="*/ 3052372 w 6571833"/>
              <a:gd name="connsiteY8" fmla="*/ 1188982 h 1418615"/>
              <a:gd name="connsiteX9" fmla="*/ 2814146 w 6571833"/>
              <a:gd name="connsiteY9" fmla="*/ 1228385 h 1418615"/>
              <a:gd name="connsiteX10" fmla="*/ 2410408 w 6571833"/>
              <a:gd name="connsiteY10" fmla="*/ 1233652 h 1418615"/>
              <a:gd name="connsiteX11" fmla="*/ 2152660 w 6571833"/>
              <a:gd name="connsiteY11" fmla="*/ 1156558 h 1418615"/>
              <a:gd name="connsiteX12" fmla="*/ 2006331 w 6571833"/>
              <a:gd name="connsiteY12" fmla="*/ 1021623 h 1418615"/>
              <a:gd name="connsiteX13" fmla="*/ 1781478 w 6571833"/>
              <a:gd name="connsiteY13" fmla="*/ 942338 h 1418615"/>
              <a:gd name="connsiteX14" fmla="*/ 1552930 w 6571833"/>
              <a:gd name="connsiteY14" fmla="*/ 1122724 h 1418615"/>
              <a:gd name="connsiteX15" fmla="*/ 1305354 w 6571833"/>
              <a:gd name="connsiteY15" fmla="*/ 1292371 h 1418615"/>
              <a:gd name="connsiteX16" fmla="*/ 1065628 w 6571833"/>
              <a:gd name="connsiteY16" fmla="*/ 1356700 h 1418615"/>
              <a:gd name="connsiteX17" fmla="*/ 806725 w 6571833"/>
              <a:gd name="connsiteY17" fmla="*/ 1393212 h 1418615"/>
              <a:gd name="connsiteX18" fmla="*/ 453499 w 6571833"/>
              <a:gd name="connsiteY18" fmla="*/ 1413164 h 1418615"/>
              <a:gd name="connsiteX19" fmla="*/ 0 w 6571833"/>
              <a:gd name="connsiteY19" fmla="*/ 1102029 h 1418615"/>
              <a:gd name="connsiteX0" fmla="*/ 6571833 w 6571833"/>
              <a:gd name="connsiteY0" fmla="*/ 4864 h 1418799"/>
              <a:gd name="connsiteX1" fmla="*/ 4949736 w 6571833"/>
              <a:gd name="connsiteY1" fmla="*/ 656919 h 1418799"/>
              <a:gd name="connsiteX2" fmla="*/ 4848666 w 6571833"/>
              <a:gd name="connsiteY2" fmla="*/ 881163 h 1418799"/>
              <a:gd name="connsiteX3" fmla="*/ 4623200 w 6571833"/>
              <a:gd name="connsiteY3" fmla="*/ 896383 h 1418799"/>
              <a:gd name="connsiteX4" fmla="*/ 4465019 w 6571833"/>
              <a:gd name="connsiteY4" fmla="*/ 894614 h 1418799"/>
              <a:gd name="connsiteX5" fmla="*/ 4283647 w 6571833"/>
              <a:gd name="connsiteY5" fmla="*/ 767909 h 1418799"/>
              <a:gd name="connsiteX6" fmla="*/ 3688795 w 6571833"/>
              <a:gd name="connsiteY6" fmla="*/ 661630 h 1418799"/>
              <a:gd name="connsiteX7" fmla="*/ 3263662 w 6571833"/>
              <a:gd name="connsiteY7" fmla="*/ 1029130 h 1418799"/>
              <a:gd name="connsiteX8" fmla="*/ 3052372 w 6571833"/>
              <a:gd name="connsiteY8" fmla="*/ 1189166 h 1418799"/>
              <a:gd name="connsiteX9" fmla="*/ 2814146 w 6571833"/>
              <a:gd name="connsiteY9" fmla="*/ 1228569 h 1418799"/>
              <a:gd name="connsiteX10" fmla="*/ 2410408 w 6571833"/>
              <a:gd name="connsiteY10" fmla="*/ 1233836 h 1418799"/>
              <a:gd name="connsiteX11" fmla="*/ 2152660 w 6571833"/>
              <a:gd name="connsiteY11" fmla="*/ 1156742 h 1418799"/>
              <a:gd name="connsiteX12" fmla="*/ 2006331 w 6571833"/>
              <a:gd name="connsiteY12" fmla="*/ 1021807 h 1418799"/>
              <a:gd name="connsiteX13" fmla="*/ 1781478 w 6571833"/>
              <a:gd name="connsiteY13" fmla="*/ 942522 h 1418799"/>
              <a:gd name="connsiteX14" fmla="*/ 1552930 w 6571833"/>
              <a:gd name="connsiteY14" fmla="*/ 1122908 h 1418799"/>
              <a:gd name="connsiteX15" fmla="*/ 1305354 w 6571833"/>
              <a:gd name="connsiteY15" fmla="*/ 1292555 h 1418799"/>
              <a:gd name="connsiteX16" fmla="*/ 1065628 w 6571833"/>
              <a:gd name="connsiteY16" fmla="*/ 1356884 h 1418799"/>
              <a:gd name="connsiteX17" fmla="*/ 806725 w 6571833"/>
              <a:gd name="connsiteY17" fmla="*/ 1393396 h 1418799"/>
              <a:gd name="connsiteX18" fmla="*/ 453499 w 6571833"/>
              <a:gd name="connsiteY18" fmla="*/ 1413348 h 1418799"/>
              <a:gd name="connsiteX19" fmla="*/ 0 w 6571833"/>
              <a:gd name="connsiteY19" fmla="*/ 1102213 h 1418799"/>
              <a:gd name="connsiteX0" fmla="*/ 6571833 w 6571833"/>
              <a:gd name="connsiteY0" fmla="*/ 4864 h 1418799"/>
              <a:gd name="connsiteX1" fmla="*/ 4949736 w 6571833"/>
              <a:gd name="connsiteY1" fmla="*/ 656919 h 1418799"/>
              <a:gd name="connsiteX2" fmla="*/ 4848666 w 6571833"/>
              <a:gd name="connsiteY2" fmla="*/ 881163 h 1418799"/>
              <a:gd name="connsiteX3" fmla="*/ 4623200 w 6571833"/>
              <a:gd name="connsiteY3" fmla="*/ 896383 h 1418799"/>
              <a:gd name="connsiteX4" fmla="*/ 4412254 w 6571833"/>
              <a:gd name="connsiteY4" fmla="*/ 1016534 h 1418799"/>
              <a:gd name="connsiteX5" fmla="*/ 4283647 w 6571833"/>
              <a:gd name="connsiteY5" fmla="*/ 767909 h 1418799"/>
              <a:gd name="connsiteX6" fmla="*/ 3688795 w 6571833"/>
              <a:gd name="connsiteY6" fmla="*/ 661630 h 1418799"/>
              <a:gd name="connsiteX7" fmla="*/ 3263662 w 6571833"/>
              <a:gd name="connsiteY7" fmla="*/ 1029130 h 1418799"/>
              <a:gd name="connsiteX8" fmla="*/ 3052372 w 6571833"/>
              <a:gd name="connsiteY8" fmla="*/ 1189166 h 1418799"/>
              <a:gd name="connsiteX9" fmla="*/ 2814146 w 6571833"/>
              <a:gd name="connsiteY9" fmla="*/ 1228569 h 1418799"/>
              <a:gd name="connsiteX10" fmla="*/ 2410408 w 6571833"/>
              <a:gd name="connsiteY10" fmla="*/ 1233836 h 1418799"/>
              <a:gd name="connsiteX11" fmla="*/ 2152660 w 6571833"/>
              <a:gd name="connsiteY11" fmla="*/ 1156742 h 1418799"/>
              <a:gd name="connsiteX12" fmla="*/ 2006331 w 6571833"/>
              <a:gd name="connsiteY12" fmla="*/ 1021807 h 1418799"/>
              <a:gd name="connsiteX13" fmla="*/ 1781478 w 6571833"/>
              <a:gd name="connsiteY13" fmla="*/ 942522 h 1418799"/>
              <a:gd name="connsiteX14" fmla="*/ 1552930 w 6571833"/>
              <a:gd name="connsiteY14" fmla="*/ 1122908 h 1418799"/>
              <a:gd name="connsiteX15" fmla="*/ 1305354 w 6571833"/>
              <a:gd name="connsiteY15" fmla="*/ 1292555 h 1418799"/>
              <a:gd name="connsiteX16" fmla="*/ 1065628 w 6571833"/>
              <a:gd name="connsiteY16" fmla="*/ 1356884 h 1418799"/>
              <a:gd name="connsiteX17" fmla="*/ 806725 w 6571833"/>
              <a:gd name="connsiteY17" fmla="*/ 1393396 h 1418799"/>
              <a:gd name="connsiteX18" fmla="*/ 453499 w 6571833"/>
              <a:gd name="connsiteY18" fmla="*/ 1413348 h 1418799"/>
              <a:gd name="connsiteX19" fmla="*/ 0 w 6571833"/>
              <a:gd name="connsiteY19" fmla="*/ 1102213 h 1418799"/>
              <a:gd name="connsiteX0" fmla="*/ 6571833 w 6571833"/>
              <a:gd name="connsiteY0" fmla="*/ 4864 h 1418799"/>
              <a:gd name="connsiteX1" fmla="*/ 4949736 w 6571833"/>
              <a:gd name="connsiteY1" fmla="*/ 656919 h 1418799"/>
              <a:gd name="connsiteX2" fmla="*/ 4848666 w 6571833"/>
              <a:gd name="connsiteY2" fmla="*/ 881163 h 1418799"/>
              <a:gd name="connsiteX3" fmla="*/ 4623200 w 6571833"/>
              <a:gd name="connsiteY3" fmla="*/ 896383 h 1418799"/>
              <a:gd name="connsiteX4" fmla="*/ 4412254 w 6571833"/>
              <a:gd name="connsiteY4" fmla="*/ 1016534 h 1418799"/>
              <a:gd name="connsiteX5" fmla="*/ 4186910 w 6571833"/>
              <a:gd name="connsiteY5" fmla="*/ 942080 h 1418799"/>
              <a:gd name="connsiteX6" fmla="*/ 3688795 w 6571833"/>
              <a:gd name="connsiteY6" fmla="*/ 661630 h 1418799"/>
              <a:gd name="connsiteX7" fmla="*/ 3263662 w 6571833"/>
              <a:gd name="connsiteY7" fmla="*/ 1029130 h 1418799"/>
              <a:gd name="connsiteX8" fmla="*/ 3052372 w 6571833"/>
              <a:gd name="connsiteY8" fmla="*/ 1189166 h 1418799"/>
              <a:gd name="connsiteX9" fmla="*/ 2814146 w 6571833"/>
              <a:gd name="connsiteY9" fmla="*/ 1228569 h 1418799"/>
              <a:gd name="connsiteX10" fmla="*/ 2410408 w 6571833"/>
              <a:gd name="connsiteY10" fmla="*/ 1233836 h 1418799"/>
              <a:gd name="connsiteX11" fmla="*/ 2152660 w 6571833"/>
              <a:gd name="connsiteY11" fmla="*/ 1156742 h 1418799"/>
              <a:gd name="connsiteX12" fmla="*/ 2006331 w 6571833"/>
              <a:gd name="connsiteY12" fmla="*/ 1021807 h 1418799"/>
              <a:gd name="connsiteX13" fmla="*/ 1781478 w 6571833"/>
              <a:gd name="connsiteY13" fmla="*/ 942522 h 1418799"/>
              <a:gd name="connsiteX14" fmla="*/ 1552930 w 6571833"/>
              <a:gd name="connsiteY14" fmla="*/ 1122908 h 1418799"/>
              <a:gd name="connsiteX15" fmla="*/ 1305354 w 6571833"/>
              <a:gd name="connsiteY15" fmla="*/ 1292555 h 1418799"/>
              <a:gd name="connsiteX16" fmla="*/ 1065628 w 6571833"/>
              <a:gd name="connsiteY16" fmla="*/ 1356884 h 1418799"/>
              <a:gd name="connsiteX17" fmla="*/ 806725 w 6571833"/>
              <a:gd name="connsiteY17" fmla="*/ 1393396 h 1418799"/>
              <a:gd name="connsiteX18" fmla="*/ 453499 w 6571833"/>
              <a:gd name="connsiteY18" fmla="*/ 1413348 h 1418799"/>
              <a:gd name="connsiteX19" fmla="*/ 0 w 6571833"/>
              <a:gd name="connsiteY19" fmla="*/ 1102213 h 1418799"/>
              <a:gd name="connsiteX0" fmla="*/ 6571833 w 6571833"/>
              <a:gd name="connsiteY0" fmla="*/ 8025 h 1421960"/>
              <a:gd name="connsiteX1" fmla="*/ 5829160 w 6571833"/>
              <a:gd name="connsiteY1" fmla="*/ 416240 h 1421960"/>
              <a:gd name="connsiteX2" fmla="*/ 4848666 w 6571833"/>
              <a:gd name="connsiteY2" fmla="*/ 884324 h 1421960"/>
              <a:gd name="connsiteX3" fmla="*/ 4623200 w 6571833"/>
              <a:gd name="connsiteY3" fmla="*/ 899544 h 1421960"/>
              <a:gd name="connsiteX4" fmla="*/ 4412254 w 6571833"/>
              <a:gd name="connsiteY4" fmla="*/ 1019695 h 1421960"/>
              <a:gd name="connsiteX5" fmla="*/ 4186910 w 6571833"/>
              <a:gd name="connsiteY5" fmla="*/ 945241 h 1421960"/>
              <a:gd name="connsiteX6" fmla="*/ 3688795 w 6571833"/>
              <a:gd name="connsiteY6" fmla="*/ 664791 h 1421960"/>
              <a:gd name="connsiteX7" fmla="*/ 3263662 w 6571833"/>
              <a:gd name="connsiteY7" fmla="*/ 1032291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623200 w 6571833"/>
              <a:gd name="connsiteY3" fmla="*/ 899544 h 1421960"/>
              <a:gd name="connsiteX4" fmla="*/ 4412254 w 6571833"/>
              <a:gd name="connsiteY4" fmla="*/ 1019695 h 1421960"/>
              <a:gd name="connsiteX5" fmla="*/ 4186910 w 6571833"/>
              <a:gd name="connsiteY5" fmla="*/ 945241 h 1421960"/>
              <a:gd name="connsiteX6" fmla="*/ 3979004 w 6571833"/>
              <a:gd name="connsiteY6" fmla="*/ 647374 h 1421960"/>
              <a:gd name="connsiteX7" fmla="*/ 3263662 w 6571833"/>
              <a:gd name="connsiteY7" fmla="*/ 1032291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623200 w 6571833"/>
              <a:gd name="connsiteY3" fmla="*/ 899544 h 1421960"/>
              <a:gd name="connsiteX4" fmla="*/ 4412254 w 6571833"/>
              <a:gd name="connsiteY4" fmla="*/ 1019695 h 1421960"/>
              <a:gd name="connsiteX5" fmla="*/ 4186910 w 6571833"/>
              <a:gd name="connsiteY5" fmla="*/ 945241 h 1421960"/>
              <a:gd name="connsiteX6" fmla="*/ 3979004 w 6571833"/>
              <a:gd name="connsiteY6" fmla="*/ 647374 h 1421960"/>
              <a:gd name="connsiteX7" fmla="*/ 3457135 w 6571833"/>
              <a:gd name="connsiteY7" fmla="*/ 988749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623200 w 6571833"/>
              <a:gd name="connsiteY3" fmla="*/ 899544 h 1421960"/>
              <a:gd name="connsiteX4" fmla="*/ 4412254 w 6571833"/>
              <a:gd name="connsiteY4" fmla="*/ 1019695 h 1421960"/>
              <a:gd name="connsiteX5" fmla="*/ 4529885 w 6571833"/>
              <a:gd name="connsiteY5" fmla="*/ 945241 h 1421960"/>
              <a:gd name="connsiteX6" fmla="*/ 3979004 w 6571833"/>
              <a:gd name="connsiteY6" fmla="*/ 647374 h 1421960"/>
              <a:gd name="connsiteX7" fmla="*/ 3457135 w 6571833"/>
              <a:gd name="connsiteY7" fmla="*/ 988749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623200 w 6571833"/>
              <a:gd name="connsiteY3" fmla="*/ 899544 h 1421960"/>
              <a:gd name="connsiteX4" fmla="*/ 4764024 w 6571833"/>
              <a:gd name="connsiteY4" fmla="*/ 976152 h 1421960"/>
              <a:gd name="connsiteX5" fmla="*/ 4529885 w 6571833"/>
              <a:gd name="connsiteY5" fmla="*/ 945241 h 1421960"/>
              <a:gd name="connsiteX6" fmla="*/ 3979004 w 6571833"/>
              <a:gd name="connsiteY6" fmla="*/ 647374 h 1421960"/>
              <a:gd name="connsiteX7" fmla="*/ 3457135 w 6571833"/>
              <a:gd name="connsiteY7" fmla="*/ 988749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979004 w 6571833"/>
              <a:gd name="connsiteY6" fmla="*/ 647374 h 1421960"/>
              <a:gd name="connsiteX7" fmla="*/ 3457135 w 6571833"/>
              <a:gd name="connsiteY7" fmla="*/ 988749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855885 w 6571833"/>
              <a:gd name="connsiteY6" fmla="*/ 629957 h 1421960"/>
              <a:gd name="connsiteX7" fmla="*/ 3457135 w 6571833"/>
              <a:gd name="connsiteY7" fmla="*/ 988749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855885 w 6571833"/>
              <a:gd name="connsiteY6" fmla="*/ 629957 h 1421960"/>
              <a:gd name="connsiteX7" fmla="*/ 3501106 w 6571833"/>
              <a:gd name="connsiteY7" fmla="*/ 988749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855885 w 6571833"/>
              <a:gd name="connsiteY6" fmla="*/ 629957 h 1421960"/>
              <a:gd name="connsiteX7" fmla="*/ 3606637 w 6571833"/>
              <a:gd name="connsiteY7" fmla="*/ 1006166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552930 w 6571833"/>
              <a:gd name="connsiteY14" fmla="*/ 1126069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855885 w 6571833"/>
              <a:gd name="connsiteY6" fmla="*/ 629957 h 1421960"/>
              <a:gd name="connsiteX7" fmla="*/ 3606637 w 6571833"/>
              <a:gd name="connsiteY7" fmla="*/ 1006166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623283 w 6571833"/>
              <a:gd name="connsiteY14" fmla="*/ 1134778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855885 w 6571833"/>
              <a:gd name="connsiteY6" fmla="*/ 629957 h 1421960"/>
              <a:gd name="connsiteX7" fmla="*/ 3606637 w 6571833"/>
              <a:gd name="connsiteY7" fmla="*/ 1006166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658459 w 6571833"/>
              <a:gd name="connsiteY14" fmla="*/ 1187030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855885 w 6571833"/>
              <a:gd name="connsiteY6" fmla="*/ 629957 h 1421960"/>
              <a:gd name="connsiteX7" fmla="*/ 3641815 w 6571833"/>
              <a:gd name="connsiteY7" fmla="*/ 1023583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658459 w 6571833"/>
              <a:gd name="connsiteY14" fmla="*/ 1187030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3917445 w 6571833"/>
              <a:gd name="connsiteY6" fmla="*/ 586414 h 1421960"/>
              <a:gd name="connsiteX7" fmla="*/ 3641815 w 6571833"/>
              <a:gd name="connsiteY7" fmla="*/ 1023583 h 1421960"/>
              <a:gd name="connsiteX8" fmla="*/ 3052372 w 6571833"/>
              <a:gd name="connsiteY8" fmla="*/ 1192327 h 1421960"/>
              <a:gd name="connsiteX9" fmla="*/ 2814146 w 6571833"/>
              <a:gd name="connsiteY9" fmla="*/ 1231730 h 1421960"/>
              <a:gd name="connsiteX10" fmla="*/ 2410408 w 6571833"/>
              <a:gd name="connsiteY10" fmla="*/ 1236997 h 1421960"/>
              <a:gd name="connsiteX11" fmla="*/ 2152660 w 6571833"/>
              <a:gd name="connsiteY11" fmla="*/ 1159903 h 1421960"/>
              <a:gd name="connsiteX12" fmla="*/ 2006331 w 6571833"/>
              <a:gd name="connsiteY12" fmla="*/ 1024968 h 1421960"/>
              <a:gd name="connsiteX13" fmla="*/ 1781478 w 6571833"/>
              <a:gd name="connsiteY13" fmla="*/ 945683 h 1421960"/>
              <a:gd name="connsiteX14" fmla="*/ 1658459 w 6571833"/>
              <a:gd name="connsiteY14" fmla="*/ 1187030 h 1421960"/>
              <a:gd name="connsiteX15" fmla="*/ 1305354 w 6571833"/>
              <a:gd name="connsiteY15" fmla="*/ 1295716 h 1421960"/>
              <a:gd name="connsiteX16" fmla="*/ 1065628 w 6571833"/>
              <a:gd name="connsiteY16" fmla="*/ 1360045 h 1421960"/>
              <a:gd name="connsiteX17" fmla="*/ 806725 w 6571833"/>
              <a:gd name="connsiteY17" fmla="*/ 1396557 h 1421960"/>
              <a:gd name="connsiteX18" fmla="*/ 453499 w 6571833"/>
              <a:gd name="connsiteY18" fmla="*/ 1416509 h 1421960"/>
              <a:gd name="connsiteX19" fmla="*/ 0 w 6571833"/>
              <a:gd name="connsiteY19"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4136199 w 6571833"/>
              <a:gd name="connsiteY6" fmla="*/ 820907 h 1421960"/>
              <a:gd name="connsiteX7" fmla="*/ 3917445 w 6571833"/>
              <a:gd name="connsiteY7" fmla="*/ 586414 h 1421960"/>
              <a:gd name="connsiteX8" fmla="*/ 3641815 w 6571833"/>
              <a:gd name="connsiteY8" fmla="*/ 1023583 h 1421960"/>
              <a:gd name="connsiteX9" fmla="*/ 3052372 w 6571833"/>
              <a:gd name="connsiteY9" fmla="*/ 1192327 h 1421960"/>
              <a:gd name="connsiteX10" fmla="*/ 2814146 w 6571833"/>
              <a:gd name="connsiteY10" fmla="*/ 1231730 h 1421960"/>
              <a:gd name="connsiteX11" fmla="*/ 2410408 w 6571833"/>
              <a:gd name="connsiteY11" fmla="*/ 1236997 h 1421960"/>
              <a:gd name="connsiteX12" fmla="*/ 2152660 w 6571833"/>
              <a:gd name="connsiteY12" fmla="*/ 1159903 h 1421960"/>
              <a:gd name="connsiteX13" fmla="*/ 2006331 w 6571833"/>
              <a:gd name="connsiteY13" fmla="*/ 1024968 h 1421960"/>
              <a:gd name="connsiteX14" fmla="*/ 1781478 w 6571833"/>
              <a:gd name="connsiteY14" fmla="*/ 945683 h 1421960"/>
              <a:gd name="connsiteX15" fmla="*/ 1658459 w 6571833"/>
              <a:gd name="connsiteY15" fmla="*/ 1187030 h 1421960"/>
              <a:gd name="connsiteX16" fmla="*/ 1305354 w 6571833"/>
              <a:gd name="connsiteY16" fmla="*/ 1295716 h 1421960"/>
              <a:gd name="connsiteX17" fmla="*/ 1065628 w 6571833"/>
              <a:gd name="connsiteY17" fmla="*/ 1360045 h 1421960"/>
              <a:gd name="connsiteX18" fmla="*/ 806725 w 6571833"/>
              <a:gd name="connsiteY18" fmla="*/ 1396557 h 1421960"/>
              <a:gd name="connsiteX19" fmla="*/ 453499 w 6571833"/>
              <a:gd name="connsiteY19" fmla="*/ 1416509 h 1421960"/>
              <a:gd name="connsiteX20" fmla="*/ 0 w 6571833"/>
              <a:gd name="connsiteY20"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764024 w 6571833"/>
              <a:gd name="connsiteY4" fmla="*/ 976152 h 1421960"/>
              <a:gd name="connsiteX5" fmla="*/ 4529885 w 6571833"/>
              <a:gd name="connsiteY5" fmla="*/ 945241 h 1421960"/>
              <a:gd name="connsiteX6" fmla="*/ 4136199 w 6571833"/>
              <a:gd name="connsiteY6" fmla="*/ 820907 h 1421960"/>
              <a:gd name="connsiteX7" fmla="*/ 3917445 w 6571833"/>
              <a:gd name="connsiteY7" fmla="*/ 586414 h 1421960"/>
              <a:gd name="connsiteX8" fmla="*/ 3641815 w 6571833"/>
              <a:gd name="connsiteY8" fmla="*/ 1023583 h 1421960"/>
              <a:gd name="connsiteX9" fmla="*/ 3052372 w 6571833"/>
              <a:gd name="connsiteY9" fmla="*/ 1192327 h 1421960"/>
              <a:gd name="connsiteX10" fmla="*/ 2814146 w 6571833"/>
              <a:gd name="connsiteY10" fmla="*/ 1231730 h 1421960"/>
              <a:gd name="connsiteX11" fmla="*/ 2410408 w 6571833"/>
              <a:gd name="connsiteY11" fmla="*/ 1236997 h 1421960"/>
              <a:gd name="connsiteX12" fmla="*/ 2152660 w 6571833"/>
              <a:gd name="connsiteY12" fmla="*/ 1159903 h 1421960"/>
              <a:gd name="connsiteX13" fmla="*/ 2006331 w 6571833"/>
              <a:gd name="connsiteY13" fmla="*/ 1024968 h 1421960"/>
              <a:gd name="connsiteX14" fmla="*/ 1781478 w 6571833"/>
              <a:gd name="connsiteY14" fmla="*/ 945683 h 1421960"/>
              <a:gd name="connsiteX15" fmla="*/ 1658459 w 6571833"/>
              <a:gd name="connsiteY15" fmla="*/ 1187030 h 1421960"/>
              <a:gd name="connsiteX16" fmla="*/ 1305354 w 6571833"/>
              <a:gd name="connsiteY16" fmla="*/ 1295716 h 1421960"/>
              <a:gd name="connsiteX17" fmla="*/ 1065628 w 6571833"/>
              <a:gd name="connsiteY17" fmla="*/ 1360045 h 1421960"/>
              <a:gd name="connsiteX18" fmla="*/ 806725 w 6571833"/>
              <a:gd name="connsiteY18" fmla="*/ 1396557 h 1421960"/>
              <a:gd name="connsiteX19" fmla="*/ 453499 w 6571833"/>
              <a:gd name="connsiteY19" fmla="*/ 1416509 h 1421960"/>
              <a:gd name="connsiteX20" fmla="*/ 0 w 6571833"/>
              <a:gd name="connsiteY20"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4974969 w 6571833"/>
              <a:gd name="connsiteY3" fmla="*/ 795041 h 1421960"/>
              <a:gd name="connsiteX4" fmla="*/ 4966293 w 6571833"/>
              <a:gd name="connsiteY4" fmla="*/ 906484 h 1421960"/>
              <a:gd name="connsiteX5" fmla="*/ 4529885 w 6571833"/>
              <a:gd name="connsiteY5" fmla="*/ 945241 h 1421960"/>
              <a:gd name="connsiteX6" fmla="*/ 4136199 w 6571833"/>
              <a:gd name="connsiteY6" fmla="*/ 820907 h 1421960"/>
              <a:gd name="connsiteX7" fmla="*/ 3917445 w 6571833"/>
              <a:gd name="connsiteY7" fmla="*/ 586414 h 1421960"/>
              <a:gd name="connsiteX8" fmla="*/ 3641815 w 6571833"/>
              <a:gd name="connsiteY8" fmla="*/ 1023583 h 1421960"/>
              <a:gd name="connsiteX9" fmla="*/ 3052372 w 6571833"/>
              <a:gd name="connsiteY9" fmla="*/ 1192327 h 1421960"/>
              <a:gd name="connsiteX10" fmla="*/ 2814146 w 6571833"/>
              <a:gd name="connsiteY10" fmla="*/ 1231730 h 1421960"/>
              <a:gd name="connsiteX11" fmla="*/ 2410408 w 6571833"/>
              <a:gd name="connsiteY11" fmla="*/ 1236997 h 1421960"/>
              <a:gd name="connsiteX12" fmla="*/ 2152660 w 6571833"/>
              <a:gd name="connsiteY12" fmla="*/ 1159903 h 1421960"/>
              <a:gd name="connsiteX13" fmla="*/ 2006331 w 6571833"/>
              <a:gd name="connsiteY13" fmla="*/ 1024968 h 1421960"/>
              <a:gd name="connsiteX14" fmla="*/ 1781478 w 6571833"/>
              <a:gd name="connsiteY14" fmla="*/ 945683 h 1421960"/>
              <a:gd name="connsiteX15" fmla="*/ 1658459 w 6571833"/>
              <a:gd name="connsiteY15" fmla="*/ 1187030 h 1421960"/>
              <a:gd name="connsiteX16" fmla="*/ 1305354 w 6571833"/>
              <a:gd name="connsiteY16" fmla="*/ 1295716 h 1421960"/>
              <a:gd name="connsiteX17" fmla="*/ 1065628 w 6571833"/>
              <a:gd name="connsiteY17" fmla="*/ 1360045 h 1421960"/>
              <a:gd name="connsiteX18" fmla="*/ 806725 w 6571833"/>
              <a:gd name="connsiteY18" fmla="*/ 1396557 h 1421960"/>
              <a:gd name="connsiteX19" fmla="*/ 453499 w 6571833"/>
              <a:gd name="connsiteY19" fmla="*/ 1416509 h 1421960"/>
              <a:gd name="connsiteX20" fmla="*/ 0 w 6571833"/>
              <a:gd name="connsiteY20" fmla="*/ 1105374 h 1421960"/>
              <a:gd name="connsiteX0" fmla="*/ 6571833 w 6571833"/>
              <a:gd name="connsiteY0" fmla="*/ 8025 h 1421960"/>
              <a:gd name="connsiteX1" fmla="*/ 5829160 w 6571833"/>
              <a:gd name="connsiteY1" fmla="*/ 416240 h 1421960"/>
              <a:gd name="connsiteX2" fmla="*/ 4848666 w 6571833"/>
              <a:gd name="connsiteY2" fmla="*/ 884324 h 1421960"/>
              <a:gd name="connsiteX3" fmla="*/ 5361916 w 6571833"/>
              <a:gd name="connsiteY3" fmla="*/ 786333 h 1421960"/>
              <a:gd name="connsiteX4" fmla="*/ 4966293 w 6571833"/>
              <a:gd name="connsiteY4" fmla="*/ 906484 h 1421960"/>
              <a:gd name="connsiteX5" fmla="*/ 4529885 w 6571833"/>
              <a:gd name="connsiteY5" fmla="*/ 945241 h 1421960"/>
              <a:gd name="connsiteX6" fmla="*/ 4136199 w 6571833"/>
              <a:gd name="connsiteY6" fmla="*/ 820907 h 1421960"/>
              <a:gd name="connsiteX7" fmla="*/ 3917445 w 6571833"/>
              <a:gd name="connsiteY7" fmla="*/ 586414 h 1421960"/>
              <a:gd name="connsiteX8" fmla="*/ 3641815 w 6571833"/>
              <a:gd name="connsiteY8" fmla="*/ 1023583 h 1421960"/>
              <a:gd name="connsiteX9" fmla="*/ 3052372 w 6571833"/>
              <a:gd name="connsiteY9" fmla="*/ 1192327 h 1421960"/>
              <a:gd name="connsiteX10" fmla="*/ 2814146 w 6571833"/>
              <a:gd name="connsiteY10" fmla="*/ 1231730 h 1421960"/>
              <a:gd name="connsiteX11" fmla="*/ 2410408 w 6571833"/>
              <a:gd name="connsiteY11" fmla="*/ 1236997 h 1421960"/>
              <a:gd name="connsiteX12" fmla="*/ 2152660 w 6571833"/>
              <a:gd name="connsiteY12" fmla="*/ 1159903 h 1421960"/>
              <a:gd name="connsiteX13" fmla="*/ 2006331 w 6571833"/>
              <a:gd name="connsiteY13" fmla="*/ 1024968 h 1421960"/>
              <a:gd name="connsiteX14" fmla="*/ 1781478 w 6571833"/>
              <a:gd name="connsiteY14" fmla="*/ 945683 h 1421960"/>
              <a:gd name="connsiteX15" fmla="*/ 1658459 w 6571833"/>
              <a:gd name="connsiteY15" fmla="*/ 1187030 h 1421960"/>
              <a:gd name="connsiteX16" fmla="*/ 1305354 w 6571833"/>
              <a:gd name="connsiteY16" fmla="*/ 1295716 h 1421960"/>
              <a:gd name="connsiteX17" fmla="*/ 1065628 w 6571833"/>
              <a:gd name="connsiteY17" fmla="*/ 1360045 h 1421960"/>
              <a:gd name="connsiteX18" fmla="*/ 806725 w 6571833"/>
              <a:gd name="connsiteY18" fmla="*/ 1396557 h 1421960"/>
              <a:gd name="connsiteX19" fmla="*/ 453499 w 6571833"/>
              <a:gd name="connsiteY19" fmla="*/ 1416509 h 1421960"/>
              <a:gd name="connsiteX20" fmla="*/ 0 w 6571833"/>
              <a:gd name="connsiteY20" fmla="*/ 1105374 h 1421960"/>
              <a:gd name="connsiteX0" fmla="*/ 6571833 w 6571833"/>
              <a:gd name="connsiteY0" fmla="*/ 7390 h 1421325"/>
              <a:gd name="connsiteX1" fmla="*/ 5829160 w 6571833"/>
              <a:gd name="connsiteY1" fmla="*/ 415605 h 1421325"/>
              <a:gd name="connsiteX2" fmla="*/ 5517027 w 6571833"/>
              <a:gd name="connsiteY2" fmla="*/ 683392 h 1421325"/>
              <a:gd name="connsiteX3" fmla="*/ 5361916 w 6571833"/>
              <a:gd name="connsiteY3" fmla="*/ 785698 h 1421325"/>
              <a:gd name="connsiteX4" fmla="*/ 4966293 w 6571833"/>
              <a:gd name="connsiteY4" fmla="*/ 905849 h 1421325"/>
              <a:gd name="connsiteX5" fmla="*/ 4529885 w 6571833"/>
              <a:gd name="connsiteY5" fmla="*/ 944606 h 1421325"/>
              <a:gd name="connsiteX6" fmla="*/ 4136199 w 6571833"/>
              <a:gd name="connsiteY6" fmla="*/ 820272 h 1421325"/>
              <a:gd name="connsiteX7" fmla="*/ 3917445 w 6571833"/>
              <a:gd name="connsiteY7" fmla="*/ 585779 h 1421325"/>
              <a:gd name="connsiteX8" fmla="*/ 3641815 w 6571833"/>
              <a:gd name="connsiteY8" fmla="*/ 1022948 h 1421325"/>
              <a:gd name="connsiteX9" fmla="*/ 3052372 w 6571833"/>
              <a:gd name="connsiteY9" fmla="*/ 1191692 h 1421325"/>
              <a:gd name="connsiteX10" fmla="*/ 2814146 w 6571833"/>
              <a:gd name="connsiteY10" fmla="*/ 1231095 h 1421325"/>
              <a:gd name="connsiteX11" fmla="*/ 2410408 w 6571833"/>
              <a:gd name="connsiteY11" fmla="*/ 1236362 h 1421325"/>
              <a:gd name="connsiteX12" fmla="*/ 2152660 w 6571833"/>
              <a:gd name="connsiteY12" fmla="*/ 1159268 h 1421325"/>
              <a:gd name="connsiteX13" fmla="*/ 2006331 w 6571833"/>
              <a:gd name="connsiteY13" fmla="*/ 1024333 h 1421325"/>
              <a:gd name="connsiteX14" fmla="*/ 1781478 w 6571833"/>
              <a:gd name="connsiteY14" fmla="*/ 945048 h 1421325"/>
              <a:gd name="connsiteX15" fmla="*/ 1658459 w 6571833"/>
              <a:gd name="connsiteY15" fmla="*/ 1186395 h 1421325"/>
              <a:gd name="connsiteX16" fmla="*/ 1305354 w 6571833"/>
              <a:gd name="connsiteY16" fmla="*/ 1295081 h 1421325"/>
              <a:gd name="connsiteX17" fmla="*/ 1065628 w 6571833"/>
              <a:gd name="connsiteY17" fmla="*/ 1359410 h 1421325"/>
              <a:gd name="connsiteX18" fmla="*/ 806725 w 6571833"/>
              <a:gd name="connsiteY18" fmla="*/ 1395922 h 1421325"/>
              <a:gd name="connsiteX19" fmla="*/ 453499 w 6571833"/>
              <a:gd name="connsiteY19" fmla="*/ 1415874 h 1421325"/>
              <a:gd name="connsiteX20" fmla="*/ 0 w 6571833"/>
              <a:gd name="connsiteY20" fmla="*/ 1104739 h 1421325"/>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2006331 w 6571833"/>
              <a:gd name="connsiteY13" fmla="*/ 1024333 h 1420843"/>
              <a:gd name="connsiteX14" fmla="*/ 1781478 w 6571833"/>
              <a:gd name="connsiteY14" fmla="*/ 945048 h 1420843"/>
              <a:gd name="connsiteX15" fmla="*/ 1658459 w 6571833"/>
              <a:gd name="connsiteY15" fmla="*/ 1186395 h 1420843"/>
              <a:gd name="connsiteX16" fmla="*/ 1305354 w 6571833"/>
              <a:gd name="connsiteY16" fmla="*/ 1295081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2006331 w 6571833"/>
              <a:gd name="connsiteY13" fmla="*/ 1024333 h 1420843"/>
              <a:gd name="connsiteX14" fmla="*/ 1781478 w 6571833"/>
              <a:gd name="connsiteY14" fmla="*/ 945048 h 1420843"/>
              <a:gd name="connsiteX15" fmla="*/ 1658459 w 6571833"/>
              <a:gd name="connsiteY15" fmla="*/ 1186395 h 1420843"/>
              <a:gd name="connsiteX16" fmla="*/ 1349324 w 6571833"/>
              <a:gd name="connsiteY16" fmla="*/ 1303790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2006331 w 6571833"/>
              <a:gd name="connsiteY13" fmla="*/ 1024333 h 1420843"/>
              <a:gd name="connsiteX14" fmla="*/ 1781478 w 6571833"/>
              <a:gd name="connsiteY14" fmla="*/ 945048 h 1420843"/>
              <a:gd name="connsiteX15" fmla="*/ 1632077 w 6571833"/>
              <a:gd name="connsiteY15" fmla="*/ 1160270 h 1420843"/>
              <a:gd name="connsiteX16" fmla="*/ 1349324 w 6571833"/>
              <a:gd name="connsiteY16" fmla="*/ 1303790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2006331 w 6571833"/>
              <a:gd name="connsiteY13" fmla="*/ 1024333 h 1420843"/>
              <a:gd name="connsiteX14" fmla="*/ 1781478 w 6571833"/>
              <a:gd name="connsiteY14" fmla="*/ 945048 h 1420843"/>
              <a:gd name="connsiteX15" fmla="*/ 1632077 w 6571833"/>
              <a:gd name="connsiteY15" fmla="*/ 1160270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2006331 w 6571833"/>
              <a:gd name="connsiteY13" fmla="*/ 1024333 h 1420843"/>
              <a:gd name="connsiteX14" fmla="*/ 1781478 w 6571833"/>
              <a:gd name="connsiteY14" fmla="*/ 945048 h 1420843"/>
              <a:gd name="connsiteX15" fmla="*/ 1667254 w 6571833"/>
              <a:gd name="connsiteY15" fmla="*/ 1168979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2006331 w 6571833"/>
              <a:gd name="connsiteY13" fmla="*/ 1094002 h 1420843"/>
              <a:gd name="connsiteX14" fmla="*/ 1781478 w 6571833"/>
              <a:gd name="connsiteY14" fmla="*/ 945048 h 1420843"/>
              <a:gd name="connsiteX15" fmla="*/ 1667254 w 6571833"/>
              <a:gd name="connsiteY15" fmla="*/ 1168979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52660 w 6571833"/>
              <a:gd name="connsiteY12" fmla="*/ 1159268 h 1420843"/>
              <a:gd name="connsiteX13" fmla="*/ 1979949 w 6571833"/>
              <a:gd name="connsiteY13" fmla="*/ 1137544 h 1420843"/>
              <a:gd name="connsiteX14" fmla="*/ 1781478 w 6571833"/>
              <a:gd name="connsiteY14" fmla="*/ 945048 h 1420843"/>
              <a:gd name="connsiteX15" fmla="*/ 1667254 w 6571833"/>
              <a:gd name="connsiteY15" fmla="*/ 1168979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052372 w 6571833"/>
              <a:gd name="connsiteY9" fmla="*/ 1191692 h 1420843"/>
              <a:gd name="connsiteX10" fmla="*/ 2814146 w 6571833"/>
              <a:gd name="connsiteY10" fmla="*/ 1231095 h 1420843"/>
              <a:gd name="connsiteX11" fmla="*/ 2410408 w 6571833"/>
              <a:gd name="connsiteY11" fmla="*/ 1236362 h 1420843"/>
              <a:gd name="connsiteX12" fmla="*/ 2170249 w 6571833"/>
              <a:gd name="connsiteY12" fmla="*/ 1220228 h 1420843"/>
              <a:gd name="connsiteX13" fmla="*/ 1979949 w 6571833"/>
              <a:gd name="connsiteY13" fmla="*/ 1137544 h 1420843"/>
              <a:gd name="connsiteX14" fmla="*/ 1781478 w 6571833"/>
              <a:gd name="connsiteY14" fmla="*/ 945048 h 1420843"/>
              <a:gd name="connsiteX15" fmla="*/ 1667254 w 6571833"/>
              <a:gd name="connsiteY15" fmla="*/ 1168979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122725 w 6571833"/>
              <a:gd name="connsiteY9" fmla="*/ 1200400 h 1420843"/>
              <a:gd name="connsiteX10" fmla="*/ 2814146 w 6571833"/>
              <a:gd name="connsiteY10" fmla="*/ 1231095 h 1420843"/>
              <a:gd name="connsiteX11" fmla="*/ 2410408 w 6571833"/>
              <a:gd name="connsiteY11" fmla="*/ 1236362 h 1420843"/>
              <a:gd name="connsiteX12" fmla="*/ 2170249 w 6571833"/>
              <a:gd name="connsiteY12" fmla="*/ 1220228 h 1420843"/>
              <a:gd name="connsiteX13" fmla="*/ 1979949 w 6571833"/>
              <a:gd name="connsiteY13" fmla="*/ 1137544 h 1420843"/>
              <a:gd name="connsiteX14" fmla="*/ 1781478 w 6571833"/>
              <a:gd name="connsiteY14" fmla="*/ 945048 h 1420843"/>
              <a:gd name="connsiteX15" fmla="*/ 1667254 w 6571833"/>
              <a:gd name="connsiteY15" fmla="*/ 1168979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641815 w 6571833"/>
              <a:gd name="connsiteY8" fmla="*/ 1022948 h 1420843"/>
              <a:gd name="connsiteX9" fmla="*/ 3122725 w 6571833"/>
              <a:gd name="connsiteY9" fmla="*/ 1200400 h 1420843"/>
              <a:gd name="connsiteX10" fmla="*/ 2814146 w 6571833"/>
              <a:gd name="connsiteY10" fmla="*/ 1231095 h 1420843"/>
              <a:gd name="connsiteX11" fmla="*/ 2410408 w 6571833"/>
              <a:gd name="connsiteY11" fmla="*/ 1236362 h 1420843"/>
              <a:gd name="connsiteX12" fmla="*/ 2170249 w 6571833"/>
              <a:gd name="connsiteY12" fmla="*/ 1220228 h 1420843"/>
              <a:gd name="connsiteX13" fmla="*/ 1979949 w 6571833"/>
              <a:gd name="connsiteY13" fmla="*/ 1137544 h 1420843"/>
              <a:gd name="connsiteX14" fmla="*/ 1781478 w 6571833"/>
              <a:gd name="connsiteY14" fmla="*/ 945048 h 1420843"/>
              <a:gd name="connsiteX15" fmla="*/ 1667254 w 6571833"/>
              <a:gd name="connsiteY15" fmla="*/ 1168979 h 1420843"/>
              <a:gd name="connsiteX16" fmla="*/ 1507620 w 6571833"/>
              <a:gd name="connsiteY16" fmla="*/ 1295082 h 1420843"/>
              <a:gd name="connsiteX17" fmla="*/ 1118394 w 6571833"/>
              <a:gd name="connsiteY17" fmla="*/ 1385536 h 1420843"/>
              <a:gd name="connsiteX18" fmla="*/ 806725 w 6571833"/>
              <a:gd name="connsiteY18" fmla="*/ 1395922 h 1420843"/>
              <a:gd name="connsiteX19" fmla="*/ 453499 w 6571833"/>
              <a:gd name="connsiteY19" fmla="*/ 1415874 h 1420843"/>
              <a:gd name="connsiteX20" fmla="*/ 0 w 6571833"/>
              <a:gd name="connsiteY20"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917445 w 6571833"/>
              <a:gd name="connsiteY7" fmla="*/ 585779 h 1420843"/>
              <a:gd name="connsiteX8" fmla="*/ 3705282 w 6571833"/>
              <a:gd name="connsiteY8" fmla="*/ 785438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864681 w 6571833"/>
              <a:gd name="connsiteY7" fmla="*/ 489984 h 1420843"/>
              <a:gd name="connsiteX8" fmla="*/ 3705282 w 6571833"/>
              <a:gd name="connsiteY8" fmla="*/ 785438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36199 w 6571833"/>
              <a:gd name="connsiteY6" fmla="*/ 820272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01023 w 6571833"/>
              <a:gd name="connsiteY6" fmla="*/ 828981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44606 h 1420843"/>
              <a:gd name="connsiteX6" fmla="*/ 4171377 w 6571833"/>
              <a:gd name="connsiteY6" fmla="*/ 855107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892355 h 1420843"/>
              <a:gd name="connsiteX6" fmla="*/ 4171377 w 6571833"/>
              <a:gd name="connsiteY6" fmla="*/ 855107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892355 h 1420843"/>
              <a:gd name="connsiteX6" fmla="*/ 4144994 w 6571833"/>
              <a:gd name="connsiteY6" fmla="*/ 802855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35898 h 1420843"/>
              <a:gd name="connsiteX6" fmla="*/ 4144994 w 6571833"/>
              <a:gd name="connsiteY6" fmla="*/ 802855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35898 h 1420843"/>
              <a:gd name="connsiteX6" fmla="*/ 4153788 w 6571833"/>
              <a:gd name="connsiteY6" fmla="*/ 750604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29885 w 6571833"/>
              <a:gd name="connsiteY5" fmla="*/ 935898 h 1420843"/>
              <a:gd name="connsiteX6" fmla="*/ 4144994 w 6571833"/>
              <a:gd name="connsiteY6" fmla="*/ 785439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4966293 w 6571833"/>
              <a:gd name="connsiteY4" fmla="*/ 905849 h 1420843"/>
              <a:gd name="connsiteX5" fmla="*/ 4547473 w 6571833"/>
              <a:gd name="connsiteY5" fmla="*/ 866229 h 1420843"/>
              <a:gd name="connsiteX6" fmla="*/ 4144994 w 6571833"/>
              <a:gd name="connsiteY6" fmla="*/ 785439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6 w 6571833"/>
              <a:gd name="connsiteY3" fmla="*/ 785698 h 1420843"/>
              <a:gd name="connsiteX4" fmla="*/ 5010264 w 6571833"/>
              <a:gd name="connsiteY4" fmla="*/ 801346 h 1420843"/>
              <a:gd name="connsiteX5" fmla="*/ 4547473 w 6571833"/>
              <a:gd name="connsiteY5" fmla="*/ 866229 h 1420843"/>
              <a:gd name="connsiteX6" fmla="*/ 4144994 w 6571833"/>
              <a:gd name="connsiteY6" fmla="*/ 785439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390 h 1420843"/>
              <a:gd name="connsiteX1" fmla="*/ 5829160 w 6571833"/>
              <a:gd name="connsiteY1" fmla="*/ 415605 h 1420843"/>
              <a:gd name="connsiteX2" fmla="*/ 5517027 w 6571833"/>
              <a:gd name="connsiteY2" fmla="*/ 683392 h 1420843"/>
              <a:gd name="connsiteX3" fmla="*/ 5361917 w 6571833"/>
              <a:gd name="connsiteY3" fmla="*/ 637652 h 1420843"/>
              <a:gd name="connsiteX4" fmla="*/ 5010264 w 6571833"/>
              <a:gd name="connsiteY4" fmla="*/ 801346 h 1420843"/>
              <a:gd name="connsiteX5" fmla="*/ 4547473 w 6571833"/>
              <a:gd name="connsiteY5" fmla="*/ 866229 h 1420843"/>
              <a:gd name="connsiteX6" fmla="*/ 4144994 w 6571833"/>
              <a:gd name="connsiteY6" fmla="*/ 785439 h 1420843"/>
              <a:gd name="connsiteX7" fmla="*/ 3864681 w 6571833"/>
              <a:gd name="connsiteY7" fmla="*/ 489984 h 1420843"/>
              <a:gd name="connsiteX8" fmla="*/ 3749253 w 6571833"/>
              <a:gd name="connsiteY8" fmla="*/ 759312 h 1420843"/>
              <a:gd name="connsiteX9" fmla="*/ 3641815 w 6571833"/>
              <a:gd name="connsiteY9" fmla="*/ 1022948 h 1420843"/>
              <a:gd name="connsiteX10" fmla="*/ 3122725 w 6571833"/>
              <a:gd name="connsiteY10" fmla="*/ 1200400 h 1420843"/>
              <a:gd name="connsiteX11" fmla="*/ 2814146 w 6571833"/>
              <a:gd name="connsiteY11" fmla="*/ 1231095 h 1420843"/>
              <a:gd name="connsiteX12" fmla="*/ 2410408 w 6571833"/>
              <a:gd name="connsiteY12" fmla="*/ 1236362 h 1420843"/>
              <a:gd name="connsiteX13" fmla="*/ 2170249 w 6571833"/>
              <a:gd name="connsiteY13" fmla="*/ 1220228 h 1420843"/>
              <a:gd name="connsiteX14" fmla="*/ 1979949 w 6571833"/>
              <a:gd name="connsiteY14" fmla="*/ 1137544 h 1420843"/>
              <a:gd name="connsiteX15" fmla="*/ 1781478 w 6571833"/>
              <a:gd name="connsiteY15" fmla="*/ 945048 h 1420843"/>
              <a:gd name="connsiteX16" fmla="*/ 1667254 w 6571833"/>
              <a:gd name="connsiteY16" fmla="*/ 1168979 h 1420843"/>
              <a:gd name="connsiteX17" fmla="*/ 1507620 w 6571833"/>
              <a:gd name="connsiteY17" fmla="*/ 1295082 h 1420843"/>
              <a:gd name="connsiteX18" fmla="*/ 1118394 w 6571833"/>
              <a:gd name="connsiteY18" fmla="*/ 1385536 h 1420843"/>
              <a:gd name="connsiteX19" fmla="*/ 806725 w 6571833"/>
              <a:gd name="connsiteY19" fmla="*/ 1395922 h 1420843"/>
              <a:gd name="connsiteX20" fmla="*/ 453499 w 6571833"/>
              <a:gd name="connsiteY20" fmla="*/ 1415874 h 1420843"/>
              <a:gd name="connsiteX21" fmla="*/ 0 w 6571833"/>
              <a:gd name="connsiteY21" fmla="*/ 1104739 h 1420843"/>
              <a:gd name="connsiteX0" fmla="*/ 6571833 w 6571833"/>
              <a:gd name="connsiteY0" fmla="*/ 7191 h 1420644"/>
              <a:gd name="connsiteX1" fmla="*/ 5829160 w 6571833"/>
              <a:gd name="connsiteY1" fmla="*/ 415406 h 1420644"/>
              <a:gd name="connsiteX2" fmla="*/ 5622558 w 6571833"/>
              <a:gd name="connsiteY2" fmla="*/ 613524 h 1420644"/>
              <a:gd name="connsiteX3" fmla="*/ 5361917 w 6571833"/>
              <a:gd name="connsiteY3" fmla="*/ 637453 h 1420644"/>
              <a:gd name="connsiteX4" fmla="*/ 5010264 w 6571833"/>
              <a:gd name="connsiteY4" fmla="*/ 801147 h 1420644"/>
              <a:gd name="connsiteX5" fmla="*/ 4547473 w 6571833"/>
              <a:gd name="connsiteY5" fmla="*/ 866030 h 1420644"/>
              <a:gd name="connsiteX6" fmla="*/ 4144994 w 6571833"/>
              <a:gd name="connsiteY6" fmla="*/ 785240 h 1420644"/>
              <a:gd name="connsiteX7" fmla="*/ 3864681 w 6571833"/>
              <a:gd name="connsiteY7" fmla="*/ 489785 h 1420644"/>
              <a:gd name="connsiteX8" fmla="*/ 3749253 w 6571833"/>
              <a:gd name="connsiteY8" fmla="*/ 759113 h 1420644"/>
              <a:gd name="connsiteX9" fmla="*/ 3641815 w 6571833"/>
              <a:gd name="connsiteY9" fmla="*/ 1022749 h 1420644"/>
              <a:gd name="connsiteX10" fmla="*/ 3122725 w 6571833"/>
              <a:gd name="connsiteY10" fmla="*/ 1200201 h 1420644"/>
              <a:gd name="connsiteX11" fmla="*/ 2814146 w 6571833"/>
              <a:gd name="connsiteY11" fmla="*/ 1230896 h 1420644"/>
              <a:gd name="connsiteX12" fmla="*/ 2410408 w 6571833"/>
              <a:gd name="connsiteY12" fmla="*/ 1236163 h 1420644"/>
              <a:gd name="connsiteX13" fmla="*/ 2170249 w 6571833"/>
              <a:gd name="connsiteY13" fmla="*/ 1220029 h 1420644"/>
              <a:gd name="connsiteX14" fmla="*/ 1979949 w 6571833"/>
              <a:gd name="connsiteY14" fmla="*/ 1137345 h 1420644"/>
              <a:gd name="connsiteX15" fmla="*/ 1781478 w 6571833"/>
              <a:gd name="connsiteY15" fmla="*/ 944849 h 1420644"/>
              <a:gd name="connsiteX16" fmla="*/ 1667254 w 6571833"/>
              <a:gd name="connsiteY16" fmla="*/ 1168780 h 1420644"/>
              <a:gd name="connsiteX17" fmla="*/ 1507620 w 6571833"/>
              <a:gd name="connsiteY17" fmla="*/ 1294883 h 1420644"/>
              <a:gd name="connsiteX18" fmla="*/ 1118394 w 6571833"/>
              <a:gd name="connsiteY18" fmla="*/ 1385337 h 1420644"/>
              <a:gd name="connsiteX19" fmla="*/ 806725 w 6571833"/>
              <a:gd name="connsiteY19" fmla="*/ 1395723 h 1420644"/>
              <a:gd name="connsiteX20" fmla="*/ 453499 w 6571833"/>
              <a:gd name="connsiteY20" fmla="*/ 1415675 h 1420644"/>
              <a:gd name="connsiteX21" fmla="*/ 0 w 6571833"/>
              <a:gd name="connsiteY21" fmla="*/ 1104540 h 1420644"/>
              <a:gd name="connsiteX0" fmla="*/ 6571833 w 6571833"/>
              <a:gd name="connsiteY0" fmla="*/ 7191 h 1420644"/>
              <a:gd name="connsiteX1" fmla="*/ 5829160 w 6571833"/>
              <a:gd name="connsiteY1" fmla="*/ 415406 h 1420644"/>
              <a:gd name="connsiteX2" fmla="*/ 5622558 w 6571833"/>
              <a:gd name="connsiteY2" fmla="*/ 613524 h 1420644"/>
              <a:gd name="connsiteX3" fmla="*/ 5423477 w 6571833"/>
              <a:gd name="connsiteY3" fmla="*/ 663579 h 1420644"/>
              <a:gd name="connsiteX4" fmla="*/ 5010264 w 6571833"/>
              <a:gd name="connsiteY4" fmla="*/ 801147 h 1420644"/>
              <a:gd name="connsiteX5" fmla="*/ 4547473 w 6571833"/>
              <a:gd name="connsiteY5" fmla="*/ 866030 h 1420644"/>
              <a:gd name="connsiteX6" fmla="*/ 4144994 w 6571833"/>
              <a:gd name="connsiteY6" fmla="*/ 785240 h 1420644"/>
              <a:gd name="connsiteX7" fmla="*/ 3864681 w 6571833"/>
              <a:gd name="connsiteY7" fmla="*/ 489785 h 1420644"/>
              <a:gd name="connsiteX8" fmla="*/ 3749253 w 6571833"/>
              <a:gd name="connsiteY8" fmla="*/ 759113 h 1420644"/>
              <a:gd name="connsiteX9" fmla="*/ 3641815 w 6571833"/>
              <a:gd name="connsiteY9" fmla="*/ 1022749 h 1420644"/>
              <a:gd name="connsiteX10" fmla="*/ 3122725 w 6571833"/>
              <a:gd name="connsiteY10" fmla="*/ 1200201 h 1420644"/>
              <a:gd name="connsiteX11" fmla="*/ 2814146 w 6571833"/>
              <a:gd name="connsiteY11" fmla="*/ 1230896 h 1420644"/>
              <a:gd name="connsiteX12" fmla="*/ 2410408 w 6571833"/>
              <a:gd name="connsiteY12" fmla="*/ 1236163 h 1420644"/>
              <a:gd name="connsiteX13" fmla="*/ 2170249 w 6571833"/>
              <a:gd name="connsiteY13" fmla="*/ 1220029 h 1420644"/>
              <a:gd name="connsiteX14" fmla="*/ 1979949 w 6571833"/>
              <a:gd name="connsiteY14" fmla="*/ 1137345 h 1420644"/>
              <a:gd name="connsiteX15" fmla="*/ 1781478 w 6571833"/>
              <a:gd name="connsiteY15" fmla="*/ 944849 h 1420644"/>
              <a:gd name="connsiteX16" fmla="*/ 1667254 w 6571833"/>
              <a:gd name="connsiteY16" fmla="*/ 1168780 h 1420644"/>
              <a:gd name="connsiteX17" fmla="*/ 1507620 w 6571833"/>
              <a:gd name="connsiteY17" fmla="*/ 1294883 h 1420644"/>
              <a:gd name="connsiteX18" fmla="*/ 1118394 w 6571833"/>
              <a:gd name="connsiteY18" fmla="*/ 1385337 h 1420644"/>
              <a:gd name="connsiteX19" fmla="*/ 806725 w 6571833"/>
              <a:gd name="connsiteY19" fmla="*/ 1395723 h 1420644"/>
              <a:gd name="connsiteX20" fmla="*/ 453499 w 6571833"/>
              <a:gd name="connsiteY20" fmla="*/ 1415675 h 1420644"/>
              <a:gd name="connsiteX21" fmla="*/ 0 w 6571833"/>
              <a:gd name="connsiteY21" fmla="*/ 1104540 h 1420644"/>
              <a:gd name="connsiteX0" fmla="*/ 6571833 w 6571833"/>
              <a:gd name="connsiteY0" fmla="*/ 7214 h 1420667"/>
              <a:gd name="connsiteX1" fmla="*/ 5829160 w 6571833"/>
              <a:gd name="connsiteY1" fmla="*/ 415429 h 1420667"/>
              <a:gd name="connsiteX2" fmla="*/ 5648940 w 6571833"/>
              <a:gd name="connsiteY2" fmla="*/ 622256 h 1420667"/>
              <a:gd name="connsiteX3" fmla="*/ 5423477 w 6571833"/>
              <a:gd name="connsiteY3" fmla="*/ 663602 h 1420667"/>
              <a:gd name="connsiteX4" fmla="*/ 5010264 w 6571833"/>
              <a:gd name="connsiteY4" fmla="*/ 801170 h 1420667"/>
              <a:gd name="connsiteX5" fmla="*/ 4547473 w 6571833"/>
              <a:gd name="connsiteY5" fmla="*/ 866053 h 1420667"/>
              <a:gd name="connsiteX6" fmla="*/ 4144994 w 6571833"/>
              <a:gd name="connsiteY6" fmla="*/ 785263 h 1420667"/>
              <a:gd name="connsiteX7" fmla="*/ 3864681 w 6571833"/>
              <a:gd name="connsiteY7" fmla="*/ 489808 h 1420667"/>
              <a:gd name="connsiteX8" fmla="*/ 3749253 w 6571833"/>
              <a:gd name="connsiteY8" fmla="*/ 759136 h 1420667"/>
              <a:gd name="connsiteX9" fmla="*/ 3641815 w 6571833"/>
              <a:gd name="connsiteY9" fmla="*/ 1022772 h 1420667"/>
              <a:gd name="connsiteX10" fmla="*/ 3122725 w 6571833"/>
              <a:gd name="connsiteY10" fmla="*/ 1200224 h 1420667"/>
              <a:gd name="connsiteX11" fmla="*/ 2814146 w 6571833"/>
              <a:gd name="connsiteY11" fmla="*/ 1230919 h 1420667"/>
              <a:gd name="connsiteX12" fmla="*/ 2410408 w 6571833"/>
              <a:gd name="connsiteY12" fmla="*/ 1236186 h 1420667"/>
              <a:gd name="connsiteX13" fmla="*/ 2170249 w 6571833"/>
              <a:gd name="connsiteY13" fmla="*/ 1220052 h 1420667"/>
              <a:gd name="connsiteX14" fmla="*/ 1979949 w 6571833"/>
              <a:gd name="connsiteY14" fmla="*/ 1137368 h 1420667"/>
              <a:gd name="connsiteX15" fmla="*/ 1781478 w 6571833"/>
              <a:gd name="connsiteY15" fmla="*/ 944872 h 1420667"/>
              <a:gd name="connsiteX16" fmla="*/ 1667254 w 6571833"/>
              <a:gd name="connsiteY16" fmla="*/ 1168803 h 1420667"/>
              <a:gd name="connsiteX17" fmla="*/ 1507620 w 6571833"/>
              <a:gd name="connsiteY17" fmla="*/ 1294906 h 1420667"/>
              <a:gd name="connsiteX18" fmla="*/ 1118394 w 6571833"/>
              <a:gd name="connsiteY18" fmla="*/ 1385360 h 1420667"/>
              <a:gd name="connsiteX19" fmla="*/ 806725 w 6571833"/>
              <a:gd name="connsiteY19" fmla="*/ 1395746 h 1420667"/>
              <a:gd name="connsiteX20" fmla="*/ 453499 w 6571833"/>
              <a:gd name="connsiteY20" fmla="*/ 1415698 h 1420667"/>
              <a:gd name="connsiteX21" fmla="*/ 0 w 6571833"/>
              <a:gd name="connsiteY21" fmla="*/ 1104563 h 1420667"/>
              <a:gd name="connsiteX0" fmla="*/ 6571833 w 6571833"/>
              <a:gd name="connsiteY0" fmla="*/ 7214 h 1420667"/>
              <a:gd name="connsiteX1" fmla="*/ 5829160 w 6571833"/>
              <a:gd name="connsiteY1" fmla="*/ 415429 h 1420667"/>
              <a:gd name="connsiteX2" fmla="*/ 5648940 w 6571833"/>
              <a:gd name="connsiteY2" fmla="*/ 622256 h 1420667"/>
              <a:gd name="connsiteX3" fmla="*/ 5423477 w 6571833"/>
              <a:gd name="connsiteY3" fmla="*/ 663602 h 1420667"/>
              <a:gd name="connsiteX4" fmla="*/ 5098207 w 6571833"/>
              <a:gd name="connsiteY4" fmla="*/ 827296 h 1420667"/>
              <a:gd name="connsiteX5" fmla="*/ 4547473 w 6571833"/>
              <a:gd name="connsiteY5" fmla="*/ 866053 h 1420667"/>
              <a:gd name="connsiteX6" fmla="*/ 4144994 w 6571833"/>
              <a:gd name="connsiteY6" fmla="*/ 785263 h 1420667"/>
              <a:gd name="connsiteX7" fmla="*/ 3864681 w 6571833"/>
              <a:gd name="connsiteY7" fmla="*/ 489808 h 1420667"/>
              <a:gd name="connsiteX8" fmla="*/ 3749253 w 6571833"/>
              <a:gd name="connsiteY8" fmla="*/ 759136 h 1420667"/>
              <a:gd name="connsiteX9" fmla="*/ 3641815 w 6571833"/>
              <a:gd name="connsiteY9" fmla="*/ 1022772 h 1420667"/>
              <a:gd name="connsiteX10" fmla="*/ 3122725 w 6571833"/>
              <a:gd name="connsiteY10" fmla="*/ 1200224 h 1420667"/>
              <a:gd name="connsiteX11" fmla="*/ 2814146 w 6571833"/>
              <a:gd name="connsiteY11" fmla="*/ 1230919 h 1420667"/>
              <a:gd name="connsiteX12" fmla="*/ 2410408 w 6571833"/>
              <a:gd name="connsiteY12" fmla="*/ 1236186 h 1420667"/>
              <a:gd name="connsiteX13" fmla="*/ 2170249 w 6571833"/>
              <a:gd name="connsiteY13" fmla="*/ 1220052 h 1420667"/>
              <a:gd name="connsiteX14" fmla="*/ 1979949 w 6571833"/>
              <a:gd name="connsiteY14" fmla="*/ 1137368 h 1420667"/>
              <a:gd name="connsiteX15" fmla="*/ 1781478 w 6571833"/>
              <a:gd name="connsiteY15" fmla="*/ 944872 h 1420667"/>
              <a:gd name="connsiteX16" fmla="*/ 1667254 w 6571833"/>
              <a:gd name="connsiteY16" fmla="*/ 1168803 h 1420667"/>
              <a:gd name="connsiteX17" fmla="*/ 1507620 w 6571833"/>
              <a:gd name="connsiteY17" fmla="*/ 1294906 h 1420667"/>
              <a:gd name="connsiteX18" fmla="*/ 1118394 w 6571833"/>
              <a:gd name="connsiteY18" fmla="*/ 1385360 h 1420667"/>
              <a:gd name="connsiteX19" fmla="*/ 806725 w 6571833"/>
              <a:gd name="connsiteY19" fmla="*/ 1395746 h 1420667"/>
              <a:gd name="connsiteX20" fmla="*/ 453499 w 6571833"/>
              <a:gd name="connsiteY20" fmla="*/ 1415698 h 1420667"/>
              <a:gd name="connsiteX21" fmla="*/ 0 w 6571833"/>
              <a:gd name="connsiteY21" fmla="*/ 1104563 h 1420667"/>
              <a:gd name="connsiteX0" fmla="*/ 6571833 w 6571833"/>
              <a:gd name="connsiteY0" fmla="*/ 7214 h 1420667"/>
              <a:gd name="connsiteX1" fmla="*/ 5829160 w 6571833"/>
              <a:gd name="connsiteY1" fmla="*/ 415429 h 1420667"/>
              <a:gd name="connsiteX2" fmla="*/ 5648940 w 6571833"/>
              <a:gd name="connsiteY2" fmla="*/ 622256 h 1420667"/>
              <a:gd name="connsiteX3" fmla="*/ 5511420 w 6571833"/>
              <a:gd name="connsiteY3" fmla="*/ 768105 h 1420667"/>
              <a:gd name="connsiteX4" fmla="*/ 5098207 w 6571833"/>
              <a:gd name="connsiteY4" fmla="*/ 827296 h 1420667"/>
              <a:gd name="connsiteX5" fmla="*/ 4547473 w 6571833"/>
              <a:gd name="connsiteY5" fmla="*/ 866053 h 1420667"/>
              <a:gd name="connsiteX6" fmla="*/ 4144994 w 6571833"/>
              <a:gd name="connsiteY6" fmla="*/ 785263 h 1420667"/>
              <a:gd name="connsiteX7" fmla="*/ 3864681 w 6571833"/>
              <a:gd name="connsiteY7" fmla="*/ 489808 h 1420667"/>
              <a:gd name="connsiteX8" fmla="*/ 3749253 w 6571833"/>
              <a:gd name="connsiteY8" fmla="*/ 759136 h 1420667"/>
              <a:gd name="connsiteX9" fmla="*/ 3641815 w 6571833"/>
              <a:gd name="connsiteY9" fmla="*/ 1022772 h 1420667"/>
              <a:gd name="connsiteX10" fmla="*/ 3122725 w 6571833"/>
              <a:gd name="connsiteY10" fmla="*/ 1200224 h 1420667"/>
              <a:gd name="connsiteX11" fmla="*/ 2814146 w 6571833"/>
              <a:gd name="connsiteY11" fmla="*/ 1230919 h 1420667"/>
              <a:gd name="connsiteX12" fmla="*/ 2410408 w 6571833"/>
              <a:gd name="connsiteY12" fmla="*/ 1236186 h 1420667"/>
              <a:gd name="connsiteX13" fmla="*/ 2170249 w 6571833"/>
              <a:gd name="connsiteY13" fmla="*/ 1220052 h 1420667"/>
              <a:gd name="connsiteX14" fmla="*/ 1979949 w 6571833"/>
              <a:gd name="connsiteY14" fmla="*/ 1137368 h 1420667"/>
              <a:gd name="connsiteX15" fmla="*/ 1781478 w 6571833"/>
              <a:gd name="connsiteY15" fmla="*/ 944872 h 1420667"/>
              <a:gd name="connsiteX16" fmla="*/ 1667254 w 6571833"/>
              <a:gd name="connsiteY16" fmla="*/ 1168803 h 1420667"/>
              <a:gd name="connsiteX17" fmla="*/ 1507620 w 6571833"/>
              <a:gd name="connsiteY17" fmla="*/ 1294906 h 1420667"/>
              <a:gd name="connsiteX18" fmla="*/ 1118394 w 6571833"/>
              <a:gd name="connsiteY18" fmla="*/ 1385360 h 1420667"/>
              <a:gd name="connsiteX19" fmla="*/ 806725 w 6571833"/>
              <a:gd name="connsiteY19" fmla="*/ 1395746 h 1420667"/>
              <a:gd name="connsiteX20" fmla="*/ 453499 w 6571833"/>
              <a:gd name="connsiteY20" fmla="*/ 1415698 h 1420667"/>
              <a:gd name="connsiteX21" fmla="*/ 0 w 6571833"/>
              <a:gd name="connsiteY21" fmla="*/ 1104563 h 1420667"/>
              <a:gd name="connsiteX0" fmla="*/ 6571833 w 6571833"/>
              <a:gd name="connsiteY0" fmla="*/ 7238 h 1420691"/>
              <a:gd name="connsiteX1" fmla="*/ 5829160 w 6571833"/>
              <a:gd name="connsiteY1" fmla="*/ 415453 h 1420691"/>
              <a:gd name="connsiteX2" fmla="*/ 5780854 w 6571833"/>
              <a:gd name="connsiteY2" fmla="*/ 630988 h 1420691"/>
              <a:gd name="connsiteX3" fmla="*/ 5511420 w 6571833"/>
              <a:gd name="connsiteY3" fmla="*/ 768129 h 1420691"/>
              <a:gd name="connsiteX4" fmla="*/ 5098207 w 6571833"/>
              <a:gd name="connsiteY4" fmla="*/ 827320 h 1420691"/>
              <a:gd name="connsiteX5" fmla="*/ 4547473 w 6571833"/>
              <a:gd name="connsiteY5" fmla="*/ 866077 h 1420691"/>
              <a:gd name="connsiteX6" fmla="*/ 4144994 w 6571833"/>
              <a:gd name="connsiteY6" fmla="*/ 785287 h 1420691"/>
              <a:gd name="connsiteX7" fmla="*/ 3864681 w 6571833"/>
              <a:gd name="connsiteY7" fmla="*/ 489832 h 1420691"/>
              <a:gd name="connsiteX8" fmla="*/ 3749253 w 6571833"/>
              <a:gd name="connsiteY8" fmla="*/ 759160 h 1420691"/>
              <a:gd name="connsiteX9" fmla="*/ 3641815 w 6571833"/>
              <a:gd name="connsiteY9" fmla="*/ 1022796 h 1420691"/>
              <a:gd name="connsiteX10" fmla="*/ 3122725 w 6571833"/>
              <a:gd name="connsiteY10" fmla="*/ 1200248 h 1420691"/>
              <a:gd name="connsiteX11" fmla="*/ 2814146 w 6571833"/>
              <a:gd name="connsiteY11" fmla="*/ 1230943 h 1420691"/>
              <a:gd name="connsiteX12" fmla="*/ 2410408 w 6571833"/>
              <a:gd name="connsiteY12" fmla="*/ 1236210 h 1420691"/>
              <a:gd name="connsiteX13" fmla="*/ 2170249 w 6571833"/>
              <a:gd name="connsiteY13" fmla="*/ 1220076 h 1420691"/>
              <a:gd name="connsiteX14" fmla="*/ 1979949 w 6571833"/>
              <a:gd name="connsiteY14" fmla="*/ 1137392 h 1420691"/>
              <a:gd name="connsiteX15" fmla="*/ 1781478 w 6571833"/>
              <a:gd name="connsiteY15" fmla="*/ 944896 h 1420691"/>
              <a:gd name="connsiteX16" fmla="*/ 1667254 w 6571833"/>
              <a:gd name="connsiteY16" fmla="*/ 1168827 h 1420691"/>
              <a:gd name="connsiteX17" fmla="*/ 1507620 w 6571833"/>
              <a:gd name="connsiteY17" fmla="*/ 1294930 h 1420691"/>
              <a:gd name="connsiteX18" fmla="*/ 1118394 w 6571833"/>
              <a:gd name="connsiteY18" fmla="*/ 1385384 h 1420691"/>
              <a:gd name="connsiteX19" fmla="*/ 806725 w 6571833"/>
              <a:gd name="connsiteY19" fmla="*/ 1395770 h 1420691"/>
              <a:gd name="connsiteX20" fmla="*/ 453499 w 6571833"/>
              <a:gd name="connsiteY20" fmla="*/ 1415722 h 1420691"/>
              <a:gd name="connsiteX21" fmla="*/ 0 w 6571833"/>
              <a:gd name="connsiteY21" fmla="*/ 1104587 h 1420691"/>
              <a:gd name="connsiteX0" fmla="*/ 6571833 w 6571833"/>
              <a:gd name="connsiteY0" fmla="*/ 7723 h 1421176"/>
              <a:gd name="connsiteX1" fmla="*/ 6040222 w 6571833"/>
              <a:gd name="connsiteY1" fmla="*/ 389812 h 1421176"/>
              <a:gd name="connsiteX2" fmla="*/ 5780854 w 6571833"/>
              <a:gd name="connsiteY2" fmla="*/ 631473 h 1421176"/>
              <a:gd name="connsiteX3" fmla="*/ 5511420 w 6571833"/>
              <a:gd name="connsiteY3" fmla="*/ 768614 h 1421176"/>
              <a:gd name="connsiteX4" fmla="*/ 5098207 w 6571833"/>
              <a:gd name="connsiteY4" fmla="*/ 827805 h 1421176"/>
              <a:gd name="connsiteX5" fmla="*/ 4547473 w 6571833"/>
              <a:gd name="connsiteY5" fmla="*/ 866562 h 1421176"/>
              <a:gd name="connsiteX6" fmla="*/ 4144994 w 6571833"/>
              <a:gd name="connsiteY6" fmla="*/ 785772 h 1421176"/>
              <a:gd name="connsiteX7" fmla="*/ 3864681 w 6571833"/>
              <a:gd name="connsiteY7" fmla="*/ 490317 h 1421176"/>
              <a:gd name="connsiteX8" fmla="*/ 3749253 w 6571833"/>
              <a:gd name="connsiteY8" fmla="*/ 759645 h 1421176"/>
              <a:gd name="connsiteX9" fmla="*/ 3641815 w 6571833"/>
              <a:gd name="connsiteY9" fmla="*/ 1023281 h 1421176"/>
              <a:gd name="connsiteX10" fmla="*/ 3122725 w 6571833"/>
              <a:gd name="connsiteY10" fmla="*/ 1200733 h 1421176"/>
              <a:gd name="connsiteX11" fmla="*/ 2814146 w 6571833"/>
              <a:gd name="connsiteY11" fmla="*/ 1231428 h 1421176"/>
              <a:gd name="connsiteX12" fmla="*/ 2410408 w 6571833"/>
              <a:gd name="connsiteY12" fmla="*/ 1236695 h 1421176"/>
              <a:gd name="connsiteX13" fmla="*/ 2170249 w 6571833"/>
              <a:gd name="connsiteY13" fmla="*/ 1220561 h 1421176"/>
              <a:gd name="connsiteX14" fmla="*/ 1979949 w 6571833"/>
              <a:gd name="connsiteY14" fmla="*/ 1137877 h 1421176"/>
              <a:gd name="connsiteX15" fmla="*/ 1781478 w 6571833"/>
              <a:gd name="connsiteY15" fmla="*/ 945381 h 1421176"/>
              <a:gd name="connsiteX16" fmla="*/ 1667254 w 6571833"/>
              <a:gd name="connsiteY16" fmla="*/ 1169312 h 1421176"/>
              <a:gd name="connsiteX17" fmla="*/ 1507620 w 6571833"/>
              <a:gd name="connsiteY17" fmla="*/ 1295415 h 1421176"/>
              <a:gd name="connsiteX18" fmla="*/ 1118394 w 6571833"/>
              <a:gd name="connsiteY18" fmla="*/ 1385869 h 1421176"/>
              <a:gd name="connsiteX19" fmla="*/ 806725 w 6571833"/>
              <a:gd name="connsiteY19" fmla="*/ 1396255 h 1421176"/>
              <a:gd name="connsiteX20" fmla="*/ 453499 w 6571833"/>
              <a:gd name="connsiteY20" fmla="*/ 1416207 h 1421176"/>
              <a:gd name="connsiteX21" fmla="*/ 0 w 6571833"/>
              <a:gd name="connsiteY21" fmla="*/ 1105072 h 1421176"/>
              <a:gd name="connsiteX0" fmla="*/ 6571833 w 6571833"/>
              <a:gd name="connsiteY0" fmla="*/ 7696 h 1421149"/>
              <a:gd name="connsiteX1" fmla="*/ 6040222 w 6571833"/>
              <a:gd name="connsiteY1" fmla="*/ 389785 h 1421149"/>
              <a:gd name="connsiteX2" fmla="*/ 5780854 w 6571833"/>
              <a:gd name="connsiteY2" fmla="*/ 622737 h 1421149"/>
              <a:gd name="connsiteX3" fmla="*/ 5511420 w 6571833"/>
              <a:gd name="connsiteY3" fmla="*/ 768587 h 1421149"/>
              <a:gd name="connsiteX4" fmla="*/ 5098207 w 6571833"/>
              <a:gd name="connsiteY4" fmla="*/ 827778 h 1421149"/>
              <a:gd name="connsiteX5" fmla="*/ 4547473 w 6571833"/>
              <a:gd name="connsiteY5" fmla="*/ 866535 h 1421149"/>
              <a:gd name="connsiteX6" fmla="*/ 4144994 w 6571833"/>
              <a:gd name="connsiteY6" fmla="*/ 785745 h 1421149"/>
              <a:gd name="connsiteX7" fmla="*/ 3864681 w 6571833"/>
              <a:gd name="connsiteY7" fmla="*/ 490290 h 1421149"/>
              <a:gd name="connsiteX8" fmla="*/ 3749253 w 6571833"/>
              <a:gd name="connsiteY8" fmla="*/ 759618 h 1421149"/>
              <a:gd name="connsiteX9" fmla="*/ 3641815 w 6571833"/>
              <a:gd name="connsiteY9" fmla="*/ 1023254 h 1421149"/>
              <a:gd name="connsiteX10" fmla="*/ 3122725 w 6571833"/>
              <a:gd name="connsiteY10" fmla="*/ 1200706 h 1421149"/>
              <a:gd name="connsiteX11" fmla="*/ 2814146 w 6571833"/>
              <a:gd name="connsiteY11" fmla="*/ 1231401 h 1421149"/>
              <a:gd name="connsiteX12" fmla="*/ 2410408 w 6571833"/>
              <a:gd name="connsiteY12" fmla="*/ 1236668 h 1421149"/>
              <a:gd name="connsiteX13" fmla="*/ 2170249 w 6571833"/>
              <a:gd name="connsiteY13" fmla="*/ 1220534 h 1421149"/>
              <a:gd name="connsiteX14" fmla="*/ 1979949 w 6571833"/>
              <a:gd name="connsiteY14" fmla="*/ 1137850 h 1421149"/>
              <a:gd name="connsiteX15" fmla="*/ 1781478 w 6571833"/>
              <a:gd name="connsiteY15" fmla="*/ 945354 h 1421149"/>
              <a:gd name="connsiteX16" fmla="*/ 1667254 w 6571833"/>
              <a:gd name="connsiteY16" fmla="*/ 1169285 h 1421149"/>
              <a:gd name="connsiteX17" fmla="*/ 1507620 w 6571833"/>
              <a:gd name="connsiteY17" fmla="*/ 1295388 h 1421149"/>
              <a:gd name="connsiteX18" fmla="*/ 1118394 w 6571833"/>
              <a:gd name="connsiteY18" fmla="*/ 1385842 h 1421149"/>
              <a:gd name="connsiteX19" fmla="*/ 806725 w 6571833"/>
              <a:gd name="connsiteY19" fmla="*/ 1396228 h 1421149"/>
              <a:gd name="connsiteX20" fmla="*/ 453499 w 6571833"/>
              <a:gd name="connsiteY20" fmla="*/ 1416180 h 1421149"/>
              <a:gd name="connsiteX21" fmla="*/ 0 w 6571833"/>
              <a:gd name="connsiteY21" fmla="*/ 1105045 h 1421149"/>
              <a:gd name="connsiteX0" fmla="*/ 6571833 w 6571833"/>
              <a:gd name="connsiteY0" fmla="*/ 7696 h 1421149"/>
              <a:gd name="connsiteX1" fmla="*/ 5899514 w 6571833"/>
              <a:gd name="connsiteY1" fmla="*/ 389785 h 1421149"/>
              <a:gd name="connsiteX2" fmla="*/ 5780854 w 6571833"/>
              <a:gd name="connsiteY2" fmla="*/ 622737 h 1421149"/>
              <a:gd name="connsiteX3" fmla="*/ 5511420 w 6571833"/>
              <a:gd name="connsiteY3" fmla="*/ 768587 h 1421149"/>
              <a:gd name="connsiteX4" fmla="*/ 5098207 w 6571833"/>
              <a:gd name="connsiteY4" fmla="*/ 827778 h 1421149"/>
              <a:gd name="connsiteX5" fmla="*/ 4547473 w 6571833"/>
              <a:gd name="connsiteY5" fmla="*/ 866535 h 1421149"/>
              <a:gd name="connsiteX6" fmla="*/ 4144994 w 6571833"/>
              <a:gd name="connsiteY6" fmla="*/ 785745 h 1421149"/>
              <a:gd name="connsiteX7" fmla="*/ 3864681 w 6571833"/>
              <a:gd name="connsiteY7" fmla="*/ 490290 h 1421149"/>
              <a:gd name="connsiteX8" fmla="*/ 3749253 w 6571833"/>
              <a:gd name="connsiteY8" fmla="*/ 759618 h 1421149"/>
              <a:gd name="connsiteX9" fmla="*/ 3641815 w 6571833"/>
              <a:gd name="connsiteY9" fmla="*/ 1023254 h 1421149"/>
              <a:gd name="connsiteX10" fmla="*/ 3122725 w 6571833"/>
              <a:gd name="connsiteY10" fmla="*/ 1200706 h 1421149"/>
              <a:gd name="connsiteX11" fmla="*/ 2814146 w 6571833"/>
              <a:gd name="connsiteY11" fmla="*/ 1231401 h 1421149"/>
              <a:gd name="connsiteX12" fmla="*/ 2410408 w 6571833"/>
              <a:gd name="connsiteY12" fmla="*/ 1236668 h 1421149"/>
              <a:gd name="connsiteX13" fmla="*/ 2170249 w 6571833"/>
              <a:gd name="connsiteY13" fmla="*/ 1220534 h 1421149"/>
              <a:gd name="connsiteX14" fmla="*/ 1979949 w 6571833"/>
              <a:gd name="connsiteY14" fmla="*/ 1137850 h 1421149"/>
              <a:gd name="connsiteX15" fmla="*/ 1781478 w 6571833"/>
              <a:gd name="connsiteY15" fmla="*/ 945354 h 1421149"/>
              <a:gd name="connsiteX16" fmla="*/ 1667254 w 6571833"/>
              <a:gd name="connsiteY16" fmla="*/ 1169285 h 1421149"/>
              <a:gd name="connsiteX17" fmla="*/ 1507620 w 6571833"/>
              <a:gd name="connsiteY17" fmla="*/ 1295388 h 1421149"/>
              <a:gd name="connsiteX18" fmla="*/ 1118394 w 6571833"/>
              <a:gd name="connsiteY18" fmla="*/ 1385842 h 1421149"/>
              <a:gd name="connsiteX19" fmla="*/ 806725 w 6571833"/>
              <a:gd name="connsiteY19" fmla="*/ 1396228 h 1421149"/>
              <a:gd name="connsiteX20" fmla="*/ 453499 w 6571833"/>
              <a:gd name="connsiteY20" fmla="*/ 1416180 h 1421149"/>
              <a:gd name="connsiteX21" fmla="*/ 0 w 6571833"/>
              <a:gd name="connsiteY21" fmla="*/ 1105045 h 1421149"/>
              <a:gd name="connsiteX0" fmla="*/ 6571833 w 6571833"/>
              <a:gd name="connsiteY0" fmla="*/ 8226 h 1421679"/>
              <a:gd name="connsiteX1" fmla="*/ 5899514 w 6571833"/>
              <a:gd name="connsiteY1" fmla="*/ 390315 h 1421679"/>
              <a:gd name="connsiteX2" fmla="*/ 5780854 w 6571833"/>
              <a:gd name="connsiteY2" fmla="*/ 623267 h 1421679"/>
              <a:gd name="connsiteX3" fmla="*/ 5511420 w 6571833"/>
              <a:gd name="connsiteY3" fmla="*/ 769117 h 1421679"/>
              <a:gd name="connsiteX4" fmla="*/ 5098207 w 6571833"/>
              <a:gd name="connsiteY4" fmla="*/ 828308 h 1421679"/>
              <a:gd name="connsiteX5" fmla="*/ 4547473 w 6571833"/>
              <a:gd name="connsiteY5" fmla="*/ 867065 h 1421679"/>
              <a:gd name="connsiteX6" fmla="*/ 4144994 w 6571833"/>
              <a:gd name="connsiteY6" fmla="*/ 786275 h 1421679"/>
              <a:gd name="connsiteX7" fmla="*/ 3864681 w 6571833"/>
              <a:gd name="connsiteY7" fmla="*/ 490820 h 1421679"/>
              <a:gd name="connsiteX8" fmla="*/ 3749253 w 6571833"/>
              <a:gd name="connsiteY8" fmla="*/ 760148 h 1421679"/>
              <a:gd name="connsiteX9" fmla="*/ 3641815 w 6571833"/>
              <a:gd name="connsiteY9" fmla="*/ 1023784 h 1421679"/>
              <a:gd name="connsiteX10" fmla="*/ 3122725 w 6571833"/>
              <a:gd name="connsiteY10" fmla="*/ 1201236 h 1421679"/>
              <a:gd name="connsiteX11" fmla="*/ 2814146 w 6571833"/>
              <a:gd name="connsiteY11" fmla="*/ 1231931 h 1421679"/>
              <a:gd name="connsiteX12" fmla="*/ 2410408 w 6571833"/>
              <a:gd name="connsiteY12" fmla="*/ 1237198 h 1421679"/>
              <a:gd name="connsiteX13" fmla="*/ 2170249 w 6571833"/>
              <a:gd name="connsiteY13" fmla="*/ 1221064 h 1421679"/>
              <a:gd name="connsiteX14" fmla="*/ 1979949 w 6571833"/>
              <a:gd name="connsiteY14" fmla="*/ 1138380 h 1421679"/>
              <a:gd name="connsiteX15" fmla="*/ 1781478 w 6571833"/>
              <a:gd name="connsiteY15" fmla="*/ 945884 h 1421679"/>
              <a:gd name="connsiteX16" fmla="*/ 1667254 w 6571833"/>
              <a:gd name="connsiteY16" fmla="*/ 1169815 h 1421679"/>
              <a:gd name="connsiteX17" fmla="*/ 1507620 w 6571833"/>
              <a:gd name="connsiteY17" fmla="*/ 1295918 h 1421679"/>
              <a:gd name="connsiteX18" fmla="*/ 1118394 w 6571833"/>
              <a:gd name="connsiteY18" fmla="*/ 1386372 h 1421679"/>
              <a:gd name="connsiteX19" fmla="*/ 806725 w 6571833"/>
              <a:gd name="connsiteY19" fmla="*/ 1396758 h 1421679"/>
              <a:gd name="connsiteX20" fmla="*/ 453499 w 6571833"/>
              <a:gd name="connsiteY20" fmla="*/ 1416710 h 1421679"/>
              <a:gd name="connsiteX21" fmla="*/ 0 w 6571833"/>
              <a:gd name="connsiteY21" fmla="*/ 1105575 h 1421679"/>
              <a:gd name="connsiteX0" fmla="*/ 6571833 w 6571833"/>
              <a:gd name="connsiteY0" fmla="*/ 4904 h 1418357"/>
              <a:gd name="connsiteX1" fmla="*/ 5899514 w 6571833"/>
              <a:gd name="connsiteY1" fmla="*/ 386993 h 1418357"/>
              <a:gd name="connsiteX2" fmla="*/ 5780854 w 6571833"/>
              <a:gd name="connsiteY2" fmla="*/ 619945 h 1418357"/>
              <a:gd name="connsiteX3" fmla="*/ 5511420 w 6571833"/>
              <a:gd name="connsiteY3" fmla="*/ 765795 h 1418357"/>
              <a:gd name="connsiteX4" fmla="*/ 5098207 w 6571833"/>
              <a:gd name="connsiteY4" fmla="*/ 824986 h 1418357"/>
              <a:gd name="connsiteX5" fmla="*/ 4547473 w 6571833"/>
              <a:gd name="connsiteY5" fmla="*/ 863743 h 1418357"/>
              <a:gd name="connsiteX6" fmla="*/ 4144994 w 6571833"/>
              <a:gd name="connsiteY6" fmla="*/ 782953 h 1418357"/>
              <a:gd name="connsiteX7" fmla="*/ 3864681 w 6571833"/>
              <a:gd name="connsiteY7" fmla="*/ 487498 h 1418357"/>
              <a:gd name="connsiteX8" fmla="*/ 3749253 w 6571833"/>
              <a:gd name="connsiteY8" fmla="*/ 756826 h 1418357"/>
              <a:gd name="connsiteX9" fmla="*/ 3641815 w 6571833"/>
              <a:gd name="connsiteY9" fmla="*/ 1020462 h 1418357"/>
              <a:gd name="connsiteX10" fmla="*/ 3122725 w 6571833"/>
              <a:gd name="connsiteY10" fmla="*/ 1197914 h 1418357"/>
              <a:gd name="connsiteX11" fmla="*/ 2814146 w 6571833"/>
              <a:gd name="connsiteY11" fmla="*/ 1228609 h 1418357"/>
              <a:gd name="connsiteX12" fmla="*/ 2410408 w 6571833"/>
              <a:gd name="connsiteY12" fmla="*/ 1233876 h 1418357"/>
              <a:gd name="connsiteX13" fmla="*/ 2170249 w 6571833"/>
              <a:gd name="connsiteY13" fmla="*/ 1217742 h 1418357"/>
              <a:gd name="connsiteX14" fmla="*/ 1979949 w 6571833"/>
              <a:gd name="connsiteY14" fmla="*/ 1135058 h 1418357"/>
              <a:gd name="connsiteX15" fmla="*/ 1781478 w 6571833"/>
              <a:gd name="connsiteY15" fmla="*/ 942562 h 1418357"/>
              <a:gd name="connsiteX16" fmla="*/ 1667254 w 6571833"/>
              <a:gd name="connsiteY16" fmla="*/ 1166493 h 1418357"/>
              <a:gd name="connsiteX17" fmla="*/ 1507620 w 6571833"/>
              <a:gd name="connsiteY17" fmla="*/ 1292596 h 1418357"/>
              <a:gd name="connsiteX18" fmla="*/ 1118394 w 6571833"/>
              <a:gd name="connsiteY18" fmla="*/ 1383050 h 1418357"/>
              <a:gd name="connsiteX19" fmla="*/ 806725 w 6571833"/>
              <a:gd name="connsiteY19" fmla="*/ 1393436 h 1418357"/>
              <a:gd name="connsiteX20" fmla="*/ 453499 w 6571833"/>
              <a:gd name="connsiteY20" fmla="*/ 1413388 h 1418357"/>
              <a:gd name="connsiteX21" fmla="*/ 0 w 6571833"/>
              <a:gd name="connsiteY21" fmla="*/ 1102253 h 1418357"/>
              <a:gd name="connsiteX0" fmla="*/ 6571833 w 6571833"/>
              <a:gd name="connsiteY0" fmla="*/ 6914 h 1420367"/>
              <a:gd name="connsiteX1" fmla="*/ 5899514 w 6571833"/>
              <a:gd name="connsiteY1" fmla="*/ 389003 h 1420367"/>
              <a:gd name="connsiteX2" fmla="*/ 5947812 w 6571833"/>
              <a:gd name="connsiteY2" fmla="*/ 349533 h 1420367"/>
              <a:gd name="connsiteX3" fmla="*/ 5780854 w 6571833"/>
              <a:gd name="connsiteY3" fmla="*/ 621955 h 1420367"/>
              <a:gd name="connsiteX4" fmla="*/ 5511420 w 6571833"/>
              <a:gd name="connsiteY4" fmla="*/ 767805 h 1420367"/>
              <a:gd name="connsiteX5" fmla="*/ 5098207 w 6571833"/>
              <a:gd name="connsiteY5" fmla="*/ 826996 h 1420367"/>
              <a:gd name="connsiteX6" fmla="*/ 4547473 w 6571833"/>
              <a:gd name="connsiteY6" fmla="*/ 865753 h 1420367"/>
              <a:gd name="connsiteX7" fmla="*/ 4144994 w 6571833"/>
              <a:gd name="connsiteY7" fmla="*/ 784963 h 1420367"/>
              <a:gd name="connsiteX8" fmla="*/ 3864681 w 6571833"/>
              <a:gd name="connsiteY8" fmla="*/ 489508 h 1420367"/>
              <a:gd name="connsiteX9" fmla="*/ 3749253 w 6571833"/>
              <a:gd name="connsiteY9" fmla="*/ 758836 h 1420367"/>
              <a:gd name="connsiteX10" fmla="*/ 3641815 w 6571833"/>
              <a:gd name="connsiteY10" fmla="*/ 1022472 h 1420367"/>
              <a:gd name="connsiteX11" fmla="*/ 3122725 w 6571833"/>
              <a:gd name="connsiteY11" fmla="*/ 1199924 h 1420367"/>
              <a:gd name="connsiteX12" fmla="*/ 2814146 w 6571833"/>
              <a:gd name="connsiteY12" fmla="*/ 1230619 h 1420367"/>
              <a:gd name="connsiteX13" fmla="*/ 2410408 w 6571833"/>
              <a:gd name="connsiteY13" fmla="*/ 1235886 h 1420367"/>
              <a:gd name="connsiteX14" fmla="*/ 2170249 w 6571833"/>
              <a:gd name="connsiteY14" fmla="*/ 1219752 h 1420367"/>
              <a:gd name="connsiteX15" fmla="*/ 1979949 w 6571833"/>
              <a:gd name="connsiteY15" fmla="*/ 1137068 h 1420367"/>
              <a:gd name="connsiteX16" fmla="*/ 1781478 w 6571833"/>
              <a:gd name="connsiteY16" fmla="*/ 944572 h 1420367"/>
              <a:gd name="connsiteX17" fmla="*/ 1667254 w 6571833"/>
              <a:gd name="connsiteY17" fmla="*/ 1168503 h 1420367"/>
              <a:gd name="connsiteX18" fmla="*/ 1507620 w 6571833"/>
              <a:gd name="connsiteY18" fmla="*/ 1294606 h 1420367"/>
              <a:gd name="connsiteX19" fmla="*/ 1118394 w 6571833"/>
              <a:gd name="connsiteY19" fmla="*/ 1385060 h 1420367"/>
              <a:gd name="connsiteX20" fmla="*/ 806725 w 6571833"/>
              <a:gd name="connsiteY20" fmla="*/ 1395446 h 1420367"/>
              <a:gd name="connsiteX21" fmla="*/ 453499 w 6571833"/>
              <a:gd name="connsiteY21" fmla="*/ 1415398 h 1420367"/>
              <a:gd name="connsiteX22" fmla="*/ 0 w 6571833"/>
              <a:gd name="connsiteY22" fmla="*/ 1104263 h 1420367"/>
              <a:gd name="connsiteX0" fmla="*/ 6571833 w 6571833"/>
              <a:gd name="connsiteY0" fmla="*/ 6914 h 1420367"/>
              <a:gd name="connsiteX1" fmla="*/ 5899514 w 6571833"/>
              <a:gd name="connsiteY1" fmla="*/ 389003 h 1420367"/>
              <a:gd name="connsiteX2" fmla="*/ 5947812 w 6571833"/>
              <a:gd name="connsiteY2" fmla="*/ 349533 h 1420367"/>
              <a:gd name="connsiteX3" fmla="*/ 5780854 w 6571833"/>
              <a:gd name="connsiteY3" fmla="*/ 621955 h 1420367"/>
              <a:gd name="connsiteX4" fmla="*/ 5511420 w 6571833"/>
              <a:gd name="connsiteY4" fmla="*/ 767805 h 1420367"/>
              <a:gd name="connsiteX5" fmla="*/ 5098207 w 6571833"/>
              <a:gd name="connsiteY5" fmla="*/ 826996 h 1420367"/>
              <a:gd name="connsiteX6" fmla="*/ 4547473 w 6571833"/>
              <a:gd name="connsiteY6" fmla="*/ 865753 h 1420367"/>
              <a:gd name="connsiteX7" fmla="*/ 4144994 w 6571833"/>
              <a:gd name="connsiteY7" fmla="*/ 784963 h 1420367"/>
              <a:gd name="connsiteX8" fmla="*/ 3864681 w 6571833"/>
              <a:gd name="connsiteY8" fmla="*/ 489508 h 1420367"/>
              <a:gd name="connsiteX9" fmla="*/ 3749253 w 6571833"/>
              <a:gd name="connsiteY9" fmla="*/ 758836 h 1420367"/>
              <a:gd name="connsiteX10" fmla="*/ 3641815 w 6571833"/>
              <a:gd name="connsiteY10" fmla="*/ 1022472 h 1420367"/>
              <a:gd name="connsiteX11" fmla="*/ 3122725 w 6571833"/>
              <a:gd name="connsiteY11" fmla="*/ 1199924 h 1420367"/>
              <a:gd name="connsiteX12" fmla="*/ 2814146 w 6571833"/>
              <a:gd name="connsiteY12" fmla="*/ 1230619 h 1420367"/>
              <a:gd name="connsiteX13" fmla="*/ 2410408 w 6571833"/>
              <a:gd name="connsiteY13" fmla="*/ 1235886 h 1420367"/>
              <a:gd name="connsiteX14" fmla="*/ 2170249 w 6571833"/>
              <a:gd name="connsiteY14" fmla="*/ 1219752 h 1420367"/>
              <a:gd name="connsiteX15" fmla="*/ 1979949 w 6571833"/>
              <a:gd name="connsiteY15" fmla="*/ 1137068 h 1420367"/>
              <a:gd name="connsiteX16" fmla="*/ 1781478 w 6571833"/>
              <a:gd name="connsiteY16" fmla="*/ 944572 h 1420367"/>
              <a:gd name="connsiteX17" fmla="*/ 1667254 w 6571833"/>
              <a:gd name="connsiteY17" fmla="*/ 1168503 h 1420367"/>
              <a:gd name="connsiteX18" fmla="*/ 1507620 w 6571833"/>
              <a:gd name="connsiteY18" fmla="*/ 1294606 h 1420367"/>
              <a:gd name="connsiteX19" fmla="*/ 1118394 w 6571833"/>
              <a:gd name="connsiteY19" fmla="*/ 1385060 h 1420367"/>
              <a:gd name="connsiteX20" fmla="*/ 806725 w 6571833"/>
              <a:gd name="connsiteY20" fmla="*/ 1395446 h 1420367"/>
              <a:gd name="connsiteX21" fmla="*/ 453499 w 6571833"/>
              <a:gd name="connsiteY21" fmla="*/ 1415398 h 1420367"/>
              <a:gd name="connsiteX22" fmla="*/ 0 w 6571833"/>
              <a:gd name="connsiteY22" fmla="*/ 1104263 h 1420367"/>
              <a:gd name="connsiteX0" fmla="*/ 6571833 w 6571833"/>
              <a:gd name="connsiteY0" fmla="*/ 6336 h 1419789"/>
              <a:gd name="connsiteX1" fmla="*/ 5899514 w 6571833"/>
              <a:gd name="connsiteY1" fmla="*/ 388425 h 1419789"/>
              <a:gd name="connsiteX2" fmla="*/ 5974196 w 6571833"/>
              <a:gd name="connsiteY2" fmla="*/ 105115 h 1419789"/>
              <a:gd name="connsiteX3" fmla="*/ 5780854 w 6571833"/>
              <a:gd name="connsiteY3" fmla="*/ 621377 h 1419789"/>
              <a:gd name="connsiteX4" fmla="*/ 5511420 w 6571833"/>
              <a:gd name="connsiteY4" fmla="*/ 767227 h 1419789"/>
              <a:gd name="connsiteX5" fmla="*/ 5098207 w 6571833"/>
              <a:gd name="connsiteY5" fmla="*/ 826418 h 1419789"/>
              <a:gd name="connsiteX6" fmla="*/ 4547473 w 6571833"/>
              <a:gd name="connsiteY6" fmla="*/ 865175 h 1419789"/>
              <a:gd name="connsiteX7" fmla="*/ 4144994 w 6571833"/>
              <a:gd name="connsiteY7" fmla="*/ 784385 h 1419789"/>
              <a:gd name="connsiteX8" fmla="*/ 3864681 w 6571833"/>
              <a:gd name="connsiteY8" fmla="*/ 488930 h 1419789"/>
              <a:gd name="connsiteX9" fmla="*/ 3749253 w 6571833"/>
              <a:gd name="connsiteY9" fmla="*/ 758258 h 1419789"/>
              <a:gd name="connsiteX10" fmla="*/ 3641815 w 6571833"/>
              <a:gd name="connsiteY10" fmla="*/ 1021894 h 1419789"/>
              <a:gd name="connsiteX11" fmla="*/ 3122725 w 6571833"/>
              <a:gd name="connsiteY11" fmla="*/ 1199346 h 1419789"/>
              <a:gd name="connsiteX12" fmla="*/ 2814146 w 6571833"/>
              <a:gd name="connsiteY12" fmla="*/ 1230041 h 1419789"/>
              <a:gd name="connsiteX13" fmla="*/ 2410408 w 6571833"/>
              <a:gd name="connsiteY13" fmla="*/ 1235308 h 1419789"/>
              <a:gd name="connsiteX14" fmla="*/ 2170249 w 6571833"/>
              <a:gd name="connsiteY14" fmla="*/ 1219174 h 1419789"/>
              <a:gd name="connsiteX15" fmla="*/ 1979949 w 6571833"/>
              <a:gd name="connsiteY15" fmla="*/ 1136490 h 1419789"/>
              <a:gd name="connsiteX16" fmla="*/ 1781478 w 6571833"/>
              <a:gd name="connsiteY16" fmla="*/ 943994 h 1419789"/>
              <a:gd name="connsiteX17" fmla="*/ 1667254 w 6571833"/>
              <a:gd name="connsiteY17" fmla="*/ 1167925 h 1419789"/>
              <a:gd name="connsiteX18" fmla="*/ 1507620 w 6571833"/>
              <a:gd name="connsiteY18" fmla="*/ 1294028 h 1419789"/>
              <a:gd name="connsiteX19" fmla="*/ 1118394 w 6571833"/>
              <a:gd name="connsiteY19" fmla="*/ 1384482 h 1419789"/>
              <a:gd name="connsiteX20" fmla="*/ 806725 w 6571833"/>
              <a:gd name="connsiteY20" fmla="*/ 1394868 h 1419789"/>
              <a:gd name="connsiteX21" fmla="*/ 453499 w 6571833"/>
              <a:gd name="connsiteY21" fmla="*/ 1414820 h 1419789"/>
              <a:gd name="connsiteX22" fmla="*/ 0 w 6571833"/>
              <a:gd name="connsiteY22" fmla="*/ 1103685 h 1419789"/>
              <a:gd name="connsiteX0" fmla="*/ 6571833 w 6571833"/>
              <a:gd name="connsiteY0" fmla="*/ 5801 h 1419254"/>
              <a:gd name="connsiteX1" fmla="*/ 6216107 w 6571833"/>
              <a:gd name="connsiteY1" fmla="*/ 431433 h 1419254"/>
              <a:gd name="connsiteX2" fmla="*/ 5974196 w 6571833"/>
              <a:gd name="connsiteY2" fmla="*/ 104580 h 1419254"/>
              <a:gd name="connsiteX3" fmla="*/ 5780854 w 6571833"/>
              <a:gd name="connsiteY3" fmla="*/ 620842 h 1419254"/>
              <a:gd name="connsiteX4" fmla="*/ 5511420 w 6571833"/>
              <a:gd name="connsiteY4" fmla="*/ 766692 h 1419254"/>
              <a:gd name="connsiteX5" fmla="*/ 5098207 w 6571833"/>
              <a:gd name="connsiteY5" fmla="*/ 825883 h 1419254"/>
              <a:gd name="connsiteX6" fmla="*/ 4547473 w 6571833"/>
              <a:gd name="connsiteY6" fmla="*/ 864640 h 1419254"/>
              <a:gd name="connsiteX7" fmla="*/ 4144994 w 6571833"/>
              <a:gd name="connsiteY7" fmla="*/ 783850 h 1419254"/>
              <a:gd name="connsiteX8" fmla="*/ 3864681 w 6571833"/>
              <a:gd name="connsiteY8" fmla="*/ 488395 h 1419254"/>
              <a:gd name="connsiteX9" fmla="*/ 3749253 w 6571833"/>
              <a:gd name="connsiteY9" fmla="*/ 757723 h 1419254"/>
              <a:gd name="connsiteX10" fmla="*/ 3641815 w 6571833"/>
              <a:gd name="connsiteY10" fmla="*/ 1021359 h 1419254"/>
              <a:gd name="connsiteX11" fmla="*/ 3122725 w 6571833"/>
              <a:gd name="connsiteY11" fmla="*/ 1198811 h 1419254"/>
              <a:gd name="connsiteX12" fmla="*/ 2814146 w 6571833"/>
              <a:gd name="connsiteY12" fmla="*/ 1229506 h 1419254"/>
              <a:gd name="connsiteX13" fmla="*/ 2410408 w 6571833"/>
              <a:gd name="connsiteY13" fmla="*/ 1234773 h 1419254"/>
              <a:gd name="connsiteX14" fmla="*/ 2170249 w 6571833"/>
              <a:gd name="connsiteY14" fmla="*/ 1218639 h 1419254"/>
              <a:gd name="connsiteX15" fmla="*/ 1979949 w 6571833"/>
              <a:gd name="connsiteY15" fmla="*/ 1135955 h 1419254"/>
              <a:gd name="connsiteX16" fmla="*/ 1781478 w 6571833"/>
              <a:gd name="connsiteY16" fmla="*/ 943459 h 1419254"/>
              <a:gd name="connsiteX17" fmla="*/ 1667254 w 6571833"/>
              <a:gd name="connsiteY17" fmla="*/ 1167390 h 1419254"/>
              <a:gd name="connsiteX18" fmla="*/ 1507620 w 6571833"/>
              <a:gd name="connsiteY18" fmla="*/ 1293493 h 1419254"/>
              <a:gd name="connsiteX19" fmla="*/ 1118394 w 6571833"/>
              <a:gd name="connsiteY19" fmla="*/ 1383947 h 1419254"/>
              <a:gd name="connsiteX20" fmla="*/ 806725 w 6571833"/>
              <a:gd name="connsiteY20" fmla="*/ 1394333 h 1419254"/>
              <a:gd name="connsiteX21" fmla="*/ 453499 w 6571833"/>
              <a:gd name="connsiteY21" fmla="*/ 1414285 h 1419254"/>
              <a:gd name="connsiteX22" fmla="*/ 0 w 6571833"/>
              <a:gd name="connsiteY22" fmla="*/ 1103150 h 1419254"/>
              <a:gd name="connsiteX0" fmla="*/ 6571833 w 6571833"/>
              <a:gd name="connsiteY0" fmla="*/ 5706 h 1419159"/>
              <a:gd name="connsiteX1" fmla="*/ 6216107 w 6571833"/>
              <a:gd name="connsiteY1" fmla="*/ 431338 h 1419159"/>
              <a:gd name="connsiteX2" fmla="*/ 6000580 w 6571833"/>
              <a:gd name="connsiteY2" fmla="*/ 52233 h 1419159"/>
              <a:gd name="connsiteX3" fmla="*/ 5780854 w 6571833"/>
              <a:gd name="connsiteY3" fmla="*/ 620747 h 1419159"/>
              <a:gd name="connsiteX4" fmla="*/ 5511420 w 6571833"/>
              <a:gd name="connsiteY4" fmla="*/ 766597 h 1419159"/>
              <a:gd name="connsiteX5" fmla="*/ 5098207 w 6571833"/>
              <a:gd name="connsiteY5" fmla="*/ 825788 h 1419159"/>
              <a:gd name="connsiteX6" fmla="*/ 4547473 w 6571833"/>
              <a:gd name="connsiteY6" fmla="*/ 864545 h 1419159"/>
              <a:gd name="connsiteX7" fmla="*/ 4144994 w 6571833"/>
              <a:gd name="connsiteY7" fmla="*/ 783755 h 1419159"/>
              <a:gd name="connsiteX8" fmla="*/ 3864681 w 6571833"/>
              <a:gd name="connsiteY8" fmla="*/ 488300 h 1419159"/>
              <a:gd name="connsiteX9" fmla="*/ 3749253 w 6571833"/>
              <a:gd name="connsiteY9" fmla="*/ 757628 h 1419159"/>
              <a:gd name="connsiteX10" fmla="*/ 3641815 w 6571833"/>
              <a:gd name="connsiteY10" fmla="*/ 1021264 h 1419159"/>
              <a:gd name="connsiteX11" fmla="*/ 3122725 w 6571833"/>
              <a:gd name="connsiteY11" fmla="*/ 1198716 h 1419159"/>
              <a:gd name="connsiteX12" fmla="*/ 2814146 w 6571833"/>
              <a:gd name="connsiteY12" fmla="*/ 1229411 h 1419159"/>
              <a:gd name="connsiteX13" fmla="*/ 2410408 w 6571833"/>
              <a:gd name="connsiteY13" fmla="*/ 1234678 h 1419159"/>
              <a:gd name="connsiteX14" fmla="*/ 2170249 w 6571833"/>
              <a:gd name="connsiteY14" fmla="*/ 1218544 h 1419159"/>
              <a:gd name="connsiteX15" fmla="*/ 1979949 w 6571833"/>
              <a:gd name="connsiteY15" fmla="*/ 1135860 h 1419159"/>
              <a:gd name="connsiteX16" fmla="*/ 1781478 w 6571833"/>
              <a:gd name="connsiteY16" fmla="*/ 943364 h 1419159"/>
              <a:gd name="connsiteX17" fmla="*/ 1667254 w 6571833"/>
              <a:gd name="connsiteY17" fmla="*/ 1167295 h 1419159"/>
              <a:gd name="connsiteX18" fmla="*/ 1507620 w 6571833"/>
              <a:gd name="connsiteY18" fmla="*/ 1293398 h 1419159"/>
              <a:gd name="connsiteX19" fmla="*/ 1118394 w 6571833"/>
              <a:gd name="connsiteY19" fmla="*/ 1383852 h 1419159"/>
              <a:gd name="connsiteX20" fmla="*/ 806725 w 6571833"/>
              <a:gd name="connsiteY20" fmla="*/ 1394238 h 1419159"/>
              <a:gd name="connsiteX21" fmla="*/ 453499 w 6571833"/>
              <a:gd name="connsiteY21" fmla="*/ 1414190 h 1419159"/>
              <a:gd name="connsiteX22" fmla="*/ 0 w 6571833"/>
              <a:gd name="connsiteY22" fmla="*/ 1103055 h 1419159"/>
              <a:gd name="connsiteX0" fmla="*/ 6571833 w 6571833"/>
              <a:gd name="connsiteY0" fmla="*/ 6709 h 1420162"/>
              <a:gd name="connsiteX1" fmla="*/ 6286461 w 6571833"/>
              <a:gd name="connsiteY1" fmla="*/ 353964 h 1420162"/>
              <a:gd name="connsiteX2" fmla="*/ 6000580 w 6571833"/>
              <a:gd name="connsiteY2" fmla="*/ 53236 h 1420162"/>
              <a:gd name="connsiteX3" fmla="*/ 5780854 w 6571833"/>
              <a:gd name="connsiteY3" fmla="*/ 621750 h 1420162"/>
              <a:gd name="connsiteX4" fmla="*/ 5511420 w 6571833"/>
              <a:gd name="connsiteY4" fmla="*/ 767600 h 1420162"/>
              <a:gd name="connsiteX5" fmla="*/ 5098207 w 6571833"/>
              <a:gd name="connsiteY5" fmla="*/ 826791 h 1420162"/>
              <a:gd name="connsiteX6" fmla="*/ 4547473 w 6571833"/>
              <a:gd name="connsiteY6" fmla="*/ 865548 h 1420162"/>
              <a:gd name="connsiteX7" fmla="*/ 4144994 w 6571833"/>
              <a:gd name="connsiteY7" fmla="*/ 784758 h 1420162"/>
              <a:gd name="connsiteX8" fmla="*/ 3864681 w 6571833"/>
              <a:gd name="connsiteY8" fmla="*/ 489303 h 1420162"/>
              <a:gd name="connsiteX9" fmla="*/ 3749253 w 6571833"/>
              <a:gd name="connsiteY9" fmla="*/ 758631 h 1420162"/>
              <a:gd name="connsiteX10" fmla="*/ 3641815 w 6571833"/>
              <a:gd name="connsiteY10" fmla="*/ 1022267 h 1420162"/>
              <a:gd name="connsiteX11" fmla="*/ 3122725 w 6571833"/>
              <a:gd name="connsiteY11" fmla="*/ 1199719 h 1420162"/>
              <a:gd name="connsiteX12" fmla="*/ 2814146 w 6571833"/>
              <a:gd name="connsiteY12" fmla="*/ 1230414 h 1420162"/>
              <a:gd name="connsiteX13" fmla="*/ 2410408 w 6571833"/>
              <a:gd name="connsiteY13" fmla="*/ 1235681 h 1420162"/>
              <a:gd name="connsiteX14" fmla="*/ 2170249 w 6571833"/>
              <a:gd name="connsiteY14" fmla="*/ 1219547 h 1420162"/>
              <a:gd name="connsiteX15" fmla="*/ 1979949 w 6571833"/>
              <a:gd name="connsiteY15" fmla="*/ 1136863 h 1420162"/>
              <a:gd name="connsiteX16" fmla="*/ 1781478 w 6571833"/>
              <a:gd name="connsiteY16" fmla="*/ 944367 h 1420162"/>
              <a:gd name="connsiteX17" fmla="*/ 1667254 w 6571833"/>
              <a:gd name="connsiteY17" fmla="*/ 1168298 h 1420162"/>
              <a:gd name="connsiteX18" fmla="*/ 1507620 w 6571833"/>
              <a:gd name="connsiteY18" fmla="*/ 1294401 h 1420162"/>
              <a:gd name="connsiteX19" fmla="*/ 1118394 w 6571833"/>
              <a:gd name="connsiteY19" fmla="*/ 1384855 h 1420162"/>
              <a:gd name="connsiteX20" fmla="*/ 806725 w 6571833"/>
              <a:gd name="connsiteY20" fmla="*/ 1395241 h 1420162"/>
              <a:gd name="connsiteX21" fmla="*/ 453499 w 6571833"/>
              <a:gd name="connsiteY21" fmla="*/ 1415193 h 1420162"/>
              <a:gd name="connsiteX22" fmla="*/ 0 w 6571833"/>
              <a:gd name="connsiteY22" fmla="*/ 1104058 h 1420162"/>
              <a:gd name="connsiteX0" fmla="*/ 6650981 w 6650981"/>
              <a:gd name="connsiteY0" fmla="*/ 319233 h 1366926"/>
              <a:gd name="connsiteX1" fmla="*/ 6286461 w 6650981"/>
              <a:gd name="connsiteY1" fmla="*/ 300728 h 1366926"/>
              <a:gd name="connsiteX2" fmla="*/ 6000580 w 6650981"/>
              <a:gd name="connsiteY2" fmla="*/ 0 h 1366926"/>
              <a:gd name="connsiteX3" fmla="*/ 5780854 w 6650981"/>
              <a:gd name="connsiteY3" fmla="*/ 568514 h 1366926"/>
              <a:gd name="connsiteX4" fmla="*/ 5511420 w 6650981"/>
              <a:gd name="connsiteY4" fmla="*/ 714364 h 1366926"/>
              <a:gd name="connsiteX5" fmla="*/ 5098207 w 6650981"/>
              <a:gd name="connsiteY5" fmla="*/ 773555 h 1366926"/>
              <a:gd name="connsiteX6" fmla="*/ 4547473 w 6650981"/>
              <a:gd name="connsiteY6" fmla="*/ 812312 h 1366926"/>
              <a:gd name="connsiteX7" fmla="*/ 4144994 w 6650981"/>
              <a:gd name="connsiteY7" fmla="*/ 731522 h 1366926"/>
              <a:gd name="connsiteX8" fmla="*/ 3864681 w 6650981"/>
              <a:gd name="connsiteY8" fmla="*/ 436067 h 1366926"/>
              <a:gd name="connsiteX9" fmla="*/ 3749253 w 6650981"/>
              <a:gd name="connsiteY9" fmla="*/ 705395 h 1366926"/>
              <a:gd name="connsiteX10" fmla="*/ 3641815 w 6650981"/>
              <a:gd name="connsiteY10" fmla="*/ 969031 h 1366926"/>
              <a:gd name="connsiteX11" fmla="*/ 3122725 w 6650981"/>
              <a:gd name="connsiteY11" fmla="*/ 1146483 h 1366926"/>
              <a:gd name="connsiteX12" fmla="*/ 2814146 w 6650981"/>
              <a:gd name="connsiteY12" fmla="*/ 1177178 h 1366926"/>
              <a:gd name="connsiteX13" fmla="*/ 2410408 w 6650981"/>
              <a:gd name="connsiteY13" fmla="*/ 1182445 h 1366926"/>
              <a:gd name="connsiteX14" fmla="*/ 2170249 w 6650981"/>
              <a:gd name="connsiteY14" fmla="*/ 1166311 h 1366926"/>
              <a:gd name="connsiteX15" fmla="*/ 1979949 w 6650981"/>
              <a:gd name="connsiteY15" fmla="*/ 1083627 h 1366926"/>
              <a:gd name="connsiteX16" fmla="*/ 1781478 w 6650981"/>
              <a:gd name="connsiteY16" fmla="*/ 891131 h 1366926"/>
              <a:gd name="connsiteX17" fmla="*/ 1667254 w 6650981"/>
              <a:gd name="connsiteY17" fmla="*/ 1115062 h 1366926"/>
              <a:gd name="connsiteX18" fmla="*/ 1507620 w 6650981"/>
              <a:gd name="connsiteY18" fmla="*/ 1241165 h 1366926"/>
              <a:gd name="connsiteX19" fmla="*/ 1118394 w 6650981"/>
              <a:gd name="connsiteY19" fmla="*/ 1331619 h 1366926"/>
              <a:gd name="connsiteX20" fmla="*/ 806725 w 6650981"/>
              <a:gd name="connsiteY20" fmla="*/ 1342005 h 1366926"/>
              <a:gd name="connsiteX21" fmla="*/ 453499 w 6650981"/>
              <a:gd name="connsiteY21" fmla="*/ 1361957 h 1366926"/>
              <a:gd name="connsiteX22" fmla="*/ 0 w 6650981"/>
              <a:gd name="connsiteY22" fmla="*/ 1050822 h 1366926"/>
              <a:gd name="connsiteX0" fmla="*/ 6563039 w 6563039"/>
              <a:gd name="connsiteY0" fmla="*/ 275690 h 1366926"/>
              <a:gd name="connsiteX1" fmla="*/ 6286461 w 6563039"/>
              <a:gd name="connsiteY1" fmla="*/ 300728 h 1366926"/>
              <a:gd name="connsiteX2" fmla="*/ 6000580 w 6563039"/>
              <a:gd name="connsiteY2" fmla="*/ 0 h 1366926"/>
              <a:gd name="connsiteX3" fmla="*/ 5780854 w 6563039"/>
              <a:gd name="connsiteY3" fmla="*/ 568514 h 1366926"/>
              <a:gd name="connsiteX4" fmla="*/ 5511420 w 6563039"/>
              <a:gd name="connsiteY4" fmla="*/ 714364 h 1366926"/>
              <a:gd name="connsiteX5" fmla="*/ 5098207 w 6563039"/>
              <a:gd name="connsiteY5" fmla="*/ 773555 h 1366926"/>
              <a:gd name="connsiteX6" fmla="*/ 4547473 w 6563039"/>
              <a:gd name="connsiteY6" fmla="*/ 812312 h 1366926"/>
              <a:gd name="connsiteX7" fmla="*/ 4144994 w 6563039"/>
              <a:gd name="connsiteY7" fmla="*/ 731522 h 1366926"/>
              <a:gd name="connsiteX8" fmla="*/ 3864681 w 6563039"/>
              <a:gd name="connsiteY8" fmla="*/ 436067 h 1366926"/>
              <a:gd name="connsiteX9" fmla="*/ 3749253 w 6563039"/>
              <a:gd name="connsiteY9" fmla="*/ 705395 h 1366926"/>
              <a:gd name="connsiteX10" fmla="*/ 3641815 w 6563039"/>
              <a:gd name="connsiteY10" fmla="*/ 969031 h 1366926"/>
              <a:gd name="connsiteX11" fmla="*/ 3122725 w 6563039"/>
              <a:gd name="connsiteY11" fmla="*/ 1146483 h 1366926"/>
              <a:gd name="connsiteX12" fmla="*/ 2814146 w 6563039"/>
              <a:gd name="connsiteY12" fmla="*/ 1177178 h 1366926"/>
              <a:gd name="connsiteX13" fmla="*/ 2410408 w 6563039"/>
              <a:gd name="connsiteY13" fmla="*/ 1182445 h 1366926"/>
              <a:gd name="connsiteX14" fmla="*/ 2170249 w 6563039"/>
              <a:gd name="connsiteY14" fmla="*/ 1166311 h 1366926"/>
              <a:gd name="connsiteX15" fmla="*/ 1979949 w 6563039"/>
              <a:gd name="connsiteY15" fmla="*/ 1083627 h 1366926"/>
              <a:gd name="connsiteX16" fmla="*/ 1781478 w 6563039"/>
              <a:gd name="connsiteY16" fmla="*/ 891131 h 1366926"/>
              <a:gd name="connsiteX17" fmla="*/ 1667254 w 6563039"/>
              <a:gd name="connsiteY17" fmla="*/ 1115062 h 1366926"/>
              <a:gd name="connsiteX18" fmla="*/ 1507620 w 6563039"/>
              <a:gd name="connsiteY18" fmla="*/ 1241165 h 1366926"/>
              <a:gd name="connsiteX19" fmla="*/ 1118394 w 6563039"/>
              <a:gd name="connsiteY19" fmla="*/ 1331619 h 1366926"/>
              <a:gd name="connsiteX20" fmla="*/ 806725 w 6563039"/>
              <a:gd name="connsiteY20" fmla="*/ 1342005 h 1366926"/>
              <a:gd name="connsiteX21" fmla="*/ 453499 w 6563039"/>
              <a:gd name="connsiteY21" fmla="*/ 1361957 h 1366926"/>
              <a:gd name="connsiteX22" fmla="*/ 0 w 6563039"/>
              <a:gd name="connsiteY22" fmla="*/ 1050822 h 1366926"/>
              <a:gd name="connsiteX0" fmla="*/ 6563039 w 6563039"/>
              <a:gd name="connsiteY0" fmla="*/ 275690 h 1366926"/>
              <a:gd name="connsiteX1" fmla="*/ 6286461 w 6563039"/>
              <a:gd name="connsiteY1" fmla="*/ 300728 h 1366926"/>
              <a:gd name="connsiteX2" fmla="*/ 6000580 w 6563039"/>
              <a:gd name="connsiteY2" fmla="*/ 0 h 1366926"/>
              <a:gd name="connsiteX3" fmla="*/ 5780854 w 6563039"/>
              <a:gd name="connsiteY3" fmla="*/ 568514 h 1366926"/>
              <a:gd name="connsiteX4" fmla="*/ 5511420 w 6563039"/>
              <a:gd name="connsiteY4" fmla="*/ 714364 h 1366926"/>
              <a:gd name="connsiteX5" fmla="*/ 5098207 w 6563039"/>
              <a:gd name="connsiteY5" fmla="*/ 773555 h 1366926"/>
              <a:gd name="connsiteX6" fmla="*/ 4547473 w 6563039"/>
              <a:gd name="connsiteY6" fmla="*/ 812312 h 1366926"/>
              <a:gd name="connsiteX7" fmla="*/ 4144994 w 6563039"/>
              <a:gd name="connsiteY7" fmla="*/ 731522 h 1366926"/>
              <a:gd name="connsiteX8" fmla="*/ 3864681 w 6563039"/>
              <a:gd name="connsiteY8" fmla="*/ 436067 h 1366926"/>
              <a:gd name="connsiteX9" fmla="*/ 3749253 w 6563039"/>
              <a:gd name="connsiteY9" fmla="*/ 705395 h 1366926"/>
              <a:gd name="connsiteX10" fmla="*/ 3641815 w 6563039"/>
              <a:gd name="connsiteY10" fmla="*/ 969031 h 1366926"/>
              <a:gd name="connsiteX11" fmla="*/ 3122725 w 6563039"/>
              <a:gd name="connsiteY11" fmla="*/ 1146483 h 1366926"/>
              <a:gd name="connsiteX12" fmla="*/ 2814146 w 6563039"/>
              <a:gd name="connsiteY12" fmla="*/ 1177178 h 1366926"/>
              <a:gd name="connsiteX13" fmla="*/ 2410408 w 6563039"/>
              <a:gd name="connsiteY13" fmla="*/ 1182445 h 1366926"/>
              <a:gd name="connsiteX14" fmla="*/ 2170249 w 6563039"/>
              <a:gd name="connsiteY14" fmla="*/ 1166311 h 1366926"/>
              <a:gd name="connsiteX15" fmla="*/ 1979949 w 6563039"/>
              <a:gd name="connsiteY15" fmla="*/ 1083627 h 1366926"/>
              <a:gd name="connsiteX16" fmla="*/ 1781478 w 6563039"/>
              <a:gd name="connsiteY16" fmla="*/ 891131 h 1366926"/>
              <a:gd name="connsiteX17" fmla="*/ 1667254 w 6563039"/>
              <a:gd name="connsiteY17" fmla="*/ 1115062 h 1366926"/>
              <a:gd name="connsiteX18" fmla="*/ 1507620 w 6563039"/>
              <a:gd name="connsiteY18" fmla="*/ 1241165 h 1366926"/>
              <a:gd name="connsiteX19" fmla="*/ 1118394 w 6563039"/>
              <a:gd name="connsiteY19" fmla="*/ 1331619 h 1366926"/>
              <a:gd name="connsiteX20" fmla="*/ 806725 w 6563039"/>
              <a:gd name="connsiteY20" fmla="*/ 1342005 h 1366926"/>
              <a:gd name="connsiteX21" fmla="*/ 453499 w 6563039"/>
              <a:gd name="connsiteY21" fmla="*/ 1361957 h 1366926"/>
              <a:gd name="connsiteX22" fmla="*/ 0 w 6563039"/>
              <a:gd name="connsiteY22" fmla="*/ 1050822 h 1366926"/>
              <a:gd name="connsiteX0" fmla="*/ 6563039 w 6563039"/>
              <a:gd name="connsiteY0" fmla="*/ 0 h 1091236"/>
              <a:gd name="connsiteX1" fmla="*/ 6286461 w 6563039"/>
              <a:gd name="connsiteY1" fmla="*/ 25038 h 1091236"/>
              <a:gd name="connsiteX2" fmla="*/ 6123700 w 6563039"/>
              <a:gd name="connsiteY2" fmla="*/ 98778 h 1091236"/>
              <a:gd name="connsiteX3" fmla="*/ 5780854 w 6563039"/>
              <a:gd name="connsiteY3" fmla="*/ 292824 h 1091236"/>
              <a:gd name="connsiteX4" fmla="*/ 5511420 w 6563039"/>
              <a:gd name="connsiteY4" fmla="*/ 438674 h 1091236"/>
              <a:gd name="connsiteX5" fmla="*/ 5098207 w 6563039"/>
              <a:gd name="connsiteY5" fmla="*/ 497865 h 1091236"/>
              <a:gd name="connsiteX6" fmla="*/ 4547473 w 6563039"/>
              <a:gd name="connsiteY6" fmla="*/ 536622 h 1091236"/>
              <a:gd name="connsiteX7" fmla="*/ 4144994 w 6563039"/>
              <a:gd name="connsiteY7" fmla="*/ 455832 h 1091236"/>
              <a:gd name="connsiteX8" fmla="*/ 3864681 w 6563039"/>
              <a:gd name="connsiteY8" fmla="*/ 160377 h 1091236"/>
              <a:gd name="connsiteX9" fmla="*/ 3749253 w 6563039"/>
              <a:gd name="connsiteY9" fmla="*/ 429705 h 1091236"/>
              <a:gd name="connsiteX10" fmla="*/ 3641815 w 6563039"/>
              <a:gd name="connsiteY10" fmla="*/ 693341 h 1091236"/>
              <a:gd name="connsiteX11" fmla="*/ 3122725 w 6563039"/>
              <a:gd name="connsiteY11" fmla="*/ 870793 h 1091236"/>
              <a:gd name="connsiteX12" fmla="*/ 2814146 w 6563039"/>
              <a:gd name="connsiteY12" fmla="*/ 901488 h 1091236"/>
              <a:gd name="connsiteX13" fmla="*/ 2410408 w 6563039"/>
              <a:gd name="connsiteY13" fmla="*/ 906755 h 1091236"/>
              <a:gd name="connsiteX14" fmla="*/ 2170249 w 6563039"/>
              <a:gd name="connsiteY14" fmla="*/ 890621 h 1091236"/>
              <a:gd name="connsiteX15" fmla="*/ 1979949 w 6563039"/>
              <a:gd name="connsiteY15" fmla="*/ 807937 h 1091236"/>
              <a:gd name="connsiteX16" fmla="*/ 1781478 w 6563039"/>
              <a:gd name="connsiteY16" fmla="*/ 615441 h 1091236"/>
              <a:gd name="connsiteX17" fmla="*/ 1667254 w 6563039"/>
              <a:gd name="connsiteY17" fmla="*/ 839372 h 1091236"/>
              <a:gd name="connsiteX18" fmla="*/ 1507620 w 6563039"/>
              <a:gd name="connsiteY18" fmla="*/ 965475 h 1091236"/>
              <a:gd name="connsiteX19" fmla="*/ 1118394 w 6563039"/>
              <a:gd name="connsiteY19" fmla="*/ 1055929 h 1091236"/>
              <a:gd name="connsiteX20" fmla="*/ 806725 w 6563039"/>
              <a:gd name="connsiteY20" fmla="*/ 1066315 h 1091236"/>
              <a:gd name="connsiteX21" fmla="*/ 453499 w 6563039"/>
              <a:gd name="connsiteY21" fmla="*/ 1086267 h 1091236"/>
              <a:gd name="connsiteX22" fmla="*/ 0 w 6563039"/>
              <a:gd name="connsiteY22" fmla="*/ 775132 h 1091236"/>
              <a:gd name="connsiteX0" fmla="*/ 6563039 w 6563039"/>
              <a:gd name="connsiteY0" fmla="*/ 0 h 1091236"/>
              <a:gd name="connsiteX1" fmla="*/ 6286461 w 6563039"/>
              <a:gd name="connsiteY1" fmla="*/ 25038 h 1091236"/>
              <a:gd name="connsiteX2" fmla="*/ 6123700 w 6563039"/>
              <a:gd name="connsiteY2" fmla="*/ 98778 h 1091236"/>
              <a:gd name="connsiteX3" fmla="*/ 5947945 w 6563039"/>
              <a:gd name="connsiteY3" fmla="*/ 379910 h 1091236"/>
              <a:gd name="connsiteX4" fmla="*/ 5511420 w 6563039"/>
              <a:gd name="connsiteY4" fmla="*/ 438674 h 1091236"/>
              <a:gd name="connsiteX5" fmla="*/ 5098207 w 6563039"/>
              <a:gd name="connsiteY5" fmla="*/ 497865 h 1091236"/>
              <a:gd name="connsiteX6" fmla="*/ 4547473 w 6563039"/>
              <a:gd name="connsiteY6" fmla="*/ 536622 h 1091236"/>
              <a:gd name="connsiteX7" fmla="*/ 4144994 w 6563039"/>
              <a:gd name="connsiteY7" fmla="*/ 455832 h 1091236"/>
              <a:gd name="connsiteX8" fmla="*/ 3864681 w 6563039"/>
              <a:gd name="connsiteY8" fmla="*/ 160377 h 1091236"/>
              <a:gd name="connsiteX9" fmla="*/ 3749253 w 6563039"/>
              <a:gd name="connsiteY9" fmla="*/ 429705 h 1091236"/>
              <a:gd name="connsiteX10" fmla="*/ 3641815 w 6563039"/>
              <a:gd name="connsiteY10" fmla="*/ 693341 h 1091236"/>
              <a:gd name="connsiteX11" fmla="*/ 3122725 w 6563039"/>
              <a:gd name="connsiteY11" fmla="*/ 870793 h 1091236"/>
              <a:gd name="connsiteX12" fmla="*/ 2814146 w 6563039"/>
              <a:gd name="connsiteY12" fmla="*/ 901488 h 1091236"/>
              <a:gd name="connsiteX13" fmla="*/ 2410408 w 6563039"/>
              <a:gd name="connsiteY13" fmla="*/ 906755 h 1091236"/>
              <a:gd name="connsiteX14" fmla="*/ 2170249 w 6563039"/>
              <a:gd name="connsiteY14" fmla="*/ 890621 h 1091236"/>
              <a:gd name="connsiteX15" fmla="*/ 1979949 w 6563039"/>
              <a:gd name="connsiteY15" fmla="*/ 807937 h 1091236"/>
              <a:gd name="connsiteX16" fmla="*/ 1781478 w 6563039"/>
              <a:gd name="connsiteY16" fmla="*/ 615441 h 1091236"/>
              <a:gd name="connsiteX17" fmla="*/ 1667254 w 6563039"/>
              <a:gd name="connsiteY17" fmla="*/ 839372 h 1091236"/>
              <a:gd name="connsiteX18" fmla="*/ 1507620 w 6563039"/>
              <a:gd name="connsiteY18" fmla="*/ 965475 h 1091236"/>
              <a:gd name="connsiteX19" fmla="*/ 1118394 w 6563039"/>
              <a:gd name="connsiteY19" fmla="*/ 1055929 h 1091236"/>
              <a:gd name="connsiteX20" fmla="*/ 806725 w 6563039"/>
              <a:gd name="connsiteY20" fmla="*/ 1066315 h 1091236"/>
              <a:gd name="connsiteX21" fmla="*/ 453499 w 6563039"/>
              <a:gd name="connsiteY21" fmla="*/ 1086267 h 1091236"/>
              <a:gd name="connsiteX22" fmla="*/ 0 w 6563039"/>
              <a:gd name="connsiteY22" fmla="*/ 775132 h 1091236"/>
              <a:gd name="connsiteX0" fmla="*/ 6563039 w 6563039"/>
              <a:gd name="connsiteY0" fmla="*/ 0 h 1091236"/>
              <a:gd name="connsiteX1" fmla="*/ 6286461 w 6563039"/>
              <a:gd name="connsiteY1" fmla="*/ 25038 h 1091236"/>
              <a:gd name="connsiteX2" fmla="*/ 6211642 w 6563039"/>
              <a:gd name="connsiteY2" fmla="*/ 229406 h 1091236"/>
              <a:gd name="connsiteX3" fmla="*/ 5947945 w 6563039"/>
              <a:gd name="connsiteY3" fmla="*/ 379910 h 1091236"/>
              <a:gd name="connsiteX4" fmla="*/ 5511420 w 6563039"/>
              <a:gd name="connsiteY4" fmla="*/ 438674 h 1091236"/>
              <a:gd name="connsiteX5" fmla="*/ 5098207 w 6563039"/>
              <a:gd name="connsiteY5" fmla="*/ 497865 h 1091236"/>
              <a:gd name="connsiteX6" fmla="*/ 4547473 w 6563039"/>
              <a:gd name="connsiteY6" fmla="*/ 536622 h 1091236"/>
              <a:gd name="connsiteX7" fmla="*/ 4144994 w 6563039"/>
              <a:gd name="connsiteY7" fmla="*/ 455832 h 1091236"/>
              <a:gd name="connsiteX8" fmla="*/ 3864681 w 6563039"/>
              <a:gd name="connsiteY8" fmla="*/ 160377 h 1091236"/>
              <a:gd name="connsiteX9" fmla="*/ 3749253 w 6563039"/>
              <a:gd name="connsiteY9" fmla="*/ 429705 h 1091236"/>
              <a:gd name="connsiteX10" fmla="*/ 3641815 w 6563039"/>
              <a:gd name="connsiteY10" fmla="*/ 693341 h 1091236"/>
              <a:gd name="connsiteX11" fmla="*/ 3122725 w 6563039"/>
              <a:gd name="connsiteY11" fmla="*/ 870793 h 1091236"/>
              <a:gd name="connsiteX12" fmla="*/ 2814146 w 6563039"/>
              <a:gd name="connsiteY12" fmla="*/ 901488 h 1091236"/>
              <a:gd name="connsiteX13" fmla="*/ 2410408 w 6563039"/>
              <a:gd name="connsiteY13" fmla="*/ 906755 h 1091236"/>
              <a:gd name="connsiteX14" fmla="*/ 2170249 w 6563039"/>
              <a:gd name="connsiteY14" fmla="*/ 890621 h 1091236"/>
              <a:gd name="connsiteX15" fmla="*/ 1979949 w 6563039"/>
              <a:gd name="connsiteY15" fmla="*/ 807937 h 1091236"/>
              <a:gd name="connsiteX16" fmla="*/ 1781478 w 6563039"/>
              <a:gd name="connsiteY16" fmla="*/ 615441 h 1091236"/>
              <a:gd name="connsiteX17" fmla="*/ 1667254 w 6563039"/>
              <a:gd name="connsiteY17" fmla="*/ 839372 h 1091236"/>
              <a:gd name="connsiteX18" fmla="*/ 1507620 w 6563039"/>
              <a:gd name="connsiteY18" fmla="*/ 965475 h 1091236"/>
              <a:gd name="connsiteX19" fmla="*/ 1118394 w 6563039"/>
              <a:gd name="connsiteY19" fmla="*/ 1055929 h 1091236"/>
              <a:gd name="connsiteX20" fmla="*/ 806725 w 6563039"/>
              <a:gd name="connsiteY20" fmla="*/ 1066315 h 1091236"/>
              <a:gd name="connsiteX21" fmla="*/ 453499 w 6563039"/>
              <a:gd name="connsiteY21" fmla="*/ 1086267 h 1091236"/>
              <a:gd name="connsiteX22" fmla="*/ 0 w 6563039"/>
              <a:gd name="connsiteY22" fmla="*/ 775132 h 1091236"/>
              <a:gd name="connsiteX0" fmla="*/ 6563039 w 6563039"/>
              <a:gd name="connsiteY0" fmla="*/ 0 h 1091236"/>
              <a:gd name="connsiteX1" fmla="*/ 6427169 w 6563039"/>
              <a:gd name="connsiteY1" fmla="*/ 173083 h 1091236"/>
              <a:gd name="connsiteX2" fmla="*/ 6211642 w 6563039"/>
              <a:gd name="connsiteY2" fmla="*/ 229406 h 1091236"/>
              <a:gd name="connsiteX3" fmla="*/ 5947945 w 6563039"/>
              <a:gd name="connsiteY3" fmla="*/ 379910 h 1091236"/>
              <a:gd name="connsiteX4" fmla="*/ 5511420 w 6563039"/>
              <a:gd name="connsiteY4" fmla="*/ 438674 h 1091236"/>
              <a:gd name="connsiteX5" fmla="*/ 5098207 w 6563039"/>
              <a:gd name="connsiteY5" fmla="*/ 497865 h 1091236"/>
              <a:gd name="connsiteX6" fmla="*/ 4547473 w 6563039"/>
              <a:gd name="connsiteY6" fmla="*/ 536622 h 1091236"/>
              <a:gd name="connsiteX7" fmla="*/ 4144994 w 6563039"/>
              <a:gd name="connsiteY7" fmla="*/ 455832 h 1091236"/>
              <a:gd name="connsiteX8" fmla="*/ 3864681 w 6563039"/>
              <a:gd name="connsiteY8" fmla="*/ 160377 h 1091236"/>
              <a:gd name="connsiteX9" fmla="*/ 3749253 w 6563039"/>
              <a:gd name="connsiteY9" fmla="*/ 429705 h 1091236"/>
              <a:gd name="connsiteX10" fmla="*/ 3641815 w 6563039"/>
              <a:gd name="connsiteY10" fmla="*/ 693341 h 1091236"/>
              <a:gd name="connsiteX11" fmla="*/ 3122725 w 6563039"/>
              <a:gd name="connsiteY11" fmla="*/ 870793 h 1091236"/>
              <a:gd name="connsiteX12" fmla="*/ 2814146 w 6563039"/>
              <a:gd name="connsiteY12" fmla="*/ 901488 h 1091236"/>
              <a:gd name="connsiteX13" fmla="*/ 2410408 w 6563039"/>
              <a:gd name="connsiteY13" fmla="*/ 906755 h 1091236"/>
              <a:gd name="connsiteX14" fmla="*/ 2170249 w 6563039"/>
              <a:gd name="connsiteY14" fmla="*/ 890621 h 1091236"/>
              <a:gd name="connsiteX15" fmla="*/ 1979949 w 6563039"/>
              <a:gd name="connsiteY15" fmla="*/ 807937 h 1091236"/>
              <a:gd name="connsiteX16" fmla="*/ 1781478 w 6563039"/>
              <a:gd name="connsiteY16" fmla="*/ 615441 h 1091236"/>
              <a:gd name="connsiteX17" fmla="*/ 1667254 w 6563039"/>
              <a:gd name="connsiteY17" fmla="*/ 839372 h 1091236"/>
              <a:gd name="connsiteX18" fmla="*/ 1507620 w 6563039"/>
              <a:gd name="connsiteY18" fmla="*/ 965475 h 1091236"/>
              <a:gd name="connsiteX19" fmla="*/ 1118394 w 6563039"/>
              <a:gd name="connsiteY19" fmla="*/ 1055929 h 1091236"/>
              <a:gd name="connsiteX20" fmla="*/ 806725 w 6563039"/>
              <a:gd name="connsiteY20" fmla="*/ 1066315 h 1091236"/>
              <a:gd name="connsiteX21" fmla="*/ 453499 w 6563039"/>
              <a:gd name="connsiteY21" fmla="*/ 1086267 h 1091236"/>
              <a:gd name="connsiteX22" fmla="*/ 0 w 6563039"/>
              <a:gd name="connsiteY22" fmla="*/ 775132 h 1091236"/>
              <a:gd name="connsiteX0" fmla="*/ 6563039 w 6563039"/>
              <a:gd name="connsiteY0" fmla="*/ 0 h 1091236"/>
              <a:gd name="connsiteX1" fmla="*/ 6427169 w 6563039"/>
              <a:gd name="connsiteY1" fmla="*/ 173083 h 1091236"/>
              <a:gd name="connsiteX2" fmla="*/ 6246819 w 6563039"/>
              <a:gd name="connsiteY2" fmla="*/ 290366 h 1091236"/>
              <a:gd name="connsiteX3" fmla="*/ 5947945 w 6563039"/>
              <a:gd name="connsiteY3" fmla="*/ 379910 h 1091236"/>
              <a:gd name="connsiteX4" fmla="*/ 5511420 w 6563039"/>
              <a:gd name="connsiteY4" fmla="*/ 438674 h 1091236"/>
              <a:gd name="connsiteX5" fmla="*/ 5098207 w 6563039"/>
              <a:gd name="connsiteY5" fmla="*/ 497865 h 1091236"/>
              <a:gd name="connsiteX6" fmla="*/ 4547473 w 6563039"/>
              <a:gd name="connsiteY6" fmla="*/ 536622 h 1091236"/>
              <a:gd name="connsiteX7" fmla="*/ 4144994 w 6563039"/>
              <a:gd name="connsiteY7" fmla="*/ 455832 h 1091236"/>
              <a:gd name="connsiteX8" fmla="*/ 3864681 w 6563039"/>
              <a:gd name="connsiteY8" fmla="*/ 160377 h 1091236"/>
              <a:gd name="connsiteX9" fmla="*/ 3749253 w 6563039"/>
              <a:gd name="connsiteY9" fmla="*/ 429705 h 1091236"/>
              <a:gd name="connsiteX10" fmla="*/ 3641815 w 6563039"/>
              <a:gd name="connsiteY10" fmla="*/ 693341 h 1091236"/>
              <a:gd name="connsiteX11" fmla="*/ 3122725 w 6563039"/>
              <a:gd name="connsiteY11" fmla="*/ 870793 h 1091236"/>
              <a:gd name="connsiteX12" fmla="*/ 2814146 w 6563039"/>
              <a:gd name="connsiteY12" fmla="*/ 901488 h 1091236"/>
              <a:gd name="connsiteX13" fmla="*/ 2410408 w 6563039"/>
              <a:gd name="connsiteY13" fmla="*/ 906755 h 1091236"/>
              <a:gd name="connsiteX14" fmla="*/ 2170249 w 6563039"/>
              <a:gd name="connsiteY14" fmla="*/ 890621 h 1091236"/>
              <a:gd name="connsiteX15" fmla="*/ 1979949 w 6563039"/>
              <a:gd name="connsiteY15" fmla="*/ 807937 h 1091236"/>
              <a:gd name="connsiteX16" fmla="*/ 1781478 w 6563039"/>
              <a:gd name="connsiteY16" fmla="*/ 615441 h 1091236"/>
              <a:gd name="connsiteX17" fmla="*/ 1667254 w 6563039"/>
              <a:gd name="connsiteY17" fmla="*/ 839372 h 1091236"/>
              <a:gd name="connsiteX18" fmla="*/ 1507620 w 6563039"/>
              <a:gd name="connsiteY18" fmla="*/ 965475 h 1091236"/>
              <a:gd name="connsiteX19" fmla="*/ 1118394 w 6563039"/>
              <a:gd name="connsiteY19" fmla="*/ 1055929 h 1091236"/>
              <a:gd name="connsiteX20" fmla="*/ 806725 w 6563039"/>
              <a:gd name="connsiteY20" fmla="*/ 1066315 h 1091236"/>
              <a:gd name="connsiteX21" fmla="*/ 453499 w 6563039"/>
              <a:gd name="connsiteY21" fmla="*/ 1086267 h 1091236"/>
              <a:gd name="connsiteX22" fmla="*/ 0 w 6563039"/>
              <a:gd name="connsiteY22" fmla="*/ 775132 h 1091236"/>
              <a:gd name="connsiteX0" fmla="*/ 6563039 w 6563039"/>
              <a:gd name="connsiteY0" fmla="*/ 0 h 1091236"/>
              <a:gd name="connsiteX1" fmla="*/ 6365610 w 6563039"/>
              <a:gd name="connsiteY1" fmla="*/ 295003 h 1091236"/>
              <a:gd name="connsiteX2" fmla="*/ 6246819 w 6563039"/>
              <a:gd name="connsiteY2" fmla="*/ 290366 h 1091236"/>
              <a:gd name="connsiteX3" fmla="*/ 5947945 w 6563039"/>
              <a:gd name="connsiteY3" fmla="*/ 379910 h 1091236"/>
              <a:gd name="connsiteX4" fmla="*/ 5511420 w 6563039"/>
              <a:gd name="connsiteY4" fmla="*/ 438674 h 1091236"/>
              <a:gd name="connsiteX5" fmla="*/ 5098207 w 6563039"/>
              <a:gd name="connsiteY5" fmla="*/ 497865 h 1091236"/>
              <a:gd name="connsiteX6" fmla="*/ 4547473 w 6563039"/>
              <a:gd name="connsiteY6" fmla="*/ 536622 h 1091236"/>
              <a:gd name="connsiteX7" fmla="*/ 4144994 w 6563039"/>
              <a:gd name="connsiteY7" fmla="*/ 455832 h 1091236"/>
              <a:gd name="connsiteX8" fmla="*/ 3864681 w 6563039"/>
              <a:gd name="connsiteY8" fmla="*/ 160377 h 1091236"/>
              <a:gd name="connsiteX9" fmla="*/ 3749253 w 6563039"/>
              <a:gd name="connsiteY9" fmla="*/ 429705 h 1091236"/>
              <a:gd name="connsiteX10" fmla="*/ 3641815 w 6563039"/>
              <a:gd name="connsiteY10" fmla="*/ 693341 h 1091236"/>
              <a:gd name="connsiteX11" fmla="*/ 3122725 w 6563039"/>
              <a:gd name="connsiteY11" fmla="*/ 870793 h 1091236"/>
              <a:gd name="connsiteX12" fmla="*/ 2814146 w 6563039"/>
              <a:gd name="connsiteY12" fmla="*/ 901488 h 1091236"/>
              <a:gd name="connsiteX13" fmla="*/ 2410408 w 6563039"/>
              <a:gd name="connsiteY13" fmla="*/ 906755 h 1091236"/>
              <a:gd name="connsiteX14" fmla="*/ 2170249 w 6563039"/>
              <a:gd name="connsiteY14" fmla="*/ 890621 h 1091236"/>
              <a:gd name="connsiteX15" fmla="*/ 1979949 w 6563039"/>
              <a:gd name="connsiteY15" fmla="*/ 807937 h 1091236"/>
              <a:gd name="connsiteX16" fmla="*/ 1781478 w 6563039"/>
              <a:gd name="connsiteY16" fmla="*/ 615441 h 1091236"/>
              <a:gd name="connsiteX17" fmla="*/ 1667254 w 6563039"/>
              <a:gd name="connsiteY17" fmla="*/ 839372 h 1091236"/>
              <a:gd name="connsiteX18" fmla="*/ 1507620 w 6563039"/>
              <a:gd name="connsiteY18" fmla="*/ 965475 h 1091236"/>
              <a:gd name="connsiteX19" fmla="*/ 1118394 w 6563039"/>
              <a:gd name="connsiteY19" fmla="*/ 1055929 h 1091236"/>
              <a:gd name="connsiteX20" fmla="*/ 806725 w 6563039"/>
              <a:gd name="connsiteY20" fmla="*/ 1066315 h 1091236"/>
              <a:gd name="connsiteX21" fmla="*/ 453499 w 6563039"/>
              <a:gd name="connsiteY21" fmla="*/ 1086267 h 1091236"/>
              <a:gd name="connsiteX22" fmla="*/ 0 w 6563039"/>
              <a:gd name="connsiteY22" fmla="*/ 775132 h 1091236"/>
              <a:gd name="connsiteX0" fmla="*/ 6624599 w 6624599"/>
              <a:gd name="connsiteY0" fmla="*/ 109659 h 930929"/>
              <a:gd name="connsiteX1" fmla="*/ 6365610 w 6624599"/>
              <a:gd name="connsiteY1" fmla="*/ 134696 h 930929"/>
              <a:gd name="connsiteX2" fmla="*/ 6246819 w 6624599"/>
              <a:gd name="connsiteY2" fmla="*/ 130059 h 930929"/>
              <a:gd name="connsiteX3" fmla="*/ 5947945 w 6624599"/>
              <a:gd name="connsiteY3" fmla="*/ 219603 h 930929"/>
              <a:gd name="connsiteX4" fmla="*/ 5511420 w 6624599"/>
              <a:gd name="connsiteY4" fmla="*/ 278367 h 930929"/>
              <a:gd name="connsiteX5" fmla="*/ 5098207 w 6624599"/>
              <a:gd name="connsiteY5" fmla="*/ 337558 h 930929"/>
              <a:gd name="connsiteX6" fmla="*/ 4547473 w 6624599"/>
              <a:gd name="connsiteY6" fmla="*/ 376315 h 930929"/>
              <a:gd name="connsiteX7" fmla="*/ 4144994 w 6624599"/>
              <a:gd name="connsiteY7" fmla="*/ 295525 h 930929"/>
              <a:gd name="connsiteX8" fmla="*/ 3864681 w 6624599"/>
              <a:gd name="connsiteY8" fmla="*/ 70 h 930929"/>
              <a:gd name="connsiteX9" fmla="*/ 3749253 w 6624599"/>
              <a:gd name="connsiteY9" fmla="*/ 269398 h 930929"/>
              <a:gd name="connsiteX10" fmla="*/ 3641815 w 6624599"/>
              <a:gd name="connsiteY10" fmla="*/ 533034 h 930929"/>
              <a:gd name="connsiteX11" fmla="*/ 3122725 w 6624599"/>
              <a:gd name="connsiteY11" fmla="*/ 710486 h 930929"/>
              <a:gd name="connsiteX12" fmla="*/ 2814146 w 6624599"/>
              <a:gd name="connsiteY12" fmla="*/ 741181 h 930929"/>
              <a:gd name="connsiteX13" fmla="*/ 2410408 w 6624599"/>
              <a:gd name="connsiteY13" fmla="*/ 746448 h 930929"/>
              <a:gd name="connsiteX14" fmla="*/ 2170249 w 6624599"/>
              <a:gd name="connsiteY14" fmla="*/ 730314 h 930929"/>
              <a:gd name="connsiteX15" fmla="*/ 1979949 w 6624599"/>
              <a:gd name="connsiteY15" fmla="*/ 647630 h 930929"/>
              <a:gd name="connsiteX16" fmla="*/ 1781478 w 6624599"/>
              <a:gd name="connsiteY16" fmla="*/ 455134 h 930929"/>
              <a:gd name="connsiteX17" fmla="*/ 1667254 w 6624599"/>
              <a:gd name="connsiteY17" fmla="*/ 679065 h 930929"/>
              <a:gd name="connsiteX18" fmla="*/ 1507620 w 6624599"/>
              <a:gd name="connsiteY18" fmla="*/ 805168 h 930929"/>
              <a:gd name="connsiteX19" fmla="*/ 1118394 w 6624599"/>
              <a:gd name="connsiteY19" fmla="*/ 895622 h 930929"/>
              <a:gd name="connsiteX20" fmla="*/ 806725 w 6624599"/>
              <a:gd name="connsiteY20" fmla="*/ 906008 h 930929"/>
              <a:gd name="connsiteX21" fmla="*/ 453499 w 6624599"/>
              <a:gd name="connsiteY21" fmla="*/ 925960 h 930929"/>
              <a:gd name="connsiteX22" fmla="*/ 0 w 6624599"/>
              <a:gd name="connsiteY22" fmla="*/ 614825 h 930929"/>
              <a:gd name="connsiteX0" fmla="*/ 6624599 w 6624599"/>
              <a:gd name="connsiteY0" fmla="*/ 109659 h 930929"/>
              <a:gd name="connsiteX1" fmla="*/ 6365610 w 6624599"/>
              <a:gd name="connsiteY1" fmla="*/ 134696 h 930929"/>
              <a:gd name="connsiteX2" fmla="*/ 6246819 w 6624599"/>
              <a:gd name="connsiteY2" fmla="*/ 130059 h 930929"/>
              <a:gd name="connsiteX3" fmla="*/ 5947945 w 6624599"/>
              <a:gd name="connsiteY3" fmla="*/ 219603 h 930929"/>
              <a:gd name="connsiteX4" fmla="*/ 5511420 w 6624599"/>
              <a:gd name="connsiteY4" fmla="*/ 278367 h 930929"/>
              <a:gd name="connsiteX5" fmla="*/ 4939911 w 6624599"/>
              <a:gd name="connsiteY5" fmla="*/ 363683 h 930929"/>
              <a:gd name="connsiteX6" fmla="*/ 4547473 w 6624599"/>
              <a:gd name="connsiteY6" fmla="*/ 376315 h 930929"/>
              <a:gd name="connsiteX7" fmla="*/ 4144994 w 6624599"/>
              <a:gd name="connsiteY7" fmla="*/ 295525 h 930929"/>
              <a:gd name="connsiteX8" fmla="*/ 3864681 w 6624599"/>
              <a:gd name="connsiteY8" fmla="*/ 70 h 930929"/>
              <a:gd name="connsiteX9" fmla="*/ 3749253 w 6624599"/>
              <a:gd name="connsiteY9" fmla="*/ 269398 h 930929"/>
              <a:gd name="connsiteX10" fmla="*/ 3641815 w 6624599"/>
              <a:gd name="connsiteY10" fmla="*/ 533034 h 930929"/>
              <a:gd name="connsiteX11" fmla="*/ 3122725 w 6624599"/>
              <a:gd name="connsiteY11" fmla="*/ 710486 h 930929"/>
              <a:gd name="connsiteX12" fmla="*/ 2814146 w 6624599"/>
              <a:gd name="connsiteY12" fmla="*/ 741181 h 930929"/>
              <a:gd name="connsiteX13" fmla="*/ 2410408 w 6624599"/>
              <a:gd name="connsiteY13" fmla="*/ 746448 h 930929"/>
              <a:gd name="connsiteX14" fmla="*/ 2170249 w 6624599"/>
              <a:gd name="connsiteY14" fmla="*/ 730314 h 930929"/>
              <a:gd name="connsiteX15" fmla="*/ 1979949 w 6624599"/>
              <a:gd name="connsiteY15" fmla="*/ 647630 h 930929"/>
              <a:gd name="connsiteX16" fmla="*/ 1781478 w 6624599"/>
              <a:gd name="connsiteY16" fmla="*/ 455134 h 930929"/>
              <a:gd name="connsiteX17" fmla="*/ 1667254 w 6624599"/>
              <a:gd name="connsiteY17" fmla="*/ 679065 h 930929"/>
              <a:gd name="connsiteX18" fmla="*/ 1507620 w 6624599"/>
              <a:gd name="connsiteY18" fmla="*/ 805168 h 930929"/>
              <a:gd name="connsiteX19" fmla="*/ 1118394 w 6624599"/>
              <a:gd name="connsiteY19" fmla="*/ 895622 h 930929"/>
              <a:gd name="connsiteX20" fmla="*/ 806725 w 6624599"/>
              <a:gd name="connsiteY20" fmla="*/ 906008 h 930929"/>
              <a:gd name="connsiteX21" fmla="*/ 453499 w 6624599"/>
              <a:gd name="connsiteY21" fmla="*/ 925960 h 930929"/>
              <a:gd name="connsiteX22" fmla="*/ 0 w 6624599"/>
              <a:gd name="connsiteY22" fmla="*/ 614825 h 930929"/>
              <a:gd name="connsiteX0" fmla="*/ 6624599 w 6624599"/>
              <a:gd name="connsiteY0" fmla="*/ 109659 h 930929"/>
              <a:gd name="connsiteX1" fmla="*/ 6365610 w 6624599"/>
              <a:gd name="connsiteY1" fmla="*/ 134696 h 930929"/>
              <a:gd name="connsiteX2" fmla="*/ 6246819 w 6624599"/>
              <a:gd name="connsiteY2" fmla="*/ 130059 h 930929"/>
              <a:gd name="connsiteX3" fmla="*/ 5947945 w 6624599"/>
              <a:gd name="connsiteY3" fmla="*/ 219603 h 930929"/>
              <a:gd name="connsiteX4" fmla="*/ 5273976 w 6624599"/>
              <a:gd name="connsiteY4" fmla="*/ 295785 h 930929"/>
              <a:gd name="connsiteX5" fmla="*/ 4939911 w 6624599"/>
              <a:gd name="connsiteY5" fmla="*/ 363683 h 930929"/>
              <a:gd name="connsiteX6" fmla="*/ 4547473 w 6624599"/>
              <a:gd name="connsiteY6" fmla="*/ 376315 h 930929"/>
              <a:gd name="connsiteX7" fmla="*/ 4144994 w 6624599"/>
              <a:gd name="connsiteY7" fmla="*/ 295525 h 930929"/>
              <a:gd name="connsiteX8" fmla="*/ 3864681 w 6624599"/>
              <a:gd name="connsiteY8" fmla="*/ 70 h 930929"/>
              <a:gd name="connsiteX9" fmla="*/ 3749253 w 6624599"/>
              <a:gd name="connsiteY9" fmla="*/ 269398 h 930929"/>
              <a:gd name="connsiteX10" fmla="*/ 3641815 w 6624599"/>
              <a:gd name="connsiteY10" fmla="*/ 533034 h 930929"/>
              <a:gd name="connsiteX11" fmla="*/ 3122725 w 6624599"/>
              <a:gd name="connsiteY11" fmla="*/ 710486 h 930929"/>
              <a:gd name="connsiteX12" fmla="*/ 2814146 w 6624599"/>
              <a:gd name="connsiteY12" fmla="*/ 741181 h 930929"/>
              <a:gd name="connsiteX13" fmla="*/ 2410408 w 6624599"/>
              <a:gd name="connsiteY13" fmla="*/ 746448 h 930929"/>
              <a:gd name="connsiteX14" fmla="*/ 2170249 w 6624599"/>
              <a:gd name="connsiteY14" fmla="*/ 730314 h 930929"/>
              <a:gd name="connsiteX15" fmla="*/ 1979949 w 6624599"/>
              <a:gd name="connsiteY15" fmla="*/ 647630 h 930929"/>
              <a:gd name="connsiteX16" fmla="*/ 1781478 w 6624599"/>
              <a:gd name="connsiteY16" fmla="*/ 455134 h 930929"/>
              <a:gd name="connsiteX17" fmla="*/ 1667254 w 6624599"/>
              <a:gd name="connsiteY17" fmla="*/ 679065 h 930929"/>
              <a:gd name="connsiteX18" fmla="*/ 1507620 w 6624599"/>
              <a:gd name="connsiteY18" fmla="*/ 805168 h 930929"/>
              <a:gd name="connsiteX19" fmla="*/ 1118394 w 6624599"/>
              <a:gd name="connsiteY19" fmla="*/ 895622 h 930929"/>
              <a:gd name="connsiteX20" fmla="*/ 806725 w 6624599"/>
              <a:gd name="connsiteY20" fmla="*/ 906008 h 930929"/>
              <a:gd name="connsiteX21" fmla="*/ 453499 w 6624599"/>
              <a:gd name="connsiteY21" fmla="*/ 925960 h 930929"/>
              <a:gd name="connsiteX22" fmla="*/ 0 w 6624599"/>
              <a:gd name="connsiteY22" fmla="*/ 614825 h 930929"/>
              <a:gd name="connsiteX0" fmla="*/ 6624599 w 6624599"/>
              <a:gd name="connsiteY0" fmla="*/ 109659 h 930929"/>
              <a:gd name="connsiteX1" fmla="*/ 6365610 w 6624599"/>
              <a:gd name="connsiteY1" fmla="*/ 134696 h 930929"/>
              <a:gd name="connsiteX2" fmla="*/ 6246819 w 6624599"/>
              <a:gd name="connsiteY2" fmla="*/ 130059 h 930929"/>
              <a:gd name="connsiteX3" fmla="*/ 5273976 w 6624599"/>
              <a:gd name="connsiteY3" fmla="*/ 295785 h 930929"/>
              <a:gd name="connsiteX4" fmla="*/ 4939911 w 6624599"/>
              <a:gd name="connsiteY4" fmla="*/ 363683 h 930929"/>
              <a:gd name="connsiteX5" fmla="*/ 4547473 w 6624599"/>
              <a:gd name="connsiteY5" fmla="*/ 376315 h 930929"/>
              <a:gd name="connsiteX6" fmla="*/ 4144994 w 6624599"/>
              <a:gd name="connsiteY6" fmla="*/ 295525 h 930929"/>
              <a:gd name="connsiteX7" fmla="*/ 3864681 w 6624599"/>
              <a:gd name="connsiteY7" fmla="*/ 70 h 930929"/>
              <a:gd name="connsiteX8" fmla="*/ 3749253 w 6624599"/>
              <a:gd name="connsiteY8" fmla="*/ 269398 h 930929"/>
              <a:gd name="connsiteX9" fmla="*/ 3641815 w 6624599"/>
              <a:gd name="connsiteY9" fmla="*/ 533034 h 930929"/>
              <a:gd name="connsiteX10" fmla="*/ 3122725 w 6624599"/>
              <a:gd name="connsiteY10" fmla="*/ 710486 h 930929"/>
              <a:gd name="connsiteX11" fmla="*/ 2814146 w 6624599"/>
              <a:gd name="connsiteY11" fmla="*/ 741181 h 930929"/>
              <a:gd name="connsiteX12" fmla="*/ 2410408 w 6624599"/>
              <a:gd name="connsiteY12" fmla="*/ 746448 h 930929"/>
              <a:gd name="connsiteX13" fmla="*/ 2170249 w 6624599"/>
              <a:gd name="connsiteY13" fmla="*/ 730314 h 930929"/>
              <a:gd name="connsiteX14" fmla="*/ 1979949 w 6624599"/>
              <a:gd name="connsiteY14" fmla="*/ 647630 h 930929"/>
              <a:gd name="connsiteX15" fmla="*/ 1781478 w 6624599"/>
              <a:gd name="connsiteY15" fmla="*/ 455134 h 930929"/>
              <a:gd name="connsiteX16" fmla="*/ 1667254 w 6624599"/>
              <a:gd name="connsiteY16" fmla="*/ 679065 h 930929"/>
              <a:gd name="connsiteX17" fmla="*/ 1507620 w 6624599"/>
              <a:gd name="connsiteY17" fmla="*/ 805168 h 930929"/>
              <a:gd name="connsiteX18" fmla="*/ 1118394 w 6624599"/>
              <a:gd name="connsiteY18" fmla="*/ 895622 h 930929"/>
              <a:gd name="connsiteX19" fmla="*/ 806725 w 6624599"/>
              <a:gd name="connsiteY19" fmla="*/ 906008 h 930929"/>
              <a:gd name="connsiteX20" fmla="*/ 453499 w 6624599"/>
              <a:gd name="connsiteY20" fmla="*/ 925960 h 930929"/>
              <a:gd name="connsiteX21" fmla="*/ 0 w 6624599"/>
              <a:gd name="connsiteY21" fmla="*/ 614825 h 930929"/>
              <a:gd name="connsiteX0" fmla="*/ 6624599 w 6624599"/>
              <a:gd name="connsiteY0" fmla="*/ 109659 h 930929"/>
              <a:gd name="connsiteX1" fmla="*/ 6365610 w 6624599"/>
              <a:gd name="connsiteY1" fmla="*/ 134696 h 930929"/>
              <a:gd name="connsiteX2" fmla="*/ 5273976 w 6624599"/>
              <a:gd name="connsiteY2" fmla="*/ 295785 h 930929"/>
              <a:gd name="connsiteX3" fmla="*/ 4939911 w 6624599"/>
              <a:gd name="connsiteY3" fmla="*/ 363683 h 930929"/>
              <a:gd name="connsiteX4" fmla="*/ 4547473 w 6624599"/>
              <a:gd name="connsiteY4" fmla="*/ 376315 h 930929"/>
              <a:gd name="connsiteX5" fmla="*/ 4144994 w 6624599"/>
              <a:gd name="connsiteY5" fmla="*/ 295525 h 930929"/>
              <a:gd name="connsiteX6" fmla="*/ 3864681 w 6624599"/>
              <a:gd name="connsiteY6" fmla="*/ 70 h 930929"/>
              <a:gd name="connsiteX7" fmla="*/ 3749253 w 6624599"/>
              <a:gd name="connsiteY7" fmla="*/ 269398 h 930929"/>
              <a:gd name="connsiteX8" fmla="*/ 3641815 w 6624599"/>
              <a:gd name="connsiteY8" fmla="*/ 533034 h 930929"/>
              <a:gd name="connsiteX9" fmla="*/ 3122725 w 6624599"/>
              <a:gd name="connsiteY9" fmla="*/ 710486 h 930929"/>
              <a:gd name="connsiteX10" fmla="*/ 2814146 w 6624599"/>
              <a:gd name="connsiteY10" fmla="*/ 741181 h 930929"/>
              <a:gd name="connsiteX11" fmla="*/ 2410408 w 6624599"/>
              <a:gd name="connsiteY11" fmla="*/ 746448 h 930929"/>
              <a:gd name="connsiteX12" fmla="*/ 2170249 w 6624599"/>
              <a:gd name="connsiteY12" fmla="*/ 730314 h 930929"/>
              <a:gd name="connsiteX13" fmla="*/ 1979949 w 6624599"/>
              <a:gd name="connsiteY13" fmla="*/ 647630 h 930929"/>
              <a:gd name="connsiteX14" fmla="*/ 1781478 w 6624599"/>
              <a:gd name="connsiteY14" fmla="*/ 455134 h 930929"/>
              <a:gd name="connsiteX15" fmla="*/ 1667254 w 6624599"/>
              <a:gd name="connsiteY15" fmla="*/ 679065 h 930929"/>
              <a:gd name="connsiteX16" fmla="*/ 1507620 w 6624599"/>
              <a:gd name="connsiteY16" fmla="*/ 805168 h 930929"/>
              <a:gd name="connsiteX17" fmla="*/ 1118394 w 6624599"/>
              <a:gd name="connsiteY17" fmla="*/ 895622 h 930929"/>
              <a:gd name="connsiteX18" fmla="*/ 806725 w 6624599"/>
              <a:gd name="connsiteY18" fmla="*/ 906008 h 930929"/>
              <a:gd name="connsiteX19" fmla="*/ 453499 w 6624599"/>
              <a:gd name="connsiteY19" fmla="*/ 925960 h 930929"/>
              <a:gd name="connsiteX20" fmla="*/ 0 w 6624599"/>
              <a:gd name="connsiteY20" fmla="*/ 614825 h 930929"/>
              <a:gd name="connsiteX0" fmla="*/ 6624599 w 6624599"/>
              <a:gd name="connsiteY0" fmla="*/ 109659 h 931411"/>
              <a:gd name="connsiteX1" fmla="*/ 6365610 w 6624599"/>
              <a:gd name="connsiteY1" fmla="*/ 134696 h 931411"/>
              <a:gd name="connsiteX2" fmla="*/ 5273976 w 6624599"/>
              <a:gd name="connsiteY2" fmla="*/ 295785 h 931411"/>
              <a:gd name="connsiteX3" fmla="*/ 4939911 w 6624599"/>
              <a:gd name="connsiteY3" fmla="*/ 363683 h 931411"/>
              <a:gd name="connsiteX4" fmla="*/ 4547473 w 6624599"/>
              <a:gd name="connsiteY4" fmla="*/ 376315 h 931411"/>
              <a:gd name="connsiteX5" fmla="*/ 4144994 w 6624599"/>
              <a:gd name="connsiteY5" fmla="*/ 295525 h 931411"/>
              <a:gd name="connsiteX6" fmla="*/ 3864681 w 6624599"/>
              <a:gd name="connsiteY6" fmla="*/ 70 h 931411"/>
              <a:gd name="connsiteX7" fmla="*/ 3749253 w 6624599"/>
              <a:gd name="connsiteY7" fmla="*/ 269398 h 931411"/>
              <a:gd name="connsiteX8" fmla="*/ 3641815 w 6624599"/>
              <a:gd name="connsiteY8" fmla="*/ 533034 h 931411"/>
              <a:gd name="connsiteX9" fmla="*/ 3122725 w 6624599"/>
              <a:gd name="connsiteY9" fmla="*/ 710486 h 931411"/>
              <a:gd name="connsiteX10" fmla="*/ 2814146 w 6624599"/>
              <a:gd name="connsiteY10" fmla="*/ 741181 h 931411"/>
              <a:gd name="connsiteX11" fmla="*/ 2410408 w 6624599"/>
              <a:gd name="connsiteY11" fmla="*/ 746448 h 931411"/>
              <a:gd name="connsiteX12" fmla="*/ 2170249 w 6624599"/>
              <a:gd name="connsiteY12" fmla="*/ 730314 h 931411"/>
              <a:gd name="connsiteX13" fmla="*/ 1979949 w 6624599"/>
              <a:gd name="connsiteY13" fmla="*/ 647630 h 931411"/>
              <a:gd name="connsiteX14" fmla="*/ 1781478 w 6624599"/>
              <a:gd name="connsiteY14" fmla="*/ 455134 h 931411"/>
              <a:gd name="connsiteX15" fmla="*/ 1667254 w 6624599"/>
              <a:gd name="connsiteY15" fmla="*/ 679065 h 931411"/>
              <a:gd name="connsiteX16" fmla="*/ 1507620 w 6624599"/>
              <a:gd name="connsiteY16" fmla="*/ 805168 h 931411"/>
              <a:gd name="connsiteX17" fmla="*/ 1100806 w 6624599"/>
              <a:gd name="connsiteY17" fmla="*/ 869496 h 931411"/>
              <a:gd name="connsiteX18" fmla="*/ 806725 w 6624599"/>
              <a:gd name="connsiteY18" fmla="*/ 906008 h 931411"/>
              <a:gd name="connsiteX19" fmla="*/ 453499 w 6624599"/>
              <a:gd name="connsiteY19" fmla="*/ 925960 h 931411"/>
              <a:gd name="connsiteX20" fmla="*/ 0 w 6624599"/>
              <a:gd name="connsiteY20" fmla="*/ 614825 h 931411"/>
              <a:gd name="connsiteX0" fmla="*/ 6624599 w 6624599"/>
              <a:gd name="connsiteY0" fmla="*/ 109659 h 931411"/>
              <a:gd name="connsiteX1" fmla="*/ 6365610 w 6624599"/>
              <a:gd name="connsiteY1" fmla="*/ 134696 h 931411"/>
              <a:gd name="connsiteX2" fmla="*/ 5273976 w 6624599"/>
              <a:gd name="connsiteY2" fmla="*/ 295785 h 931411"/>
              <a:gd name="connsiteX3" fmla="*/ 4939911 w 6624599"/>
              <a:gd name="connsiteY3" fmla="*/ 363683 h 931411"/>
              <a:gd name="connsiteX4" fmla="*/ 4547473 w 6624599"/>
              <a:gd name="connsiteY4" fmla="*/ 376315 h 931411"/>
              <a:gd name="connsiteX5" fmla="*/ 4144994 w 6624599"/>
              <a:gd name="connsiteY5" fmla="*/ 295525 h 931411"/>
              <a:gd name="connsiteX6" fmla="*/ 3864681 w 6624599"/>
              <a:gd name="connsiteY6" fmla="*/ 70 h 931411"/>
              <a:gd name="connsiteX7" fmla="*/ 3749253 w 6624599"/>
              <a:gd name="connsiteY7" fmla="*/ 269398 h 931411"/>
              <a:gd name="connsiteX8" fmla="*/ 3641815 w 6624599"/>
              <a:gd name="connsiteY8" fmla="*/ 533034 h 931411"/>
              <a:gd name="connsiteX9" fmla="*/ 3122725 w 6624599"/>
              <a:gd name="connsiteY9" fmla="*/ 710486 h 931411"/>
              <a:gd name="connsiteX10" fmla="*/ 2814146 w 6624599"/>
              <a:gd name="connsiteY10" fmla="*/ 741181 h 931411"/>
              <a:gd name="connsiteX11" fmla="*/ 2410408 w 6624599"/>
              <a:gd name="connsiteY11" fmla="*/ 746448 h 931411"/>
              <a:gd name="connsiteX12" fmla="*/ 2170249 w 6624599"/>
              <a:gd name="connsiteY12" fmla="*/ 730314 h 931411"/>
              <a:gd name="connsiteX13" fmla="*/ 1979949 w 6624599"/>
              <a:gd name="connsiteY13" fmla="*/ 647630 h 931411"/>
              <a:gd name="connsiteX14" fmla="*/ 1781478 w 6624599"/>
              <a:gd name="connsiteY14" fmla="*/ 455134 h 931411"/>
              <a:gd name="connsiteX15" fmla="*/ 1667254 w 6624599"/>
              <a:gd name="connsiteY15" fmla="*/ 679065 h 931411"/>
              <a:gd name="connsiteX16" fmla="*/ 1507620 w 6624599"/>
              <a:gd name="connsiteY16" fmla="*/ 805168 h 931411"/>
              <a:gd name="connsiteX17" fmla="*/ 1100806 w 6624599"/>
              <a:gd name="connsiteY17" fmla="*/ 869496 h 931411"/>
              <a:gd name="connsiteX18" fmla="*/ 833108 w 6624599"/>
              <a:gd name="connsiteY18" fmla="*/ 906008 h 931411"/>
              <a:gd name="connsiteX19" fmla="*/ 453499 w 6624599"/>
              <a:gd name="connsiteY19" fmla="*/ 925960 h 931411"/>
              <a:gd name="connsiteX20" fmla="*/ 0 w 6624599"/>
              <a:gd name="connsiteY20" fmla="*/ 614825 h 931411"/>
              <a:gd name="connsiteX0" fmla="*/ 6624599 w 6624599"/>
              <a:gd name="connsiteY0" fmla="*/ 135776 h 957528"/>
              <a:gd name="connsiteX1" fmla="*/ 6365610 w 6624599"/>
              <a:gd name="connsiteY1" fmla="*/ 160813 h 957528"/>
              <a:gd name="connsiteX2" fmla="*/ 5273976 w 6624599"/>
              <a:gd name="connsiteY2" fmla="*/ 321902 h 957528"/>
              <a:gd name="connsiteX3" fmla="*/ 4939911 w 6624599"/>
              <a:gd name="connsiteY3" fmla="*/ 389800 h 957528"/>
              <a:gd name="connsiteX4" fmla="*/ 4547473 w 6624599"/>
              <a:gd name="connsiteY4" fmla="*/ 402432 h 957528"/>
              <a:gd name="connsiteX5" fmla="*/ 4144994 w 6624599"/>
              <a:gd name="connsiteY5" fmla="*/ 321642 h 957528"/>
              <a:gd name="connsiteX6" fmla="*/ 4445100 w 6624599"/>
              <a:gd name="connsiteY6" fmla="*/ 61 h 957528"/>
              <a:gd name="connsiteX7" fmla="*/ 3749253 w 6624599"/>
              <a:gd name="connsiteY7" fmla="*/ 295515 h 957528"/>
              <a:gd name="connsiteX8" fmla="*/ 3641815 w 6624599"/>
              <a:gd name="connsiteY8" fmla="*/ 559151 h 957528"/>
              <a:gd name="connsiteX9" fmla="*/ 3122725 w 6624599"/>
              <a:gd name="connsiteY9" fmla="*/ 736603 h 957528"/>
              <a:gd name="connsiteX10" fmla="*/ 2814146 w 6624599"/>
              <a:gd name="connsiteY10" fmla="*/ 767298 h 957528"/>
              <a:gd name="connsiteX11" fmla="*/ 2410408 w 6624599"/>
              <a:gd name="connsiteY11" fmla="*/ 772565 h 957528"/>
              <a:gd name="connsiteX12" fmla="*/ 2170249 w 6624599"/>
              <a:gd name="connsiteY12" fmla="*/ 756431 h 957528"/>
              <a:gd name="connsiteX13" fmla="*/ 1979949 w 6624599"/>
              <a:gd name="connsiteY13" fmla="*/ 673747 h 957528"/>
              <a:gd name="connsiteX14" fmla="*/ 1781478 w 6624599"/>
              <a:gd name="connsiteY14" fmla="*/ 481251 h 957528"/>
              <a:gd name="connsiteX15" fmla="*/ 1667254 w 6624599"/>
              <a:gd name="connsiteY15" fmla="*/ 705182 h 957528"/>
              <a:gd name="connsiteX16" fmla="*/ 1507620 w 6624599"/>
              <a:gd name="connsiteY16" fmla="*/ 831285 h 957528"/>
              <a:gd name="connsiteX17" fmla="*/ 1100806 w 6624599"/>
              <a:gd name="connsiteY17" fmla="*/ 895613 h 957528"/>
              <a:gd name="connsiteX18" fmla="*/ 833108 w 6624599"/>
              <a:gd name="connsiteY18" fmla="*/ 932125 h 957528"/>
              <a:gd name="connsiteX19" fmla="*/ 453499 w 6624599"/>
              <a:gd name="connsiteY19" fmla="*/ 952077 h 957528"/>
              <a:gd name="connsiteX20" fmla="*/ 0 w 6624599"/>
              <a:gd name="connsiteY20" fmla="*/ 640942 h 957528"/>
              <a:gd name="connsiteX0" fmla="*/ 6624599 w 6624599"/>
              <a:gd name="connsiteY0" fmla="*/ 135780 h 957532"/>
              <a:gd name="connsiteX1" fmla="*/ 6365610 w 6624599"/>
              <a:gd name="connsiteY1" fmla="*/ 160817 h 957532"/>
              <a:gd name="connsiteX2" fmla="*/ 5273976 w 6624599"/>
              <a:gd name="connsiteY2" fmla="*/ 321906 h 957532"/>
              <a:gd name="connsiteX3" fmla="*/ 4939911 w 6624599"/>
              <a:gd name="connsiteY3" fmla="*/ 389804 h 957532"/>
              <a:gd name="connsiteX4" fmla="*/ 4547473 w 6624599"/>
              <a:gd name="connsiteY4" fmla="*/ 402436 h 957532"/>
              <a:gd name="connsiteX5" fmla="*/ 4611088 w 6624599"/>
              <a:gd name="connsiteY5" fmla="*/ 269395 h 957532"/>
              <a:gd name="connsiteX6" fmla="*/ 4445100 w 6624599"/>
              <a:gd name="connsiteY6" fmla="*/ 65 h 957532"/>
              <a:gd name="connsiteX7" fmla="*/ 3749253 w 6624599"/>
              <a:gd name="connsiteY7" fmla="*/ 295519 h 957532"/>
              <a:gd name="connsiteX8" fmla="*/ 3641815 w 6624599"/>
              <a:gd name="connsiteY8" fmla="*/ 559155 h 957532"/>
              <a:gd name="connsiteX9" fmla="*/ 3122725 w 6624599"/>
              <a:gd name="connsiteY9" fmla="*/ 736607 h 957532"/>
              <a:gd name="connsiteX10" fmla="*/ 2814146 w 6624599"/>
              <a:gd name="connsiteY10" fmla="*/ 767302 h 957532"/>
              <a:gd name="connsiteX11" fmla="*/ 2410408 w 6624599"/>
              <a:gd name="connsiteY11" fmla="*/ 772569 h 957532"/>
              <a:gd name="connsiteX12" fmla="*/ 2170249 w 6624599"/>
              <a:gd name="connsiteY12" fmla="*/ 756435 h 957532"/>
              <a:gd name="connsiteX13" fmla="*/ 1979949 w 6624599"/>
              <a:gd name="connsiteY13" fmla="*/ 673751 h 957532"/>
              <a:gd name="connsiteX14" fmla="*/ 1781478 w 6624599"/>
              <a:gd name="connsiteY14" fmla="*/ 481255 h 957532"/>
              <a:gd name="connsiteX15" fmla="*/ 1667254 w 6624599"/>
              <a:gd name="connsiteY15" fmla="*/ 705186 h 957532"/>
              <a:gd name="connsiteX16" fmla="*/ 1507620 w 6624599"/>
              <a:gd name="connsiteY16" fmla="*/ 831289 h 957532"/>
              <a:gd name="connsiteX17" fmla="*/ 1100806 w 6624599"/>
              <a:gd name="connsiteY17" fmla="*/ 895617 h 957532"/>
              <a:gd name="connsiteX18" fmla="*/ 833108 w 6624599"/>
              <a:gd name="connsiteY18" fmla="*/ 932129 h 957532"/>
              <a:gd name="connsiteX19" fmla="*/ 453499 w 6624599"/>
              <a:gd name="connsiteY19" fmla="*/ 952081 h 957532"/>
              <a:gd name="connsiteX20" fmla="*/ 0 w 6624599"/>
              <a:gd name="connsiteY20" fmla="*/ 640946 h 957532"/>
              <a:gd name="connsiteX0" fmla="*/ 6624599 w 6624599"/>
              <a:gd name="connsiteY0" fmla="*/ 135782 h 957534"/>
              <a:gd name="connsiteX1" fmla="*/ 6365610 w 6624599"/>
              <a:gd name="connsiteY1" fmla="*/ 160819 h 957534"/>
              <a:gd name="connsiteX2" fmla="*/ 5273976 w 6624599"/>
              <a:gd name="connsiteY2" fmla="*/ 321908 h 957534"/>
              <a:gd name="connsiteX3" fmla="*/ 4939911 w 6624599"/>
              <a:gd name="connsiteY3" fmla="*/ 389806 h 957534"/>
              <a:gd name="connsiteX4" fmla="*/ 4611088 w 6624599"/>
              <a:gd name="connsiteY4" fmla="*/ 269397 h 957534"/>
              <a:gd name="connsiteX5" fmla="*/ 4445100 w 6624599"/>
              <a:gd name="connsiteY5" fmla="*/ 67 h 957534"/>
              <a:gd name="connsiteX6" fmla="*/ 3749253 w 6624599"/>
              <a:gd name="connsiteY6" fmla="*/ 295521 h 957534"/>
              <a:gd name="connsiteX7" fmla="*/ 3641815 w 6624599"/>
              <a:gd name="connsiteY7" fmla="*/ 559157 h 957534"/>
              <a:gd name="connsiteX8" fmla="*/ 3122725 w 6624599"/>
              <a:gd name="connsiteY8" fmla="*/ 736609 h 957534"/>
              <a:gd name="connsiteX9" fmla="*/ 2814146 w 6624599"/>
              <a:gd name="connsiteY9" fmla="*/ 767304 h 957534"/>
              <a:gd name="connsiteX10" fmla="*/ 2410408 w 6624599"/>
              <a:gd name="connsiteY10" fmla="*/ 772571 h 957534"/>
              <a:gd name="connsiteX11" fmla="*/ 2170249 w 6624599"/>
              <a:gd name="connsiteY11" fmla="*/ 756437 h 957534"/>
              <a:gd name="connsiteX12" fmla="*/ 1979949 w 6624599"/>
              <a:gd name="connsiteY12" fmla="*/ 673753 h 957534"/>
              <a:gd name="connsiteX13" fmla="*/ 1781478 w 6624599"/>
              <a:gd name="connsiteY13" fmla="*/ 481257 h 957534"/>
              <a:gd name="connsiteX14" fmla="*/ 1667254 w 6624599"/>
              <a:gd name="connsiteY14" fmla="*/ 705188 h 957534"/>
              <a:gd name="connsiteX15" fmla="*/ 1507620 w 6624599"/>
              <a:gd name="connsiteY15" fmla="*/ 831291 h 957534"/>
              <a:gd name="connsiteX16" fmla="*/ 1100806 w 6624599"/>
              <a:gd name="connsiteY16" fmla="*/ 895619 h 957534"/>
              <a:gd name="connsiteX17" fmla="*/ 833108 w 6624599"/>
              <a:gd name="connsiteY17" fmla="*/ 932131 h 957534"/>
              <a:gd name="connsiteX18" fmla="*/ 453499 w 6624599"/>
              <a:gd name="connsiteY18" fmla="*/ 952083 h 957534"/>
              <a:gd name="connsiteX19" fmla="*/ 0 w 6624599"/>
              <a:gd name="connsiteY19" fmla="*/ 640948 h 957534"/>
              <a:gd name="connsiteX0" fmla="*/ 6624599 w 6624599"/>
              <a:gd name="connsiteY0" fmla="*/ 140235 h 961987"/>
              <a:gd name="connsiteX1" fmla="*/ 6365610 w 6624599"/>
              <a:gd name="connsiteY1" fmla="*/ 165272 h 961987"/>
              <a:gd name="connsiteX2" fmla="*/ 5273976 w 6624599"/>
              <a:gd name="connsiteY2" fmla="*/ 326361 h 961987"/>
              <a:gd name="connsiteX3" fmla="*/ 4939911 w 6624599"/>
              <a:gd name="connsiteY3" fmla="*/ 394259 h 961987"/>
              <a:gd name="connsiteX4" fmla="*/ 4611088 w 6624599"/>
              <a:gd name="connsiteY4" fmla="*/ 273850 h 961987"/>
              <a:gd name="connsiteX5" fmla="*/ 4445100 w 6624599"/>
              <a:gd name="connsiteY5" fmla="*/ 4520 h 961987"/>
              <a:gd name="connsiteX6" fmla="*/ 4065846 w 6624599"/>
              <a:gd name="connsiteY6" fmla="*/ 517688 h 961987"/>
              <a:gd name="connsiteX7" fmla="*/ 3641815 w 6624599"/>
              <a:gd name="connsiteY7" fmla="*/ 563610 h 961987"/>
              <a:gd name="connsiteX8" fmla="*/ 3122725 w 6624599"/>
              <a:gd name="connsiteY8" fmla="*/ 741062 h 961987"/>
              <a:gd name="connsiteX9" fmla="*/ 2814146 w 6624599"/>
              <a:gd name="connsiteY9" fmla="*/ 771757 h 961987"/>
              <a:gd name="connsiteX10" fmla="*/ 2410408 w 6624599"/>
              <a:gd name="connsiteY10" fmla="*/ 777024 h 961987"/>
              <a:gd name="connsiteX11" fmla="*/ 2170249 w 6624599"/>
              <a:gd name="connsiteY11" fmla="*/ 760890 h 961987"/>
              <a:gd name="connsiteX12" fmla="*/ 1979949 w 6624599"/>
              <a:gd name="connsiteY12" fmla="*/ 678206 h 961987"/>
              <a:gd name="connsiteX13" fmla="*/ 1781478 w 6624599"/>
              <a:gd name="connsiteY13" fmla="*/ 485710 h 961987"/>
              <a:gd name="connsiteX14" fmla="*/ 1667254 w 6624599"/>
              <a:gd name="connsiteY14" fmla="*/ 709641 h 961987"/>
              <a:gd name="connsiteX15" fmla="*/ 1507620 w 6624599"/>
              <a:gd name="connsiteY15" fmla="*/ 835744 h 961987"/>
              <a:gd name="connsiteX16" fmla="*/ 1100806 w 6624599"/>
              <a:gd name="connsiteY16" fmla="*/ 900072 h 961987"/>
              <a:gd name="connsiteX17" fmla="*/ 833108 w 6624599"/>
              <a:gd name="connsiteY17" fmla="*/ 936584 h 961987"/>
              <a:gd name="connsiteX18" fmla="*/ 453499 w 6624599"/>
              <a:gd name="connsiteY18" fmla="*/ 956536 h 961987"/>
              <a:gd name="connsiteX19" fmla="*/ 0 w 6624599"/>
              <a:gd name="connsiteY19" fmla="*/ 645401 h 961987"/>
              <a:gd name="connsiteX0" fmla="*/ 6624599 w 6624599"/>
              <a:gd name="connsiteY0" fmla="*/ 140235 h 961987"/>
              <a:gd name="connsiteX1" fmla="*/ 6365610 w 6624599"/>
              <a:gd name="connsiteY1" fmla="*/ 165272 h 961987"/>
              <a:gd name="connsiteX2" fmla="*/ 5273976 w 6624599"/>
              <a:gd name="connsiteY2" fmla="*/ 326361 h 961987"/>
              <a:gd name="connsiteX3" fmla="*/ 4939911 w 6624599"/>
              <a:gd name="connsiteY3" fmla="*/ 394259 h 961987"/>
              <a:gd name="connsiteX4" fmla="*/ 4611088 w 6624599"/>
              <a:gd name="connsiteY4" fmla="*/ 273850 h 961987"/>
              <a:gd name="connsiteX5" fmla="*/ 4445100 w 6624599"/>
              <a:gd name="connsiteY5" fmla="*/ 4520 h 961987"/>
              <a:gd name="connsiteX6" fmla="*/ 4065846 w 6624599"/>
              <a:gd name="connsiteY6" fmla="*/ 517688 h 961987"/>
              <a:gd name="connsiteX7" fmla="*/ 3668197 w 6624599"/>
              <a:gd name="connsiteY7" fmla="*/ 641987 h 961987"/>
              <a:gd name="connsiteX8" fmla="*/ 3122725 w 6624599"/>
              <a:gd name="connsiteY8" fmla="*/ 741062 h 961987"/>
              <a:gd name="connsiteX9" fmla="*/ 2814146 w 6624599"/>
              <a:gd name="connsiteY9" fmla="*/ 771757 h 961987"/>
              <a:gd name="connsiteX10" fmla="*/ 2410408 w 6624599"/>
              <a:gd name="connsiteY10" fmla="*/ 777024 h 961987"/>
              <a:gd name="connsiteX11" fmla="*/ 2170249 w 6624599"/>
              <a:gd name="connsiteY11" fmla="*/ 760890 h 961987"/>
              <a:gd name="connsiteX12" fmla="*/ 1979949 w 6624599"/>
              <a:gd name="connsiteY12" fmla="*/ 678206 h 961987"/>
              <a:gd name="connsiteX13" fmla="*/ 1781478 w 6624599"/>
              <a:gd name="connsiteY13" fmla="*/ 485710 h 961987"/>
              <a:gd name="connsiteX14" fmla="*/ 1667254 w 6624599"/>
              <a:gd name="connsiteY14" fmla="*/ 709641 h 961987"/>
              <a:gd name="connsiteX15" fmla="*/ 1507620 w 6624599"/>
              <a:gd name="connsiteY15" fmla="*/ 835744 h 961987"/>
              <a:gd name="connsiteX16" fmla="*/ 1100806 w 6624599"/>
              <a:gd name="connsiteY16" fmla="*/ 900072 h 961987"/>
              <a:gd name="connsiteX17" fmla="*/ 833108 w 6624599"/>
              <a:gd name="connsiteY17" fmla="*/ 936584 h 961987"/>
              <a:gd name="connsiteX18" fmla="*/ 453499 w 6624599"/>
              <a:gd name="connsiteY18" fmla="*/ 956536 h 961987"/>
              <a:gd name="connsiteX19" fmla="*/ 0 w 6624599"/>
              <a:gd name="connsiteY19" fmla="*/ 645401 h 961987"/>
              <a:gd name="connsiteX0" fmla="*/ 6624599 w 6624599"/>
              <a:gd name="connsiteY0" fmla="*/ 142037 h 963789"/>
              <a:gd name="connsiteX1" fmla="*/ 6365610 w 6624599"/>
              <a:gd name="connsiteY1" fmla="*/ 167074 h 963789"/>
              <a:gd name="connsiteX2" fmla="*/ 5273976 w 6624599"/>
              <a:gd name="connsiteY2" fmla="*/ 328163 h 963789"/>
              <a:gd name="connsiteX3" fmla="*/ 4939911 w 6624599"/>
              <a:gd name="connsiteY3" fmla="*/ 396061 h 963789"/>
              <a:gd name="connsiteX4" fmla="*/ 4611088 w 6624599"/>
              <a:gd name="connsiteY4" fmla="*/ 275652 h 963789"/>
              <a:gd name="connsiteX5" fmla="*/ 4445100 w 6624599"/>
              <a:gd name="connsiteY5" fmla="*/ 6322 h 963789"/>
              <a:gd name="connsiteX6" fmla="*/ 4171377 w 6624599"/>
              <a:gd name="connsiteY6" fmla="*/ 571742 h 963789"/>
              <a:gd name="connsiteX7" fmla="*/ 3668197 w 6624599"/>
              <a:gd name="connsiteY7" fmla="*/ 643789 h 963789"/>
              <a:gd name="connsiteX8" fmla="*/ 3122725 w 6624599"/>
              <a:gd name="connsiteY8" fmla="*/ 742864 h 963789"/>
              <a:gd name="connsiteX9" fmla="*/ 2814146 w 6624599"/>
              <a:gd name="connsiteY9" fmla="*/ 773559 h 963789"/>
              <a:gd name="connsiteX10" fmla="*/ 2410408 w 6624599"/>
              <a:gd name="connsiteY10" fmla="*/ 778826 h 963789"/>
              <a:gd name="connsiteX11" fmla="*/ 2170249 w 6624599"/>
              <a:gd name="connsiteY11" fmla="*/ 762692 h 963789"/>
              <a:gd name="connsiteX12" fmla="*/ 1979949 w 6624599"/>
              <a:gd name="connsiteY12" fmla="*/ 680008 h 963789"/>
              <a:gd name="connsiteX13" fmla="*/ 1781478 w 6624599"/>
              <a:gd name="connsiteY13" fmla="*/ 487512 h 963789"/>
              <a:gd name="connsiteX14" fmla="*/ 1667254 w 6624599"/>
              <a:gd name="connsiteY14" fmla="*/ 711443 h 963789"/>
              <a:gd name="connsiteX15" fmla="*/ 1507620 w 6624599"/>
              <a:gd name="connsiteY15" fmla="*/ 837546 h 963789"/>
              <a:gd name="connsiteX16" fmla="*/ 1100806 w 6624599"/>
              <a:gd name="connsiteY16" fmla="*/ 901874 h 963789"/>
              <a:gd name="connsiteX17" fmla="*/ 833108 w 6624599"/>
              <a:gd name="connsiteY17" fmla="*/ 938386 h 963789"/>
              <a:gd name="connsiteX18" fmla="*/ 453499 w 6624599"/>
              <a:gd name="connsiteY18" fmla="*/ 958338 h 963789"/>
              <a:gd name="connsiteX19" fmla="*/ 0 w 6624599"/>
              <a:gd name="connsiteY19" fmla="*/ 647203 h 963789"/>
              <a:gd name="connsiteX0" fmla="*/ 6624599 w 6624599"/>
              <a:gd name="connsiteY0" fmla="*/ 139420 h 961172"/>
              <a:gd name="connsiteX1" fmla="*/ 6365610 w 6624599"/>
              <a:gd name="connsiteY1" fmla="*/ 164457 h 961172"/>
              <a:gd name="connsiteX2" fmla="*/ 5273976 w 6624599"/>
              <a:gd name="connsiteY2" fmla="*/ 325546 h 961172"/>
              <a:gd name="connsiteX3" fmla="*/ 4939911 w 6624599"/>
              <a:gd name="connsiteY3" fmla="*/ 393444 h 961172"/>
              <a:gd name="connsiteX4" fmla="*/ 4611088 w 6624599"/>
              <a:gd name="connsiteY4" fmla="*/ 273035 h 961172"/>
              <a:gd name="connsiteX5" fmla="*/ 4445100 w 6624599"/>
              <a:gd name="connsiteY5" fmla="*/ 3705 h 961172"/>
              <a:gd name="connsiteX6" fmla="*/ 4118612 w 6624599"/>
              <a:gd name="connsiteY6" fmla="*/ 490747 h 961172"/>
              <a:gd name="connsiteX7" fmla="*/ 3668197 w 6624599"/>
              <a:gd name="connsiteY7" fmla="*/ 641172 h 961172"/>
              <a:gd name="connsiteX8" fmla="*/ 3122725 w 6624599"/>
              <a:gd name="connsiteY8" fmla="*/ 740247 h 961172"/>
              <a:gd name="connsiteX9" fmla="*/ 2814146 w 6624599"/>
              <a:gd name="connsiteY9" fmla="*/ 770942 h 961172"/>
              <a:gd name="connsiteX10" fmla="*/ 2410408 w 6624599"/>
              <a:gd name="connsiteY10" fmla="*/ 776209 h 961172"/>
              <a:gd name="connsiteX11" fmla="*/ 2170249 w 6624599"/>
              <a:gd name="connsiteY11" fmla="*/ 760075 h 961172"/>
              <a:gd name="connsiteX12" fmla="*/ 1979949 w 6624599"/>
              <a:gd name="connsiteY12" fmla="*/ 677391 h 961172"/>
              <a:gd name="connsiteX13" fmla="*/ 1781478 w 6624599"/>
              <a:gd name="connsiteY13" fmla="*/ 484895 h 961172"/>
              <a:gd name="connsiteX14" fmla="*/ 1667254 w 6624599"/>
              <a:gd name="connsiteY14" fmla="*/ 708826 h 961172"/>
              <a:gd name="connsiteX15" fmla="*/ 1507620 w 6624599"/>
              <a:gd name="connsiteY15" fmla="*/ 834929 h 961172"/>
              <a:gd name="connsiteX16" fmla="*/ 1100806 w 6624599"/>
              <a:gd name="connsiteY16" fmla="*/ 899257 h 961172"/>
              <a:gd name="connsiteX17" fmla="*/ 833108 w 6624599"/>
              <a:gd name="connsiteY17" fmla="*/ 935769 h 961172"/>
              <a:gd name="connsiteX18" fmla="*/ 453499 w 6624599"/>
              <a:gd name="connsiteY18" fmla="*/ 955721 h 961172"/>
              <a:gd name="connsiteX19" fmla="*/ 0 w 6624599"/>
              <a:gd name="connsiteY19" fmla="*/ 644586 h 961172"/>
              <a:gd name="connsiteX0" fmla="*/ 6624599 w 6624599"/>
              <a:gd name="connsiteY0" fmla="*/ 137160 h 958912"/>
              <a:gd name="connsiteX1" fmla="*/ 6365610 w 6624599"/>
              <a:gd name="connsiteY1" fmla="*/ 162197 h 958912"/>
              <a:gd name="connsiteX2" fmla="*/ 5273976 w 6624599"/>
              <a:gd name="connsiteY2" fmla="*/ 323286 h 958912"/>
              <a:gd name="connsiteX3" fmla="*/ 4939911 w 6624599"/>
              <a:gd name="connsiteY3" fmla="*/ 391184 h 958912"/>
              <a:gd name="connsiteX4" fmla="*/ 4672648 w 6624599"/>
              <a:gd name="connsiteY4" fmla="*/ 340443 h 958912"/>
              <a:gd name="connsiteX5" fmla="*/ 4445100 w 6624599"/>
              <a:gd name="connsiteY5" fmla="*/ 1445 h 958912"/>
              <a:gd name="connsiteX6" fmla="*/ 4118612 w 6624599"/>
              <a:gd name="connsiteY6" fmla="*/ 488487 h 958912"/>
              <a:gd name="connsiteX7" fmla="*/ 3668197 w 6624599"/>
              <a:gd name="connsiteY7" fmla="*/ 638912 h 958912"/>
              <a:gd name="connsiteX8" fmla="*/ 3122725 w 6624599"/>
              <a:gd name="connsiteY8" fmla="*/ 737987 h 958912"/>
              <a:gd name="connsiteX9" fmla="*/ 2814146 w 6624599"/>
              <a:gd name="connsiteY9" fmla="*/ 768682 h 958912"/>
              <a:gd name="connsiteX10" fmla="*/ 2410408 w 6624599"/>
              <a:gd name="connsiteY10" fmla="*/ 773949 h 958912"/>
              <a:gd name="connsiteX11" fmla="*/ 2170249 w 6624599"/>
              <a:gd name="connsiteY11" fmla="*/ 757815 h 958912"/>
              <a:gd name="connsiteX12" fmla="*/ 1979949 w 6624599"/>
              <a:gd name="connsiteY12" fmla="*/ 675131 h 958912"/>
              <a:gd name="connsiteX13" fmla="*/ 1781478 w 6624599"/>
              <a:gd name="connsiteY13" fmla="*/ 482635 h 958912"/>
              <a:gd name="connsiteX14" fmla="*/ 1667254 w 6624599"/>
              <a:gd name="connsiteY14" fmla="*/ 706566 h 958912"/>
              <a:gd name="connsiteX15" fmla="*/ 1507620 w 6624599"/>
              <a:gd name="connsiteY15" fmla="*/ 832669 h 958912"/>
              <a:gd name="connsiteX16" fmla="*/ 1100806 w 6624599"/>
              <a:gd name="connsiteY16" fmla="*/ 896997 h 958912"/>
              <a:gd name="connsiteX17" fmla="*/ 833108 w 6624599"/>
              <a:gd name="connsiteY17" fmla="*/ 933509 h 958912"/>
              <a:gd name="connsiteX18" fmla="*/ 453499 w 6624599"/>
              <a:gd name="connsiteY18" fmla="*/ 953461 h 958912"/>
              <a:gd name="connsiteX19" fmla="*/ 0 w 6624599"/>
              <a:gd name="connsiteY19" fmla="*/ 642326 h 958912"/>
              <a:gd name="connsiteX0" fmla="*/ 6624599 w 6624599"/>
              <a:gd name="connsiteY0" fmla="*/ 137160 h 958912"/>
              <a:gd name="connsiteX1" fmla="*/ 6365610 w 6624599"/>
              <a:gd name="connsiteY1" fmla="*/ 162197 h 958912"/>
              <a:gd name="connsiteX2" fmla="*/ 5273976 w 6624599"/>
              <a:gd name="connsiteY2" fmla="*/ 323286 h 958912"/>
              <a:gd name="connsiteX3" fmla="*/ 5054237 w 6624599"/>
              <a:gd name="connsiteY3" fmla="*/ 417310 h 958912"/>
              <a:gd name="connsiteX4" fmla="*/ 4672648 w 6624599"/>
              <a:gd name="connsiteY4" fmla="*/ 340443 h 958912"/>
              <a:gd name="connsiteX5" fmla="*/ 4445100 w 6624599"/>
              <a:gd name="connsiteY5" fmla="*/ 1445 h 958912"/>
              <a:gd name="connsiteX6" fmla="*/ 4118612 w 6624599"/>
              <a:gd name="connsiteY6" fmla="*/ 488487 h 958912"/>
              <a:gd name="connsiteX7" fmla="*/ 3668197 w 6624599"/>
              <a:gd name="connsiteY7" fmla="*/ 638912 h 958912"/>
              <a:gd name="connsiteX8" fmla="*/ 3122725 w 6624599"/>
              <a:gd name="connsiteY8" fmla="*/ 737987 h 958912"/>
              <a:gd name="connsiteX9" fmla="*/ 2814146 w 6624599"/>
              <a:gd name="connsiteY9" fmla="*/ 768682 h 958912"/>
              <a:gd name="connsiteX10" fmla="*/ 2410408 w 6624599"/>
              <a:gd name="connsiteY10" fmla="*/ 773949 h 958912"/>
              <a:gd name="connsiteX11" fmla="*/ 2170249 w 6624599"/>
              <a:gd name="connsiteY11" fmla="*/ 757815 h 958912"/>
              <a:gd name="connsiteX12" fmla="*/ 1979949 w 6624599"/>
              <a:gd name="connsiteY12" fmla="*/ 675131 h 958912"/>
              <a:gd name="connsiteX13" fmla="*/ 1781478 w 6624599"/>
              <a:gd name="connsiteY13" fmla="*/ 482635 h 958912"/>
              <a:gd name="connsiteX14" fmla="*/ 1667254 w 6624599"/>
              <a:gd name="connsiteY14" fmla="*/ 706566 h 958912"/>
              <a:gd name="connsiteX15" fmla="*/ 1507620 w 6624599"/>
              <a:gd name="connsiteY15" fmla="*/ 832669 h 958912"/>
              <a:gd name="connsiteX16" fmla="*/ 1100806 w 6624599"/>
              <a:gd name="connsiteY16" fmla="*/ 896997 h 958912"/>
              <a:gd name="connsiteX17" fmla="*/ 833108 w 6624599"/>
              <a:gd name="connsiteY17" fmla="*/ 933509 h 958912"/>
              <a:gd name="connsiteX18" fmla="*/ 453499 w 6624599"/>
              <a:gd name="connsiteY18" fmla="*/ 953461 h 958912"/>
              <a:gd name="connsiteX19" fmla="*/ 0 w 6624599"/>
              <a:gd name="connsiteY19" fmla="*/ 642326 h 958912"/>
              <a:gd name="connsiteX0" fmla="*/ 6624599 w 6624599"/>
              <a:gd name="connsiteY0" fmla="*/ 137160 h 958912"/>
              <a:gd name="connsiteX1" fmla="*/ 6365610 w 6624599"/>
              <a:gd name="connsiteY1" fmla="*/ 162197 h 958912"/>
              <a:gd name="connsiteX2" fmla="*/ 5449860 w 6624599"/>
              <a:gd name="connsiteY2" fmla="*/ 366829 h 958912"/>
              <a:gd name="connsiteX3" fmla="*/ 5054237 w 6624599"/>
              <a:gd name="connsiteY3" fmla="*/ 417310 h 958912"/>
              <a:gd name="connsiteX4" fmla="*/ 4672648 w 6624599"/>
              <a:gd name="connsiteY4" fmla="*/ 340443 h 958912"/>
              <a:gd name="connsiteX5" fmla="*/ 4445100 w 6624599"/>
              <a:gd name="connsiteY5" fmla="*/ 1445 h 958912"/>
              <a:gd name="connsiteX6" fmla="*/ 4118612 w 6624599"/>
              <a:gd name="connsiteY6" fmla="*/ 488487 h 958912"/>
              <a:gd name="connsiteX7" fmla="*/ 3668197 w 6624599"/>
              <a:gd name="connsiteY7" fmla="*/ 638912 h 958912"/>
              <a:gd name="connsiteX8" fmla="*/ 3122725 w 6624599"/>
              <a:gd name="connsiteY8" fmla="*/ 737987 h 958912"/>
              <a:gd name="connsiteX9" fmla="*/ 2814146 w 6624599"/>
              <a:gd name="connsiteY9" fmla="*/ 768682 h 958912"/>
              <a:gd name="connsiteX10" fmla="*/ 2410408 w 6624599"/>
              <a:gd name="connsiteY10" fmla="*/ 773949 h 958912"/>
              <a:gd name="connsiteX11" fmla="*/ 2170249 w 6624599"/>
              <a:gd name="connsiteY11" fmla="*/ 757815 h 958912"/>
              <a:gd name="connsiteX12" fmla="*/ 1979949 w 6624599"/>
              <a:gd name="connsiteY12" fmla="*/ 675131 h 958912"/>
              <a:gd name="connsiteX13" fmla="*/ 1781478 w 6624599"/>
              <a:gd name="connsiteY13" fmla="*/ 482635 h 958912"/>
              <a:gd name="connsiteX14" fmla="*/ 1667254 w 6624599"/>
              <a:gd name="connsiteY14" fmla="*/ 706566 h 958912"/>
              <a:gd name="connsiteX15" fmla="*/ 1507620 w 6624599"/>
              <a:gd name="connsiteY15" fmla="*/ 832669 h 958912"/>
              <a:gd name="connsiteX16" fmla="*/ 1100806 w 6624599"/>
              <a:gd name="connsiteY16" fmla="*/ 896997 h 958912"/>
              <a:gd name="connsiteX17" fmla="*/ 833108 w 6624599"/>
              <a:gd name="connsiteY17" fmla="*/ 933509 h 958912"/>
              <a:gd name="connsiteX18" fmla="*/ 453499 w 6624599"/>
              <a:gd name="connsiteY18" fmla="*/ 953461 h 958912"/>
              <a:gd name="connsiteX19" fmla="*/ 0 w 6624599"/>
              <a:gd name="connsiteY19" fmla="*/ 642326 h 958912"/>
              <a:gd name="connsiteX0" fmla="*/ 6365610 w 6365610"/>
              <a:gd name="connsiteY0" fmla="*/ 162197 h 958912"/>
              <a:gd name="connsiteX1" fmla="*/ 5449860 w 6365610"/>
              <a:gd name="connsiteY1" fmla="*/ 366829 h 958912"/>
              <a:gd name="connsiteX2" fmla="*/ 5054237 w 6365610"/>
              <a:gd name="connsiteY2" fmla="*/ 417310 h 958912"/>
              <a:gd name="connsiteX3" fmla="*/ 4672648 w 6365610"/>
              <a:gd name="connsiteY3" fmla="*/ 340443 h 958912"/>
              <a:gd name="connsiteX4" fmla="*/ 4445100 w 6365610"/>
              <a:gd name="connsiteY4" fmla="*/ 1445 h 958912"/>
              <a:gd name="connsiteX5" fmla="*/ 4118612 w 6365610"/>
              <a:gd name="connsiteY5" fmla="*/ 488487 h 958912"/>
              <a:gd name="connsiteX6" fmla="*/ 3668197 w 6365610"/>
              <a:gd name="connsiteY6" fmla="*/ 638912 h 958912"/>
              <a:gd name="connsiteX7" fmla="*/ 3122725 w 6365610"/>
              <a:gd name="connsiteY7" fmla="*/ 737987 h 958912"/>
              <a:gd name="connsiteX8" fmla="*/ 2814146 w 6365610"/>
              <a:gd name="connsiteY8" fmla="*/ 768682 h 958912"/>
              <a:gd name="connsiteX9" fmla="*/ 2410408 w 6365610"/>
              <a:gd name="connsiteY9" fmla="*/ 773949 h 958912"/>
              <a:gd name="connsiteX10" fmla="*/ 2170249 w 6365610"/>
              <a:gd name="connsiteY10" fmla="*/ 757815 h 958912"/>
              <a:gd name="connsiteX11" fmla="*/ 1979949 w 6365610"/>
              <a:gd name="connsiteY11" fmla="*/ 675131 h 958912"/>
              <a:gd name="connsiteX12" fmla="*/ 1781478 w 6365610"/>
              <a:gd name="connsiteY12" fmla="*/ 482635 h 958912"/>
              <a:gd name="connsiteX13" fmla="*/ 1667254 w 6365610"/>
              <a:gd name="connsiteY13" fmla="*/ 706566 h 958912"/>
              <a:gd name="connsiteX14" fmla="*/ 1507620 w 6365610"/>
              <a:gd name="connsiteY14" fmla="*/ 832669 h 958912"/>
              <a:gd name="connsiteX15" fmla="*/ 1100806 w 6365610"/>
              <a:gd name="connsiteY15" fmla="*/ 896997 h 958912"/>
              <a:gd name="connsiteX16" fmla="*/ 833108 w 6365610"/>
              <a:gd name="connsiteY16" fmla="*/ 933509 h 958912"/>
              <a:gd name="connsiteX17" fmla="*/ 453499 w 6365610"/>
              <a:gd name="connsiteY17" fmla="*/ 953461 h 958912"/>
              <a:gd name="connsiteX18" fmla="*/ 0 w 6365610"/>
              <a:gd name="connsiteY18" fmla="*/ 642326 h 958912"/>
              <a:gd name="connsiteX0" fmla="*/ 6523906 w 6523906"/>
              <a:gd name="connsiteY0" fmla="*/ 179614 h 958912"/>
              <a:gd name="connsiteX1" fmla="*/ 5449860 w 6523906"/>
              <a:gd name="connsiteY1" fmla="*/ 366829 h 958912"/>
              <a:gd name="connsiteX2" fmla="*/ 5054237 w 6523906"/>
              <a:gd name="connsiteY2" fmla="*/ 417310 h 958912"/>
              <a:gd name="connsiteX3" fmla="*/ 4672648 w 6523906"/>
              <a:gd name="connsiteY3" fmla="*/ 340443 h 958912"/>
              <a:gd name="connsiteX4" fmla="*/ 4445100 w 6523906"/>
              <a:gd name="connsiteY4" fmla="*/ 1445 h 958912"/>
              <a:gd name="connsiteX5" fmla="*/ 4118612 w 6523906"/>
              <a:gd name="connsiteY5" fmla="*/ 488487 h 958912"/>
              <a:gd name="connsiteX6" fmla="*/ 3668197 w 6523906"/>
              <a:gd name="connsiteY6" fmla="*/ 638912 h 958912"/>
              <a:gd name="connsiteX7" fmla="*/ 3122725 w 6523906"/>
              <a:gd name="connsiteY7" fmla="*/ 737987 h 958912"/>
              <a:gd name="connsiteX8" fmla="*/ 2814146 w 6523906"/>
              <a:gd name="connsiteY8" fmla="*/ 768682 h 958912"/>
              <a:gd name="connsiteX9" fmla="*/ 2410408 w 6523906"/>
              <a:gd name="connsiteY9" fmla="*/ 773949 h 958912"/>
              <a:gd name="connsiteX10" fmla="*/ 2170249 w 6523906"/>
              <a:gd name="connsiteY10" fmla="*/ 757815 h 958912"/>
              <a:gd name="connsiteX11" fmla="*/ 1979949 w 6523906"/>
              <a:gd name="connsiteY11" fmla="*/ 675131 h 958912"/>
              <a:gd name="connsiteX12" fmla="*/ 1781478 w 6523906"/>
              <a:gd name="connsiteY12" fmla="*/ 482635 h 958912"/>
              <a:gd name="connsiteX13" fmla="*/ 1667254 w 6523906"/>
              <a:gd name="connsiteY13" fmla="*/ 706566 h 958912"/>
              <a:gd name="connsiteX14" fmla="*/ 1507620 w 6523906"/>
              <a:gd name="connsiteY14" fmla="*/ 832669 h 958912"/>
              <a:gd name="connsiteX15" fmla="*/ 1100806 w 6523906"/>
              <a:gd name="connsiteY15" fmla="*/ 896997 h 958912"/>
              <a:gd name="connsiteX16" fmla="*/ 833108 w 6523906"/>
              <a:gd name="connsiteY16" fmla="*/ 933509 h 958912"/>
              <a:gd name="connsiteX17" fmla="*/ 453499 w 6523906"/>
              <a:gd name="connsiteY17" fmla="*/ 953461 h 958912"/>
              <a:gd name="connsiteX18" fmla="*/ 0 w 6523906"/>
              <a:gd name="connsiteY18" fmla="*/ 642326 h 958912"/>
              <a:gd name="connsiteX0" fmla="*/ 6567877 w 6567877"/>
              <a:gd name="connsiteY0" fmla="*/ 231865 h 958912"/>
              <a:gd name="connsiteX1" fmla="*/ 5449860 w 6567877"/>
              <a:gd name="connsiteY1" fmla="*/ 366829 h 958912"/>
              <a:gd name="connsiteX2" fmla="*/ 5054237 w 6567877"/>
              <a:gd name="connsiteY2" fmla="*/ 417310 h 958912"/>
              <a:gd name="connsiteX3" fmla="*/ 4672648 w 6567877"/>
              <a:gd name="connsiteY3" fmla="*/ 340443 h 958912"/>
              <a:gd name="connsiteX4" fmla="*/ 4445100 w 6567877"/>
              <a:gd name="connsiteY4" fmla="*/ 1445 h 958912"/>
              <a:gd name="connsiteX5" fmla="*/ 4118612 w 6567877"/>
              <a:gd name="connsiteY5" fmla="*/ 488487 h 958912"/>
              <a:gd name="connsiteX6" fmla="*/ 3668197 w 6567877"/>
              <a:gd name="connsiteY6" fmla="*/ 638912 h 958912"/>
              <a:gd name="connsiteX7" fmla="*/ 3122725 w 6567877"/>
              <a:gd name="connsiteY7" fmla="*/ 737987 h 958912"/>
              <a:gd name="connsiteX8" fmla="*/ 2814146 w 6567877"/>
              <a:gd name="connsiteY8" fmla="*/ 768682 h 958912"/>
              <a:gd name="connsiteX9" fmla="*/ 2410408 w 6567877"/>
              <a:gd name="connsiteY9" fmla="*/ 773949 h 958912"/>
              <a:gd name="connsiteX10" fmla="*/ 2170249 w 6567877"/>
              <a:gd name="connsiteY10" fmla="*/ 757815 h 958912"/>
              <a:gd name="connsiteX11" fmla="*/ 1979949 w 6567877"/>
              <a:gd name="connsiteY11" fmla="*/ 675131 h 958912"/>
              <a:gd name="connsiteX12" fmla="*/ 1781478 w 6567877"/>
              <a:gd name="connsiteY12" fmla="*/ 482635 h 958912"/>
              <a:gd name="connsiteX13" fmla="*/ 1667254 w 6567877"/>
              <a:gd name="connsiteY13" fmla="*/ 706566 h 958912"/>
              <a:gd name="connsiteX14" fmla="*/ 1507620 w 6567877"/>
              <a:gd name="connsiteY14" fmla="*/ 832669 h 958912"/>
              <a:gd name="connsiteX15" fmla="*/ 1100806 w 6567877"/>
              <a:gd name="connsiteY15" fmla="*/ 896997 h 958912"/>
              <a:gd name="connsiteX16" fmla="*/ 833108 w 6567877"/>
              <a:gd name="connsiteY16" fmla="*/ 933509 h 958912"/>
              <a:gd name="connsiteX17" fmla="*/ 453499 w 6567877"/>
              <a:gd name="connsiteY17" fmla="*/ 953461 h 958912"/>
              <a:gd name="connsiteX18" fmla="*/ 0 w 6567877"/>
              <a:gd name="connsiteY18" fmla="*/ 642326 h 958912"/>
              <a:gd name="connsiteX0" fmla="*/ 6567877 w 6567877"/>
              <a:gd name="connsiteY0" fmla="*/ 233416 h 960463"/>
              <a:gd name="connsiteX1" fmla="*/ 5449860 w 6567877"/>
              <a:gd name="connsiteY1" fmla="*/ 368380 h 960463"/>
              <a:gd name="connsiteX2" fmla="*/ 5054237 w 6567877"/>
              <a:gd name="connsiteY2" fmla="*/ 418861 h 960463"/>
              <a:gd name="connsiteX3" fmla="*/ 4707825 w 6567877"/>
              <a:gd name="connsiteY3" fmla="*/ 289743 h 960463"/>
              <a:gd name="connsiteX4" fmla="*/ 4445100 w 6567877"/>
              <a:gd name="connsiteY4" fmla="*/ 2996 h 960463"/>
              <a:gd name="connsiteX5" fmla="*/ 4118612 w 6567877"/>
              <a:gd name="connsiteY5" fmla="*/ 490038 h 960463"/>
              <a:gd name="connsiteX6" fmla="*/ 3668197 w 6567877"/>
              <a:gd name="connsiteY6" fmla="*/ 640463 h 960463"/>
              <a:gd name="connsiteX7" fmla="*/ 3122725 w 6567877"/>
              <a:gd name="connsiteY7" fmla="*/ 739538 h 960463"/>
              <a:gd name="connsiteX8" fmla="*/ 2814146 w 6567877"/>
              <a:gd name="connsiteY8" fmla="*/ 770233 h 960463"/>
              <a:gd name="connsiteX9" fmla="*/ 2410408 w 6567877"/>
              <a:gd name="connsiteY9" fmla="*/ 775500 h 960463"/>
              <a:gd name="connsiteX10" fmla="*/ 2170249 w 6567877"/>
              <a:gd name="connsiteY10" fmla="*/ 759366 h 960463"/>
              <a:gd name="connsiteX11" fmla="*/ 1979949 w 6567877"/>
              <a:gd name="connsiteY11" fmla="*/ 676682 h 960463"/>
              <a:gd name="connsiteX12" fmla="*/ 1781478 w 6567877"/>
              <a:gd name="connsiteY12" fmla="*/ 484186 h 960463"/>
              <a:gd name="connsiteX13" fmla="*/ 1667254 w 6567877"/>
              <a:gd name="connsiteY13" fmla="*/ 708117 h 960463"/>
              <a:gd name="connsiteX14" fmla="*/ 1507620 w 6567877"/>
              <a:gd name="connsiteY14" fmla="*/ 834220 h 960463"/>
              <a:gd name="connsiteX15" fmla="*/ 1100806 w 6567877"/>
              <a:gd name="connsiteY15" fmla="*/ 898548 h 960463"/>
              <a:gd name="connsiteX16" fmla="*/ 833108 w 6567877"/>
              <a:gd name="connsiteY16" fmla="*/ 935060 h 960463"/>
              <a:gd name="connsiteX17" fmla="*/ 453499 w 6567877"/>
              <a:gd name="connsiteY17" fmla="*/ 955012 h 960463"/>
              <a:gd name="connsiteX18" fmla="*/ 0 w 6567877"/>
              <a:gd name="connsiteY18" fmla="*/ 643877 h 960463"/>
              <a:gd name="connsiteX0" fmla="*/ 6567877 w 6567877"/>
              <a:gd name="connsiteY0" fmla="*/ 231865 h 958912"/>
              <a:gd name="connsiteX1" fmla="*/ 5449860 w 6567877"/>
              <a:gd name="connsiteY1" fmla="*/ 366829 h 958912"/>
              <a:gd name="connsiteX2" fmla="*/ 5054237 w 6567877"/>
              <a:gd name="connsiteY2" fmla="*/ 417310 h 958912"/>
              <a:gd name="connsiteX3" fmla="*/ 4681442 w 6567877"/>
              <a:gd name="connsiteY3" fmla="*/ 340444 h 958912"/>
              <a:gd name="connsiteX4" fmla="*/ 4445100 w 6567877"/>
              <a:gd name="connsiteY4" fmla="*/ 1445 h 958912"/>
              <a:gd name="connsiteX5" fmla="*/ 4118612 w 6567877"/>
              <a:gd name="connsiteY5" fmla="*/ 488487 h 958912"/>
              <a:gd name="connsiteX6" fmla="*/ 3668197 w 6567877"/>
              <a:gd name="connsiteY6" fmla="*/ 638912 h 958912"/>
              <a:gd name="connsiteX7" fmla="*/ 3122725 w 6567877"/>
              <a:gd name="connsiteY7" fmla="*/ 737987 h 958912"/>
              <a:gd name="connsiteX8" fmla="*/ 2814146 w 6567877"/>
              <a:gd name="connsiteY8" fmla="*/ 768682 h 958912"/>
              <a:gd name="connsiteX9" fmla="*/ 2410408 w 6567877"/>
              <a:gd name="connsiteY9" fmla="*/ 773949 h 958912"/>
              <a:gd name="connsiteX10" fmla="*/ 2170249 w 6567877"/>
              <a:gd name="connsiteY10" fmla="*/ 757815 h 958912"/>
              <a:gd name="connsiteX11" fmla="*/ 1979949 w 6567877"/>
              <a:gd name="connsiteY11" fmla="*/ 675131 h 958912"/>
              <a:gd name="connsiteX12" fmla="*/ 1781478 w 6567877"/>
              <a:gd name="connsiteY12" fmla="*/ 482635 h 958912"/>
              <a:gd name="connsiteX13" fmla="*/ 1667254 w 6567877"/>
              <a:gd name="connsiteY13" fmla="*/ 706566 h 958912"/>
              <a:gd name="connsiteX14" fmla="*/ 1507620 w 6567877"/>
              <a:gd name="connsiteY14" fmla="*/ 832669 h 958912"/>
              <a:gd name="connsiteX15" fmla="*/ 1100806 w 6567877"/>
              <a:gd name="connsiteY15" fmla="*/ 896997 h 958912"/>
              <a:gd name="connsiteX16" fmla="*/ 833108 w 6567877"/>
              <a:gd name="connsiteY16" fmla="*/ 933509 h 958912"/>
              <a:gd name="connsiteX17" fmla="*/ 453499 w 6567877"/>
              <a:gd name="connsiteY17" fmla="*/ 953461 h 958912"/>
              <a:gd name="connsiteX18" fmla="*/ 0 w 6567877"/>
              <a:gd name="connsiteY18" fmla="*/ 642326 h 958912"/>
              <a:gd name="connsiteX0" fmla="*/ 6567877 w 6567877"/>
              <a:gd name="connsiteY0" fmla="*/ 231865 h 958912"/>
              <a:gd name="connsiteX1" fmla="*/ 5449860 w 6567877"/>
              <a:gd name="connsiteY1" fmla="*/ 366829 h 958912"/>
              <a:gd name="connsiteX2" fmla="*/ 5054237 w 6567877"/>
              <a:gd name="connsiteY2" fmla="*/ 417310 h 958912"/>
              <a:gd name="connsiteX3" fmla="*/ 4681442 w 6567877"/>
              <a:gd name="connsiteY3" fmla="*/ 340444 h 958912"/>
              <a:gd name="connsiteX4" fmla="*/ 4445100 w 6567877"/>
              <a:gd name="connsiteY4" fmla="*/ 1445 h 958912"/>
              <a:gd name="connsiteX5" fmla="*/ 4118612 w 6567877"/>
              <a:gd name="connsiteY5" fmla="*/ 488487 h 958912"/>
              <a:gd name="connsiteX6" fmla="*/ 3668197 w 6567877"/>
              <a:gd name="connsiteY6" fmla="*/ 638912 h 958912"/>
              <a:gd name="connsiteX7" fmla="*/ 3122725 w 6567877"/>
              <a:gd name="connsiteY7" fmla="*/ 737987 h 958912"/>
              <a:gd name="connsiteX8" fmla="*/ 2814146 w 6567877"/>
              <a:gd name="connsiteY8" fmla="*/ 768682 h 958912"/>
              <a:gd name="connsiteX9" fmla="*/ 2410408 w 6567877"/>
              <a:gd name="connsiteY9" fmla="*/ 773949 h 958912"/>
              <a:gd name="connsiteX10" fmla="*/ 2170249 w 6567877"/>
              <a:gd name="connsiteY10" fmla="*/ 757815 h 958912"/>
              <a:gd name="connsiteX11" fmla="*/ 1979949 w 6567877"/>
              <a:gd name="connsiteY11" fmla="*/ 675131 h 958912"/>
              <a:gd name="connsiteX12" fmla="*/ 1781478 w 6567877"/>
              <a:gd name="connsiteY12" fmla="*/ 482635 h 958912"/>
              <a:gd name="connsiteX13" fmla="*/ 1667254 w 6567877"/>
              <a:gd name="connsiteY13" fmla="*/ 706566 h 958912"/>
              <a:gd name="connsiteX14" fmla="*/ 1507620 w 6567877"/>
              <a:gd name="connsiteY14" fmla="*/ 832669 h 958912"/>
              <a:gd name="connsiteX15" fmla="*/ 1100806 w 6567877"/>
              <a:gd name="connsiteY15" fmla="*/ 896997 h 958912"/>
              <a:gd name="connsiteX16" fmla="*/ 833108 w 6567877"/>
              <a:gd name="connsiteY16" fmla="*/ 933509 h 958912"/>
              <a:gd name="connsiteX17" fmla="*/ 453499 w 6567877"/>
              <a:gd name="connsiteY17" fmla="*/ 953461 h 958912"/>
              <a:gd name="connsiteX18" fmla="*/ 0 w 6567877"/>
              <a:gd name="connsiteY18" fmla="*/ 642326 h 958912"/>
              <a:gd name="connsiteX0" fmla="*/ 6567877 w 6567877"/>
              <a:gd name="connsiteY0" fmla="*/ 231865 h 958912"/>
              <a:gd name="connsiteX1" fmla="*/ 5449860 w 6567877"/>
              <a:gd name="connsiteY1" fmla="*/ 366829 h 958912"/>
              <a:gd name="connsiteX2" fmla="*/ 5054237 w 6567877"/>
              <a:gd name="connsiteY2" fmla="*/ 417310 h 958912"/>
              <a:gd name="connsiteX3" fmla="*/ 4681442 w 6567877"/>
              <a:gd name="connsiteY3" fmla="*/ 340444 h 958912"/>
              <a:gd name="connsiteX4" fmla="*/ 4445100 w 6567877"/>
              <a:gd name="connsiteY4" fmla="*/ 1445 h 958912"/>
              <a:gd name="connsiteX5" fmla="*/ 4118612 w 6567877"/>
              <a:gd name="connsiteY5" fmla="*/ 488487 h 958912"/>
              <a:gd name="connsiteX6" fmla="*/ 3685786 w 6567877"/>
              <a:gd name="connsiteY6" fmla="*/ 682455 h 958912"/>
              <a:gd name="connsiteX7" fmla="*/ 3122725 w 6567877"/>
              <a:gd name="connsiteY7" fmla="*/ 737987 h 958912"/>
              <a:gd name="connsiteX8" fmla="*/ 2814146 w 6567877"/>
              <a:gd name="connsiteY8" fmla="*/ 768682 h 958912"/>
              <a:gd name="connsiteX9" fmla="*/ 2410408 w 6567877"/>
              <a:gd name="connsiteY9" fmla="*/ 773949 h 958912"/>
              <a:gd name="connsiteX10" fmla="*/ 2170249 w 6567877"/>
              <a:gd name="connsiteY10" fmla="*/ 757815 h 958912"/>
              <a:gd name="connsiteX11" fmla="*/ 1979949 w 6567877"/>
              <a:gd name="connsiteY11" fmla="*/ 675131 h 958912"/>
              <a:gd name="connsiteX12" fmla="*/ 1781478 w 6567877"/>
              <a:gd name="connsiteY12" fmla="*/ 482635 h 958912"/>
              <a:gd name="connsiteX13" fmla="*/ 1667254 w 6567877"/>
              <a:gd name="connsiteY13" fmla="*/ 706566 h 958912"/>
              <a:gd name="connsiteX14" fmla="*/ 1507620 w 6567877"/>
              <a:gd name="connsiteY14" fmla="*/ 832669 h 958912"/>
              <a:gd name="connsiteX15" fmla="*/ 1100806 w 6567877"/>
              <a:gd name="connsiteY15" fmla="*/ 896997 h 958912"/>
              <a:gd name="connsiteX16" fmla="*/ 833108 w 6567877"/>
              <a:gd name="connsiteY16" fmla="*/ 933509 h 958912"/>
              <a:gd name="connsiteX17" fmla="*/ 453499 w 6567877"/>
              <a:gd name="connsiteY17" fmla="*/ 953461 h 958912"/>
              <a:gd name="connsiteX18" fmla="*/ 0 w 6567877"/>
              <a:gd name="connsiteY18" fmla="*/ 642326 h 958912"/>
              <a:gd name="connsiteX0" fmla="*/ 6567877 w 6567877"/>
              <a:gd name="connsiteY0" fmla="*/ 232557 h 959604"/>
              <a:gd name="connsiteX1" fmla="*/ 5449860 w 6567877"/>
              <a:gd name="connsiteY1" fmla="*/ 367521 h 959604"/>
              <a:gd name="connsiteX2" fmla="*/ 5054237 w 6567877"/>
              <a:gd name="connsiteY2" fmla="*/ 418002 h 959604"/>
              <a:gd name="connsiteX3" fmla="*/ 4681442 w 6567877"/>
              <a:gd name="connsiteY3" fmla="*/ 341136 h 959604"/>
              <a:gd name="connsiteX4" fmla="*/ 4445100 w 6567877"/>
              <a:gd name="connsiteY4" fmla="*/ 2137 h 959604"/>
              <a:gd name="connsiteX5" fmla="*/ 4136200 w 6567877"/>
              <a:gd name="connsiteY5" fmla="*/ 524014 h 959604"/>
              <a:gd name="connsiteX6" fmla="*/ 3685786 w 6567877"/>
              <a:gd name="connsiteY6" fmla="*/ 683147 h 959604"/>
              <a:gd name="connsiteX7" fmla="*/ 3122725 w 6567877"/>
              <a:gd name="connsiteY7" fmla="*/ 738679 h 959604"/>
              <a:gd name="connsiteX8" fmla="*/ 2814146 w 6567877"/>
              <a:gd name="connsiteY8" fmla="*/ 769374 h 959604"/>
              <a:gd name="connsiteX9" fmla="*/ 2410408 w 6567877"/>
              <a:gd name="connsiteY9" fmla="*/ 774641 h 959604"/>
              <a:gd name="connsiteX10" fmla="*/ 2170249 w 6567877"/>
              <a:gd name="connsiteY10" fmla="*/ 758507 h 959604"/>
              <a:gd name="connsiteX11" fmla="*/ 1979949 w 6567877"/>
              <a:gd name="connsiteY11" fmla="*/ 675823 h 959604"/>
              <a:gd name="connsiteX12" fmla="*/ 1781478 w 6567877"/>
              <a:gd name="connsiteY12" fmla="*/ 483327 h 959604"/>
              <a:gd name="connsiteX13" fmla="*/ 1667254 w 6567877"/>
              <a:gd name="connsiteY13" fmla="*/ 707258 h 959604"/>
              <a:gd name="connsiteX14" fmla="*/ 1507620 w 6567877"/>
              <a:gd name="connsiteY14" fmla="*/ 833361 h 959604"/>
              <a:gd name="connsiteX15" fmla="*/ 1100806 w 6567877"/>
              <a:gd name="connsiteY15" fmla="*/ 897689 h 959604"/>
              <a:gd name="connsiteX16" fmla="*/ 833108 w 6567877"/>
              <a:gd name="connsiteY16" fmla="*/ 934201 h 959604"/>
              <a:gd name="connsiteX17" fmla="*/ 453499 w 6567877"/>
              <a:gd name="connsiteY17" fmla="*/ 954153 h 959604"/>
              <a:gd name="connsiteX18" fmla="*/ 0 w 6567877"/>
              <a:gd name="connsiteY18" fmla="*/ 643018 h 959604"/>
              <a:gd name="connsiteX0" fmla="*/ 6576672 w 6576672"/>
              <a:gd name="connsiteY0" fmla="*/ 293517 h 959604"/>
              <a:gd name="connsiteX1" fmla="*/ 5449860 w 6576672"/>
              <a:gd name="connsiteY1" fmla="*/ 367521 h 959604"/>
              <a:gd name="connsiteX2" fmla="*/ 5054237 w 6576672"/>
              <a:gd name="connsiteY2" fmla="*/ 418002 h 959604"/>
              <a:gd name="connsiteX3" fmla="*/ 4681442 w 6576672"/>
              <a:gd name="connsiteY3" fmla="*/ 341136 h 959604"/>
              <a:gd name="connsiteX4" fmla="*/ 4445100 w 6576672"/>
              <a:gd name="connsiteY4" fmla="*/ 2137 h 959604"/>
              <a:gd name="connsiteX5" fmla="*/ 4136200 w 6576672"/>
              <a:gd name="connsiteY5" fmla="*/ 524014 h 959604"/>
              <a:gd name="connsiteX6" fmla="*/ 3685786 w 6576672"/>
              <a:gd name="connsiteY6" fmla="*/ 683147 h 959604"/>
              <a:gd name="connsiteX7" fmla="*/ 3122725 w 6576672"/>
              <a:gd name="connsiteY7" fmla="*/ 738679 h 959604"/>
              <a:gd name="connsiteX8" fmla="*/ 2814146 w 6576672"/>
              <a:gd name="connsiteY8" fmla="*/ 769374 h 959604"/>
              <a:gd name="connsiteX9" fmla="*/ 2410408 w 6576672"/>
              <a:gd name="connsiteY9" fmla="*/ 774641 h 959604"/>
              <a:gd name="connsiteX10" fmla="*/ 2170249 w 6576672"/>
              <a:gd name="connsiteY10" fmla="*/ 758507 h 959604"/>
              <a:gd name="connsiteX11" fmla="*/ 1979949 w 6576672"/>
              <a:gd name="connsiteY11" fmla="*/ 675823 h 959604"/>
              <a:gd name="connsiteX12" fmla="*/ 1781478 w 6576672"/>
              <a:gd name="connsiteY12" fmla="*/ 483327 h 959604"/>
              <a:gd name="connsiteX13" fmla="*/ 1667254 w 6576672"/>
              <a:gd name="connsiteY13" fmla="*/ 707258 h 959604"/>
              <a:gd name="connsiteX14" fmla="*/ 1507620 w 6576672"/>
              <a:gd name="connsiteY14" fmla="*/ 833361 h 959604"/>
              <a:gd name="connsiteX15" fmla="*/ 1100806 w 6576672"/>
              <a:gd name="connsiteY15" fmla="*/ 897689 h 959604"/>
              <a:gd name="connsiteX16" fmla="*/ 833108 w 6576672"/>
              <a:gd name="connsiteY16" fmla="*/ 934201 h 959604"/>
              <a:gd name="connsiteX17" fmla="*/ 453499 w 6576672"/>
              <a:gd name="connsiteY17" fmla="*/ 954153 h 959604"/>
              <a:gd name="connsiteX18" fmla="*/ 0 w 6576672"/>
              <a:gd name="connsiteY18" fmla="*/ 643018 h 959604"/>
              <a:gd name="connsiteX0" fmla="*/ 6576672 w 6576672"/>
              <a:gd name="connsiteY0" fmla="*/ 293517 h 959604"/>
              <a:gd name="connsiteX1" fmla="*/ 5467448 w 6576672"/>
              <a:gd name="connsiteY1" fmla="*/ 393647 h 959604"/>
              <a:gd name="connsiteX2" fmla="*/ 5054237 w 6576672"/>
              <a:gd name="connsiteY2" fmla="*/ 418002 h 959604"/>
              <a:gd name="connsiteX3" fmla="*/ 4681442 w 6576672"/>
              <a:gd name="connsiteY3" fmla="*/ 341136 h 959604"/>
              <a:gd name="connsiteX4" fmla="*/ 4445100 w 6576672"/>
              <a:gd name="connsiteY4" fmla="*/ 2137 h 959604"/>
              <a:gd name="connsiteX5" fmla="*/ 4136200 w 6576672"/>
              <a:gd name="connsiteY5" fmla="*/ 524014 h 959604"/>
              <a:gd name="connsiteX6" fmla="*/ 3685786 w 6576672"/>
              <a:gd name="connsiteY6" fmla="*/ 683147 h 959604"/>
              <a:gd name="connsiteX7" fmla="*/ 3122725 w 6576672"/>
              <a:gd name="connsiteY7" fmla="*/ 738679 h 959604"/>
              <a:gd name="connsiteX8" fmla="*/ 2814146 w 6576672"/>
              <a:gd name="connsiteY8" fmla="*/ 769374 h 959604"/>
              <a:gd name="connsiteX9" fmla="*/ 2410408 w 6576672"/>
              <a:gd name="connsiteY9" fmla="*/ 774641 h 959604"/>
              <a:gd name="connsiteX10" fmla="*/ 2170249 w 6576672"/>
              <a:gd name="connsiteY10" fmla="*/ 758507 h 959604"/>
              <a:gd name="connsiteX11" fmla="*/ 1979949 w 6576672"/>
              <a:gd name="connsiteY11" fmla="*/ 675823 h 959604"/>
              <a:gd name="connsiteX12" fmla="*/ 1781478 w 6576672"/>
              <a:gd name="connsiteY12" fmla="*/ 483327 h 959604"/>
              <a:gd name="connsiteX13" fmla="*/ 1667254 w 6576672"/>
              <a:gd name="connsiteY13" fmla="*/ 707258 h 959604"/>
              <a:gd name="connsiteX14" fmla="*/ 1507620 w 6576672"/>
              <a:gd name="connsiteY14" fmla="*/ 833361 h 959604"/>
              <a:gd name="connsiteX15" fmla="*/ 1100806 w 6576672"/>
              <a:gd name="connsiteY15" fmla="*/ 897689 h 959604"/>
              <a:gd name="connsiteX16" fmla="*/ 833108 w 6576672"/>
              <a:gd name="connsiteY16" fmla="*/ 934201 h 959604"/>
              <a:gd name="connsiteX17" fmla="*/ 453499 w 6576672"/>
              <a:gd name="connsiteY17" fmla="*/ 954153 h 959604"/>
              <a:gd name="connsiteX18" fmla="*/ 0 w 6576672"/>
              <a:gd name="connsiteY18" fmla="*/ 643018 h 959604"/>
              <a:gd name="connsiteX0" fmla="*/ 6576672 w 6576672"/>
              <a:gd name="connsiteY0" fmla="*/ 293517 h 957503"/>
              <a:gd name="connsiteX1" fmla="*/ 5467448 w 6576672"/>
              <a:gd name="connsiteY1" fmla="*/ 393647 h 957503"/>
              <a:gd name="connsiteX2" fmla="*/ 5054237 w 6576672"/>
              <a:gd name="connsiteY2" fmla="*/ 418002 h 957503"/>
              <a:gd name="connsiteX3" fmla="*/ 4681442 w 6576672"/>
              <a:gd name="connsiteY3" fmla="*/ 341136 h 957503"/>
              <a:gd name="connsiteX4" fmla="*/ 4445100 w 6576672"/>
              <a:gd name="connsiteY4" fmla="*/ 2137 h 957503"/>
              <a:gd name="connsiteX5" fmla="*/ 4136200 w 6576672"/>
              <a:gd name="connsiteY5" fmla="*/ 524014 h 957503"/>
              <a:gd name="connsiteX6" fmla="*/ 3685786 w 6576672"/>
              <a:gd name="connsiteY6" fmla="*/ 683147 h 957503"/>
              <a:gd name="connsiteX7" fmla="*/ 3122725 w 6576672"/>
              <a:gd name="connsiteY7" fmla="*/ 738679 h 957503"/>
              <a:gd name="connsiteX8" fmla="*/ 2814146 w 6576672"/>
              <a:gd name="connsiteY8" fmla="*/ 769374 h 957503"/>
              <a:gd name="connsiteX9" fmla="*/ 2410408 w 6576672"/>
              <a:gd name="connsiteY9" fmla="*/ 774641 h 957503"/>
              <a:gd name="connsiteX10" fmla="*/ 2170249 w 6576672"/>
              <a:gd name="connsiteY10" fmla="*/ 758507 h 957503"/>
              <a:gd name="connsiteX11" fmla="*/ 1979949 w 6576672"/>
              <a:gd name="connsiteY11" fmla="*/ 675823 h 957503"/>
              <a:gd name="connsiteX12" fmla="*/ 1781478 w 6576672"/>
              <a:gd name="connsiteY12" fmla="*/ 483327 h 957503"/>
              <a:gd name="connsiteX13" fmla="*/ 1667254 w 6576672"/>
              <a:gd name="connsiteY13" fmla="*/ 707258 h 957503"/>
              <a:gd name="connsiteX14" fmla="*/ 1507620 w 6576672"/>
              <a:gd name="connsiteY14" fmla="*/ 833361 h 957503"/>
              <a:gd name="connsiteX15" fmla="*/ 1100806 w 6576672"/>
              <a:gd name="connsiteY15" fmla="*/ 897689 h 957503"/>
              <a:gd name="connsiteX16" fmla="*/ 833108 w 6576672"/>
              <a:gd name="connsiteY16" fmla="*/ 934201 h 957503"/>
              <a:gd name="connsiteX17" fmla="*/ 453499 w 6576672"/>
              <a:gd name="connsiteY17" fmla="*/ 954153 h 957503"/>
              <a:gd name="connsiteX18" fmla="*/ 185787 w 6576672"/>
              <a:gd name="connsiteY18" fmla="*/ 878232 h 957503"/>
              <a:gd name="connsiteX19" fmla="*/ 0 w 6576672"/>
              <a:gd name="connsiteY19" fmla="*/ 643018 h 957503"/>
              <a:gd name="connsiteX0" fmla="*/ 6576672 w 6576672"/>
              <a:gd name="connsiteY0" fmla="*/ 293517 h 954188"/>
              <a:gd name="connsiteX1" fmla="*/ 5467448 w 6576672"/>
              <a:gd name="connsiteY1" fmla="*/ 393647 h 954188"/>
              <a:gd name="connsiteX2" fmla="*/ 5054237 w 6576672"/>
              <a:gd name="connsiteY2" fmla="*/ 418002 h 954188"/>
              <a:gd name="connsiteX3" fmla="*/ 4681442 w 6576672"/>
              <a:gd name="connsiteY3" fmla="*/ 341136 h 954188"/>
              <a:gd name="connsiteX4" fmla="*/ 4445100 w 6576672"/>
              <a:gd name="connsiteY4" fmla="*/ 2137 h 954188"/>
              <a:gd name="connsiteX5" fmla="*/ 4136200 w 6576672"/>
              <a:gd name="connsiteY5" fmla="*/ 524014 h 954188"/>
              <a:gd name="connsiteX6" fmla="*/ 3685786 w 6576672"/>
              <a:gd name="connsiteY6" fmla="*/ 683147 h 954188"/>
              <a:gd name="connsiteX7" fmla="*/ 3122725 w 6576672"/>
              <a:gd name="connsiteY7" fmla="*/ 738679 h 954188"/>
              <a:gd name="connsiteX8" fmla="*/ 2814146 w 6576672"/>
              <a:gd name="connsiteY8" fmla="*/ 769374 h 954188"/>
              <a:gd name="connsiteX9" fmla="*/ 2410408 w 6576672"/>
              <a:gd name="connsiteY9" fmla="*/ 774641 h 954188"/>
              <a:gd name="connsiteX10" fmla="*/ 2170249 w 6576672"/>
              <a:gd name="connsiteY10" fmla="*/ 758507 h 954188"/>
              <a:gd name="connsiteX11" fmla="*/ 1979949 w 6576672"/>
              <a:gd name="connsiteY11" fmla="*/ 675823 h 954188"/>
              <a:gd name="connsiteX12" fmla="*/ 1781478 w 6576672"/>
              <a:gd name="connsiteY12" fmla="*/ 483327 h 954188"/>
              <a:gd name="connsiteX13" fmla="*/ 1667254 w 6576672"/>
              <a:gd name="connsiteY13" fmla="*/ 707258 h 954188"/>
              <a:gd name="connsiteX14" fmla="*/ 1507620 w 6576672"/>
              <a:gd name="connsiteY14" fmla="*/ 833361 h 954188"/>
              <a:gd name="connsiteX15" fmla="*/ 1100806 w 6576672"/>
              <a:gd name="connsiteY15" fmla="*/ 897689 h 954188"/>
              <a:gd name="connsiteX16" fmla="*/ 833108 w 6576672"/>
              <a:gd name="connsiteY16" fmla="*/ 934201 h 954188"/>
              <a:gd name="connsiteX17" fmla="*/ 446083 w 6576672"/>
              <a:gd name="connsiteY17" fmla="*/ 950480 h 954188"/>
              <a:gd name="connsiteX18" fmla="*/ 185787 w 6576672"/>
              <a:gd name="connsiteY18" fmla="*/ 878232 h 954188"/>
              <a:gd name="connsiteX19" fmla="*/ 0 w 6576672"/>
              <a:gd name="connsiteY19" fmla="*/ 643018 h 954188"/>
              <a:gd name="connsiteX0" fmla="*/ 6576672 w 6576672"/>
              <a:gd name="connsiteY0" fmla="*/ 293517 h 961401"/>
              <a:gd name="connsiteX1" fmla="*/ 5467448 w 6576672"/>
              <a:gd name="connsiteY1" fmla="*/ 393647 h 961401"/>
              <a:gd name="connsiteX2" fmla="*/ 5054237 w 6576672"/>
              <a:gd name="connsiteY2" fmla="*/ 418002 h 961401"/>
              <a:gd name="connsiteX3" fmla="*/ 4681442 w 6576672"/>
              <a:gd name="connsiteY3" fmla="*/ 341136 h 961401"/>
              <a:gd name="connsiteX4" fmla="*/ 4445100 w 6576672"/>
              <a:gd name="connsiteY4" fmla="*/ 2137 h 961401"/>
              <a:gd name="connsiteX5" fmla="*/ 4136200 w 6576672"/>
              <a:gd name="connsiteY5" fmla="*/ 524014 h 961401"/>
              <a:gd name="connsiteX6" fmla="*/ 3685786 w 6576672"/>
              <a:gd name="connsiteY6" fmla="*/ 683147 h 961401"/>
              <a:gd name="connsiteX7" fmla="*/ 3122725 w 6576672"/>
              <a:gd name="connsiteY7" fmla="*/ 738679 h 961401"/>
              <a:gd name="connsiteX8" fmla="*/ 2814146 w 6576672"/>
              <a:gd name="connsiteY8" fmla="*/ 769374 h 961401"/>
              <a:gd name="connsiteX9" fmla="*/ 2410408 w 6576672"/>
              <a:gd name="connsiteY9" fmla="*/ 774641 h 961401"/>
              <a:gd name="connsiteX10" fmla="*/ 2170249 w 6576672"/>
              <a:gd name="connsiteY10" fmla="*/ 758507 h 961401"/>
              <a:gd name="connsiteX11" fmla="*/ 1979949 w 6576672"/>
              <a:gd name="connsiteY11" fmla="*/ 675823 h 961401"/>
              <a:gd name="connsiteX12" fmla="*/ 1781478 w 6576672"/>
              <a:gd name="connsiteY12" fmla="*/ 483327 h 961401"/>
              <a:gd name="connsiteX13" fmla="*/ 1667254 w 6576672"/>
              <a:gd name="connsiteY13" fmla="*/ 707258 h 961401"/>
              <a:gd name="connsiteX14" fmla="*/ 1507620 w 6576672"/>
              <a:gd name="connsiteY14" fmla="*/ 833361 h 961401"/>
              <a:gd name="connsiteX15" fmla="*/ 1100806 w 6576672"/>
              <a:gd name="connsiteY15" fmla="*/ 897689 h 961401"/>
              <a:gd name="connsiteX16" fmla="*/ 840524 w 6576672"/>
              <a:gd name="connsiteY16" fmla="*/ 956235 h 961401"/>
              <a:gd name="connsiteX17" fmla="*/ 446083 w 6576672"/>
              <a:gd name="connsiteY17" fmla="*/ 950480 h 961401"/>
              <a:gd name="connsiteX18" fmla="*/ 185787 w 6576672"/>
              <a:gd name="connsiteY18" fmla="*/ 878232 h 961401"/>
              <a:gd name="connsiteX19" fmla="*/ 0 w 6576672"/>
              <a:gd name="connsiteY19" fmla="*/ 643018 h 961401"/>
              <a:gd name="connsiteX0" fmla="*/ 6576672 w 6576672"/>
              <a:gd name="connsiteY0" fmla="*/ 293517 h 956324"/>
              <a:gd name="connsiteX1" fmla="*/ 5467448 w 6576672"/>
              <a:gd name="connsiteY1" fmla="*/ 393647 h 956324"/>
              <a:gd name="connsiteX2" fmla="*/ 5054237 w 6576672"/>
              <a:gd name="connsiteY2" fmla="*/ 418002 h 956324"/>
              <a:gd name="connsiteX3" fmla="*/ 4681442 w 6576672"/>
              <a:gd name="connsiteY3" fmla="*/ 341136 h 956324"/>
              <a:gd name="connsiteX4" fmla="*/ 4445100 w 6576672"/>
              <a:gd name="connsiteY4" fmla="*/ 2137 h 956324"/>
              <a:gd name="connsiteX5" fmla="*/ 4136200 w 6576672"/>
              <a:gd name="connsiteY5" fmla="*/ 524014 h 956324"/>
              <a:gd name="connsiteX6" fmla="*/ 3685786 w 6576672"/>
              <a:gd name="connsiteY6" fmla="*/ 683147 h 956324"/>
              <a:gd name="connsiteX7" fmla="*/ 3122725 w 6576672"/>
              <a:gd name="connsiteY7" fmla="*/ 738679 h 956324"/>
              <a:gd name="connsiteX8" fmla="*/ 2814146 w 6576672"/>
              <a:gd name="connsiteY8" fmla="*/ 769374 h 956324"/>
              <a:gd name="connsiteX9" fmla="*/ 2410408 w 6576672"/>
              <a:gd name="connsiteY9" fmla="*/ 774641 h 956324"/>
              <a:gd name="connsiteX10" fmla="*/ 2170249 w 6576672"/>
              <a:gd name="connsiteY10" fmla="*/ 758507 h 956324"/>
              <a:gd name="connsiteX11" fmla="*/ 1979949 w 6576672"/>
              <a:gd name="connsiteY11" fmla="*/ 675823 h 956324"/>
              <a:gd name="connsiteX12" fmla="*/ 1781478 w 6576672"/>
              <a:gd name="connsiteY12" fmla="*/ 483327 h 956324"/>
              <a:gd name="connsiteX13" fmla="*/ 1667254 w 6576672"/>
              <a:gd name="connsiteY13" fmla="*/ 707258 h 956324"/>
              <a:gd name="connsiteX14" fmla="*/ 1507620 w 6576672"/>
              <a:gd name="connsiteY14" fmla="*/ 833361 h 956324"/>
              <a:gd name="connsiteX15" fmla="*/ 1100806 w 6576672"/>
              <a:gd name="connsiteY15" fmla="*/ 897689 h 956324"/>
              <a:gd name="connsiteX16" fmla="*/ 844233 w 6576672"/>
              <a:gd name="connsiteY16" fmla="*/ 945218 h 956324"/>
              <a:gd name="connsiteX17" fmla="*/ 446083 w 6576672"/>
              <a:gd name="connsiteY17" fmla="*/ 950480 h 956324"/>
              <a:gd name="connsiteX18" fmla="*/ 185787 w 6576672"/>
              <a:gd name="connsiteY18" fmla="*/ 878232 h 956324"/>
              <a:gd name="connsiteX19" fmla="*/ 0 w 6576672"/>
              <a:gd name="connsiteY19" fmla="*/ 643018 h 956324"/>
              <a:gd name="connsiteX0" fmla="*/ 6576672 w 6576672"/>
              <a:gd name="connsiteY0" fmla="*/ 293517 h 955634"/>
              <a:gd name="connsiteX1" fmla="*/ 5467448 w 6576672"/>
              <a:gd name="connsiteY1" fmla="*/ 393647 h 955634"/>
              <a:gd name="connsiteX2" fmla="*/ 5054237 w 6576672"/>
              <a:gd name="connsiteY2" fmla="*/ 418002 h 955634"/>
              <a:gd name="connsiteX3" fmla="*/ 4681442 w 6576672"/>
              <a:gd name="connsiteY3" fmla="*/ 341136 h 955634"/>
              <a:gd name="connsiteX4" fmla="*/ 4445100 w 6576672"/>
              <a:gd name="connsiteY4" fmla="*/ 2137 h 955634"/>
              <a:gd name="connsiteX5" fmla="*/ 4136200 w 6576672"/>
              <a:gd name="connsiteY5" fmla="*/ 524014 h 955634"/>
              <a:gd name="connsiteX6" fmla="*/ 3685786 w 6576672"/>
              <a:gd name="connsiteY6" fmla="*/ 683147 h 955634"/>
              <a:gd name="connsiteX7" fmla="*/ 3122725 w 6576672"/>
              <a:gd name="connsiteY7" fmla="*/ 738679 h 955634"/>
              <a:gd name="connsiteX8" fmla="*/ 2814146 w 6576672"/>
              <a:gd name="connsiteY8" fmla="*/ 769374 h 955634"/>
              <a:gd name="connsiteX9" fmla="*/ 2410408 w 6576672"/>
              <a:gd name="connsiteY9" fmla="*/ 774641 h 955634"/>
              <a:gd name="connsiteX10" fmla="*/ 2170249 w 6576672"/>
              <a:gd name="connsiteY10" fmla="*/ 758507 h 955634"/>
              <a:gd name="connsiteX11" fmla="*/ 1979949 w 6576672"/>
              <a:gd name="connsiteY11" fmla="*/ 675823 h 955634"/>
              <a:gd name="connsiteX12" fmla="*/ 1781478 w 6576672"/>
              <a:gd name="connsiteY12" fmla="*/ 483327 h 955634"/>
              <a:gd name="connsiteX13" fmla="*/ 1667254 w 6576672"/>
              <a:gd name="connsiteY13" fmla="*/ 707258 h 955634"/>
              <a:gd name="connsiteX14" fmla="*/ 1507620 w 6576672"/>
              <a:gd name="connsiteY14" fmla="*/ 833361 h 955634"/>
              <a:gd name="connsiteX15" fmla="*/ 1104516 w 6576672"/>
              <a:gd name="connsiteY15" fmla="*/ 916050 h 955634"/>
              <a:gd name="connsiteX16" fmla="*/ 844233 w 6576672"/>
              <a:gd name="connsiteY16" fmla="*/ 945218 h 955634"/>
              <a:gd name="connsiteX17" fmla="*/ 446083 w 6576672"/>
              <a:gd name="connsiteY17" fmla="*/ 950480 h 955634"/>
              <a:gd name="connsiteX18" fmla="*/ 185787 w 6576672"/>
              <a:gd name="connsiteY18" fmla="*/ 878232 h 955634"/>
              <a:gd name="connsiteX19" fmla="*/ 0 w 6576672"/>
              <a:gd name="connsiteY19" fmla="*/ 643018 h 955634"/>
              <a:gd name="connsiteX0" fmla="*/ 6576672 w 6576672"/>
              <a:gd name="connsiteY0" fmla="*/ 293517 h 955634"/>
              <a:gd name="connsiteX1" fmla="*/ 5467448 w 6576672"/>
              <a:gd name="connsiteY1" fmla="*/ 393647 h 955634"/>
              <a:gd name="connsiteX2" fmla="*/ 5054237 w 6576672"/>
              <a:gd name="connsiteY2" fmla="*/ 418002 h 955634"/>
              <a:gd name="connsiteX3" fmla="*/ 4681442 w 6576672"/>
              <a:gd name="connsiteY3" fmla="*/ 341136 h 955634"/>
              <a:gd name="connsiteX4" fmla="*/ 4445100 w 6576672"/>
              <a:gd name="connsiteY4" fmla="*/ 2137 h 955634"/>
              <a:gd name="connsiteX5" fmla="*/ 4136200 w 6576672"/>
              <a:gd name="connsiteY5" fmla="*/ 524014 h 955634"/>
              <a:gd name="connsiteX6" fmla="*/ 3685786 w 6576672"/>
              <a:gd name="connsiteY6" fmla="*/ 683147 h 955634"/>
              <a:gd name="connsiteX7" fmla="*/ 3122725 w 6576672"/>
              <a:gd name="connsiteY7" fmla="*/ 738679 h 955634"/>
              <a:gd name="connsiteX8" fmla="*/ 2814146 w 6576672"/>
              <a:gd name="connsiteY8" fmla="*/ 769374 h 955634"/>
              <a:gd name="connsiteX9" fmla="*/ 2410408 w 6576672"/>
              <a:gd name="connsiteY9" fmla="*/ 774641 h 955634"/>
              <a:gd name="connsiteX10" fmla="*/ 2170249 w 6576672"/>
              <a:gd name="connsiteY10" fmla="*/ 758507 h 955634"/>
              <a:gd name="connsiteX11" fmla="*/ 1979949 w 6576672"/>
              <a:gd name="connsiteY11" fmla="*/ 675823 h 955634"/>
              <a:gd name="connsiteX12" fmla="*/ 1781478 w 6576672"/>
              <a:gd name="connsiteY12" fmla="*/ 483327 h 955634"/>
              <a:gd name="connsiteX13" fmla="*/ 1622753 w 6576672"/>
              <a:gd name="connsiteY13" fmla="*/ 681552 h 955634"/>
              <a:gd name="connsiteX14" fmla="*/ 1507620 w 6576672"/>
              <a:gd name="connsiteY14" fmla="*/ 833361 h 955634"/>
              <a:gd name="connsiteX15" fmla="*/ 1104516 w 6576672"/>
              <a:gd name="connsiteY15" fmla="*/ 916050 h 955634"/>
              <a:gd name="connsiteX16" fmla="*/ 844233 w 6576672"/>
              <a:gd name="connsiteY16" fmla="*/ 945218 h 955634"/>
              <a:gd name="connsiteX17" fmla="*/ 446083 w 6576672"/>
              <a:gd name="connsiteY17" fmla="*/ 950480 h 955634"/>
              <a:gd name="connsiteX18" fmla="*/ 185787 w 6576672"/>
              <a:gd name="connsiteY18" fmla="*/ 878232 h 955634"/>
              <a:gd name="connsiteX19" fmla="*/ 0 w 6576672"/>
              <a:gd name="connsiteY19" fmla="*/ 643018 h 955634"/>
              <a:gd name="connsiteX0" fmla="*/ 6576672 w 6576672"/>
              <a:gd name="connsiteY0" fmla="*/ 293517 h 955634"/>
              <a:gd name="connsiteX1" fmla="*/ 5467448 w 6576672"/>
              <a:gd name="connsiteY1" fmla="*/ 393647 h 955634"/>
              <a:gd name="connsiteX2" fmla="*/ 5054237 w 6576672"/>
              <a:gd name="connsiteY2" fmla="*/ 418002 h 955634"/>
              <a:gd name="connsiteX3" fmla="*/ 4681442 w 6576672"/>
              <a:gd name="connsiteY3" fmla="*/ 341136 h 955634"/>
              <a:gd name="connsiteX4" fmla="*/ 4445100 w 6576672"/>
              <a:gd name="connsiteY4" fmla="*/ 2137 h 955634"/>
              <a:gd name="connsiteX5" fmla="*/ 4136200 w 6576672"/>
              <a:gd name="connsiteY5" fmla="*/ 524014 h 955634"/>
              <a:gd name="connsiteX6" fmla="*/ 3685786 w 6576672"/>
              <a:gd name="connsiteY6" fmla="*/ 683147 h 955634"/>
              <a:gd name="connsiteX7" fmla="*/ 3122725 w 6576672"/>
              <a:gd name="connsiteY7" fmla="*/ 757040 h 955634"/>
              <a:gd name="connsiteX8" fmla="*/ 2814146 w 6576672"/>
              <a:gd name="connsiteY8" fmla="*/ 769374 h 955634"/>
              <a:gd name="connsiteX9" fmla="*/ 2410408 w 6576672"/>
              <a:gd name="connsiteY9" fmla="*/ 774641 h 955634"/>
              <a:gd name="connsiteX10" fmla="*/ 2170249 w 6576672"/>
              <a:gd name="connsiteY10" fmla="*/ 758507 h 955634"/>
              <a:gd name="connsiteX11" fmla="*/ 1979949 w 6576672"/>
              <a:gd name="connsiteY11" fmla="*/ 675823 h 955634"/>
              <a:gd name="connsiteX12" fmla="*/ 1781478 w 6576672"/>
              <a:gd name="connsiteY12" fmla="*/ 483327 h 955634"/>
              <a:gd name="connsiteX13" fmla="*/ 1622753 w 6576672"/>
              <a:gd name="connsiteY13" fmla="*/ 681552 h 955634"/>
              <a:gd name="connsiteX14" fmla="*/ 1507620 w 6576672"/>
              <a:gd name="connsiteY14" fmla="*/ 833361 h 955634"/>
              <a:gd name="connsiteX15" fmla="*/ 1104516 w 6576672"/>
              <a:gd name="connsiteY15" fmla="*/ 916050 h 955634"/>
              <a:gd name="connsiteX16" fmla="*/ 844233 w 6576672"/>
              <a:gd name="connsiteY16" fmla="*/ 945218 h 955634"/>
              <a:gd name="connsiteX17" fmla="*/ 446083 w 6576672"/>
              <a:gd name="connsiteY17" fmla="*/ 950480 h 955634"/>
              <a:gd name="connsiteX18" fmla="*/ 185787 w 6576672"/>
              <a:gd name="connsiteY18" fmla="*/ 878232 h 955634"/>
              <a:gd name="connsiteX19" fmla="*/ 0 w 6576672"/>
              <a:gd name="connsiteY19" fmla="*/ 643018 h 955634"/>
              <a:gd name="connsiteX0" fmla="*/ 6576672 w 6576672"/>
              <a:gd name="connsiteY0" fmla="*/ 293517 h 955634"/>
              <a:gd name="connsiteX1" fmla="*/ 5467448 w 6576672"/>
              <a:gd name="connsiteY1" fmla="*/ 393647 h 955634"/>
              <a:gd name="connsiteX2" fmla="*/ 5054237 w 6576672"/>
              <a:gd name="connsiteY2" fmla="*/ 418002 h 955634"/>
              <a:gd name="connsiteX3" fmla="*/ 4681442 w 6576672"/>
              <a:gd name="connsiteY3" fmla="*/ 341136 h 955634"/>
              <a:gd name="connsiteX4" fmla="*/ 4445100 w 6576672"/>
              <a:gd name="connsiteY4" fmla="*/ 2137 h 955634"/>
              <a:gd name="connsiteX5" fmla="*/ 4136200 w 6576672"/>
              <a:gd name="connsiteY5" fmla="*/ 524014 h 955634"/>
              <a:gd name="connsiteX6" fmla="*/ 3693202 w 6576672"/>
              <a:gd name="connsiteY6" fmla="*/ 708853 h 955634"/>
              <a:gd name="connsiteX7" fmla="*/ 3122725 w 6576672"/>
              <a:gd name="connsiteY7" fmla="*/ 757040 h 955634"/>
              <a:gd name="connsiteX8" fmla="*/ 2814146 w 6576672"/>
              <a:gd name="connsiteY8" fmla="*/ 769374 h 955634"/>
              <a:gd name="connsiteX9" fmla="*/ 2410408 w 6576672"/>
              <a:gd name="connsiteY9" fmla="*/ 774641 h 955634"/>
              <a:gd name="connsiteX10" fmla="*/ 2170249 w 6576672"/>
              <a:gd name="connsiteY10" fmla="*/ 758507 h 955634"/>
              <a:gd name="connsiteX11" fmla="*/ 1979949 w 6576672"/>
              <a:gd name="connsiteY11" fmla="*/ 675823 h 955634"/>
              <a:gd name="connsiteX12" fmla="*/ 1781478 w 6576672"/>
              <a:gd name="connsiteY12" fmla="*/ 483327 h 955634"/>
              <a:gd name="connsiteX13" fmla="*/ 1622753 w 6576672"/>
              <a:gd name="connsiteY13" fmla="*/ 681552 h 955634"/>
              <a:gd name="connsiteX14" fmla="*/ 1507620 w 6576672"/>
              <a:gd name="connsiteY14" fmla="*/ 833361 h 955634"/>
              <a:gd name="connsiteX15" fmla="*/ 1104516 w 6576672"/>
              <a:gd name="connsiteY15" fmla="*/ 916050 h 955634"/>
              <a:gd name="connsiteX16" fmla="*/ 844233 w 6576672"/>
              <a:gd name="connsiteY16" fmla="*/ 945218 h 955634"/>
              <a:gd name="connsiteX17" fmla="*/ 446083 w 6576672"/>
              <a:gd name="connsiteY17" fmla="*/ 950480 h 955634"/>
              <a:gd name="connsiteX18" fmla="*/ 185787 w 6576672"/>
              <a:gd name="connsiteY18" fmla="*/ 878232 h 955634"/>
              <a:gd name="connsiteX19" fmla="*/ 0 w 6576672"/>
              <a:gd name="connsiteY19" fmla="*/ 643018 h 955634"/>
              <a:gd name="connsiteX0" fmla="*/ 6576672 w 6576672"/>
              <a:gd name="connsiteY0" fmla="*/ 293517 h 955634"/>
              <a:gd name="connsiteX1" fmla="*/ 5467448 w 6576672"/>
              <a:gd name="connsiteY1" fmla="*/ 393647 h 955634"/>
              <a:gd name="connsiteX2" fmla="*/ 5054237 w 6576672"/>
              <a:gd name="connsiteY2" fmla="*/ 418002 h 955634"/>
              <a:gd name="connsiteX3" fmla="*/ 4681442 w 6576672"/>
              <a:gd name="connsiteY3" fmla="*/ 341136 h 955634"/>
              <a:gd name="connsiteX4" fmla="*/ 4445100 w 6576672"/>
              <a:gd name="connsiteY4" fmla="*/ 2137 h 955634"/>
              <a:gd name="connsiteX5" fmla="*/ 4136200 w 6576672"/>
              <a:gd name="connsiteY5" fmla="*/ 524014 h 955634"/>
              <a:gd name="connsiteX6" fmla="*/ 3693202 w 6576672"/>
              <a:gd name="connsiteY6" fmla="*/ 708853 h 955634"/>
              <a:gd name="connsiteX7" fmla="*/ 3122725 w 6576672"/>
              <a:gd name="connsiteY7" fmla="*/ 757040 h 955634"/>
              <a:gd name="connsiteX8" fmla="*/ 2814146 w 6576672"/>
              <a:gd name="connsiteY8" fmla="*/ 769374 h 955634"/>
              <a:gd name="connsiteX9" fmla="*/ 2410408 w 6576672"/>
              <a:gd name="connsiteY9" fmla="*/ 774641 h 955634"/>
              <a:gd name="connsiteX10" fmla="*/ 2170249 w 6576672"/>
              <a:gd name="connsiteY10" fmla="*/ 758507 h 955634"/>
              <a:gd name="connsiteX11" fmla="*/ 1979949 w 6576672"/>
              <a:gd name="connsiteY11" fmla="*/ 675823 h 955634"/>
              <a:gd name="connsiteX12" fmla="*/ 1781478 w 6576672"/>
              <a:gd name="connsiteY12" fmla="*/ 483327 h 955634"/>
              <a:gd name="connsiteX13" fmla="*/ 1622753 w 6576672"/>
              <a:gd name="connsiteY13" fmla="*/ 681552 h 955634"/>
              <a:gd name="connsiteX14" fmla="*/ 1507620 w 6576672"/>
              <a:gd name="connsiteY14" fmla="*/ 833361 h 955634"/>
              <a:gd name="connsiteX15" fmla="*/ 1104516 w 6576672"/>
              <a:gd name="connsiteY15" fmla="*/ 916050 h 955634"/>
              <a:gd name="connsiteX16" fmla="*/ 844233 w 6576672"/>
              <a:gd name="connsiteY16" fmla="*/ 945218 h 955634"/>
              <a:gd name="connsiteX17" fmla="*/ 446083 w 6576672"/>
              <a:gd name="connsiteY17" fmla="*/ 950480 h 955634"/>
              <a:gd name="connsiteX18" fmla="*/ 174661 w 6576672"/>
              <a:gd name="connsiteY18" fmla="*/ 878232 h 955634"/>
              <a:gd name="connsiteX19" fmla="*/ 0 w 6576672"/>
              <a:gd name="connsiteY19" fmla="*/ 643018 h 955634"/>
              <a:gd name="connsiteX0" fmla="*/ 6576672 w 6576672"/>
              <a:gd name="connsiteY0" fmla="*/ 293517 h 955634"/>
              <a:gd name="connsiteX1" fmla="*/ 5467448 w 6576672"/>
              <a:gd name="connsiteY1" fmla="*/ 393647 h 955634"/>
              <a:gd name="connsiteX2" fmla="*/ 5054237 w 6576672"/>
              <a:gd name="connsiteY2" fmla="*/ 418002 h 955634"/>
              <a:gd name="connsiteX3" fmla="*/ 4681442 w 6576672"/>
              <a:gd name="connsiteY3" fmla="*/ 341136 h 955634"/>
              <a:gd name="connsiteX4" fmla="*/ 4445100 w 6576672"/>
              <a:gd name="connsiteY4" fmla="*/ 2137 h 955634"/>
              <a:gd name="connsiteX5" fmla="*/ 4136200 w 6576672"/>
              <a:gd name="connsiteY5" fmla="*/ 524014 h 955634"/>
              <a:gd name="connsiteX6" fmla="*/ 3693202 w 6576672"/>
              <a:gd name="connsiteY6" fmla="*/ 708853 h 955634"/>
              <a:gd name="connsiteX7" fmla="*/ 3122725 w 6576672"/>
              <a:gd name="connsiteY7" fmla="*/ 757040 h 955634"/>
              <a:gd name="connsiteX8" fmla="*/ 2814146 w 6576672"/>
              <a:gd name="connsiteY8" fmla="*/ 769374 h 955634"/>
              <a:gd name="connsiteX9" fmla="*/ 2410408 w 6576672"/>
              <a:gd name="connsiteY9" fmla="*/ 774641 h 955634"/>
              <a:gd name="connsiteX10" fmla="*/ 2170249 w 6576672"/>
              <a:gd name="connsiteY10" fmla="*/ 758507 h 955634"/>
              <a:gd name="connsiteX11" fmla="*/ 1979949 w 6576672"/>
              <a:gd name="connsiteY11" fmla="*/ 675823 h 955634"/>
              <a:gd name="connsiteX12" fmla="*/ 1781478 w 6576672"/>
              <a:gd name="connsiteY12" fmla="*/ 483327 h 955634"/>
              <a:gd name="connsiteX13" fmla="*/ 1622753 w 6576672"/>
              <a:gd name="connsiteY13" fmla="*/ 681552 h 955634"/>
              <a:gd name="connsiteX14" fmla="*/ 1507620 w 6576672"/>
              <a:gd name="connsiteY14" fmla="*/ 833361 h 955634"/>
              <a:gd name="connsiteX15" fmla="*/ 1104516 w 6576672"/>
              <a:gd name="connsiteY15" fmla="*/ 916050 h 955634"/>
              <a:gd name="connsiteX16" fmla="*/ 844233 w 6576672"/>
              <a:gd name="connsiteY16" fmla="*/ 945218 h 955634"/>
              <a:gd name="connsiteX17" fmla="*/ 446083 w 6576672"/>
              <a:gd name="connsiteY17" fmla="*/ 950480 h 955634"/>
              <a:gd name="connsiteX18" fmla="*/ 174661 w 6576672"/>
              <a:gd name="connsiteY18" fmla="*/ 878232 h 955634"/>
              <a:gd name="connsiteX19" fmla="*/ 0 w 6576672"/>
              <a:gd name="connsiteY19" fmla="*/ 643018 h 955634"/>
              <a:gd name="connsiteX0" fmla="*/ 6576672 w 6576672"/>
              <a:gd name="connsiteY0" fmla="*/ 293545 h 955662"/>
              <a:gd name="connsiteX1" fmla="*/ 5467448 w 6576672"/>
              <a:gd name="connsiteY1" fmla="*/ 393675 h 955662"/>
              <a:gd name="connsiteX2" fmla="*/ 5054237 w 6576672"/>
              <a:gd name="connsiteY2" fmla="*/ 418030 h 955662"/>
              <a:gd name="connsiteX3" fmla="*/ 4681442 w 6576672"/>
              <a:gd name="connsiteY3" fmla="*/ 341164 h 955662"/>
              <a:gd name="connsiteX4" fmla="*/ 4387388 w 6576672"/>
              <a:gd name="connsiteY4" fmla="*/ 2165 h 955662"/>
              <a:gd name="connsiteX5" fmla="*/ 4136200 w 6576672"/>
              <a:gd name="connsiteY5" fmla="*/ 524042 h 955662"/>
              <a:gd name="connsiteX6" fmla="*/ 3693202 w 6576672"/>
              <a:gd name="connsiteY6" fmla="*/ 708881 h 955662"/>
              <a:gd name="connsiteX7" fmla="*/ 3122725 w 6576672"/>
              <a:gd name="connsiteY7" fmla="*/ 757068 h 955662"/>
              <a:gd name="connsiteX8" fmla="*/ 2814146 w 6576672"/>
              <a:gd name="connsiteY8" fmla="*/ 769402 h 955662"/>
              <a:gd name="connsiteX9" fmla="*/ 2410408 w 6576672"/>
              <a:gd name="connsiteY9" fmla="*/ 774669 h 955662"/>
              <a:gd name="connsiteX10" fmla="*/ 2170249 w 6576672"/>
              <a:gd name="connsiteY10" fmla="*/ 758535 h 955662"/>
              <a:gd name="connsiteX11" fmla="*/ 1979949 w 6576672"/>
              <a:gd name="connsiteY11" fmla="*/ 675851 h 955662"/>
              <a:gd name="connsiteX12" fmla="*/ 1781478 w 6576672"/>
              <a:gd name="connsiteY12" fmla="*/ 483355 h 955662"/>
              <a:gd name="connsiteX13" fmla="*/ 1622753 w 6576672"/>
              <a:gd name="connsiteY13" fmla="*/ 681580 h 955662"/>
              <a:gd name="connsiteX14" fmla="*/ 1507620 w 6576672"/>
              <a:gd name="connsiteY14" fmla="*/ 833389 h 955662"/>
              <a:gd name="connsiteX15" fmla="*/ 1104516 w 6576672"/>
              <a:gd name="connsiteY15" fmla="*/ 916078 h 955662"/>
              <a:gd name="connsiteX16" fmla="*/ 844233 w 6576672"/>
              <a:gd name="connsiteY16" fmla="*/ 945246 h 955662"/>
              <a:gd name="connsiteX17" fmla="*/ 446083 w 6576672"/>
              <a:gd name="connsiteY17" fmla="*/ 950508 h 955662"/>
              <a:gd name="connsiteX18" fmla="*/ 174661 w 6576672"/>
              <a:gd name="connsiteY18" fmla="*/ 878260 h 955662"/>
              <a:gd name="connsiteX19" fmla="*/ 0 w 6576672"/>
              <a:gd name="connsiteY19" fmla="*/ 643046 h 955662"/>
              <a:gd name="connsiteX0" fmla="*/ 6592731 w 6592731"/>
              <a:gd name="connsiteY0" fmla="*/ 293545 h 955662"/>
              <a:gd name="connsiteX1" fmla="*/ 5483507 w 6592731"/>
              <a:gd name="connsiteY1" fmla="*/ 393675 h 955662"/>
              <a:gd name="connsiteX2" fmla="*/ 5070296 w 6592731"/>
              <a:gd name="connsiteY2" fmla="*/ 418030 h 955662"/>
              <a:gd name="connsiteX3" fmla="*/ 4697501 w 6592731"/>
              <a:gd name="connsiteY3" fmla="*/ 341164 h 955662"/>
              <a:gd name="connsiteX4" fmla="*/ 4403447 w 6592731"/>
              <a:gd name="connsiteY4" fmla="*/ 2165 h 955662"/>
              <a:gd name="connsiteX5" fmla="*/ 4152259 w 6592731"/>
              <a:gd name="connsiteY5" fmla="*/ 524042 h 955662"/>
              <a:gd name="connsiteX6" fmla="*/ 3709261 w 6592731"/>
              <a:gd name="connsiteY6" fmla="*/ 708881 h 955662"/>
              <a:gd name="connsiteX7" fmla="*/ 3138784 w 6592731"/>
              <a:gd name="connsiteY7" fmla="*/ 757068 h 955662"/>
              <a:gd name="connsiteX8" fmla="*/ 2830205 w 6592731"/>
              <a:gd name="connsiteY8" fmla="*/ 769402 h 955662"/>
              <a:gd name="connsiteX9" fmla="*/ 2426467 w 6592731"/>
              <a:gd name="connsiteY9" fmla="*/ 774669 h 955662"/>
              <a:gd name="connsiteX10" fmla="*/ 2186308 w 6592731"/>
              <a:gd name="connsiteY10" fmla="*/ 758535 h 955662"/>
              <a:gd name="connsiteX11" fmla="*/ 1996008 w 6592731"/>
              <a:gd name="connsiteY11" fmla="*/ 675851 h 955662"/>
              <a:gd name="connsiteX12" fmla="*/ 1797537 w 6592731"/>
              <a:gd name="connsiteY12" fmla="*/ 483355 h 955662"/>
              <a:gd name="connsiteX13" fmla="*/ 1638812 w 6592731"/>
              <a:gd name="connsiteY13" fmla="*/ 681580 h 955662"/>
              <a:gd name="connsiteX14" fmla="*/ 1523679 w 6592731"/>
              <a:gd name="connsiteY14" fmla="*/ 833389 h 955662"/>
              <a:gd name="connsiteX15" fmla="*/ 1120575 w 6592731"/>
              <a:gd name="connsiteY15" fmla="*/ 916078 h 955662"/>
              <a:gd name="connsiteX16" fmla="*/ 860292 w 6592731"/>
              <a:gd name="connsiteY16" fmla="*/ 945246 h 955662"/>
              <a:gd name="connsiteX17" fmla="*/ 462142 w 6592731"/>
              <a:gd name="connsiteY17" fmla="*/ 950508 h 955662"/>
              <a:gd name="connsiteX18" fmla="*/ 190720 w 6592731"/>
              <a:gd name="connsiteY18" fmla="*/ 878260 h 955662"/>
              <a:gd name="connsiteX19" fmla="*/ 0 w 6592731"/>
              <a:gd name="connsiteY19" fmla="*/ 643046 h 955662"/>
              <a:gd name="connsiteX0" fmla="*/ 6592731 w 6592731"/>
              <a:gd name="connsiteY0" fmla="*/ 293545 h 946550"/>
              <a:gd name="connsiteX1" fmla="*/ 5483507 w 6592731"/>
              <a:gd name="connsiteY1" fmla="*/ 393675 h 946550"/>
              <a:gd name="connsiteX2" fmla="*/ 5070296 w 6592731"/>
              <a:gd name="connsiteY2" fmla="*/ 418030 h 946550"/>
              <a:gd name="connsiteX3" fmla="*/ 4697501 w 6592731"/>
              <a:gd name="connsiteY3" fmla="*/ 341164 h 946550"/>
              <a:gd name="connsiteX4" fmla="*/ 4403447 w 6592731"/>
              <a:gd name="connsiteY4" fmla="*/ 2165 h 946550"/>
              <a:gd name="connsiteX5" fmla="*/ 4152259 w 6592731"/>
              <a:gd name="connsiteY5" fmla="*/ 524042 h 946550"/>
              <a:gd name="connsiteX6" fmla="*/ 3709261 w 6592731"/>
              <a:gd name="connsiteY6" fmla="*/ 708881 h 946550"/>
              <a:gd name="connsiteX7" fmla="*/ 3138784 w 6592731"/>
              <a:gd name="connsiteY7" fmla="*/ 757068 h 946550"/>
              <a:gd name="connsiteX8" fmla="*/ 2830205 w 6592731"/>
              <a:gd name="connsiteY8" fmla="*/ 769402 h 946550"/>
              <a:gd name="connsiteX9" fmla="*/ 2426467 w 6592731"/>
              <a:gd name="connsiteY9" fmla="*/ 774669 h 946550"/>
              <a:gd name="connsiteX10" fmla="*/ 2186308 w 6592731"/>
              <a:gd name="connsiteY10" fmla="*/ 758535 h 946550"/>
              <a:gd name="connsiteX11" fmla="*/ 1996008 w 6592731"/>
              <a:gd name="connsiteY11" fmla="*/ 675851 h 946550"/>
              <a:gd name="connsiteX12" fmla="*/ 1797537 w 6592731"/>
              <a:gd name="connsiteY12" fmla="*/ 483355 h 946550"/>
              <a:gd name="connsiteX13" fmla="*/ 1638812 w 6592731"/>
              <a:gd name="connsiteY13" fmla="*/ 681580 h 946550"/>
              <a:gd name="connsiteX14" fmla="*/ 1523679 w 6592731"/>
              <a:gd name="connsiteY14" fmla="*/ 833389 h 946550"/>
              <a:gd name="connsiteX15" fmla="*/ 1120575 w 6592731"/>
              <a:gd name="connsiteY15" fmla="*/ 916078 h 946550"/>
              <a:gd name="connsiteX16" fmla="*/ 860292 w 6592731"/>
              <a:gd name="connsiteY16" fmla="*/ 945246 h 946550"/>
              <a:gd name="connsiteX17" fmla="*/ 466157 w 6592731"/>
              <a:gd name="connsiteY17" fmla="*/ 934605 h 946550"/>
              <a:gd name="connsiteX18" fmla="*/ 190720 w 6592731"/>
              <a:gd name="connsiteY18" fmla="*/ 878260 h 946550"/>
              <a:gd name="connsiteX19" fmla="*/ 0 w 6592731"/>
              <a:gd name="connsiteY19" fmla="*/ 643046 h 946550"/>
              <a:gd name="connsiteX0" fmla="*/ 6592731 w 6592731"/>
              <a:gd name="connsiteY0" fmla="*/ 293545 h 950035"/>
              <a:gd name="connsiteX1" fmla="*/ 5483507 w 6592731"/>
              <a:gd name="connsiteY1" fmla="*/ 393675 h 950035"/>
              <a:gd name="connsiteX2" fmla="*/ 5070296 w 6592731"/>
              <a:gd name="connsiteY2" fmla="*/ 418030 h 950035"/>
              <a:gd name="connsiteX3" fmla="*/ 4697501 w 6592731"/>
              <a:gd name="connsiteY3" fmla="*/ 341164 h 950035"/>
              <a:gd name="connsiteX4" fmla="*/ 4403447 w 6592731"/>
              <a:gd name="connsiteY4" fmla="*/ 2165 h 950035"/>
              <a:gd name="connsiteX5" fmla="*/ 4152259 w 6592731"/>
              <a:gd name="connsiteY5" fmla="*/ 524042 h 950035"/>
              <a:gd name="connsiteX6" fmla="*/ 3709261 w 6592731"/>
              <a:gd name="connsiteY6" fmla="*/ 708881 h 950035"/>
              <a:gd name="connsiteX7" fmla="*/ 3138784 w 6592731"/>
              <a:gd name="connsiteY7" fmla="*/ 757068 h 950035"/>
              <a:gd name="connsiteX8" fmla="*/ 2830205 w 6592731"/>
              <a:gd name="connsiteY8" fmla="*/ 769402 h 950035"/>
              <a:gd name="connsiteX9" fmla="*/ 2426467 w 6592731"/>
              <a:gd name="connsiteY9" fmla="*/ 774669 h 950035"/>
              <a:gd name="connsiteX10" fmla="*/ 2186308 w 6592731"/>
              <a:gd name="connsiteY10" fmla="*/ 758535 h 950035"/>
              <a:gd name="connsiteX11" fmla="*/ 1996008 w 6592731"/>
              <a:gd name="connsiteY11" fmla="*/ 675851 h 950035"/>
              <a:gd name="connsiteX12" fmla="*/ 1797537 w 6592731"/>
              <a:gd name="connsiteY12" fmla="*/ 483355 h 950035"/>
              <a:gd name="connsiteX13" fmla="*/ 1638812 w 6592731"/>
              <a:gd name="connsiteY13" fmla="*/ 681580 h 950035"/>
              <a:gd name="connsiteX14" fmla="*/ 1523679 w 6592731"/>
              <a:gd name="connsiteY14" fmla="*/ 833389 h 950035"/>
              <a:gd name="connsiteX15" fmla="*/ 1120575 w 6592731"/>
              <a:gd name="connsiteY15" fmla="*/ 916078 h 950035"/>
              <a:gd name="connsiteX16" fmla="*/ 868322 w 6592731"/>
              <a:gd name="connsiteY16" fmla="*/ 949222 h 950035"/>
              <a:gd name="connsiteX17" fmla="*/ 466157 w 6592731"/>
              <a:gd name="connsiteY17" fmla="*/ 934605 h 950035"/>
              <a:gd name="connsiteX18" fmla="*/ 190720 w 6592731"/>
              <a:gd name="connsiteY18" fmla="*/ 878260 h 950035"/>
              <a:gd name="connsiteX19" fmla="*/ 0 w 6592731"/>
              <a:gd name="connsiteY19" fmla="*/ 643046 h 950035"/>
              <a:gd name="connsiteX0" fmla="*/ 6592731 w 6592731"/>
              <a:gd name="connsiteY0" fmla="*/ 293545 h 954225"/>
              <a:gd name="connsiteX1" fmla="*/ 5483507 w 6592731"/>
              <a:gd name="connsiteY1" fmla="*/ 393675 h 954225"/>
              <a:gd name="connsiteX2" fmla="*/ 5070296 w 6592731"/>
              <a:gd name="connsiteY2" fmla="*/ 418030 h 954225"/>
              <a:gd name="connsiteX3" fmla="*/ 4697501 w 6592731"/>
              <a:gd name="connsiteY3" fmla="*/ 341164 h 954225"/>
              <a:gd name="connsiteX4" fmla="*/ 4403447 w 6592731"/>
              <a:gd name="connsiteY4" fmla="*/ 2165 h 954225"/>
              <a:gd name="connsiteX5" fmla="*/ 4152259 w 6592731"/>
              <a:gd name="connsiteY5" fmla="*/ 524042 h 954225"/>
              <a:gd name="connsiteX6" fmla="*/ 3709261 w 6592731"/>
              <a:gd name="connsiteY6" fmla="*/ 708881 h 954225"/>
              <a:gd name="connsiteX7" fmla="*/ 3138784 w 6592731"/>
              <a:gd name="connsiteY7" fmla="*/ 757068 h 954225"/>
              <a:gd name="connsiteX8" fmla="*/ 2830205 w 6592731"/>
              <a:gd name="connsiteY8" fmla="*/ 769402 h 954225"/>
              <a:gd name="connsiteX9" fmla="*/ 2426467 w 6592731"/>
              <a:gd name="connsiteY9" fmla="*/ 774669 h 954225"/>
              <a:gd name="connsiteX10" fmla="*/ 2186308 w 6592731"/>
              <a:gd name="connsiteY10" fmla="*/ 758535 h 954225"/>
              <a:gd name="connsiteX11" fmla="*/ 1996008 w 6592731"/>
              <a:gd name="connsiteY11" fmla="*/ 675851 h 954225"/>
              <a:gd name="connsiteX12" fmla="*/ 1797537 w 6592731"/>
              <a:gd name="connsiteY12" fmla="*/ 483355 h 954225"/>
              <a:gd name="connsiteX13" fmla="*/ 1638812 w 6592731"/>
              <a:gd name="connsiteY13" fmla="*/ 681580 h 954225"/>
              <a:gd name="connsiteX14" fmla="*/ 1523679 w 6592731"/>
              <a:gd name="connsiteY14" fmla="*/ 833389 h 954225"/>
              <a:gd name="connsiteX15" fmla="*/ 1120575 w 6592731"/>
              <a:gd name="connsiteY15" fmla="*/ 916078 h 954225"/>
              <a:gd name="connsiteX16" fmla="*/ 868322 w 6592731"/>
              <a:gd name="connsiteY16" fmla="*/ 949222 h 954225"/>
              <a:gd name="connsiteX17" fmla="*/ 466157 w 6592731"/>
              <a:gd name="connsiteY17" fmla="*/ 946532 h 954225"/>
              <a:gd name="connsiteX18" fmla="*/ 190720 w 6592731"/>
              <a:gd name="connsiteY18" fmla="*/ 878260 h 954225"/>
              <a:gd name="connsiteX19" fmla="*/ 0 w 6592731"/>
              <a:gd name="connsiteY19" fmla="*/ 643046 h 95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2731" h="954225">
                <a:moveTo>
                  <a:pt x="6592731" y="293545"/>
                </a:moveTo>
                <a:cubicBezTo>
                  <a:pt x="6396941" y="331823"/>
                  <a:pt x="5737246" y="372928"/>
                  <a:pt x="5483507" y="393675"/>
                </a:cubicBezTo>
                <a:cubicBezTo>
                  <a:pt x="5229768" y="414422"/>
                  <a:pt x="5201297" y="426782"/>
                  <a:pt x="5070296" y="418030"/>
                </a:cubicBezTo>
                <a:cubicBezTo>
                  <a:pt x="4939295" y="409278"/>
                  <a:pt x="4808643" y="410475"/>
                  <a:pt x="4697501" y="341164"/>
                </a:cubicBezTo>
                <a:cubicBezTo>
                  <a:pt x="4586360" y="271853"/>
                  <a:pt x="4494321" y="-28315"/>
                  <a:pt x="4403447" y="2165"/>
                </a:cubicBezTo>
                <a:cubicBezTo>
                  <a:pt x="4312573" y="32645"/>
                  <a:pt x="4198197" y="451181"/>
                  <a:pt x="4152259" y="524042"/>
                </a:cubicBezTo>
                <a:cubicBezTo>
                  <a:pt x="4106321" y="596904"/>
                  <a:pt x="3878173" y="670043"/>
                  <a:pt x="3709261" y="708881"/>
                </a:cubicBezTo>
                <a:cubicBezTo>
                  <a:pt x="3540349" y="747719"/>
                  <a:pt x="3285293" y="746981"/>
                  <a:pt x="3138784" y="757068"/>
                </a:cubicBezTo>
                <a:cubicBezTo>
                  <a:pt x="2992275" y="767155"/>
                  <a:pt x="2948924" y="766469"/>
                  <a:pt x="2830205" y="769402"/>
                </a:cubicBezTo>
                <a:cubicBezTo>
                  <a:pt x="2711486" y="772335"/>
                  <a:pt x="2533783" y="776480"/>
                  <a:pt x="2426467" y="774669"/>
                </a:cubicBezTo>
                <a:cubicBezTo>
                  <a:pt x="2319151" y="772858"/>
                  <a:pt x="2258051" y="775005"/>
                  <a:pt x="2186308" y="758535"/>
                </a:cubicBezTo>
                <a:cubicBezTo>
                  <a:pt x="2114565" y="742065"/>
                  <a:pt x="2046582" y="715673"/>
                  <a:pt x="1996008" y="675851"/>
                </a:cubicBezTo>
                <a:cubicBezTo>
                  <a:pt x="1945434" y="636029"/>
                  <a:pt x="1857070" y="482400"/>
                  <a:pt x="1797537" y="483355"/>
                </a:cubicBezTo>
                <a:cubicBezTo>
                  <a:pt x="1738004" y="484310"/>
                  <a:pt x="1684455" y="623241"/>
                  <a:pt x="1638812" y="681580"/>
                </a:cubicBezTo>
                <a:cubicBezTo>
                  <a:pt x="1593169" y="739919"/>
                  <a:pt x="1610052" y="794306"/>
                  <a:pt x="1523679" y="833389"/>
                </a:cubicBezTo>
                <a:cubicBezTo>
                  <a:pt x="1437306" y="872472"/>
                  <a:pt x="1229801" y="896773"/>
                  <a:pt x="1120575" y="916078"/>
                </a:cubicBezTo>
                <a:cubicBezTo>
                  <a:pt x="1011349" y="935383"/>
                  <a:pt x="977392" y="944146"/>
                  <a:pt x="868322" y="949222"/>
                </a:cubicBezTo>
                <a:cubicBezTo>
                  <a:pt x="759252" y="954298"/>
                  <a:pt x="579091" y="958359"/>
                  <a:pt x="466157" y="946532"/>
                </a:cubicBezTo>
                <a:cubicBezTo>
                  <a:pt x="353223" y="934705"/>
                  <a:pt x="266303" y="930116"/>
                  <a:pt x="190720" y="878260"/>
                </a:cubicBezTo>
                <a:cubicBezTo>
                  <a:pt x="89178" y="844766"/>
                  <a:pt x="33437" y="679800"/>
                  <a:pt x="0" y="643046"/>
                </a:cubicBezTo>
              </a:path>
            </a:pathLst>
          </a:custGeom>
          <a:noFill/>
          <a:ln w="50800" cap="rnd">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4" name="Straight Arrow Connector 83">
            <a:extLst>
              <a:ext uri="{FF2B5EF4-FFF2-40B4-BE49-F238E27FC236}">
                <a16:creationId xmlns:a16="http://schemas.microsoft.com/office/drawing/2014/main" id="{82C4F638-6934-49DE-B7DC-AA1F36C7D5D5}"/>
              </a:ext>
            </a:extLst>
          </p:cNvPr>
          <p:cNvCxnSpPr>
            <a:cxnSpLocks/>
          </p:cNvCxnSpPr>
          <p:nvPr/>
        </p:nvCxnSpPr>
        <p:spPr>
          <a:xfrm>
            <a:off x="2335904" y="3251278"/>
            <a:ext cx="0" cy="20181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9151C33-C0C5-4A4F-86D6-DDECC81F4F39}"/>
              </a:ext>
            </a:extLst>
          </p:cNvPr>
          <p:cNvCxnSpPr>
            <a:cxnSpLocks/>
          </p:cNvCxnSpPr>
          <p:nvPr/>
        </p:nvCxnSpPr>
        <p:spPr>
          <a:xfrm>
            <a:off x="4641105" y="3837765"/>
            <a:ext cx="0" cy="20181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62542B2-886E-45E8-9F38-47495E111493}"/>
              </a:ext>
            </a:extLst>
          </p:cNvPr>
          <p:cNvCxnSpPr>
            <a:cxnSpLocks/>
          </p:cNvCxnSpPr>
          <p:nvPr/>
        </p:nvCxnSpPr>
        <p:spPr>
          <a:xfrm>
            <a:off x="3695476" y="3961319"/>
            <a:ext cx="651667" cy="145813"/>
          </a:xfrm>
          <a:prstGeom prst="straightConnector1">
            <a:avLst/>
          </a:prstGeom>
          <a:ln w="381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60B10C32-F163-4ABE-83E9-6E7B30972DE0}"/>
              </a:ext>
            </a:extLst>
          </p:cNvPr>
          <p:cNvSpPr txBox="1"/>
          <p:nvPr/>
        </p:nvSpPr>
        <p:spPr>
          <a:xfrm>
            <a:off x="3213472" y="3222655"/>
            <a:ext cx="978601" cy="646331"/>
          </a:xfrm>
          <a:prstGeom prst="rect">
            <a:avLst/>
          </a:prstGeom>
          <a:noFill/>
        </p:spPr>
        <p:txBody>
          <a:bodyPr wrap="none" rtlCol="0">
            <a:spAutoFit/>
          </a:bodyPr>
          <a:lstStyle>
            <a:defPPr>
              <a:defRPr lang="en-US"/>
            </a:defPPr>
            <a:lvl1pPr>
              <a:defRPr sz="1200" b="1">
                <a:solidFill>
                  <a:srgbClr val="FF4F25"/>
                </a:solidFill>
              </a:defRPr>
            </a:lvl1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000000">
                    <a:lumMod val="75000"/>
                    <a:lumOff val="25000"/>
                  </a:srgbClr>
                </a:solidFill>
                <a:effectLst/>
                <a:uLnTx/>
                <a:uFillTx/>
                <a:latin typeface="Arial" panose="020B0604020202020204"/>
                <a:ea typeface="MS PGothic" charset="0"/>
                <a:cs typeface="+mn-cs"/>
              </a:rPr>
              <a:t>First </a:t>
            </a:r>
            <a:br>
              <a:rPr kumimoji="0" lang="en-GB" sz="1200" b="1" i="0" u="none" strike="noStrike" kern="1200" cap="none" spc="0" normalizeH="0" baseline="0" noProof="0">
                <a:ln>
                  <a:noFill/>
                </a:ln>
                <a:solidFill>
                  <a:srgbClr val="000000">
                    <a:lumMod val="75000"/>
                    <a:lumOff val="25000"/>
                  </a:srgbClr>
                </a:solidFill>
                <a:effectLst/>
                <a:uLnTx/>
                <a:uFillTx/>
                <a:latin typeface="Arial" panose="020B0604020202020204"/>
                <a:ea typeface="MS PGothic" charset="0"/>
                <a:cs typeface="+mn-cs"/>
              </a:rPr>
            </a:br>
            <a:r>
              <a:rPr kumimoji="0" lang="en-GB" sz="1200" b="1" i="0" u="none" strike="noStrike" kern="1200" cap="none" spc="0" normalizeH="0" baseline="0" noProof="0">
                <a:ln>
                  <a:noFill/>
                </a:ln>
                <a:solidFill>
                  <a:srgbClr val="000000">
                    <a:lumMod val="75000"/>
                    <a:lumOff val="25000"/>
                  </a:srgbClr>
                </a:solidFill>
                <a:effectLst/>
                <a:uLnTx/>
                <a:uFillTx/>
                <a:latin typeface="Arial" panose="020B0604020202020204"/>
                <a:ea typeface="MS PGothic" charset="0"/>
                <a:cs typeface="+mn-cs"/>
              </a:rPr>
              <a:t>Worsening</a:t>
            </a:r>
            <a:br>
              <a:rPr kumimoji="0" lang="en-GB" sz="1200" b="1" i="0" u="none" strike="noStrike" kern="1200" cap="none" spc="0" normalizeH="0" baseline="0" noProof="0">
                <a:ln>
                  <a:noFill/>
                </a:ln>
                <a:solidFill>
                  <a:srgbClr val="000000">
                    <a:lumMod val="75000"/>
                    <a:lumOff val="25000"/>
                  </a:srgbClr>
                </a:solidFill>
                <a:effectLst/>
                <a:uLnTx/>
                <a:uFillTx/>
                <a:latin typeface="Arial" panose="020B0604020202020204"/>
                <a:ea typeface="MS PGothic" charset="0"/>
                <a:cs typeface="+mn-cs"/>
              </a:rPr>
            </a:br>
            <a:r>
              <a:rPr kumimoji="0" lang="en-GB" sz="1200" b="1" i="0" u="none" strike="noStrike" kern="1200" cap="none" spc="0" normalizeH="0" baseline="0" noProof="0">
                <a:ln>
                  <a:noFill/>
                </a:ln>
                <a:solidFill>
                  <a:srgbClr val="000000">
                    <a:lumMod val="75000"/>
                    <a:lumOff val="25000"/>
                  </a:srgbClr>
                </a:solidFill>
                <a:effectLst/>
                <a:uLnTx/>
                <a:uFillTx/>
                <a:latin typeface="Arial" panose="020B0604020202020204"/>
                <a:ea typeface="MS PGothic" charset="0"/>
                <a:cs typeface="+mn-cs"/>
              </a:rPr>
              <a:t>HF Event</a:t>
            </a:r>
          </a:p>
        </p:txBody>
      </p:sp>
      <p:cxnSp>
        <p:nvCxnSpPr>
          <p:cNvPr id="88" name="Straight Arrow Connector 87">
            <a:extLst>
              <a:ext uri="{FF2B5EF4-FFF2-40B4-BE49-F238E27FC236}">
                <a16:creationId xmlns:a16="http://schemas.microsoft.com/office/drawing/2014/main" id="{8BC40742-EB63-478F-99EB-ED1F6959537B}"/>
              </a:ext>
            </a:extLst>
          </p:cNvPr>
          <p:cNvCxnSpPr>
            <a:cxnSpLocks/>
          </p:cNvCxnSpPr>
          <p:nvPr/>
        </p:nvCxnSpPr>
        <p:spPr>
          <a:xfrm flipV="1">
            <a:off x="1115788" y="1093826"/>
            <a:ext cx="0" cy="43434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83EBF257-0C77-478A-BFE4-DD46F06A2DD2}"/>
              </a:ext>
            </a:extLst>
          </p:cNvPr>
          <p:cNvCxnSpPr>
            <a:cxnSpLocks/>
          </p:cNvCxnSpPr>
          <p:nvPr/>
        </p:nvCxnSpPr>
        <p:spPr>
          <a:xfrm>
            <a:off x="1137594" y="5425684"/>
            <a:ext cx="1025107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554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0B5CF-68F2-42A4-AE1A-2E8967AF97F5}"/>
              </a:ext>
            </a:extLst>
          </p:cNvPr>
          <p:cNvSpPr>
            <a:spLocks noGrp="1"/>
          </p:cNvSpPr>
          <p:nvPr>
            <p:ph type="title"/>
          </p:nvPr>
        </p:nvSpPr>
        <p:spPr>
          <a:xfrm>
            <a:off x="596710" y="164567"/>
            <a:ext cx="9777970" cy="929127"/>
          </a:xfrm>
        </p:spPr>
        <p:txBody>
          <a:bodyPr anchor="ctr">
            <a:normAutofit/>
          </a:bodyPr>
          <a:lstStyle/>
          <a:p>
            <a:r>
              <a:rPr lang="en-US" b="1" i="0" u="none" strike="noStrike" baseline="0"/>
              <a:t>The period following a WHF event is a critical juncture to modify a patient’s disease trajectory</a:t>
            </a:r>
            <a:r>
              <a:rPr lang="en-US" b="1"/>
              <a:t> </a:t>
            </a:r>
          </a:p>
        </p:txBody>
      </p:sp>
      <p:sp>
        <p:nvSpPr>
          <p:cNvPr id="3" name="Slide Number Placeholder 2">
            <a:extLst>
              <a:ext uri="{FF2B5EF4-FFF2-40B4-BE49-F238E27FC236}">
                <a16:creationId xmlns:a16="http://schemas.microsoft.com/office/drawing/2014/main" id="{1B609E34-9C84-49AD-8FD2-F80DCDAEBFA9}"/>
              </a:ext>
            </a:extLst>
          </p:cNvPr>
          <p:cNvSpPr>
            <a:spLocks noGrp="1"/>
          </p:cNvSpPr>
          <p:nvPr>
            <p:ph type="sldNum" sz="quarter" idx="12"/>
          </p:nvPr>
        </p:nvSpPr>
        <p:spPr>
          <a:xfrm>
            <a:off x="11672047" y="6356350"/>
            <a:ext cx="376517" cy="365125"/>
          </a:xfrm>
        </p:spPr>
        <p:txBody>
          <a:bodyPr anchor="ctr">
            <a:normAutofit/>
          </a:bodyPr>
          <a:lstStyle/>
          <a:p>
            <a:pPr>
              <a:spcAft>
                <a:spcPts val="600"/>
              </a:spcAft>
            </a:pPr>
            <a:fld id="{34F3E8DA-EFA8-4AF6-91A7-62A147E0F12C}" type="slidenum">
              <a:rPr lang="en-US" smtClean="0"/>
              <a:pPr>
                <a:spcAft>
                  <a:spcPts val="600"/>
                </a:spcAft>
              </a:pPr>
              <a:t>13</a:t>
            </a:fld>
            <a:endParaRPr lang="en-US"/>
          </a:p>
        </p:txBody>
      </p:sp>
      <p:sp>
        <p:nvSpPr>
          <p:cNvPr id="37" name="Text Placeholder 4">
            <a:extLst>
              <a:ext uri="{FF2B5EF4-FFF2-40B4-BE49-F238E27FC236}">
                <a16:creationId xmlns:a16="http://schemas.microsoft.com/office/drawing/2014/main" id="{D5E0E6AE-35E5-0D5C-8B75-11D93473723D}"/>
              </a:ext>
            </a:extLst>
          </p:cNvPr>
          <p:cNvSpPr>
            <a:spLocks noGrp="1"/>
          </p:cNvSpPr>
          <p:nvPr>
            <p:ph type="body" sz="quarter" idx="14"/>
          </p:nvPr>
        </p:nvSpPr>
        <p:spPr>
          <a:xfrm>
            <a:off x="596710" y="1235237"/>
            <a:ext cx="9777970" cy="317635"/>
          </a:xfrm>
        </p:spPr>
        <p:txBody>
          <a:bodyPr>
            <a:normAutofit lnSpcReduction="10000"/>
          </a:bodyPr>
          <a:lstStyle/>
          <a:p>
            <a:endParaRPr lang="en-US"/>
          </a:p>
        </p:txBody>
      </p:sp>
      <p:sp>
        <p:nvSpPr>
          <p:cNvPr id="39" name="Text Placeholder 5">
            <a:extLst>
              <a:ext uri="{FF2B5EF4-FFF2-40B4-BE49-F238E27FC236}">
                <a16:creationId xmlns:a16="http://schemas.microsoft.com/office/drawing/2014/main" id="{8F94B38C-F84E-3AF4-3F6E-3DD94B84F4D8}"/>
              </a:ext>
            </a:extLst>
          </p:cNvPr>
          <p:cNvSpPr>
            <a:spLocks noGrp="1"/>
          </p:cNvSpPr>
          <p:nvPr>
            <p:ph type="body" sz="quarter" idx="15"/>
          </p:nvPr>
        </p:nvSpPr>
        <p:spPr>
          <a:xfrm>
            <a:off x="596710" y="5593977"/>
            <a:ext cx="9774040" cy="574526"/>
          </a:xfrm>
        </p:spPr>
        <p:txBody>
          <a:bodyPr/>
          <a:lstStyle/>
          <a:p>
            <a:endParaRPr lang="en-US"/>
          </a:p>
        </p:txBody>
      </p:sp>
      <p:graphicFrame>
        <p:nvGraphicFramePr>
          <p:cNvPr id="12" name="Content Placeholder 7">
            <a:extLst>
              <a:ext uri="{FF2B5EF4-FFF2-40B4-BE49-F238E27FC236}">
                <a16:creationId xmlns:a16="http://schemas.microsoft.com/office/drawing/2014/main" id="{1878A383-A7FB-3E49-C180-16AA5F3F452A}"/>
              </a:ext>
            </a:extLst>
          </p:cNvPr>
          <p:cNvGraphicFramePr>
            <a:graphicFrameLocks noGrp="1"/>
          </p:cNvGraphicFramePr>
          <p:nvPr>
            <p:ph sz="quarter" idx="13"/>
          </p:nvPr>
        </p:nvGraphicFramePr>
        <p:xfrm>
          <a:off x="596899" y="1093694"/>
          <a:ext cx="10865757" cy="52626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71472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6B6DF8A-13F6-4748-AB6B-22F217D1A29C}"/>
              </a:ext>
            </a:extLst>
          </p:cNvPr>
          <p:cNvSpPr>
            <a:spLocks noGrp="1"/>
          </p:cNvSpPr>
          <p:nvPr>
            <p:ph type="title"/>
          </p:nvPr>
        </p:nvSpPr>
        <p:spPr>
          <a:xfrm>
            <a:off x="739640" y="2156260"/>
            <a:ext cx="7428315" cy="1001168"/>
          </a:xfrm>
        </p:spPr>
        <p:txBody>
          <a:bodyPr>
            <a:noAutofit/>
          </a:bodyPr>
          <a:lstStyle/>
          <a:p>
            <a:pPr algn="ctr">
              <a:lnSpc>
                <a:spcPct val="150000"/>
              </a:lnSpc>
              <a:spcBef>
                <a:spcPts val="0"/>
              </a:spcBef>
            </a:pPr>
            <a:r>
              <a:rPr lang="en-GB" sz="2000" b="1" u="sng" dirty="0">
                <a:effectLst/>
                <a:latin typeface="Arial" panose="020B0604020202020204" pitchFamily="34" charset="0"/>
                <a:ea typeface="Calibri" panose="020F0502020204030204" pitchFamily="34" charset="0"/>
                <a:cs typeface="Times New Roman" panose="02020603050405020304" pitchFamily="18" charset="0"/>
              </a:rPr>
              <a:t>Challenging the status quo in Worsening heart failure: Snippets from VICTORIA trial</a:t>
            </a:r>
            <a:br>
              <a:rPr lang="en-US" sz="2000" b="1" u="sng" dirty="0">
                <a:effectLst/>
                <a:latin typeface="Calibri" panose="020F0502020204030204" pitchFamily="34" charset="0"/>
                <a:ea typeface="Calibri" panose="020F0502020204030204" pitchFamily="34" charset="0"/>
                <a:cs typeface="Times New Roman" panose="02020603050405020304" pitchFamily="18" charset="0"/>
              </a:rPr>
            </a:br>
            <a:endParaRPr lang="en-US" sz="4000" b="1" u="sng"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D8C65DA2-7871-4333-B622-DEE959E23F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4F3E8DA-EFA8-4AF6-91A7-62A147E0F12C}" type="slidenum">
              <a:rPr kumimoji="0" lang="en-US" sz="1000" b="0" i="0" u="none" strike="noStrike" kern="1200" cap="none" spc="0" normalizeH="0" baseline="0" noProof="0" smtClean="0">
                <a:ln>
                  <a:noFill/>
                </a:ln>
                <a:solidFill>
                  <a:srgbClr val="000000">
                    <a:tint val="75000"/>
                  </a:srgbClr>
                </a:solidFill>
                <a:effectLst/>
                <a:uLnTx/>
                <a:uFillTx/>
                <a:latin typeface="Arial Black" panose="020B0A040201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000000">
                  <a:tint val="75000"/>
                </a:srgbClr>
              </a:solidFill>
              <a:effectLst/>
              <a:uLnTx/>
              <a:uFillTx/>
              <a:latin typeface="Arial Black" panose="020B0A04020102020204" pitchFamily="34" charset="0"/>
              <a:ea typeface="+mn-ea"/>
              <a:cs typeface="+mn-cs"/>
            </a:endParaRPr>
          </a:p>
        </p:txBody>
      </p:sp>
      <p:sp>
        <p:nvSpPr>
          <p:cNvPr id="6" name="Text Placeholder 4">
            <a:extLst>
              <a:ext uri="{FF2B5EF4-FFF2-40B4-BE49-F238E27FC236}">
                <a16:creationId xmlns:a16="http://schemas.microsoft.com/office/drawing/2014/main" id="{EFACED06-EB62-4CAA-B596-1A7F034FA0CC}"/>
              </a:ext>
            </a:extLst>
          </p:cNvPr>
          <p:cNvSpPr txBox="1">
            <a:spLocks/>
          </p:cNvSpPr>
          <p:nvPr/>
        </p:nvSpPr>
        <p:spPr>
          <a:xfrm>
            <a:off x="170051" y="4512600"/>
            <a:ext cx="4965029" cy="1083600"/>
          </a:xfrm>
          <a:prstGeom prst="rect">
            <a:avLst/>
          </a:prstGeom>
        </p:spPr>
        <p:txBody>
          <a:bodyPr>
            <a:norm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Dr. Abhishek Shukla,</a:t>
            </a:r>
          </a:p>
          <a:p>
            <a:pPr marL="0" indent="0">
              <a:buNone/>
            </a:pPr>
            <a:r>
              <a:rPr lang="en-US" sz="2000" b="1" dirty="0" err="1"/>
              <a:t>Hridyam</a:t>
            </a:r>
            <a:r>
              <a:rPr lang="en-US" sz="2000" b="1" dirty="0"/>
              <a:t> Clinic, Varanasi</a:t>
            </a:r>
          </a:p>
          <a:p>
            <a:pPr marL="0" indent="0">
              <a:buNone/>
            </a:pPr>
            <a:endParaRPr lang="en-US" sz="2400" b="1" dirty="0"/>
          </a:p>
        </p:txBody>
      </p:sp>
      <p:sp>
        <p:nvSpPr>
          <p:cNvPr id="8" name="Title 3">
            <a:extLst>
              <a:ext uri="{FF2B5EF4-FFF2-40B4-BE49-F238E27FC236}">
                <a16:creationId xmlns:a16="http://schemas.microsoft.com/office/drawing/2014/main" id="{ACCA21ED-A9A8-4F20-A486-77210B26C3F7}"/>
              </a:ext>
            </a:extLst>
          </p:cNvPr>
          <p:cNvSpPr txBox="1">
            <a:spLocks/>
          </p:cNvSpPr>
          <p:nvPr/>
        </p:nvSpPr>
        <p:spPr>
          <a:xfrm>
            <a:off x="0" y="1008146"/>
            <a:ext cx="7069667" cy="2852738"/>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400" kern="1200">
                <a:solidFill>
                  <a:srgbClr val="4F256F"/>
                </a:solidFill>
                <a:latin typeface="Arial Black" panose="020B0A04020102020204" pitchFamily="34" charset="0"/>
                <a:ea typeface="+mj-ea"/>
                <a:cs typeface="+mj-cs"/>
              </a:defRPr>
            </a:lvl1pPr>
          </a:lstStyle>
          <a:p>
            <a:pPr>
              <a:spcBef>
                <a:spcPts val="0"/>
              </a:spcBef>
            </a:pPr>
            <a:endParaRPr lang="en-US"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32727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ooter Placeholder 3">
            <a:extLst>
              <a:ext uri="{FF2B5EF4-FFF2-40B4-BE49-F238E27FC236}">
                <a16:creationId xmlns:a16="http://schemas.microsoft.com/office/drawing/2014/main" id="{90F57E8F-29CE-0041-9B73-FD7A28A033E3}"/>
              </a:ext>
            </a:extLst>
          </p:cNvPr>
          <p:cNvSpPr txBox="1">
            <a:spLocks/>
          </p:cNvSpPr>
          <p:nvPr/>
        </p:nvSpPr>
        <p:spPr>
          <a:xfrm>
            <a:off x="600073" y="6064565"/>
            <a:ext cx="9925051" cy="640799"/>
          </a:xfrm>
          <a:prstGeom prst="rect">
            <a:avLst/>
          </a:prstGeom>
        </p:spPr>
        <p:txBody>
          <a:bodyPr anchor="b" anchorCtr="0"/>
          <a:ls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See slide notes for abbreviations.</a:t>
            </a:r>
            <a:b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The mechanism(s) by which SGLT2is mediate their cardioprotective effects is unclear, but there are several postulated mechanisms which include improving hemodynamics, controlling sympathetic stimulation, inhibiting fibrosis and cardiac remodeling, improving cardiac efficiency and output, modulating the overall cytosolic sodium and calcium concentrations, and altering the adipokine levels.</a:t>
            </a:r>
            <a:r>
              <a:rPr kumimoji="0" lang="en-US" sz="800" b="0" i="0" u="none" strike="noStrike" kern="1200" cap="none" spc="0" normalizeH="0" baseline="30000" noProof="0" dirty="0">
                <a:ln>
                  <a:noFill/>
                </a:ln>
                <a:solidFill>
                  <a:srgbClr val="898989"/>
                </a:solidFill>
                <a:effectLst/>
                <a:uLnTx/>
                <a:uFillTx/>
                <a:latin typeface="Arial" panose="020B0604020202020204"/>
                <a:ea typeface="+mn-ea"/>
                <a:cs typeface="+mn-cs"/>
              </a:rPr>
              <a:t>8</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References: 1. </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Mann DL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et al. </a:t>
            </a:r>
            <a:r>
              <a:rPr kumimoji="0" lang="en-US" sz="800" b="0" i="1" u="none" strike="noStrike" kern="1200" cap="none" spc="0" normalizeH="0" baseline="0" noProof="0" dirty="0" err="1">
                <a:ln>
                  <a:noFill/>
                </a:ln>
                <a:solidFill>
                  <a:srgbClr val="898989"/>
                </a:solidFill>
                <a:effectLst/>
                <a:uLnTx/>
                <a:uFillTx/>
                <a:latin typeface="Arial" panose="020B0604020202020204"/>
                <a:ea typeface="+mn-ea"/>
                <a:cs typeface="+mn-cs"/>
              </a:rPr>
              <a:t>Braunwald’s</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 Heart Disease: A Textbook of Cardiovascular Medicine. </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10th </a:t>
            </a:r>
            <a:r>
              <a:rPr kumimoji="0" lang="en-US" sz="800" b="0" i="0" u="none" strike="noStrike" kern="1200" cap="none" spc="0" normalizeH="0" baseline="0" noProof="0" dirty="0" err="1">
                <a:ln>
                  <a:noFill/>
                </a:ln>
                <a:solidFill>
                  <a:srgbClr val="898989"/>
                </a:solidFill>
                <a:effectLst/>
                <a:uLnTx/>
                <a:uFillTx/>
                <a:latin typeface="Arial" panose="020B0604020202020204"/>
                <a:ea typeface="+mn-ea"/>
                <a:cs typeface="+mn-cs"/>
              </a:rPr>
              <a:t>edn</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Elsevier/Saunders; 2015; </a:t>
            </a: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2. </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Yancy CW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et al. J Am Coll </a:t>
            </a:r>
            <a:r>
              <a:rPr kumimoji="0" lang="en-US" sz="800" b="0" i="1" u="none" strike="noStrike" kern="1200" cap="none" spc="0" normalizeH="0" baseline="0" noProof="0" dirty="0" err="1">
                <a:ln>
                  <a:noFill/>
                </a:ln>
                <a:solidFill>
                  <a:srgbClr val="898989"/>
                </a:solidFill>
                <a:effectLst/>
                <a:uLnTx/>
                <a:uFillTx/>
                <a:latin typeface="Arial" panose="020B0604020202020204"/>
                <a:ea typeface="+mn-ea"/>
                <a:cs typeface="+mn-cs"/>
              </a:rPr>
              <a:t>Cardiol</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17;70:776–803;</a:t>
            </a:r>
            <a:b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b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3. </a:t>
            </a:r>
            <a:r>
              <a:rPr kumimoji="0" lang="en-US" sz="800" b="0" i="0" u="none" strike="noStrike" kern="1200" cap="none" spc="0" normalizeH="0" baseline="0" noProof="0" dirty="0" err="1">
                <a:ln>
                  <a:noFill/>
                </a:ln>
                <a:solidFill>
                  <a:srgbClr val="898989"/>
                </a:solidFill>
                <a:effectLst/>
                <a:uLnTx/>
                <a:uFillTx/>
                <a:latin typeface="Arial" panose="020B0604020202020204"/>
                <a:ea typeface="+mn-ea"/>
                <a:cs typeface="+mn-cs"/>
              </a:rPr>
              <a:t>Triposkiadis</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F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et al. J Am Coll </a:t>
            </a:r>
            <a:r>
              <a:rPr kumimoji="0" lang="en-US" sz="800" b="0" i="1" u="none" strike="noStrike" kern="1200" cap="none" spc="0" normalizeH="0" baseline="0" noProof="0" dirty="0" err="1">
                <a:ln>
                  <a:noFill/>
                </a:ln>
                <a:solidFill>
                  <a:srgbClr val="898989"/>
                </a:solidFill>
                <a:effectLst/>
                <a:uLnTx/>
                <a:uFillTx/>
                <a:latin typeface="Arial" panose="020B0604020202020204"/>
                <a:ea typeface="+mn-ea"/>
                <a:cs typeface="+mn-cs"/>
              </a:rPr>
              <a:t>Cardiol</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09;54:1747–1762; </a:t>
            </a: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4. </a:t>
            </a:r>
            <a:r>
              <a:rPr kumimoji="0" lang="en-US" sz="800" b="0" i="0" u="none" strike="noStrike" kern="1200" cap="none" spc="0" normalizeH="0" baseline="0" noProof="0" dirty="0" err="1">
                <a:ln>
                  <a:noFill/>
                </a:ln>
                <a:solidFill>
                  <a:srgbClr val="898989"/>
                </a:solidFill>
                <a:effectLst/>
                <a:uLnTx/>
                <a:uFillTx/>
                <a:latin typeface="Arial" panose="020B0604020202020204"/>
                <a:ea typeface="+mn-ea"/>
                <a:cs typeface="+mn-cs"/>
              </a:rPr>
              <a:t>Ponikowski</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P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et al. Eur J Heart Fail</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16;18:891–975; </a:t>
            </a: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5. </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Matsumura K, </a:t>
            </a:r>
            <a:r>
              <a:rPr kumimoji="0" lang="en-US" sz="800" b="0" i="0" u="none" strike="noStrike" kern="1200" cap="none" spc="0" normalizeH="0" baseline="0" noProof="0" dirty="0" err="1">
                <a:ln>
                  <a:noFill/>
                </a:ln>
                <a:solidFill>
                  <a:srgbClr val="898989"/>
                </a:solidFill>
                <a:effectLst/>
                <a:uLnTx/>
                <a:uFillTx/>
                <a:latin typeface="Arial" panose="020B0604020202020204"/>
                <a:ea typeface="+mn-ea"/>
                <a:cs typeface="+mn-cs"/>
              </a:rPr>
              <a:t>Sugiura</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T.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Cardiovasc Ultrasound</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19;17:26;</a:t>
            </a:r>
            <a:b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b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6.</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Armstrong PW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et al. JACC Heart Fail</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18;6:96–104; </a:t>
            </a: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7. </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Armstrong PW </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et al. N </a:t>
            </a:r>
            <a:r>
              <a:rPr kumimoji="0" lang="en-US" sz="800" b="0" i="1" u="none" strike="noStrike" kern="1200" cap="none" spc="0" normalizeH="0" baseline="0" noProof="0" dirty="0" err="1">
                <a:ln>
                  <a:noFill/>
                </a:ln>
                <a:solidFill>
                  <a:srgbClr val="898989"/>
                </a:solidFill>
                <a:effectLst/>
                <a:uLnTx/>
                <a:uFillTx/>
                <a:latin typeface="Arial" panose="020B0604020202020204"/>
                <a:ea typeface="+mn-ea"/>
                <a:cs typeface="+mn-cs"/>
              </a:rPr>
              <a:t>Engl</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 J Med</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20;382:1883–1893; </a:t>
            </a:r>
            <a:r>
              <a:rPr kumimoji="0" lang="en-US" sz="800" b="1" i="0" u="none" strike="noStrike" kern="1200" cap="none" spc="0" normalizeH="0" baseline="0" noProof="0" dirty="0">
                <a:ln>
                  <a:noFill/>
                </a:ln>
                <a:solidFill>
                  <a:srgbClr val="898989"/>
                </a:solidFill>
                <a:effectLst/>
                <a:uLnTx/>
                <a:uFillTx/>
                <a:latin typeface="Arial" panose="020B0604020202020204"/>
                <a:ea typeface="+mn-ea"/>
                <a:cs typeface="+mn-cs"/>
              </a:rPr>
              <a:t>8. </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Nightingale B. </a:t>
            </a:r>
            <a:r>
              <a:rPr kumimoji="0" lang="en-US" sz="800" b="0" i="1" u="none" strike="noStrike" kern="1200" cap="none" spc="0" normalizeH="0" baseline="0" noProof="0" dirty="0" err="1">
                <a:ln>
                  <a:noFill/>
                </a:ln>
                <a:solidFill>
                  <a:srgbClr val="898989"/>
                </a:solidFill>
                <a:effectLst/>
                <a:uLnTx/>
                <a:uFillTx/>
                <a:latin typeface="Arial" panose="020B0604020202020204"/>
                <a:ea typeface="+mn-ea"/>
                <a:cs typeface="+mn-cs"/>
              </a:rPr>
              <a:t>Cardiol</a:t>
            </a:r>
            <a:r>
              <a:rPr kumimoji="0" lang="en-US" sz="800" b="0" i="1" u="none" strike="noStrike" kern="1200" cap="none" spc="0" normalizeH="0" baseline="0" noProof="0" dirty="0">
                <a:ln>
                  <a:noFill/>
                </a:ln>
                <a:solidFill>
                  <a:srgbClr val="898989"/>
                </a:solidFill>
                <a:effectLst/>
                <a:uLnTx/>
                <a:uFillTx/>
                <a:latin typeface="Arial" panose="020B0604020202020204"/>
                <a:ea typeface="+mn-ea"/>
                <a:cs typeface="+mn-cs"/>
              </a:rPr>
              <a:t> Res</a:t>
            </a:r>
            <a:r>
              <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rPr>
              <a:t> 2021;12:60–66.</a:t>
            </a:r>
          </a:p>
        </p:txBody>
      </p:sp>
      <p:sp>
        <p:nvSpPr>
          <p:cNvPr id="65" name="Title 1">
            <a:extLst>
              <a:ext uri="{FF2B5EF4-FFF2-40B4-BE49-F238E27FC236}">
                <a16:creationId xmlns:a16="http://schemas.microsoft.com/office/drawing/2014/main" id="{E13F4189-DCDA-AC48-ACAB-35644F19166D}"/>
              </a:ext>
            </a:extLst>
          </p:cNvPr>
          <p:cNvSpPr txBox="1">
            <a:spLocks/>
          </p:cNvSpPr>
          <p:nvPr/>
        </p:nvSpPr>
        <p:spPr>
          <a:xfrm>
            <a:off x="600074" y="164567"/>
            <a:ext cx="9925050" cy="929127"/>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400" kern="1200">
                <a:solidFill>
                  <a:srgbClr val="4F256F"/>
                </a:solidFill>
                <a:latin typeface="Arial Black" panose="020B0A04020102020204"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4F256F"/>
                </a:solidFill>
                <a:effectLst/>
                <a:uLnTx/>
                <a:uFillTx/>
                <a:latin typeface="Arial Black" panose="020B0A04020102020204" pitchFamily="34" charset="0"/>
                <a:ea typeface="+mj-ea"/>
                <a:cs typeface="+mj-cs"/>
              </a:rPr>
              <a:t>The NO–</a:t>
            </a:r>
            <a:r>
              <a:rPr kumimoji="0" lang="en-GB" sz="2400" b="0" i="0" u="none" strike="noStrike" kern="1200" cap="none" spc="0" normalizeH="0" baseline="0" noProof="0" dirty="0" err="1">
                <a:ln>
                  <a:noFill/>
                </a:ln>
                <a:solidFill>
                  <a:srgbClr val="4F256F"/>
                </a:solidFill>
                <a:effectLst/>
                <a:uLnTx/>
                <a:uFillTx/>
                <a:latin typeface="Arial Black" panose="020B0A04020102020204" pitchFamily="34" charset="0"/>
                <a:ea typeface="+mj-ea"/>
                <a:cs typeface="+mj-cs"/>
              </a:rPr>
              <a:t>sGC</a:t>
            </a:r>
            <a:r>
              <a:rPr kumimoji="0" lang="en-GB" sz="2400" b="0" i="0" u="none" strike="noStrike" kern="1200" cap="none" spc="0" normalizeH="0" baseline="0" noProof="0" dirty="0">
                <a:ln>
                  <a:noFill/>
                </a:ln>
                <a:solidFill>
                  <a:srgbClr val="4F256F"/>
                </a:solidFill>
                <a:effectLst/>
                <a:uLnTx/>
                <a:uFillTx/>
                <a:latin typeface="Arial Black" panose="020B0A04020102020204" pitchFamily="34" charset="0"/>
                <a:ea typeface="+mj-ea"/>
                <a:cs typeface="+mj-cs"/>
              </a:rPr>
              <a:t>–cGMP signalling pathway is not currently targeted by therapies for HF</a:t>
            </a:r>
            <a:r>
              <a:rPr kumimoji="0" lang="en-US" sz="2400" b="0" i="0" u="none" strike="noStrike" kern="1200" cap="none" spc="0" normalizeH="0" baseline="30000" noProof="0" dirty="0">
                <a:ln>
                  <a:noFill/>
                </a:ln>
                <a:solidFill>
                  <a:srgbClr val="4F256F"/>
                </a:solidFill>
                <a:effectLst/>
                <a:uLnTx/>
                <a:uFillTx/>
                <a:latin typeface="Arial Black" panose="020B0A04020102020204" pitchFamily="34" charset="0"/>
                <a:ea typeface="+mj-ea"/>
                <a:cs typeface="+mj-cs"/>
              </a:rPr>
              <a:t>1–8</a:t>
            </a:r>
          </a:p>
        </p:txBody>
      </p:sp>
      <p:sp>
        <p:nvSpPr>
          <p:cNvPr id="68" name="Slide Number Placeholder 2">
            <a:extLst>
              <a:ext uri="{FF2B5EF4-FFF2-40B4-BE49-F238E27FC236}">
                <a16:creationId xmlns:a16="http://schemas.microsoft.com/office/drawing/2014/main" id="{4ADE5E2E-3257-D947-8CBF-DE4A1AD88CD8}"/>
              </a:ext>
            </a:extLst>
          </p:cNvPr>
          <p:cNvSpPr txBox="1">
            <a:spLocks/>
          </p:cNvSpPr>
          <p:nvPr/>
        </p:nvSpPr>
        <p:spPr>
          <a:xfrm>
            <a:off x="11591927" y="6340239"/>
            <a:ext cx="480737" cy="365125"/>
          </a:xfrm>
          <a:prstGeom prst="rect">
            <a:avLst/>
          </a:prstGeom>
        </p:spPr>
        <p:txBody>
          <a:bodyPr anchor="b" anchorCtr="0"/>
          <a:ls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898989"/>
              </a:solidFill>
              <a:effectLst/>
              <a:uLnTx/>
              <a:uFillTx/>
              <a:latin typeface="Arial" panose="020B0604020202020204"/>
              <a:ea typeface="+mn-ea"/>
              <a:cs typeface="+mn-cs"/>
            </a:endParaRPr>
          </a:p>
        </p:txBody>
      </p:sp>
      <p:grpSp>
        <p:nvGrpSpPr>
          <p:cNvPr id="69" name="Group 68">
            <a:extLst>
              <a:ext uri="{FF2B5EF4-FFF2-40B4-BE49-F238E27FC236}">
                <a16:creationId xmlns:a16="http://schemas.microsoft.com/office/drawing/2014/main" id="{655AECC2-2958-0249-8112-ABABFF216EA7}"/>
              </a:ext>
            </a:extLst>
          </p:cNvPr>
          <p:cNvGrpSpPr/>
          <p:nvPr/>
        </p:nvGrpSpPr>
        <p:grpSpPr>
          <a:xfrm>
            <a:off x="622988" y="1472474"/>
            <a:ext cx="10304502" cy="4363705"/>
            <a:chOff x="622988" y="1472474"/>
            <a:chExt cx="10304502" cy="4363705"/>
          </a:xfrm>
        </p:grpSpPr>
        <p:pic>
          <p:nvPicPr>
            <p:cNvPr id="70" name="Picture 69">
              <a:extLst>
                <a:ext uri="{FF2B5EF4-FFF2-40B4-BE49-F238E27FC236}">
                  <a16:creationId xmlns:a16="http://schemas.microsoft.com/office/drawing/2014/main" id="{6EBD9C27-6551-F343-93F9-75C7DA5AECD5}"/>
                </a:ext>
              </a:extLst>
            </p:cNvPr>
            <p:cNvPicPr>
              <a:picLocks noChangeAspect="1"/>
            </p:cNvPicPr>
            <p:nvPr/>
          </p:nvPicPr>
          <p:blipFill rotWithShape="1">
            <a:blip r:embed="rId3"/>
            <a:srcRect l="32999" t="17857" r="24126" b="20467"/>
            <a:stretch/>
          </p:blipFill>
          <p:spPr>
            <a:xfrm>
              <a:off x="4455964" y="1676226"/>
              <a:ext cx="3290368" cy="3235153"/>
            </a:xfrm>
            <a:prstGeom prst="ellipse">
              <a:avLst/>
            </a:prstGeom>
          </p:spPr>
        </p:pic>
        <p:sp>
          <p:nvSpPr>
            <p:cNvPr id="71" name="Rectangle 70">
              <a:extLst>
                <a:ext uri="{FF2B5EF4-FFF2-40B4-BE49-F238E27FC236}">
                  <a16:creationId xmlns:a16="http://schemas.microsoft.com/office/drawing/2014/main" id="{0984DED9-F28D-EB4B-8579-24C57ED1011A}"/>
                </a:ext>
              </a:extLst>
            </p:cNvPr>
            <p:cNvSpPr/>
            <p:nvPr/>
          </p:nvSpPr>
          <p:spPr>
            <a:xfrm>
              <a:off x="7427430" y="1566728"/>
              <a:ext cx="81785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256F"/>
                  </a:solidFill>
                  <a:effectLst/>
                  <a:uLnTx/>
                  <a:uFillTx/>
                  <a:latin typeface="Arial"/>
                  <a:ea typeface="+mn-ea"/>
                  <a:cs typeface="+mn-cs"/>
                </a:rPr>
                <a:t>SNS</a:t>
              </a:r>
            </a:p>
          </p:txBody>
        </p:sp>
        <p:sp>
          <p:nvSpPr>
            <p:cNvPr id="72" name="Rectangle 71">
              <a:extLst>
                <a:ext uri="{FF2B5EF4-FFF2-40B4-BE49-F238E27FC236}">
                  <a16:creationId xmlns:a16="http://schemas.microsoft.com/office/drawing/2014/main" id="{56440BB8-D151-BB47-B970-99BADB0A8AA5}"/>
                </a:ext>
              </a:extLst>
            </p:cNvPr>
            <p:cNvSpPr/>
            <p:nvPr/>
          </p:nvSpPr>
          <p:spPr>
            <a:xfrm>
              <a:off x="3773118" y="1566728"/>
              <a:ext cx="105830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256F"/>
                  </a:solidFill>
                  <a:effectLst/>
                  <a:uLnTx/>
                  <a:uFillTx/>
                  <a:latin typeface="Arial"/>
                  <a:ea typeface="+mn-ea"/>
                  <a:cs typeface="+mn-cs"/>
                </a:rPr>
                <a:t>RAAS</a:t>
              </a:r>
            </a:p>
          </p:txBody>
        </p:sp>
        <p:sp>
          <p:nvSpPr>
            <p:cNvPr id="73" name="Rectangle 72">
              <a:extLst>
                <a:ext uri="{FF2B5EF4-FFF2-40B4-BE49-F238E27FC236}">
                  <a16:creationId xmlns:a16="http://schemas.microsoft.com/office/drawing/2014/main" id="{7072E70B-9ABA-FD4C-AD34-EC71D841B3DF}"/>
                </a:ext>
              </a:extLst>
            </p:cNvPr>
            <p:cNvSpPr/>
            <p:nvPr/>
          </p:nvSpPr>
          <p:spPr>
            <a:xfrm>
              <a:off x="3428473" y="3699288"/>
              <a:ext cx="81785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256F"/>
                  </a:solidFill>
                  <a:effectLst/>
                  <a:uLnTx/>
                  <a:uFillTx/>
                  <a:latin typeface="Arial"/>
                  <a:ea typeface="+mn-ea"/>
                  <a:cs typeface="+mn-cs"/>
                </a:rPr>
                <a:t>NPS</a:t>
              </a:r>
            </a:p>
          </p:txBody>
        </p:sp>
        <p:sp>
          <p:nvSpPr>
            <p:cNvPr id="74" name="Rectangle 73">
              <a:extLst>
                <a:ext uri="{FF2B5EF4-FFF2-40B4-BE49-F238E27FC236}">
                  <a16:creationId xmlns:a16="http://schemas.microsoft.com/office/drawing/2014/main" id="{068E38E6-8F54-4A40-881C-4C3CA2E936AE}"/>
                </a:ext>
              </a:extLst>
            </p:cNvPr>
            <p:cNvSpPr/>
            <p:nvPr/>
          </p:nvSpPr>
          <p:spPr>
            <a:xfrm>
              <a:off x="9334640" y="1628283"/>
              <a:ext cx="1146468" cy="338554"/>
            </a:xfrm>
            <a:prstGeom prst="rect">
              <a:avLst/>
            </a:prstGeom>
            <a:solidFill>
              <a:schemeClr val="accent1"/>
            </a:solidFill>
          </p:spPr>
          <p:style>
            <a:lnRef idx="1">
              <a:schemeClr val="accent2"/>
            </a:lnRef>
            <a:fillRef idx="3">
              <a:schemeClr val="accent2"/>
            </a:fillRef>
            <a:effectRef idx="2">
              <a:schemeClr val="accent2"/>
            </a:effectRef>
            <a:fontRef idx="minor">
              <a:schemeClr val="lt1"/>
            </a:fontRef>
          </p:style>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β-blocker</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3</a:t>
              </a:r>
              <a:endParaRPr kumimoji="0" lang="en-US" sz="1600" b="0" i="0" u="none" strike="noStrike" kern="1200" cap="none" spc="0" normalizeH="0" baseline="30000" noProof="0" dirty="0">
                <a:ln>
                  <a:noFill/>
                </a:ln>
                <a:solidFill>
                  <a:srgbClr val="FFFFFF"/>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26CAE0E-9ABE-8A43-A52C-24B80D4C00C4}"/>
                </a:ext>
              </a:extLst>
            </p:cNvPr>
            <p:cNvSpPr/>
            <p:nvPr/>
          </p:nvSpPr>
          <p:spPr>
            <a:xfrm>
              <a:off x="622988" y="1505173"/>
              <a:ext cx="1882118" cy="58477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AS inhibitor</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CEi, ARB, MRA)</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4508504A-36FC-2B42-A3B4-FBA6D8330AE1}"/>
                </a:ext>
              </a:extLst>
            </p:cNvPr>
            <p:cNvSpPr/>
            <p:nvPr/>
          </p:nvSpPr>
          <p:spPr>
            <a:xfrm>
              <a:off x="1165141" y="3760843"/>
              <a:ext cx="849913" cy="338554"/>
            </a:xfrm>
            <a:prstGeom prst="rect">
              <a:avLst/>
            </a:prstGeom>
          </p:spPr>
          <p:style>
            <a:lnRef idx="1">
              <a:schemeClr val="accent4"/>
            </a:lnRef>
            <a:fillRef idx="3">
              <a:schemeClr val="accent4"/>
            </a:fillRef>
            <a:effectRef idx="2">
              <a:schemeClr val="accent4"/>
            </a:effectRef>
            <a:fontRef idx="minor">
              <a:schemeClr val="lt1"/>
            </a:fontRef>
          </p:style>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RNi</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4</a:t>
              </a:r>
              <a:endParaRPr kumimoji="0" lang="en-US" sz="1600" b="0" i="0" u="none" strike="noStrike" kern="1200" cap="none" spc="0" normalizeH="0" baseline="30000" noProof="0" dirty="0">
                <a:ln>
                  <a:noFill/>
                </a:ln>
                <a:solidFill>
                  <a:srgbClr val="FFFFFF"/>
                </a:solidFill>
                <a:effectLst/>
                <a:uLnTx/>
                <a:uFillTx/>
                <a:latin typeface="Arial"/>
                <a:ea typeface="+mn-ea"/>
                <a:cs typeface="+mn-cs"/>
              </a:endParaRPr>
            </a:p>
          </p:txBody>
        </p:sp>
        <p:cxnSp>
          <p:nvCxnSpPr>
            <p:cNvPr id="77" name="Straight Arrow Connector 76">
              <a:extLst>
                <a:ext uri="{FF2B5EF4-FFF2-40B4-BE49-F238E27FC236}">
                  <a16:creationId xmlns:a16="http://schemas.microsoft.com/office/drawing/2014/main" id="{BFF4A0A8-288F-B84A-9C78-F6C746144F5E}"/>
                </a:ext>
              </a:extLst>
            </p:cNvPr>
            <p:cNvCxnSpPr>
              <a:cxnSpLocks/>
            </p:cNvCxnSpPr>
            <p:nvPr/>
          </p:nvCxnSpPr>
          <p:spPr>
            <a:xfrm flipV="1">
              <a:off x="2015054" y="3944815"/>
              <a:ext cx="1330137" cy="2584"/>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3F673894-DFE1-B642-827F-52EF9BD0B503}"/>
                </a:ext>
              </a:extLst>
            </p:cNvPr>
            <p:cNvSpPr/>
            <p:nvPr/>
          </p:nvSpPr>
          <p:spPr>
            <a:xfrm>
              <a:off x="2325969" y="3645715"/>
              <a:ext cx="806170" cy="568810"/>
            </a:xfrm>
            <a:prstGeom prst="rect">
              <a:avLst/>
            </a:prstGeom>
            <a:noFill/>
            <a:ln>
              <a:noFill/>
            </a:ln>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F256F"/>
                  </a:solidFill>
                  <a:effectLst/>
                  <a:uLnTx/>
                  <a:uFillTx/>
                  <a:latin typeface="Arial"/>
                  <a:ea typeface="+mn-ea"/>
                  <a:cs typeface="+mn-cs"/>
                </a:rPr>
                <a:t>Neprilysin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F256F"/>
                  </a:solidFill>
                  <a:effectLst/>
                  <a:uLnTx/>
                  <a:uFillTx/>
                  <a:latin typeface="Arial"/>
                  <a:ea typeface="+mn-ea"/>
                  <a:cs typeface="+mn-cs"/>
                </a:rPr>
                <a:t>inhibitor</a:t>
              </a:r>
            </a:p>
          </p:txBody>
        </p:sp>
        <p:sp>
          <p:nvSpPr>
            <p:cNvPr id="79" name="Rectangle 78">
              <a:extLst>
                <a:ext uri="{FF2B5EF4-FFF2-40B4-BE49-F238E27FC236}">
                  <a16:creationId xmlns:a16="http://schemas.microsoft.com/office/drawing/2014/main" id="{A230C6AE-0B63-4240-BCA4-A141D9965358}"/>
                </a:ext>
              </a:extLst>
            </p:cNvPr>
            <p:cNvSpPr/>
            <p:nvPr/>
          </p:nvSpPr>
          <p:spPr>
            <a:xfrm rot="18576195">
              <a:off x="2333981" y="2841479"/>
              <a:ext cx="806170" cy="26161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F256F"/>
                  </a:solidFill>
                  <a:effectLst/>
                  <a:uLnTx/>
                  <a:uFillTx/>
                  <a:latin typeface="Arial"/>
                  <a:ea typeface="+mn-ea"/>
                  <a:cs typeface="+mn-cs"/>
                </a:rPr>
                <a:t>ARB</a:t>
              </a:r>
            </a:p>
          </p:txBody>
        </p:sp>
        <p:grpSp>
          <p:nvGrpSpPr>
            <p:cNvPr id="80" name="Group 79">
              <a:extLst>
                <a:ext uri="{FF2B5EF4-FFF2-40B4-BE49-F238E27FC236}">
                  <a16:creationId xmlns:a16="http://schemas.microsoft.com/office/drawing/2014/main" id="{DA589D00-B885-194C-8016-387FFC515222}"/>
                </a:ext>
              </a:extLst>
            </p:cNvPr>
            <p:cNvGrpSpPr/>
            <p:nvPr/>
          </p:nvGrpSpPr>
          <p:grpSpPr>
            <a:xfrm>
              <a:off x="2570262" y="4169519"/>
              <a:ext cx="319318" cy="369332"/>
              <a:chOff x="2570262" y="4049773"/>
              <a:chExt cx="319318" cy="369332"/>
            </a:xfrm>
          </p:grpSpPr>
          <p:sp>
            <p:nvSpPr>
              <p:cNvPr id="123" name="TextBox 122">
                <a:extLst>
                  <a:ext uri="{FF2B5EF4-FFF2-40B4-BE49-F238E27FC236}">
                    <a16:creationId xmlns:a16="http://schemas.microsoft.com/office/drawing/2014/main" id="{5DBFE759-B102-6E4C-B961-A626622C1F4B}"/>
                  </a:ext>
                </a:extLst>
              </p:cNvPr>
              <p:cNvSpPr txBox="1"/>
              <p:nvPr/>
            </p:nvSpPr>
            <p:spPr>
              <a:xfrm>
                <a:off x="2570262" y="4049773"/>
                <a:ext cx="319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D4D"/>
                    </a:solidFill>
                    <a:effectLst/>
                    <a:uLnTx/>
                    <a:uFillTx/>
                    <a:latin typeface="Arial"/>
                    <a:ea typeface="+mn-ea"/>
                    <a:cs typeface="+mn-cs"/>
                  </a:rPr>
                  <a:t>+</a:t>
                </a:r>
              </a:p>
            </p:txBody>
          </p:sp>
          <p:sp>
            <p:nvSpPr>
              <p:cNvPr id="124" name="Oval 123">
                <a:extLst>
                  <a:ext uri="{FF2B5EF4-FFF2-40B4-BE49-F238E27FC236}">
                    <a16:creationId xmlns:a16="http://schemas.microsoft.com/office/drawing/2014/main" id="{BEA56064-CC13-2543-AA4E-01801AE908D2}"/>
                  </a:ext>
                </a:extLst>
              </p:cNvPr>
              <p:cNvSpPr/>
              <p:nvPr/>
            </p:nvSpPr>
            <p:spPr>
              <a:xfrm>
                <a:off x="2621921" y="4126439"/>
                <a:ext cx="216000" cy="216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81" name="Straight Arrow Connector 80">
              <a:extLst>
                <a:ext uri="{FF2B5EF4-FFF2-40B4-BE49-F238E27FC236}">
                  <a16:creationId xmlns:a16="http://schemas.microsoft.com/office/drawing/2014/main" id="{48C22B16-9B05-E94D-8E1B-B7B675B8DE73}"/>
                </a:ext>
              </a:extLst>
            </p:cNvPr>
            <p:cNvCxnSpPr>
              <a:cxnSpLocks/>
              <a:stCxn id="76" idx="3"/>
            </p:cNvCxnSpPr>
            <p:nvPr/>
          </p:nvCxnSpPr>
          <p:spPr>
            <a:xfrm flipV="1">
              <a:off x="2015054" y="2028393"/>
              <a:ext cx="1758064" cy="1901727"/>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47CE3E4-A882-B246-83D6-BBB8C55A400F}"/>
                </a:ext>
              </a:extLst>
            </p:cNvPr>
            <p:cNvCxnSpPr>
              <a:cxnSpLocks/>
              <a:stCxn id="75" idx="3"/>
              <a:endCxn id="72" idx="1"/>
            </p:cNvCxnSpPr>
            <p:nvPr/>
          </p:nvCxnSpPr>
          <p:spPr>
            <a:xfrm>
              <a:off x="2505106" y="1797561"/>
              <a:ext cx="1268012"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6C57F77A-5266-B542-9DF7-1ABDA55D44FB}"/>
                </a:ext>
              </a:extLst>
            </p:cNvPr>
            <p:cNvGrpSpPr/>
            <p:nvPr/>
          </p:nvGrpSpPr>
          <p:grpSpPr>
            <a:xfrm>
              <a:off x="2826547" y="2957641"/>
              <a:ext cx="312907" cy="369332"/>
              <a:chOff x="2504470" y="2778889"/>
              <a:chExt cx="312907" cy="369332"/>
            </a:xfrm>
          </p:grpSpPr>
          <p:sp>
            <p:nvSpPr>
              <p:cNvPr id="121" name="TextBox 120">
                <a:extLst>
                  <a:ext uri="{FF2B5EF4-FFF2-40B4-BE49-F238E27FC236}">
                    <a16:creationId xmlns:a16="http://schemas.microsoft.com/office/drawing/2014/main" id="{FCC69D18-EE4C-454D-BE29-93163D6F85B4}"/>
                  </a:ext>
                </a:extLst>
              </p:cNvPr>
              <p:cNvSpPr txBox="1"/>
              <p:nvPr/>
            </p:nvSpPr>
            <p:spPr>
              <a:xfrm>
                <a:off x="2504470" y="2778889"/>
                <a:ext cx="31290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D4D"/>
                    </a:solidFill>
                    <a:effectLst/>
                    <a:uLnTx/>
                    <a:uFillTx/>
                    <a:latin typeface="Arial"/>
                    <a:ea typeface="+mn-ea"/>
                    <a:cs typeface="+mn-cs"/>
                  </a:rPr>
                  <a:t>–</a:t>
                </a:r>
              </a:p>
            </p:txBody>
          </p:sp>
          <p:sp>
            <p:nvSpPr>
              <p:cNvPr id="122" name="Oval 121">
                <a:extLst>
                  <a:ext uri="{FF2B5EF4-FFF2-40B4-BE49-F238E27FC236}">
                    <a16:creationId xmlns:a16="http://schemas.microsoft.com/office/drawing/2014/main" id="{DFF610A1-9832-014A-856D-8A99702213A3}"/>
                  </a:ext>
                </a:extLst>
              </p:cNvPr>
              <p:cNvSpPr/>
              <p:nvPr/>
            </p:nvSpPr>
            <p:spPr>
              <a:xfrm>
                <a:off x="2552923" y="2872745"/>
                <a:ext cx="216000" cy="216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84" name="Group 83">
              <a:extLst>
                <a:ext uri="{FF2B5EF4-FFF2-40B4-BE49-F238E27FC236}">
                  <a16:creationId xmlns:a16="http://schemas.microsoft.com/office/drawing/2014/main" id="{685216CA-34BA-1B47-BC09-6E6092F6E2BB}"/>
                </a:ext>
              </a:extLst>
            </p:cNvPr>
            <p:cNvGrpSpPr/>
            <p:nvPr/>
          </p:nvGrpSpPr>
          <p:grpSpPr>
            <a:xfrm>
              <a:off x="2963652" y="1799528"/>
              <a:ext cx="312906" cy="369332"/>
              <a:chOff x="2347028" y="3398973"/>
              <a:chExt cx="312906" cy="369332"/>
            </a:xfrm>
          </p:grpSpPr>
          <p:sp>
            <p:nvSpPr>
              <p:cNvPr id="119" name="TextBox 118">
                <a:extLst>
                  <a:ext uri="{FF2B5EF4-FFF2-40B4-BE49-F238E27FC236}">
                    <a16:creationId xmlns:a16="http://schemas.microsoft.com/office/drawing/2014/main" id="{3AF46AC0-6C98-AD4C-AE26-C517697F7631}"/>
                  </a:ext>
                </a:extLst>
              </p:cNvPr>
              <p:cNvSpPr txBox="1"/>
              <p:nvPr/>
            </p:nvSpPr>
            <p:spPr>
              <a:xfrm>
                <a:off x="2347028" y="3398973"/>
                <a:ext cx="31290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D4D"/>
                    </a:solidFill>
                    <a:effectLst/>
                    <a:uLnTx/>
                    <a:uFillTx/>
                    <a:latin typeface="Arial"/>
                    <a:ea typeface="+mn-ea"/>
                    <a:cs typeface="+mn-cs"/>
                  </a:rPr>
                  <a:t>–</a:t>
                </a:r>
              </a:p>
            </p:txBody>
          </p:sp>
          <p:sp>
            <p:nvSpPr>
              <p:cNvPr id="120" name="Oval 119">
                <a:extLst>
                  <a:ext uri="{FF2B5EF4-FFF2-40B4-BE49-F238E27FC236}">
                    <a16:creationId xmlns:a16="http://schemas.microsoft.com/office/drawing/2014/main" id="{BA4D4B04-5A3F-F741-840E-4998E4667DFB}"/>
                  </a:ext>
                </a:extLst>
              </p:cNvPr>
              <p:cNvSpPr/>
              <p:nvPr/>
            </p:nvSpPr>
            <p:spPr>
              <a:xfrm>
                <a:off x="2385960" y="3493158"/>
                <a:ext cx="216000" cy="216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85" name="Straight Arrow Connector 84">
              <a:extLst>
                <a:ext uri="{FF2B5EF4-FFF2-40B4-BE49-F238E27FC236}">
                  <a16:creationId xmlns:a16="http://schemas.microsoft.com/office/drawing/2014/main" id="{301CFC3D-570B-8A4C-8849-319EA7C0A666}"/>
                </a:ext>
              </a:extLst>
            </p:cNvPr>
            <p:cNvCxnSpPr>
              <a:cxnSpLocks/>
              <a:stCxn id="74" idx="1"/>
              <a:endCxn id="71" idx="3"/>
            </p:cNvCxnSpPr>
            <p:nvPr/>
          </p:nvCxnSpPr>
          <p:spPr>
            <a:xfrm flipH="1">
              <a:off x="8245283" y="1797560"/>
              <a:ext cx="1089357" cy="1"/>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505AB56E-66CA-594E-B061-95271F808042}"/>
                </a:ext>
              </a:extLst>
            </p:cNvPr>
            <p:cNvGrpSpPr/>
            <p:nvPr/>
          </p:nvGrpSpPr>
          <p:grpSpPr>
            <a:xfrm>
              <a:off x="8647214" y="1782662"/>
              <a:ext cx="312907" cy="369332"/>
              <a:chOff x="8592784" y="1347234"/>
              <a:chExt cx="312907" cy="369332"/>
            </a:xfrm>
          </p:grpSpPr>
          <p:sp>
            <p:nvSpPr>
              <p:cNvPr id="117" name="TextBox 116">
                <a:extLst>
                  <a:ext uri="{FF2B5EF4-FFF2-40B4-BE49-F238E27FC236}">
                    <a16:creationId xmlns:a16="http://schemas.microsoft.com/office/drawing/2014/main" id="{FBAC3377-76B5-AA4E-9770-177D5CBBE8CA}"/>
                  </a:ext>
                </a:extLst>
              </p:cNvPr>
              <p:cNvSpPr txBox="1"/>
              <p:nvPr/>
            </p:nvSpPr>
            <p:spPr>
              <a:xfrm>
                <a:off x="8592784" y="1347234"/>
                <a:ext cx="31290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D4D"/>
                    </a:solidFill>
                    <a:effectLst/>
                    <a:uLnTx/>
                    <a:uFillTx/>
                    <a:latin typeface="Arial"/>
                    <a:ea typeface="+mn-ea"/>
                    <a:cs typeface="+mn-cs"/>
                  </a:rPr>
                  <a:t>–</a:t>
                </a:r>
              </a:p>
            </p:txBody>
          </p:sp>
          <p:sp>
            <p:nvSpPr>
              <p:cNvPr id="118" name="Oval 117">
                <a:extLst>
                  <a:ext uri="{FF2B5EF4-FFF2-40B4-BE49-F238E27FC236}">
                    <a16:creationId xmlns:a16="http://schemas.microsoft.com/office/drawing/2014/main" id="{22002BDE-FEAF-9443-B526-11DC6A631730}"/>
                  </a:ext>
                </a:extLst>
              </p:cNvPr>
              <p:cNvSpPr/>
              <p:nvPr/>
            </p:nvSpPr>
            <p:spPr>
              <a:xfrm>
                <a:off x="8641237" y="1448126"/>
                <a:ext cx="216000" cy="216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87" name="Rectangle 86">
              <a:extLst>
                <a:ext uri="{FF2B5EF4-FFF2-40B4-BE49-F238E27FC236}">
                  <a16:creationId xmlns:a16="http://schemas.microsoft.com/office/drawing/2014/main" id="{3AF49CA1-4CB6-A744-8A33-599D17A3D6F9}"/>
                </a:ext>
              </a:extLst>
            </p:cNvPr>
            <p:cNvSpPr/>
            <p:nvPr/>
          </p:nvSpPr>
          <p:spPr>
            <a:xfrm>
              <a:off x="8023510" y="3699288"/>
              <a:ext cx="115249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256F"/>
                  </a:solidFill>
                  <a:effectLst/>
                  <a:uLnTx/>
                  <a:uFillTx/>
                  <a:latin typeface="Arial"/>
                  <a:ea typeface="+mn-ea"/>
                  <a:cs typeface="+mn-cs"/>
                </a:rPr>
                <a:t>SGLT2</a:t>
              </a:r>
            </a:p>
          </p:txBody>
        </p:sp>
        <p:sp>
          <p:nvSpPr>
            <p:cNvPr id="88" name="Rectangle 87">
              <a:extLst>
                <a:ext uri="{FF2B5EF4-FFF2-40B4-BE49-F238E27FC236}">
                  <a16:creationId xmlns:a16="http://schemas.microsoft.com/office/drawing/2014/main" id="{98E97A43-567F-9D4A-9B47-BADE534D0BC0}"/>
                </a:ext>
              </a:extLst>
            </p:cNvPr>
            <p:cNvSpPr/>
            <p:nvPr/>
          </p:nvSpPr>
          <p:spPr>
            <a:xfrm>
              <a:off x="9988643" y="3760843"/>
              <a:ext cx="938847" cy="338554"/>
            </a:xfrm>
            <a:prstGeom prst="rect">
              <a:avLst/>
            </a:prstGeom>
            <a:solidFill>
              <a:schemeClr val="accent5"/>
            </a:solidFill>
          </p:spPr>
          <p:style>
            <a:lnRef idx="1">
              <a:schemeClr val="accent6"/>
            </a:lnRef>
            <a:fillRef idx="3">
              <a:schemeClr val="accent6"/>
            </a:fillRef>
            <a:effectRef idx="2">
              <a:schemeClr val="accent6"/>
            </a:effectRef>
            <a:fontRef idx="minor">
              <a:schemeClr val="lt1"/>
            </a:fontRef>
          </p:style>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GLT2i</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5</a:t>
              </a:r>
              <a:endParaRPr kumimoji="0" lang="en-US" sz="1600" b="0" i="0" u="none" strike="noStrike" kern="1200" cap="none" spc="0" normalizeH="0" baseline="30000" noProof="0" dirty="0">
                <a:ln>
                  <a:noFill/>
                </a:ln>
                <a:solidFill>
                  <a:srgbClr val="FFFFFF"/>
                </a:solidFill>
                <a:effectLst/>
                <a:uLnTx/>
                <a:uFillTx/>
                <a:latin typeface="Arial"/>
                <a:ea typeface="+mn-ea"/>
                <a:cs typeface="+mn-cs"/>
              </a:endParaRPr>
            </a:p>
          </p:txBody>
        </p:sp>
        <p:cxnSp>
          <p:nvCxnSpPr>
            <p:cNvPr id="89" name="Straight Arrow Connector 88">
              <a:extLst>
                <a:ext uri="{FF2B5EF4-FFF2-40B4-BE49-F238E27FC236}">
                  <a16:creationId xmlns:a16="http://schemas.microsoft.com/office/drawing/2014/main" id="{AE21E676-3DA0-AA4E-A412-48325D35AC42}"/>
                </a:ext>
              </a:extLst>
            </p:cNvPr>
            <p:cNvCxnSpPr>
              <a:cxnSpLocks/>
              <a:stCxn id="88" idx="1"/>
              <a:endCxn id="87" idx="3"/>
            </p:cNvCxnSpPr>
            <p:nvPr/>
          </p:nvCxnSpPr>
          <p:spPr>
            <a:xfrm flipH="1">
              <a:off x="9176005" y="3930120"/>
              <a:ext cx="812638"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F75AD0BB-86D1-AE45-8EA3-17A35970B9D3}"/>
                </a:ext>
              </a:extLst>
            </p:cNvPr>
            <p:cNvGrpSpPr/>
            <p:nvPr/>
          </p:nvGrpSpPr>
          <p:grpSpPr>
            <a:xfrm>
              <a:off x="9465284" y="3898868"/>
              <a:ext cx="312907" cy="369332"/>
              <a:chOff x="9416668" y="3938810"/>
              <a:chExt cx="312907" cy="369332"/>
            </a:xfrm>
          </p:grpSpPr>
          <p:sp>
            <p:nvSpPr>
              <p:cNvPr id="115" name="TextBox 114">
                <a:extLst>
                  <a:ext uri="{FF2B5EF4-FFF2-40B4-BE49-F238E27FC236}">
                    <a16:creationId xmlns:a16="http://schemas.microsoft.com/office/drawing/2014/main" id="{8E8958C3-9C5B-6841-9B24-FC166162AA58}"/>
                  </a:ext>
                </a:extLst>
              </p:cNvPr>
              <p:cNvSpPr txBox="1"/>
              <p:nvPr/>
            </p:nvSpPr>
            <p:spPr>
              <a:xfrm>
                <a:off x="9416668" y="3938810"/>
                <a:ext cx="31290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D4D"/>
                    </a:solidFill>
                    <a:effectLst/>
                    <a:uLnTx/>
                    <a:uFillTx/>
                    <a:latin typeface="Arial"/>
                    <a:ea typeface="+mn-ea"/>
                    <a:cs typeface="+mn-cs"/>
                  </a:rPr>
                  <a:t>–</a:t>
                </a:r>
              </a:p>
            </p:txBody>
          </p:sp>
          <p:sp>
            <p:nvSpPr>
              <p:cNvPr id="116" name="Oval 115">
                <a:extLst>
                  <a:ext uri="{FF2B5EF4-FFF2-40B4-BE49-F238E27FC236}">
                    <a16:creationId xmlns:a16="http://schemas.microsoft.com/office/drawing/2014/main" id="{793B210E-7AD6-6C4C-8067-43D53A758272}"/>
                  </a:ext>
                </a:extLst>
              </p:cNvPr>
              <p:cNvSpPr/>
              <p:nvPr/>
            </p:nvSpPr>
            <p:spPr>
              <a:xfrm>
                <a:off x="9456527" y="4030391"/>
                <a:ext cx="216000" cy="216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1" name="Rectangle 90">
              <a:extLst>
                <a:ext uri="{FF2B5EF4-FFF2-40B4-BE49-F238E27FC236}">
                  <a16:creationId xmlns:a16="http://schemas.microsoft.com/office/drawing/2014/main" id="{ED253A44-D379-814D-8845-962628210490}"/>
                </a:ext>
              </a:extLst>
            </p:cNvPr>
            <p:cNvSpPr/>
            <p:nvPr/>
          </p:nvSpPr>
          <p:spPr>
            <a:xfrm>
              <a:off x="4951759" y="5150108"/>
              <a:ext cx="249459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256F"/>
                  </a:solidFill>
                  <a:effectLst/>
                  <a:uLnTx/>
                  <a:uFillTx/>
                  <a:latin typeface="Arial"/>
                  <a:ea typeface="+mn-ea"/>
                  <a:cs typeface="+mn-cs"/>
                </a:rPr>
                <a:t>NO–sGC–cGMP</a:t>
              </a:r>
            </a:p>
          </p:txBody>
        </p:sp>
        <p:sp>
          <p:nvSpPr>
            <p:cNvPr id="92" name="Rectangle 91">
              <a:extLst>
                <a:ext uri="{FF2B5EF4-FFF2-40B4-BE49-F238E27FC236}">
                  <a16:creationId xmlns:a16="http://schemas.microsoft.com/office/drawing/2014/main" id="{38816A41-2055-E24B-BC59-AF4DC105B972}"/>
                </a:ext>
              </a:extLst>
            </p:cNvPr>
            <p:cNvSpPr/>
            <p:nvPr/>
          </p:nvSpPr>
          <p:spPr>
            <a:xfrm>
              <a:off x="1695945" y="5231032"/>
              <a:ext cx="2398592" cy="338554"/>
            </a:xfrm>
            <a:prstGeom prst="rect">
              <a:avLst/>
            </a:prstGeom>
            <a:solidFill>
              <a:schemeClr val="accent2"/>
            </a:solidFill>
          </p:spPr>
          <p:style>
            <a:lnRef idx="1">
              <a:schemeClr val="accent3"/>
            </a:lnRef>
            <a:fillRef idx="3">
              <a:schemeClr val="accent3"/>
            </a:fillRef>
            <a:effectRef idx="2">
              <a:schemeClr val="accent3"/>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ericiguat</a:t>
              </a:r>
              <a:r>
                <a:rPr kumimoji="0" lang="en-US" sz="16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6,7</a:t>
              </a:r>
              <a:endParaRPr kumimoji="0" lang="en-US" sz="1600" b="0" i="0" u="none" strike="noStrike" kern="1200" cap="none" spc="0" normalizeH="0" baseline="30000" noProof="0" dirty="0">
                <a:ln>
                  <a:noFill/>
                </a:ln>
                <a:solidFill>
                  <a:srgbClr val="FFFFFF"/>
                </a:solidFill>
                <a:effectLst/>
                <a:uLnTx/>
                <a:uFillTx/>
                <a:latin typeface="Arial"/>
                <a:ea typeface="+mn-ea"/>
                <a:cs typeface="+mn-cs"/>
              </a:endParaRPr>
            </a:p>
          </p:txBody>
        </p:sp>
        <p:grpSp>
          <p:nvGrpSpPr>
            <p:cNvPr id="93" name="Group 92">
              <a:extLst>
                <a:ext uri="{FF2B5EF4-FFF2-40B4-BE49-F238E27FC236}">
                  <a16:creationId xmlns:a16="http://schemas.microsoft.com/office/drawing/2014/main" id="{8CFE83D5-4B82-C049-B366-179C2FD7A1F5}"/>
                </a:ext>
              </a:extLst>
            </p:cNvPr>
            <p:cNvGrpSpPr/>
            <p:nvPr/>
          </p:nvGrpSpPr>
          <p:grpSpPr>
            <a:xfrm>
              <a:off x="4279434" y="1472474"/>
              <a:ext cx="3636030" cy="3636030"/>
              <a:chOff x="4133132" y="2444343"/>
              <a:chExt cx="3636030" cy="3636030"/>
            </a:xfrm>
          </p:grpSpPr>
          <p:sp>
            <p:nvSpPr>
              <p:cNvPr id="110" name="Arc 109">
                <a:extLst>
                  <a:ext uri="{FF2B5EF4-FFF2-40B4-BE49-F238E27FC236}">
                    <a16:creationId xmlns:a16="http://schemas.microsoft.com/office/drawing/2014/main" id="{7FE980AE-1111-7347-ABB8-9A8BCE409D87}"/>
                  </a:ext>
                </a:extLst>
              </p:cNvPr>
              <p:cNvSpPr/>
              <p:nvPr/>
            </p:nvSpPr>
            <p:spPr>
              <a:xfrm>
                <a:off x="4133133" y="2444344"/>
                <a:ext cx="3636029" cy="3636029"/>
              </a:xfrm>
              <a:prstGeom prst="arc">
                <a:avLst>
                  <a:gd name="adj1" fmla="val 16200000"/>
                  <a:gd name="adj2" fmla="val 20405217"/>
                </a:avLst>
              </a:prstGeom>
              <a:ln w="152400">
                <a:gradFill flip="none" rotWithShape="1">
                  <a:gsLst>
                    <a:gs pos="36000">
                      <a:srgbClr val="FF0000">
                        <a:alpha val="75000"/>
                      </a:srgbClr>
                    </a:gs>
                    <a:gs pos="100000">
                      <a:schemeClr val="bg1"/>
                    </a:gs>
                    <a:gs pos="70000">
                      <a:srgbClr val="FF0000">
                        <a:alpha val="25000"/>
                      </a:srgbClr>
                    </a:gs>
                    <a:gs pos="0">
                      <a:srgbClr val="FF0000"/>
                    </a:gs>
                  </a:gsLst>
                  <a:lin ang="108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Arc 110">
                <a:extLst>
                  <a:ext uri="{FF2B5EF4-FFF2-40B4-BE49-F238E27FC236}">
                    <a16:creationId xmlns:a16="http://schemas.microsoft.com/office/drawing/2014/main" id="{C61CDC51-9126-314A-8C25-830B0B9C7A3A}"/>
                  </a:ext>
                </a:extLst>
              </p:cNvPr>
              <p:cNvSpPr/>
              <p:nvPr/>
            </p:nvSpPr>
            <p:spPr>
              <a:xfrm rot="12969644">
                <a:off x="4133133" y="2444344"/>
                <a:ext cx="3636029" cy="3636029"/>
              </a:xfrm>
              <a:prstGeom prst="arc">
                <a:avLst>
                  <a:gd name="adj1" fmla="val 16200000"/>
                  <a:gd name="adj2" fmla="val 20405217"/>
                </a:avLst>
              </a:prstGeom>
              <a:ln w="152400">
                <a:gradFill flip="none" rotWithShape="1">
                  <a:gsLst>
                    <a:gs pos="36000">
                      <a:srgbClr val="FF0000">
                        <a:alpha val="75000"/>
                      </a:srgbClr>
                    </a:gs>
                    <a:gs pos="100000">
                      <a:schemeClr val="bg1"/>
                    </a:gs>
                    <a:gs pos="70000">
                      <a:srgbClr val="FF0000">
                        <a:alpha val="25000"/>
                      </a:srgbClr>
                    </a:gs>
                    <a:gs pos="0">
                      <a:srgbClr val="FF0000"/>
                    </a:gs>
                  </a:gsLst>
                  <a:lin ang="108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Arc 111">
                <a:extLst>
                  <a:ext uri="{FF2B5EF4-FFF2-40B4-BE49-F238E27FC236}">
                    <a16:creationId xmlns:a16="http://schemas.microsoft.com/office/drawing/2014/main" id="{708089D6-8128-2B49-B738-6FAA13A975FB}"/>
                  </a:ext>
                </a:extLst>
              </p:cNvPr>
              <p:cNvSpPr/>
              <p:nvPr/>
            </p:nvSpPr>
            <p:spPr>
              <a:xfrm rot="8609495">
                <a:off x="4133133" y="2444344"/>
                <a:ext cx="3636029" cy="3636029"/>
              </a:xfrm>
              <a:prstGeom prst="arc">
                <a:avLst>
                  <a:gd name="adj1" fmla="val 16200000"/>
                  <a:gd name="adj2" fmla="val 20405217"/>
                </a:avLst>
              </a:prstGeom>
              <a:ln w="152400">
                <a:gradFill flip="none" rotWithShape="1">
                  <a:gsLst>
                    <a:gs pos="36000">
                      <a:schemeClr val="tx2"/>
                    </a:gs>
                    <a:gs pos="100000">
                      <a:schemeClr val="bg1"/>
                    </a:gs>
                    <a:gs pos="70000">
                      <a:schemeClr val="tx2">
                        <a:lumMod val="20000"/>
                        <a:lumOff val="80000"/>
                      </a:schemeClr>
                    </a:gs>
                    <a:gs pos="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Arc 112">
                <a:extLst>
                  <a:ext uri="{FF2B5EF4-FFF2-40B4-BE49-F238E27FC236}">
                    <a16:creationId xmlns:a16="http://schemas.microsoft.com/office/drawing/2014/main" id="{B589960C-318F-2A46-B02D-028715E3A3E8}"/>
                  </a:ext>
                </a:extLst>
              </p:cNvPr>
              <p:cNvSpPr/>
              <p:nvPr/>
            </p:nvSpPr>
            <p:spPr>
              <a:xfrm rot="4312840">
                <a:off x="4133133" y="2444344"/>
                <a:ext cx="3636029" cy="3636029"/>
              </a:xfrm>
              <a:prstGeom prst="arc">
                <a:avLst>
                  <a:gd name="adj1" fmla="val 16200000"/>
                  <a:gd name="adj2" fmla="val 20405217"/>
                </a:avLst>
              </a:prstGeom>
              <a:ln w="152400">
                <a:gradFill flip="none" rotWithShape="1">
                  <a:gsLst>
                    <a:gs pos="36000">
                      <a:schemeClr val="accent5">
                        <a:alpha val="75000"/>
                      </a:schemeClr>
                    </a:gs>
                    <a:gs pos="100000">
                      <a:schemeClr val="bg1"/>
                    </a:gs>
                    <a:gs pos="70000">
                      <a:schemeClr val="accent5">
                        <a:alpha val="25000"/>
                      </a:schemeClr>
                    </a:gs>
                    <a:gs pos="0">
                      <a:schemeClr val="accent5"/>
                    </a:gs>
                  </a:gsLst>
                  <a:lin ang="108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Arc 113">
                <a:extLst>
                  <a:ext uri="{FF2B5EF4-FFF2-40B4-BE49-F238E27FC236}">
                    <a16:creationId xmlns:a16="http://schemas.microsoft.com/office/drawing/2014/main" id="{1CC333CD-A449-AC42-9026-F6666B876959}"/>
                  </a:ext>
                </a:extLst>
              </p:cNvPr>
              <p:cNvSpPr/>
              <p:nvPr/>
            </p:nvSpPr>
            <p:spPr>
              <a:xfrm rot="17318864">
                <a:off x="4133132" y="2444343"/>
                <a:ext cx="3636029" cy="3636029"/>
              </a:xfrm>
              <a:prstGeom prst="arc">
                <a:avLst>
                  <a:gd name="adj1" fmla="val 16200000"/>
                  <a:gd name="adj2" fmla="val 20405217"/>
                </a:avLst>
              </a:prstGeom>
              <a:ln w="152400">
                <a:gradFill flip="none" rotWithShape="1">
                  <a:gsLst>
                    <a:gs pos="36000">
                      <a:srgbClr val="FF0000">
                        <a:alpha val="75000"/>
                      </a:srgbClr>
                    </a:gs>
                    <a:gs pos="100000">
                      <a:schemeClr val="bg1"/>
                    </a:gs>
                    <a:gs pos="70000">
                      <a:srgbClr val="FF0000">
                        <a:alpha val="25000"/>
                      </a:srgbClr>
                    </a:gs>
                    <a:gs pos="0">
                      <a:srgbClr val="FF0000"/>
                    </a:gs>
                  </a:gsLst>
                  <a:lin ang="108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94" name="Straight Arrow Connector 93">
              <a:extLst>
                <a:ext uri="{FF2B5EF4-FFF2-40B4-BE49-F238E27FC236}">
                  <a16:creationId xmlns:a16="http://schemas.microsoft.com/office/drawing/2014/main" id="{EB2AD55B-569B-5B4B-8974-F763E5D921E3}"/>
                </a:ext>
              </a:extLst>
            </p:cNvPr>
            <p:cNvCxnSpPr>
              <a:cxnSpLocks/>
              <a:stCxn id="92" idx="3"/>
            </p:cNvCxnSpPr>
            <p:nvPr/>
          </p:nvCxnSpPr>
          <p:spPr>
            <a:xfrm>
              <a:off x="4094537" y="5400309"/>
              <a:ext cx="741323"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E80BD75F-FEFE-6E4C-AA26-A2C9A2FFF1A2}"/>
                </a:ext>
              </a:extLst>
            </p:cNvPr>
            <p:cNvGrpSpPr/>
            <p:nvPr/>
          </p:nvGrpSpPr>
          <p:grpSpPr>
            <a:xfrm>
              <a:off x="4300518" y="5410880"/>
              <a:ext cx="319318" cy="369332"/>
              <a:chOff x="2570262" y="4049773"/>
              <a:chExt cx="319318" cy="369332"/>
            </a:xfrm>
          </p:grpSpPr>
          <p:sp>
            <p:nvSpPr>
              <p:cNvPr id="108" name="TextBox 107">
                <a:extLst>
                  <a:ext uri="{FF2B5EF4-FFF2-40B4-BE49-F238E27FC236}">
                    <a16:creationId xmlns:a16="http://schemas.microsoft.com/office/drawing/2014/main" id="{775DEACB-BED1-D94D-BFF3-2FFA9683026D}"/>
                  </a:ext>
                </a:extLst>
              </p:cNvPr>
              <p:cNvSpPr txBox="1"/>
              <p:nvPr/>
            </p:nvSpPr>
            <p:spPr>
              <a:xfrm>
                <a:off x="2570262" y="4049773"/>
                <a:ext cx="319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D4D"/>
                    </a:solidFill>
                    <a:effectLst/>
                    <a:uLnTx/>
                    <a:uFillTx/>
                    <a:latin typeface="Arial"/>
                    <a:ea typeface="+mn-ea"/>
                    <a:cs typeface="+mn-cs"/>
                  </a:rPr>
                  <a:t>+</a:t>
                </a:r>
              </a:p>
            </p:txBody>
          </p:sp>
          <p:sp>
            <p:nvSpPr>
              <p:cNvPr id="109" name="Oval 108">
                <a:extLst>
                  <a:ext uri="{FF2B5EF4-FFF2-40B4-BE49-F238E27FC236}">
                    <a16:creationId xmlns:a16="http://schemas.microsoft.com/office/drawing/2014/main" id="{DED4232E-AF81-9940-91E9-464F10DD5AB6}"/>
                  </a:ext>
                </a:extLst>
              </p:cNvPr>
              <p:cNvSpPr/>
              <p:nvPr/>
            </p:nvSpPr>
            <p:spPr>
              <a:xfrm>
                <a:off x="2621921" y="4126439"/>
                <a:ext cx="216000" cy="216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96" name="Group 95">
              <a:extLst>
                <a:ext uri="{FF2B5EF4-FFF2-40B4-BE49-F238E27FC236}">
                  <a16:creationId xmlns:a16="http://schemas.microsoft.com/office/drawing/2014/main" id="{14CD36B5-CE3E-EA46-8D8A-293445666476}"/>
                </a:ext>
              </a:extLst>
            </p:cNvPr>
            <p:cNvGrpSpPr/>
            <p:nvPr/>
          </p:nvGrpSpPr>
          <p:grpSpPr>
            <a:xfrm>
              <a:off x="8191757" y="4348928"/>
              <a:ext cx="2096100" cy="1487251"/>
              <a:chOff x="8191757" y="4348928"/>
              <a:chExt cx="2096100" cy="1487251"/>
            </a:xfrm>
          </p:grpSpPr>
          <p:sp>
            <p:nvSpPr>
              <p:cNvPr id="97" name="Rectangle 96">
                <a:extLst>
                  <a:ext uri="{FF2B5EF4-FFF2-40B4-BE49-F238E27FC236}">
                    <a16:creationId xmlns:a16="http://schemas.microsoft.com/office/drawing/2014/main" id="{EE33D3BC-006A-FF44-81B5-1CFDAB87FAA5}"/>
                  </a:ext>
                </a:extLst>
              </p:cNvPr>
              <p:cNvSpPr/>
              <p:nvPr/>
            </p:nvSpPr>
            <p:spPr>
              <a:xfrm>
                <a:off x="8191757" y="4360179"/>
                <a:ext cx="1988088" cy="147600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4199306B-0D64-4A40-A51C-0A68D98C238F}"/>
                  </a:ext>
                </a:extLst>
              </p:cNvPr>
              <p:cNvSpPr/>
              <p:nvPr/>
            </p:nvSpPr>
            <p:spPr>
              <a:xfrm>
                <a:off x="8468573" y="4348928"/>
                <a:ext cx="1819284" cy="144315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C3B2D"/>
                    </a:solidFill>
                    <a:effectLst/>
                    <a:uLnTx/>
                    <a:uFillTx/>
                    <a:latin typeface="Arial"/>
                    <a:ea typeface="+mn-ea"/>
                    <a:cs typeface="+mn-cs"/>
                  </a:rPr>
                  <a:t>Activated pathway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E4D4D"/>
                    </a:solidFill>
                    <a:effectLst/>
                    <a:uLnTx/>
                    <a:uFillTx/>
                    <a:latin typeface="Arial"/>
                    <a:ea typeface="+mn-ea"/>
                    <a:cs typeface="+mn-cs"/>
                  </a:rPr>
                  <a:t>Impaired pathway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04F8A"/>
                    </a:solidFill>
                    <a:effectLst/>
                    <a:uLnTx/>
                    <a:uFillTx/>
                    <a:latin typeface="Arial"/>
                    <a:ea typeface="+mn-ea"/>
                    <a:cs typeface="+mn-cs"/>
                  </a:rPr>
                  <a:t>HF MoA unconfirmed*</a:t>
                </a:r>
                <a:r>
                  <a:rPr kumimoji="0" lang="en-US" sz="1200" b="0" i="0" u="none" strike="noStrike" kern="1200" cap="none" spc="0" normalizeH="0" baseline="30000" noProof="0" dirty="0">
                    <a:ln>
                      <a:noFill/>
                    </a:ln>
                    <a:solidFill>
                      <a:srgbClr val="704F8A"/>
                    </a:solidFill>
                    <a:effectLst/>
                    <a:uLnTx/>
                    <a:uFillTx/>
                    <a:latin typeface="Arial"/>
                    <a:ea typeface="+mn-ea"/>
                    <a:cs typeface="+mn-cs"/>
                  </a:rPr>
                  <a:t>,8</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ctiva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hibition</a:t>
                </a:r>
              </a:p>
            </p:txBody>
          </p:sp>
          <p:sp>
            <p:nvSpPr>
              <p:cNvPr id="99" name="Rectangle 98">
                <a:extLst>
                  <a:ext uri="{FF2B5EF4-FFF2-40B4-BE49-F238E27FC236}">
                    <a16:creationId xmlns:a16="http://schemas.microsoft.com/office/drawing/2014/main" id="{35A2BC43-E588-504A-8C14-EE46F4D73A9D}"/>
                  </a:ext>
                </a:extLst>
              </p:cNvPr>
              <p:cNvSpPr/>
              <p:nvPr/>
            </p:nvSpPr>
            <p:spPr>
              <a:xfrm>
                <a:off x="8298804" y="4452093"/>
                <a:ext cx="187705" cy="187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DBEAF70D-5C07-DB45-B961-2D5C0989665D}"/>
                  </a:ext>
                </a:extLst>
              </p:cNvPr>
              <p:cNvSpPr/>
              <p:nvPr/>
            </p:nvSpPr>
            <p:spPr>
              <a:xfrm>
                <a:off x="8298804" y="4725383"/>
                <a:ext cx="187705" cy="1877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9B1BAF83-D3A5-D545-88CF-667ED81BBA89}"/>
                  </a:ext>
                </a:extLst>
              </p:cNvPr>
              <p:cNvSpPr/>
              <p:nvPr/>
            </p:nvSpPr>
            <p:spPr>
              <a:xfrm>
                <a:off x="8298804" y="5000734"/>
                <a:ext cx="187705" cy="1877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2" name="Group 101">
                <a:extLst>
                  <a:ext uri="{FF2B5EF4-FFF2-40B4-BE49-F238E27FC236}">
                    <a16:creationId xmlns:a16="http://schemas.microsoft.com/office/drawing/2014/main" id="{1E950022-6043-0C41-BA12-B1EBCF31F231}"/>
                  </a:ext>
                </a:extLst>
              </p:cNvPr>
              <p:cNvGrpSpPr/>
              <p:nvPr/>
            </p:nvGrpSpPr>
            <p:grpSpPr>
              <a:xfrm>
                <a:off x="8240682" y="5189236"/>
                <a:ext cx="319318" cy="369332"/>
                <a:chOff x="2570262" y="4049773"/>
                <a:chExt cx="319318" cy="369332"/>
              </a:xfrm>
            </p:grpSpPr>
            <p:sp>
              <p:nvSpPr>
                <p:cNvPr id="106" name="TextBox 105">
                  <a:extLst>
                    <a:ext uri="{FF2B5EF4-FFF2-40B4-BE49-F238E27FC236}">
                      <a16:creationId xmlns:a16="http://schemas.microsoft.com/office/drawing/2014/main" id="{68C98089-47D1-E94C-AF32-4D60A34DDB26}"/>
                    </a:ext>
                  </a:extLst>
                </p:cNvPr>
                <p:cNvSpPr txBox="1"/>
                <p:nvPr/>
              </p:nvSpPr>
              <p:spPr>
                <a:xfrm>
                  <a:off x="2570262" y="4049773"/>
                  <a:ext cx="319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07" name="Oval 106">
                  <a:extLst>
                    <a:ext uri="{FF2B5EF4-FFF2-40B4-BE49-F238E27FC236}">
                      <a16:creationId xmlns:a16="http://schemas.microsoft.com/office/drawing/2014/main" id="{BD82661F-0FA1-3643-9915-0662576A8FA1}"/>
                    </a:ext>
                  </a:extLst>
                </p:cNvPr>
                <p:cNvSpPr/>
                <p:nvPr/>
              </p:nvSpPr>
              <p:spPr>
                <a:xfrm>
                  <a:off x="2621921" y="4126439"/>
                  <a:ext cx="216000" cy="21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03" name="Group 102">
                <a:extLst>
                  <a:ext uri="{FF2B5EF4-FFF2-40B4-BE49-F238E27FC236}">
                    <a16:creationId xmlns:a16="http://schemas.microsoft.com/office/drawing/2014/main" id="{C960A069-D113-B14D-975C-5BA14CD29C7B}"/>
                  </a:ext>
                </a:extLst>
              </p:cNvPr>
              <p:cNvGrpSpPr/>
              <p:nvPr/>
            </p:nvGrpSpPr>
            <p:grpSpPr>
              <a:xfrm>
                <a:off x="8247093" y="5443084"/>
                <a:ext cx="312907" cy="369332"/>
                <a:chOff x="2504470" y="2778889"/>
                <a:chExt cx="312907" cy="369332"/>
              </a:xfrm>
            </p:grpSpPr>
            <p:sp>
              <p:nvSpPr>
                <p:cNvPr id="104" name="TextBox 103">
                  <a:extLst>
                    <a:ext uri="{FF2B5EF4-FFF2-40B4-BE49-F238E27FC236}">
                      <a16:creationId xmlns:a16="http://schemas.microsoft.com/office/drawing/2014/main" id="{4B405913-2CDE-F047-A178-FBBB07DE4DBE}"/>
                    </a:ext>
                  </a:extLst>
                </p:cNvPr>
                <p:cNvSpPr txBox="1"/>
                <p:nvPr/>
              </p:nvSpPr>
              <p:spPr>
                <a:xfrm>
                  <a:off x="2504470" y="2778889"/>
                  <a:ext cx="31290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05" name="Oval 104">
                  <a:extLst>
                    <a:ext uri="{FF2B5EF4-FFF2-40B4-BE49-F238E27FC236}">
                      <a16:creationId xmlns:a16="http://schemas.microsoft.com/office/drawing/2014/main" id="{65619FCA-5266-9043-A8EB-04D4CEA5E74C}"/>
                    </a:ext>
                  </a:extLst>
                </p:cNvPr>
                <p:cNvSpPr/>
                <p:nvPr/>
              </p:nvSpPr>
              <p:spPr>
                <a:xfrm>
                  <a:off x="2552923" y="2883503"/>
                  <a:ext cx="216000" cy="21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sp>
        <p:nvSpPr>
          <p:cNvPr id="61" name="Text Placeholder 1">
            <a:extLst>
              <a:ext uri="{FF2B5EF4-FFF2-40B4-BE49-F238E27FC236}">
                <a16:creationId xmlns:a16="http://schemas.microsoft.com/office/drawing/2014/main" id="{158ED425-076C-45A6-BCD3-D259FB160BC2}"/>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35037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7804FDB1-46F8-419A-A6D7-B93F1B1A9DD4}"/>
              </a:ext>
            </a:extLst>
          </p:cNvPr>
          <p:cNvSpPr/>
          <p:nvPr/>
        </p:nvSpPr>
        <p:spPr>
          <a:xfrm>
            <a:off x="600073" y="1385289"/>
            <a:ext cx="9925050" cy="48304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7" name="Arc 96">
            <a:extLst>
              <a:ext uri="{FF2B5EF4-FFF2-40B4-BE49-F238E27FC236}">
                <a16:creationId xmlns:a16="http://schemas.microsoft.com/office/drawing/2014/main" id="{F54FA5C4-C061-4137-819F-E0417A0E6B2E}"/>
              </a:ext>
            </a:extLst>
          </p:cNvPr>
          <p:cNvSpPr/>
          <p:nvPr/>
        </p:nvSpPr>
        <p:spPr>
          <a:xfrm rot="17380074" flipV="1">
            <a:off x="4512005" y="3019143"/>
            <a:ext cx="1324938" cy="827030"/>
          </a:xfrm>
          <a:prstGeom prst="arc">
            <a:avLst>
              <a:gd name="adj1" fmla="val 17355639"/>
              <a:gd name="adj2" fmla="val 3812140"/>
            </a:avLst>
          </a:prstGeom>
          <a:ln w="53975" cap="rnd">
            <a:solidFill>
              <a:schemeClr val="accent1"/>
            </a:solidFill>
            <a:head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A1C5E6EF-D7A1-374F-BE8F-F8DF381996E1}"/>
              </a:ext>
            </a:extLst>
          </p:cNvPr>
          <p:cNvSpPr>
            <a:spLocks noGrp="1"/>
          </p:cNvSpPr>
          <p:nvPr>
            <p:ph type="title"/>
          </p:nvPr>
        </p:nvSpPr>
        <p:spPr/>
        <p:txBody>
          <a:bodyPr/>
          <a:lstStyle/>
          <a:p>
            <a:r>
              <a:rPr lang="en-GB"/>
              <a:t>By directly stimulating sGC, vericiguat has the potential to improve HF pathophysiology</a:t>
            </a:r>
            <a:r>
              <a:rPr lang="en-GB" baseline="30000"/>
              <a:t>1–6</a:t>
            </a:r>
            <a:endParaRPr lang="en-DE" baseline="30000"/>
          </a:p>
        </p:txBody>
      </p:sp>
      <p:sp>
        <p:nvSpPr>
          <p:cNvPr id="46" name="Footer Placeholder 3">
            <a:extLst>
              <a:ext uri="{FF2B5EF4-FFF2-40B4-BE49-F238E27FC236}">
                <a16:creationId xmlns:a16="http://schemas.microsoft.com/office/drawing/2014/main" id="{9EE7C685-6D4F-4639-85DC-0A1400F1E2B4}"/>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cGMP, cyclic guanosine monophosphate; GTP, guanosine triphosphate; HF, heart failure; sGC, soluble guanylate cycl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References: </a:t>
            </a: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1. </a:t>
            </a:r>
            <a:r>
              <a:rPr kumimoji="0" 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Gheorghiade</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M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Heart Fail Rev</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3;18:123–134;</a:t>
            </a: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 2. </a:t>
            </a:r>
            <a:r>
              <a:rPr kumimoji="0" 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Boerrigter</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G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Handb</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Exp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Pharmacol</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2009;191:485–506; </a:t>
            </a: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3.</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a:t>
            </a:r>
            <a:r>
              <a:rPr kumimoji="0" 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Breitenstein</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S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Handb</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Exp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Pharmacol</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2017;243:225–247;</a:t>
            </a:r>
            <a:b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b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4. </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Felker G, Mann D.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Heart Failure: A Companion to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Braunwald’s</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Heart Disease</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Elsevier; 2020; </a:t>
            </a: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5.</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Armstrong PW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JACC Heart Fail</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8;6:96–104; </a:t>
            </a: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6. </a:t>
            </a:r>
            <a:r>
              <a:rPr kumimoji="0" 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Follmann</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M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J Med Chem</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7;60:5146–5161.</a:t>
            </a:r>
            <a:endPar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grpSp>
        <p:nvGrpSpPr>
          <p:cNvPr id="61" name="Group 60">
            <a:extLst>
              <a:ext uri="{FF2B5EF4-FFF2-40B4-BE49-F238E27FC236}">
                <a16:creationId xmlns:a16="http://schemas.microsoft.com/office/drawing/2014/main" id="{79859795-1650-46FD-9C65-B9AA8337F146}"/>
              </a:ext>
            </a:extLst>
          </p:cNvPr>
          <p:cNvGrpSpPr>
            <a:grpSpLocks noChangeAspect="1"/>
          </p:cNvGrpSpPr>
          <p:nvPr/>
        </p:nvGrpSpPr>
        <p:grpSpPr>
          <a:xfrm>
            <a:off x="4509254" y="1516165"/>
            <a:ext cx="3096737" cy="1858111"/>
            <a:chOff x="1309314" y="1725465"/>
            <a:chExt cx="4475805" cy="2685580"/>
          </a:xfrm>
        </p:grpSpPr>
        <p:pic>
          <p:nvPicPr>
            <p:cNvPr id="65" name="Picture 64" descr="A picture containing animal&#10;&#10;Description automatically generated">
              <a:extLst>
                <a:ext uri="{FF2B5EF4-FFF2-40B4-BE49-F238E27FC236}">
                  <a16:creationId xmlns:a16="http://schemas.microsoft.com/office/drawing/2014/main" id="{9139120D-BCCE-4199-9101-CCBA64A6805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903852">
              <a:off x="1309314" y="1820238"/>
              <a:ext cx="2590807" cy="2590807"/>
            </a:xfrm>
            <a:prstGeom prst="rect">
              <a:avLst/>
            </a:prstGeom>
            <a:ln>
              <a:noFill/>
            </a:ln>
            <a:effectLst>
              <a:outerShdw blurRad="508000" sx="104000" sy="104000" algn="ctr" rotWithShape="0">
                <a:srgbClr val="FBE122"/>
              </a:outerShdw>
            </a:effectLst>
          </p:spPr>
        </p:pic>
        <p:pic>
          <p:nvPicPr>
            <p:cNvPr id="68" name="Picture 67">
              <a:extLst>
                <a:ext uri="{FF2B5EF4-FFF2-40B4-BE49-F238E27FC236}">
                  <a16:creationId xmlns:a16="http://schemas.microsoft.com/office/drawing/2014/main" id="{0E496631-F01D-4B91-9CF4-5C2C9741D0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4483792">
              <a:off x="4813458" y="1987072"/>
              <a:ext cx="1233268" cy="710054"/>
            </a:xfrm>
            <a:prstGeom prst="rect">
              <a:avLst/>
            </a:prstGeom>
            <a:ln>
              <a:noFill/>
            </a:ln>
          </p:spPr>
        </p:pic>
      </p:grpSp>
      <p:pic>
        <p:nvPicPr>
          <p:cNvPr id="69" name="Picture 68" descr="A picture containing drawing, light&#10;&#10;Description automatically generated">
            <a:extLst>
              <a:ext uri="{FF2B5EF4-FFF2-40B4-BE49-F238E27FC236}">
                <a16:creationId xmlns:a16="http://schemas.microsoft.com/office/drawing/2014/main" id="{FC6FC3DA-05EC-4F5D-9AA0-EF2093A477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2924892" y="1463696"/>
            <a:ext cx="833187" cy="786898"/>
          </a:xfrm>
          <a:prstGeom prst="rect">
            <a:avLst/>
          </a:prstGeom>
        </p:spPr>
      </p:pic>
      <p:pic>
        <p:nvPicPr>
          <p:cNvPr id="70" name="Picture 69">
            <a:extLst>
              <a:ext uri="{FF2B5EF4-FFF2-40B4-BE49-F238E27FC236}">
                <a16:creationId xmlns:a16="http://schemas.microsoft.com/office/drawing/2014/main" id="{74D46691-7B10-4CF9-88BB-1AC0FC5320F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604459" y="3181497"/>
            <a:ext cx="283868" cy="369333"/>
          </a:xfrm>
          <a:prstGeom prst="rect">
            <a:avLst/>
          </a:prstGeom>
        </p:spPr>
      </p:pic>
      <p:pic>
        <p:nvPicPr>
          <p:cNvPr id="73" name="Picture 72">
            <a:extLst>
              <a:ext uri="{FF2B5EF4-FFF2-40B4-BE49-F238E27FC236}">
                <a16:creationId xmlns:a16="http://schemas.microsoft.com/office/drawing/2014/main" id="{54EF3B04-D761-4623-A6C9-E17BF6A27063}"/>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2142259">
            <a:off x="5459229" y="3465078"/>
            <a:ext cx="226200" cy="322668"/>
          </a:xfrm>
          <a:prstGeom prst="rect">
            <a:avLst/>
          </a:prstGeom>
        </p:spPr>
      </p:pic>
      <p:sp>
        <p:nvSpPr>
          <p:cNvPr id="3" name="TextBox 2">
            <a:extLst>
              <a:ext uri="{FF2B5EF4-FFF2-40B4-BE49-F238E27FC236}">
                <a16:creationId xmlns:a16="http://schemas.microsoft.com/office/drawing/2014/main" id="{60FCCABD-E929-4AFF-8837-F9D2A0384C10}"/>
              </a:ext>
            </a:extLst>
          </p:cNvPr>
          <p:cNvSpPr txBox="1"/>
          <p:nvPr/>
        </p:nvSpPr>
        <p:spPr>
          <a:xfrm>
            <a:off x="5156204" y="2342200"/>
            <a:ext cx="71205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Arial"/>
                <a:ea typeface="+mn-ea"/>
                <a:cs typeface="+mn-cs"/>
              </a:rPr>
              <a:t>sGC</a:t>
            </a:r>
          </a:p>
        </p:txBody>
      </p:sp>
      <p:sp>
        <p:nvSpPr>
          <p:cNvPr id="4" name="TextBox 3">
            <a:extLst>
              <a:ext uri="{FF2B5EF4-FFF2-40B4-BE49-F238E27FC236}">
                <a16:creationId xmlns:a16="http://schemas.microsoft.com/office/drawing/2014/main" id="{64021470-EFBB-4A53-9442-B3D2E3B04312}"/>
              </a:ext>
            </a:extLst>
          </p:cNvPr>
          <p:cNvSpPr txBox="1"/>
          <p:nvPr/>
        </p:nvSpPr>
        <p:spPr>
          <a:xfrm>
            <a:off x="1584899" y="1594076"/>
            <a:ext cx="14414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Nitric oxide</a:t>
            </a:r>
          </a:p>
        </p:txBody>
      </p:sp>
      <p:sp>
        <p:nvSpPr>
          <p:cNvPr id="74" name="Arc 73">
            <a:extLst>
              <a:ext uri="{FF2B5EF4-FFF2-40B4-BE49-F238E27FC236}">
                <a16:creationId xmlns:a16="http://schemas.microsoft.com/office/drawing/2014/main" id="{AE88BDCE-D482-4473-A516-15F6A8BDE931}"/>
              </a:ext>
            </a:extLst>
          </p:cNvPr>
          <p:cNvSpPr/>
          <p:nvPr/>
        </p:nvSpPr>
        <p:spPr>
          <a:xfrm rot="5400000" flipH="1" flipV="1">
            <a:off x="3902401" y="1148666"/>
            <a:ext cx="1324938" cy="1324938"/>
          </a:xfrm>
          <a:prstGeom prst="arc">
            <a:avLst>
              <a:gd name="adj1" fmla="val 11127428"/>
              <a:gd name="adj2" fmla="val 14804880"/>
            </a:avLst>
          </a:prstGeom>
          <a:ln w="53975" cap="rnd">
            <a:solidFill>
              <a:schemeClr val="accent1"/>
            </a:solidFill>
            <a:head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Arc 74">
            <a:extLst>
              <a:ext uri="{FF2B5EF4-FFF2-40B4-BE49-F238E27FC236}">
                <a16:creationId xmlns:a16="http://schemas.microsoft.com/office/drawing/2014/main" id="{63C290BA-A7B6-4F3C-8781-0F39E9CF03D3}"/>
              </a:ext>
            </a:extLst>
          </p:cNvPr>
          <p:cNvSpPr/>
          <p:nvPr/>
        </p:nvSpPr>
        <p:spPr>
          <a:xfrm rot="16200000" flipV="1">
            <a:off x="5603624" y="1148666"/>
            <a:ext cx="1324938" cy="1324938"/>
          </a:xfrm>
          <a:prstGeom prst="arc">
            <a:avLst>
              <a:gd name="adj1" fmla="val 11127428"/>
              <a:gd name="adj2" fmla="val 14804880"/>
            </a:avLst>
          </a:prstGeom>
          <a:ln w="53975" cap="rnd">
            <a:solidFill>
              <a:schemeClr val="accent1"/>
            </a:solidFill>
            <a:head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TextBox 75">
            <a:extLst>
              <a:ext uri="{FF2B5EF4-FFF2-40B4-BE49-F238E27FC236}">
                <a16:creationId xmlns:a16="http://schemas.microsoft.com/office/drawing/2014/main" id="{F88F1340-0235-4D54-A52C-50D789C7B723}"/>
              </a:ext>
            </a:extLst>
          </p:cNvPr>
          <p:cNvSpPr txBox="1"/>
          <p:nvPr/>
        </p:nvSpPr>
        <p:spPr>
          <a:xfrm>
            <a:off x="7631214" y="1594076"/>
            <a:ext cx="12875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Vericiguat</a:t>
            </a:r>
          </a:p>
        </p:txBody>
      </p:sp>
      <p:sp>
        <p:nvSpPr>
          <p:cNvPr id="79" name="TextBox 78">
            <a:extLst>
              <a:ext uri="{FF2B5EF4-FFF2-40B4-BE49-F238E27FC236}">
                <a16:creationId xmlns:a16="http://schemas.microsoft.com/office/drawing/2014/main" id="{6DF18CFF-4A81-45AB-9529-6627B4DA5647}"/>
              </a:ext>
            </a:extLst>
          </p:cNvPr>
          <p:cNvSpPr txBox="1"/>
          <p:nvPr/>
        </p:nvSpPr>
        <p:spPr>
          <a:xfrm>
            <a:off x="4025879" y="3149175"/>
            <a:ext cx="6591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GTP</a:t>
            </a:r>
          </a:p>
        </p:txBody>
      </p:sp>
      <p:sp>
        <p:nvSpPr>
          <p:cNvPr id="80" name="TextBox 79">
            <a:extLst>
              <a:ext uri="{FF2B5EF4-FFF2-40B4-BE49-F238E27FC236}">
                <a16:creationId xmlns:a16="http://schemas.microsoft.com/office/drawing/2014/main" id="{2F6EE1B1-60C2-41D6-AD1B-7DA3AC2B0E0F}"/>
              </a:ext>
            </a:extLst>
          </p:cNvPr>
          <p:cNvSpPr txBox="1"/>
          <p:nvPr/>
        </p:nvSpPr>
        <p:spPr>
          <a:xfrm>
            <a:off x="5665242" y="3387862"/>
            <a:ext cx="8386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cGMP</a:t>
            </a:r>
          </a:p>
        </p:txBody>
      </p:sp>
      <p:grpSp>
        <p:nvGrpSpPr>
          <p:cNvPr id="5" name="Group 4">
            <a:extLst>
              <a:ext uri="{FF2B5EF4-FFF2-40B4-BE49-F238E27FC236}">
                <a16:creationId xmlns:a16="http://schemas.microsoft.com/office/drawing/2014/main" id="{8288FA65-A620-49BF-978C-7F31401039F5}"/>
              </a:ext>
            </a:extLst>
          </p:cNvPr>
          <p:cNvGrpSpPr/>
          <p:nvPr/>
        </p:nvGrpSpPr>
        <p:grpSpPr>
          <a:xfrm>
            <a:off x="3697209" y="2293200"/>
            <a:ext cx="394660" cy="523220"/>
            <a:chOff x="2588390" y="4654561"/>
            <a:chExt cx="394660" cy="523220"/>
          </a:xfrm>
        </p:grpSpPr>
        <p:sp>
          <p:nvSpPr>
            <p:cNvPr id="84" name="TextBox 83">
              <a:extLst>
                <a:ext uri="{FF2B5EF4-FFF2-40B4-BE49-F238E27FC236}">
                  <a16:creationId xmlns:a16="http://schemas.microsoft.com/office/drawing/2014/main" id="{CC8FC5DD-4120-4954-90E4-37078A9EF476}"/>
                </a:ext>
              </a:extLst>
            </p:cNvPr>
            <p:cNvSpPr txBox="1"/>
            <p:nvPr/>
          </p:nvSpPr>
          <p:spPr>
            <a:xfrm>
              <a:off x="2588390" y="4654561"/>
              <a:ext cx="394660" cy="52322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Arial"/>
                  <a:ea typeface="MS PGothic" charset="0"/>
                  <a:cs typeface="+mn-cs"/>
                </a:rPr>
                <a:t>+</a:t>
              </a:r>
            </a:p>
          </p:txBody>
        </p:sp>
        <p:sp>
          <p:nvSpPr>
            <p:cNvPr id="85" name="Oval 84">
              <a:extLst>
                <a:ext uri="{FF2B5EF4-FFF2-40B4-BE49-F238E27FC236}">
                  <a16:creationId xmlns:a16="http://schemas.microsoft.com/office/drawing/2014/main" id="{83ADD5EA-92E7-423E-A30E-E5BCE01481C0}"/>
                </a:ext>
              </a:extLst>
            </p:cNvPr>
            <p:cNvSpPr/>
            <p:nvPr/>
          </p:nvSpPr>
          <p:spPr>
            <a:xfrm>
              <a:off x="2622295" y="4752270"/>
              <a:ext cx="326536" cy="32653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4" name="Group 13">
            <a:extLst>
              <a:ext uri="{FF2B5EF4-FFF2-40B4-BE49-F238E27FC236}">
                <a16:creationId xmlns:a16="http://schemas.microsoft.com/office/drawing/2014/main" id="{5E76B0BD-56A3-4E88-8C84-92268595AE36}"/>
              </a:ext>
            </a:extLst>
          </p:cNvPr>
          <p:cNvGrpSpPr/>
          <p:nvPr/>
        </p:nvGrpSpPr>
        <p:grpSpPr>
          <a:xfrm>
            <a:off x="778398" y="4934951"/>
            <a:ext cx="3081255" cy="1094324"/>
            <a:chOff x="778398" y="4934951"/>
            <a:chExt cx="3081255" cy="1094324"/>
          </a:xfrm>
        </p:grpSpPr>
        <p:sp>
          <p:nvSpPr>
            <p:cNvPr id="33" name="Rectangle 32">
              <a:extLst>
                <a:ext uri="{FF2B5EF4-FFF2-40B4-BE49-F238E27FC236}">
                  <a16:creationId xmlns:a16="http://schemas.microsoft.com/office/drawing/2014/main" id="{D8AEB66E-76D7-46F6-A5B8-7B6B558C0AF9}"/>
                </a:ext>
              </a:extLst>
            </p:cNvPr>
            <p:cNvSpPr/>
            <p:nvPr/>
          </p:nvSpPr>
          <p:spPr>
            <a:xfrm>
              <a:off x="778398" y="4934951"/>
              <a:ext cx="3081255" cy="1094324"/>
            </a:xfrm>
            <a:prstGeom prst="rect">
              <a:avLst/>
            </a:prstGeom>
            <a:solidFill>
              <a:schemeClr val="accent6">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91" name="Picture 90">
              <a:extLst>
                <a:ext uri="{FF2B5EF4-FFF2-40B4-BE49-F238E27FC236}">
                  <a16:creationId xmlns:a16="http://schemas.microsoft.com/office/drawing/2014/main" id="{D6EE57EF-32F8-4F9A-A458-F38F39248C7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31527" y="5339400"/>
              <a:ext cx="523727" cy="598545"/>
            </a:xfrm>
            <a:prstGeom prst="rect">
              <a:avLst/>
            </a:prstGeom>
          </p:spPr>
        </p:pic>
        <p:sp>
          <p:nvSpPr>
            <p:cNvPr id="92" name="TextBox 91">
              <a:extLst>
                <a:ext uri="{FF2B5EF4-FFF2-40B4-BE49-F238E27FC236}">
                  <a16:creationId xmlns:a16="http://schemas.microsoft.com/office/drawing/2014/main" id="{7C942B36-50FA-4B37-B576-852F307A202A}"/>
                </a:ext>
              </a:extLst>
            </p:cNvPr>
            <p:cNvSpPr txBox="1"/>
            <p:nvPr/>
          </p:nvSpPr>
          <p:spPr>
            <a:xfrm>
              <a:off x="1029286" y="4970068"/>
              <a:ext cx="7745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Heart</a:t>
              </a:r>
            </a:p>
          </p:txBody>
        </p:sp>
        <p:sp>
          <p:nvSpPr>
            <p:cNvPr id="99" name="Content Placeholder 4">
              <a:extLst>
                <a:ext uri="{FF2B5EF4-FFF2-40B4-BE49-F238E27FC236}">
                  <a16:creationId xmlns:a16="http://schemas.microsoft.com/office/drawing/2014/main" id="{C54B8D4D-0104-4194-BD10-75763CA652FC}"/>
                </a:ext>
              </a:extLst>
            </p:cNvPr>
            <p:cNvSpPr txBox="1">
              <a:spLocks/>
            </p:cNvSpPr>
            <p:nvPr/>
          </p:nvSpPr>
          <p:spPr>
            <a:xfrm>
              <a:off x="1973882" y="4992852"/>
              <a:ext cx="1795030" cy="750318"/>
            </a:xfrm>
            <a:prstGeom prst="rect">
              <a:avLst/>
            </a:prstGeom>
            <a:noFill/>
          </p:spPr>
          <p:txBody>
            <a:bodyPr/>
            <a:lstStyle>
              <a:lvl1pPr marL="0" indent="0" algn="l" defTabSz="914400" rtl="0" eaLnBrk="1" latinLnBrk="0" hangingPunct="1">
                <a:lnSpc>
                  <a:spcPct val="100000"/>
                </a:lnSpc>
                <a:spcBef>
                  <a:spcPts val="600"/>
                </a:spcBef>
                <a:buClr>
                  <a:srgbClr val="FFFF00"/>
                </a:buClr>
                <a:buSzPct val="100000"/>
                <a:buFont typeface="Arial" panose="020B0604020202020204" pitchFamily="34" charset="0"/>
                <a:buNone/>
                <a:defRPr sz="2400" b="1" kern="1200">
                  <a:solidFill>
                    <a:schemeClr val="tx1"/>
                  </a:solidFill>
                  <a:latin typeface="+mn-lt"/>
                  <a:ea typeface="+mn-ea"/>
                  <a:cs typeface="+mn-cs"/>
                </a:defRPr>
              </a:lvl1pPr>
              <a:lvl2pPr marL="227013" indent="-227013" algn="l" defTabSz="914400" rtl="0" eaLnBrk="1" latinLnBrk="0" hangingPunct="1">
                <a:lnSpc>
                  <a:spcPct val="100000"/>
                </a:lnSpc>
                <a:spcBef>
                  <a:spcPts val="600"/>
                </a:spcBef>
                <a:buClr>
                  <a:schemeClr val="accent3"/>
                </a:buClr>
                <a:buFont typeface="Arial" panose="020B0604020202020204" pitchFamily="34" charset="0"/>
                <a:buChar char="•"/>
                <a:tabLst/>
                <a:defRPr sz="2000" kern="1200">
                  <a:solidFill>
                    <a:schemeClr val="tx1"/>
                  </a:solidFill>
                  <a:latin typeface="+mn-lt"/>
                  <a:ea typeface="+mn-ea"/>
                  <a:cs typeface="+mn-cs"/>
                </a:defRPr>
              </a:lvl2pPr>
              <a:lvl3pPr marL="461963" indent="-234950" algn="l" defTabSz="914400" rtl="0" eaLnBrk="1" latinLnBrk="0" hangingPunct="1">
                <a:lnSpc>
                  <a:spcPct val="100000"/>
                </a:lnSpc>
                <a:spcBef>
                  <a:spcPts val="6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687388" indent="-225425"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914400" indent="-227013"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Inflammation</a:t>
              </a:r>
            </a:p>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F</a:t>
              </a:r>
              <a:r>
                <a:rPr kumimoji="0" lang="en-US" sz="1400" b="0" i="0" u="none" strike="noStrike" kern="1200" cap="none" spc="0" normalizeH="0" baseline="0" noProof="0" err="1">
                  <a:ln>
                    <a:noFill/>
                  </a:ln>
                  <a:solidFill>
                    <a:srgbClr val="000000"/>
                  </a:solidFill>
                  <a:effectLst/>
                  <a:uLnTx/>
                  <a:uFillTx/>
                  <a:latin typeface="Arial"/>
                  <a:ea typeface="+mn-ea"/>
                  <a:cs typeface="+mn-cs"/>
                </a:rPr>
                <a:t>ibrosi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Hypertrophy</a:t>
              </a:r>
              <a:endParaRPr kumimoji="0" lang="en-DE"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D119281D-E945-4D01-8CB9-DE3F7FC2035F}"/>
              </a:ext>
            </a:extLst>
          </p:cNvPr>
          <p:cNvGrpSpPr/>
          <p:nvPr/>
        </p:nvGrpSpPr>
        <p:grpSpPr>
          <a:xfrm>
            <a:off x="4011041" y="4934951"/>
            <a:ext cx="3081600" cy="1094324"/>
            <a:chOff x="4011041" y="4934951"/>
            <a:chExt cx="3081600" cy="1094324"/>
          </a:xfrm>
        </p:grpSpPr>
        <p:sp>
          <p:nvSpPr>
            <p:cNvPr id="101" name="Rectangle 100">
              <a:extLst>
                <a:ext uri="{FF2B5EF4-FFF2-40B4-BE49-F238E27FC236}">
                  <a16:creationId xmlns:a16="http://schemas.microsoft.com/office/drawing/2014/main" id="{2A7B2B2B-D8C9-4AE4-8565-386FEBE9903D}"/>
                </a:ext>
              </a:extLst>
            </p:cNvPr>
            <p:cNvSpPr/>
            <p:nvPr/>
          </p:nvSpPr>
          <p:spPr>
            <a:xfrm>
              <a:off x="4011041" y="4934951"/>
              <a:ext cx="3081600" cy="1094324"/>
            </a:xfrm>
            <a:prstGeom prst="rect">
              <a:avLst/>
            </a:prstGeom>
            <a:solidFill>
              <a:schemeClr val="accent6">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TextBox 102">
              <a:extLst>
                <a:ext uri="{FF2B5EF4-FFF2-40B4-BE49-F238E27FC236}">
                  <a16:creationId xmlns:a16="http://schemas.microsoft.com/office/drawing/2014/main" id="{B8A1BDC1-4CE2-47B7-9042-762429EC79F0}"/>
                </a:ext>
              </a:extLst>
            </p:cNvPr>
            <p:cNvSpPr txBox="1"/>
            <p:nvPr/>
          </p:nvSpPr>
          <p:spPr>
            <a:xfrm>
              <a:off x="4096163" y="4970068"/>
              <a:ext cx="173637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Blood vessels</a:t>
              </a:r>
            </a:p>
          </p:txBody>
        </p:sp>
        <p:sp>
          <p:nvSpPr>
            <p:cNvPr id="104" name="Content Placeholder 4">
              <a:extLst>
                <a:ext uri="{FF2B5EF4-FFF2-40B4-BE49-F238E27FC236}">
                  <a16:creationId xmlns:a16="http://schemas.microsoft.com/office/drawing/2014/main" id="{0E6DB2AD-9F57-4D7B-B59C-27FBDFAF5187}"/>
                </a:ext>
              </a:extLst>
            </p:cNvPr>
            <p:cNvSpPr txBox="1">
              <a:spLocks/>
            </p:cNvSpPr>
            <p:nvPr/>
          </p:nvSpPr>
          <p:spPr>
            <a:xfrm>
              <a:off x="5175614" y="5274588"/>
              <a:ext cx="1484087" cy="750318"/>
            </a:xfrm>
            <a:prstGeom prst="rect">
              <a:avLst/>
            </a:prstGeom>
            <a:noFill/>
          </p:spPr>
          <p:txBody>
            <a:bodyPr/>
            <a:lstStyle>
              <a:lvl1pPr marL="0" indent="0" algn="l" defTabSz="914400" rtl="0" eaLnBrk="1" latinLnBrk="0" hangingPunct="1">
                <a:lnSpc>
                  <a:spcPct val="100000"/>
                </a:lnSpc>
                <a:spcBef>
                  <a:spcPts val="600"/>
                </a:spcBef>
                <a:buClr>
                  <a:srgbClr val="FFFF00"/>
                </a:buClr>
                <a:buSzPct val="100000"/>
                <a:buFont typeface="Arial" panose="020B0604020202020204" pitchFamily="34" charset="0"/>
                <a:buNone/>
                <a:defRPr sz="2400" b="1" kern="1200">
                  <a:solidFill>
                    <a:schemeClr val="tx1"/>
                  </a:solidFill>
                  <a:latin typeface="+mn-lt"/>
                  <a:ea typeface="+mn-ea"/>
                  <a:cs typeface="+mn-cs"/>
                </a:defRPr>
              </a:lvl1pPr>
              <a:lvl2pPr marL="227013" indent="-227013" algn="l" defTabSz="914400" rtl="0" eaLnBrk="1" latinLnBrk="0" hangingPunct="1">
                <a:lnSpc>
                  <a:spcPct val="100000"/>
                </a:lnSpc>
                <a:spcBef>
                  <a:spcPts val="600"/>
                </a:spcBef>
                <a:buClr>
                  <a:schemeClr val="accent3"/>
                </a:buClr>
                <a:buFont typeface="Arial" panose="020B0604020202020204" pitchFamily="34" charset="0"/>
                <a:buChar char="•"/>
                <a:tabLst/>
                <a:defRPr sz="2000" kern="1200">
                  <a:solidFill>
                    <a:schemeClr val="tx1"/>
                  </a:solidFill>
                  <a:latin typeface="+mn-lt"/>
                  <a:ea typeface="+mn-ea"/>
                  <a:cs typeface="+mn-cs"/>
                </a:defRPr>
              </a:lvl2pPr>
              <a:lvl3pPr marL="461963" indent="-234950" algn="l" defTabSz="914400" rtl="0" eaLnBrk="1" latinLnBrk="0" hangingPunct="1">
                <a:lnSpc>
                  <a:spcPct val="100000"/>
                </a:lnSpc>
                <a:spcBef>
                  <a:spcPts val="6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687388" indent="-225425"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914400" indent="-227013"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Inflammation</a:t>
              </a:r>
            </a:p>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Vasodilation</a:t>
              </a:r>
              <a:endParaRPr kumimoji="0" lang="en-DE" sz="1400" b="0" i="0" u="none" strike="noStrike" kern="1200" cap="none" spc="0" normalizeH="0" baseline="0" noProof="0">
                <a:ln>
                  <a:noFill/>
                </a:ln>
                <a:solidFill>
                  <a:srgbClr val="000000"/>
                </a:solidFill>
                <a:effectLst/>
                <a:uLnTx/>
                <a:uFillTx/>
                <a:latin typeface="Arial"/>
                <a:ea typeface="+mn-ea"/>
                <a:cs typeface="+mn-cs"/>
              </a:endParaRPr>
            </a:p>
          </p:txBody>
        </p:sp>
        <p:pic>
          <p:nvPicPr>
            <p:cNvPr id="90" name="Picture 2" descr=": Cross-section of an artery subjected to atherosclerosis ">
              <a:extLst>
                <a:ext uri="{FF2B5EF4-FFF2-40B4-BE49-F238E27FC236}">
                  <a16:creationId xmlns:a16="http://schemas.microsoft.com/office/drawing/2014/main" id="{F91D023B-F797-41D0-BF37-6940526013E6}"/>
                </a:ext>
              </a:extLst>
            </p:cNvPr>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ackgroundRemoval t="8093" b="38971" l="20227" r="50104"/>
                      </a14:imgEffect>
                      <a14:imgEffect>
                        <a14:sharpenSoften amount="50000"/>
                      </a14:imgEffect>
                    </a14:imgLayer>
                  </a14:imgProps>
                </a:ext>
                <a:ext uri="{28A0092B-C50C-407E-A947-70E740481C1C}">
                  <a14:useLocalDpi xmlns:a14="http://schemas.microsoft.com/office/drawing/2010/main"/>
                </a:ext>
              </a:extLst>
            </a:blip>
            <a:srcRect l="16492" t="4233" r="46161" b="57169"/>
            <a:stretch/>
          </p:blipFill>
          <p:spPr bwMode="auto">
            <a:xfrm>
              <a:off x="4168996" y="5246110"/>
              <a:ext cx="883285" cy="7290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A3C4FD63-36CE-4EC7-ABFA-77F7604879B6}"/>
              </a:ext>
            </a:extLst>
          </p:cNvPr>
          <p:cNvGrpSpPr/>
          <p:nvPr/>
        </p:nvGrpSpPr>
        <p:grpSpPr>
          <a:xfrm>
            <a:off x="7244029" y="4934951"/>
            <a:ext cx="3081600" cy="1094324"/>
            <a:chOff x="7244029" y="4934951"/>
            <a:chExt cx="3081600" cy="1094324"/>
          </a:xfrm>
        </p:grpSpPr>
        <p:sp>
          <p:nvSpPr>
            <p:cNvPr id="106" name="Rectangle 105">
              <a:extLst>
                <a:ext uri="{FF2B5EF4-FFF2-40B4-BE49-F238E27FC236}">
                  <a16:creationId xmlns:a16="http://schemas.microsoft.com/office/drawing/2014/main" id="{D9D48D4D-4346-4BC1-B51B-9D04D217F1BF}"/>
                </a:ext>
              </a:extLst>
            </p:cNvPr>
            <p:cNvSpPr/>
            <p:nvPr/>
          </p:nvSpPr>
          <p:spPr>
            <a:xfrm>
              <a:off x="7244029" y="4934951"/>
              <a:ext cx="3081600" cy="1094324"/>
            </a:xfrm>
            <a:prstGeom prst="rect">
              <a:avLst/>
            </a:prstGeom>
            <a:solidFill>
              <a:schemeClr val="accent6">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15DDA202-1018-4BAB-A8B8-F873165C2C85}"/>
                </a:ext>
              </a:extLst>
            </p:cNvPr>
            <p:cNvSpPr txBox="1"/>
            <p:nvPr/>
          </p:nvSpPr>
          <p:spPr>
            <a:xfrm>
              <a:off x="7329151" y="4970068"/>
              <a:ext cx="10823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a:ea typeface="+mn-ea"/>
                  <a:cs typeface="+mn-cs"/>
                </a:rPr>
                <a:t>Kidneys</a:t>
              </a:r>
            </a:p>
          </p:txBody>
        </p:sp>
        <p:sp>
          <p:nvSpPr>
            <p:cNvPr id="109" name="Content Placeholder 4">
              <a:extLst>
                <a:ext uri="{FF2B5EF4-FFF2-40B4-BE49-F238E27FC236}">
                  <a16:creationId xmlns:a16="http://schemas.microsoft.com/office/drawing/2014/main" id="{FF7D25E4-781D-4944-8CC4-180290165336}"/>
                </a:ext>
              </a:extLst>
            </p:cNvPr>
            <p:cNvSpPr txBox="1">
              <a:spLocks/>
            </p:cNvSpPr>
            <p:nvPr/>
          </p:nvSpPr>
          <p:spPr>
            <a:xfrm>
              <a:off x="8499038" y="5259074"/>
              <a:ext cx="1716609" cy="750318"/>
            </a:xfrm>
            <a:prstGeom prst="rect">
              <a:avLst/>
            </a:prstGeom>
            <a:noFill/>
          </p:spPr>
          <p:txBody>
            <a:bodyPr/>
            <a:lstStyle>
              <a:lvl1pPr marL="0" indent="0" algn="l" defTabSz="914400" rtl="0" eaLnBrk="1" latinLnBrk="0" hangingPunct="1">
                <a:lnSpc>
                  <a:spcPct val="100000"/>
                </a:lnSpc>
                <a:spcBef>
                  <a:spcPts val="600"/>
                </a:spcBef>
                <a:buClr>
                  <a:srgbClr val="FFFF00"/>
                </a:buClr>
                <a:buSzPct val="100000"/>
                <a:buFont typeface="Arial" panose="020B0604020202020204" pitchFamily="34" charset="0"/>
                <a:buNone/>
                <a:defRPr sz="2400" b="1" kern="1200">
                  <a:solidFill>
                    <a:schemeClr val="tx1"/>
                  </a:solidFill>
                  <a:latin typeface="+mn-lt"/>
                  <a:ea typeface="+mn-ea"/>
                  <a:cs typeface="+mn-cs"/>
                </a:defRPr>
              </a:lvl1pPr>
              <a:lvl2pPr marL="227013" indent="-227013" algn="l" defTabSz="914400" rtl="0" eaLnBrk="1" latinLnBrk="0" hangingPunct="1">
                <a:lnSpc>
                  <a:spcPct val="100000"/>
                </a:lnSpc>
                <a:spcBef>
                  <a:spcPts val="600"/>
                </a:spcBef>
                <a:buClr>
                  <a:schemeClr val="accent3"/>
                </a:buClr>
                <a:buFont typeface="Arial" panose="020B0604020202020204" pitchFamily="34" charset="0"/>
                <a:buChar char="•"/>
                <a:tabLst/>
                <a:defRPr sz="2000" kern="1200">
                  <a:solidFill>
                    <a:schemeClr val="tx1"/>
                  </a:solidFill>
                  <a:latin typeface="+mn-lt"/>
                  <a:ea typeface="+mn-ea"/>
                  <a:cs typeface="+mn-cs"/>
                </a:defRPr>
              </a:lvl2pPr>
              <a:lvl3pPr marL="461963" indent="-234950" algn="l" defTabSz="914400" rtl="0" eaLnBrk="1" latinLnBrk="0" hangingPunct="1">
                <a:lnSpc>
                  <a:spcPct val="100000"/>
                </a:lnSpc>
                <a:spcBef>
                  <a:spcPts val="6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687388" indent="-225425"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914400" indent="-227013"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F</a:t>
              </a:r>
              <a:r>
                <a:rPr kumimoji="0" lang="en-US" sz="1400" b="0" i="0" u="none" strike="noStrike" kern="1200" cap="none" spc="0" normalizeH="0" baseline="0" noProof="0" err="1">
                  <a:ln>
                    <a:noFill/>
                  </a:ln>
                  <a:solidFill>
                    <a:srgbClr val="000000"/>
                  </a:solidFill>
                  <a:effectLst/>
                  <a:uLnTx/>
                  <a:uFillTx/>
                  <a:latin typeface="Arial"/>
                  <a:ea typeface="+mn-ea"/>
                  <a:cs typeface="+mn-cs"/>
                </a:rPr>
                <a:t>ibrosi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685783" rtl="0" eaLnBrk="1" fontAlgn="base" latinLnBrk="0" hangingPunct="1">
                <a:lnSpc>
                  <a:spcPct val="100000"/>
                </a:lnSpc>
                <a:spcBef>
                  <a:spcPts val="1200"/>
                </a:spcBef>
                <a:spcAft>
                  <a:spcPct val="0"/>
                </a:spcAft>
                <a:buClr>
                  <a:srgbClr val="B4008D"/>
                </a:buClr>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a:ln>
                    <a:noFill/>
                  </a:ln>
                  <a:solidFill>
                    <a:srgbClr val="000000"/>
                  </a:solidFill>
                  <a:effectLst/>
                  <a:uLnTx/>
                  <a:uFillTx/>
                  <a:latin typeface="Arial"/>
                  <a:ea typeface="+mn-ea"/>
                  <a:cs typeface="+mn-cs"/>
                </a:rPr>
                <a:t>Renal blood flow</a:t>
              </a:r>
              <a:endParaRPr kumimoji="0" lang="en-DE" sz="1400" b="0" i="0" u="none" strike="noStrike" kern="1200" cap="none" spc="0" normalizeH="0" baseline="0" noProof="0">
                <a:ln>
                  <a:noFill/>
                </a:ln>
                <a:solidFill>
                  <a:srgbClr val="000000"/>
                </a:solidFill>
                <a:effectLst/>
                <a:uLnTx/>
                <a:uFillTx/>
                <a:latin typeface="Arial"/>
                <a:ea typeface="+mn-ea"/>
                <a:cs typeface="+mn-cs"/>
              </a:endParaRPr>
            </a:p>
          </p:txBody>
        </p:sp>
        <p:pic>
          <p:nvPicPr>
            <p:cNvPr id="89" name="Picture 88">
              <a:extLst>
                <a:ext uri="{FF2B5EF4-FFF2-40B4-BE49-F238E27FC236}">
                  <a16:creationId xmlns:a16="http://schemas.microsoft.com/office/drawing/2014/main" id="{94E09DD3-8DDE-4DA0-B12E-1BDFF70EBCA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1" r="30"/>
            <a:stretch/>
          </p:blipFill>
          <p:spPr>
            <a:xfrm>
              <a:off x="7490695" y="5355522"/>
              <a:ext cx="657113" cy="542698"/>
            </a:xfrm>
            <a:prstGeom prst="rect">
              <a:avLst/>
            </a:prstGeom>
          </p:spPr>
        </p:pic>
      </p:grpSp>
      <p:cxnSp>
        <p:nvCxnSpPr>
          <p:cNvPr id="53" name="Straight Arrow Connector 52">
            <a:extLst>
              <a:ext uri="{FF2B5EF4-FFF2-40B4-BE49-F238E27FC236}">
                <a16:creationId xmlns:a16="http://schemas.microsoft.com/office/drawing/2014/main" id="{7B5C7C7F-3207-4819-AA14-5905B64796DF}"/>
              </a:ext>
            </a:extLst>
          </p:cNvPr>
          <p:cNvCxnSpPr>
            <a:cxnSpLocks/>
          </p:cNvCxnSpPr>
          <p:nvPr/>
        </p:nvCxnSpPr>
        <p:spPr>
          <a:xfrm flipV="1">
            <a:off x="5551841" y="3981817"/>
            <a:ext cx="0" cy="822080"/>
          </a:xfrm>
          <a:prstGeom prst="straightConnector1">
            <a:avLst/>
          </a:prstGeom>
          <a:ln w="508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6EF88A54-4F95-42CA-803A-F7F2A6257487}"/>
              </a:ext>
            </a:extLst>
          </p:cNvPr>
          <p:cNvCxnSpPr>
            <a:cxnSpLocks/>
          </p:cNvCxnSpPr>
          <p:nvPr/>
        </p:nvCxnSpPr>
        <p:spPr>
          <a:xfrm flipH="1" flipV="1">
            <a:off x="6398266" y="3937970"/>
            <a:ext cx="1450382" cy="865926"/>
          </a:xfrm>
          <a:prstGeom prst="straightConnector1">
            <a:avLst/>
          </a:prstGeom>
          <a:ln w="508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5945635E-4B97-41B0-A680-BC74C1033E52}"/>
              </a:ext>
            </a:extLst>
          </p:cNvPr>
          <p:cNvCxnSpPr>
            <a:cxnSpLocks/>
          </p:cNvCxnSpPr>
          <p:nvPr/>
        </p:nvCxnSpPr>
        <p:spPr>
          <a:xfrm flipV="1">
            <a:off x="3283589" y="3937970"/>
            <a:ext cx="1450382" cy="865926"/>
          </a:xfrm>
          <a:prstGeom prst="straightConnector1">
            <a:avLst/>
          </a:prstGeom>
          <a:ln w="508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27C0C81-644B-4405-AF68-AB1D88285E7A}"/>
              </a:ext>
            </a:extLst>
          </p:cNvPr>
          <p:cNvGrpSpPr/>
          <p:nvPr/>
        </p:nvGrpSpPr>
        <p:grpSpPr>
          <a:xfrm>
            <a:off x="6579244" y="2293200"/>
            <a:ext cx="394660" cy="523220"/>
            <a:chOff x="2588390" y="4654561"/>
            <a:chExt cx="394660" cy="523220"/>
          </a:xfrm>
        </p:grpSpPr>
        <p:sp>
          <p:nvSpPr>
            <p:cNvPr id="44" name="TextBox 43">
              <a:extLst>
                <a:ext uri="{FF2B5EF4-FFF2-40B4-BE49-F238E27FC236}">
                  <a16:creationId xmlns:a16="http://schemas.microsoft.com/office/drawing/2014/main" id="{F1F5E0C0-D591-44EB-B919-98EF9A28CA5A}"/>
                </a:ext>
              </a:extLst>
            </p:cNvPr>
            <p:cNvSpPr txBox="1"/>
            <p:nvPr/>
          </p:nvSpPr>
          <p:spPr>
            <a:xfrm>
              <a:off x="2588390" y="4654561"/>
              <a:ext cx="394660" cy="52322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000000"/>
                  </a:solidFill>
                  <a:effectLst/>
                  <a:uLnTx/>
                  <a:uFillTx/>
                  <a:latin typeface="Arial"/>
                  <a:ea typeface="MS PGothic" charset="0"/>
                  <a:cs typeface="+mn-cs"/>
                </a:rPr>
                <a:t>+</a:t>
              </a:r>
            </a:p>
          </p:txBody>
        </p:sp>
        <p:sp>
          <p:nvSpPr>
            <p:cNvPr id="45" name="Oval 44">
              <a:extLst>
                <a:ext uri="{FF2B5EF4-FFF2-40B4-BE49-F238E27FC236}">
                  <a16:creationId xmlns:a16="http://schemas.microsoft.com/office/drawing/2014/main" id="{314E7C65-6457-4DCA-9FCB-A1AFE29B587E}"/>
                </a:ext>
              </a:extLst>
            </p:cNvPr>
            <p:cNvSpPr/>
            <p:nvPr/>
          </p:nvSpPr>
          <p:spPr>
            <a:xfrm>
              <a:off x="2622295" y="4752270"/>
              <a:ext cx="326536" cy="32653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grpSp>
      <p:sp>
        <p:nvSpPr>
          <p:cNvPr id="6" name="Slide Number Placeholder 5">
            <a:extLst>
              <a:ext uri="{FF2B5EF4-FFF2-40B4-BE49-F238E27FC236}">
                <a16:creationId xmlns:a16="http://schemas.microsoft.com/office/drawing/2014/main" id="{79642CB5-A0E6-47BF-A71E-C284AA0133E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47" name="Text Placeholder 1">
            <a:extLst>
              <a:ext uri="{FF2B5EF4-FFF2-40B4-BE49-F238E27FC236}">
                <a16:creationId xmlns:a16="http://schemas.microsoft.com/office/drawing/2014/main" id="{C6BFF2C9-6EAA-4841-BAD9-75FC99055D2D}"/>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1303486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68F538B1-DE8D-DB4C-933C-3E62E2C33D6D}"/>
              </a:ext>
            </a:extLst>
          </p:cNvPr>
          <p:cNvSpPr/>
          <p:nvPr/>
        </p:nvSpPr>
        <p:spPr>
          <a:xfrm>
            <a:off x="2696503" y="724900"/>
            <a:ext cx="5732191" cy="5732191"/>
          </a:xfrm>
          <a:prstGeom prst="ellipse">
            <a:avLst/>
          </a:prstGeom>
          <a:solidFill>
            <a:schemeClr val="bg2">
              <a:lumMod val="40000"/>
              <a:lumOff val="60000"/>
              <a:alpha val="57000"/>
            </a:schemeClr>
          </a:solidFill>
          <a:ln>
            <a:noFill/>
          </a:ln>
          <a:effectLst>
            <a:softEdge rad="1016566"/>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Title 47">
            <a:extLst>
              <a:ext uri="{FF2B5EF4-FFF2-40B4-BE49-F238E27FC236}">
                <a16:creationId xmlns:a16="http://schemas.microsoft.com/office/drawing/2014/main" id="{450D4F23-730C-416E-9AD0-49729AAD32C8}"/>
              </a:ext>
            </a:extLst>
          </p:cNvPr>
          <p:cNvSpPr>
            <a:spLocks noGrp="1"/>
          </p:cNvSpPr>
          <p:nvPr>
            <p:ph type="title"/>
          </p:nvPr>
        </p:nvSpPr>
        <p:spPr/>
        <p:txBody>
          <a:bodyPr/>
          <a:lstStyle/>
          <a:p>
            <a:r>
              <a:rPr lang="en-US"/>
              <a:t>By restoring the NO–sGC–cGMP pathway, vericiguat has the potential to improve HF pathophysiology</a:t>
            </a:r>
            <a:r>
              <a:rPr lang="en-US" baseline="30000"/>
              <a:t>1–6</a:t>
            </a:r>
            <a:endParaRPr lang="en-US"/>
          </a:p>
        </p:txBody>
      </p:sp>
      <p:pic>
        <p:nvPicPr>
          <p:cNvPr id="28" name="Picture 27" descr="A person wearing a costume&#10;&#10;Description automatically generated">
            <a:extLst>
              <a:ext uri="{FF2B5EF4-FFF2-40B4-BE49-F238E27FC236}">
                <a16:creationId xmlns:a16="http://schemas.microsoft.com/office/drawing/2014/main" id="{FAA84696-502D-4E4D-8315-EC9B460E972C}"/>
              </a:ext>
            </a:extLst>
          </p:cNvPr>
          <p:cNvPicPr preferRelativeResize="0">
            <a:picLocks/>
          </p:cNvPicPr>
          <p:nvPr/>
        </p:nvPicPr>
        <p:blipFill rotWithShape="1">
          <a:blip r:embed="rId3"/>
          <a:srcRect l="45128" t="24899" r="41126" b="66262"/>
          <a:stretch/>
        </p:blipFill>
        <p:spPr>
          <a:xfrm>
            <a:off x="2056004" y="1947637"/>
            <a:ext cx="1260000" cy="1260000"/>
          </a:xfrm>
          <a:prstGeom prst="ellipse">
            <a:avLst/>
          </a:prstGeom>
          <a:ln w="57150">
            <a:solidFill>
              <a:schemeClr val="accent4"/>
            </a:solidFill>
          </a:ln>
          <a:effectLst/>
        </p:spPr>
      </p:pic>
      <p:pic>
        <p:nvPicPr>
          <p:cNvPr id="29" name="Picture 28" descr="A person wearing a costume&#10;&#10;Description automatically generated">
            <a:extLst>
              <a:ext uri="{FF2B5EF4-FFF2-40B4-BE49-F238E27FC236}">
                <a16:creationId xmlns:a16="http://schemas.microsoft.com/office/drawing/2014/main" id="{EBD323A0-B002-48B1-A600-6F74C443FF7B}"/>
              </a:ext>
            </a:extLst>
          </p:cNvPr>
          <p:cNvPicPr preferRelativeResize="0">
            <a:picLocks/>
          </p:cNvPicPr>
          <p:nvPr/>
        </p:nvPicPr>
        <p:blipFill rotWithShape="1">
          <a:blip r:embed="rId3"/>
          <a:srcRect l="51923" t="34440" r="40721" b="60467"/>
          <a:stretch/>
        </p:blipFill>
        <p:spPr>
          <a:xfrm>
            <a:off x="6936118" y="1839863"/>
            <a:ext cx="1260000" cy="1260000"/>
          </a:xfrm>
          <a:prstGeom prst="ellipse">
            <a:avLst/>
          </a:prstGeom>
          <a:ln w="57150">
            <a:solidFill>
              <a:schemeClr val="accent4"/>
            </a:solidFill>
          </a:ln>
          <a:effectLst/>
        </p:spPr>
      </p:pic>
      <p:grpSp>
        <p:nvGrpSpPr>
          <p:cNvPr id="30" name="Group 29">
            <a:extLst>
              <a:ext uri="{FF2B5EF4-FFF2-40B4-BE49-F238E27FC236}">
                <a16:creationId xmlns:a16="http://schemas.microsoft.com/office/drawing/2014/main" id="{CFC9CF73-6D47-4698-911D-F7B5539AD561}"/>
              </a:ext>
            </a:extLst>
          </p:cNvPr>
          <p:cNvGrpSpPr/>
          <p:nvPr/>
        </p:nvGrpSpPr>
        <p:grpSpPr>
          <a:xfrm>
            <a:off x="6953972" y="3573337"/>
            <a:ext cx="1260000" cy="1260000"/>
            <a:chOff x="8688367" y="3261219"/>
            <a:chExt cx="1260000" cy="1260000"/>
          </a:xfrm>
          <a:noFill/>
        </p:grpSpPr>
        <p:sp>
          <p:nvSpPr>
            <p:cNvPr id="31" name="Oval 30">
              <a:extLst>
                <a:ext uri="{FF2B5EF4-FFF2-40B4-BE49-F238E27FC236}">
                  <a16:creationId xmlns:a16="http://schemas.microsoft.com/office/drawing/2014/main" id="{F09DF975-12DD-4732-A8DA-CA89E30B29EC}"/>
                </a:ext>
              </a:extLst>
            </p:cNvPr>
            <p:cNvSpPr/>
            <p:nvPr/>
          </p:nvSpPr>
          <p:spPr>
            <a:xfrm>
              <a:off x="8688367" y="3261219"/>
              <a:ext cx="1260000" cy="1260000"/>
            </a:xfrm>
            <a:prstGeom prst="ellipse">
              <a:avLst/>
            </a:prstGeom>
            <a:grp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32" name="Picture 31">
              <a:extLst>
                <a:ext uri="{FF2B5EF4-FFF2-40B4-BE49-F238E27FC236}">
                  <a16:creationId xmlns:a16="http://schemas.microsoft.com/office/drawing/2014/main" id="{68BF94E8-0868-43E8-9B47-75719E9507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92149" y="3577608"/>
              <a:ext cx="1052436" cy="671092"/>
            </a:xfrm>
            <a:prstGeom prst="rect">
              <a:avLst/>
            </a:prstGeom>
            <a:grpFill/>
          </p:spPr>
        </p:pic>
      </p:grpSp>
      <p:sp>
        <p:nvSpPr>
          <p:cNvPr id="33" name="Rectangle 32">
            <a:extLst>
              <a:ext uri="{FF2B5EF4-FFF2-40B4-BE49-F238E27FC236}">
                <a16:creationId xmlns:a16="http://schemas.microsoft.com/office/drawing/2014/main" id="{98E99086-F3A9-49B1-95FE-B8BA78B64567}"/>
              </a:ext>
            </a:extLst>
          </p:cNvPr>
          <p:cNvSpPr/>
          <p:nvPr/>
        </p:nvSpPr>
        <p:spPr>
          <a:xfrm>
            <a:off x="8361250" y="3895560"/>
            <a:ext cx="2327314" cy="615553"/>
          </a:xfrm>
          <a:prstGeom prst="rect">
            <a:avLst/>
          </a:prstGeom>
          <a:noFill/>
        </p:spPr>
        <p:txBody>
          <a:bodyPr wrap="square" lIns="60960" tIns="60960" rIns="60960" bIns="6096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Vasoconstriction</a:t>
            </a:r>
          </a:p>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Endothelial function</a:t>
            </a:r>
          </a:p>
        </p:txBody>
      </p:sp>
      <p:sp>
        <p:nvSpPr>
          <p:cNvPr id="34" name="Rectangle 33">
            <a:extLst>
              <a:ext uri="{FF2B5EF4-FFF2-40B4-BE49-F238E27FC236}">
                <a16:creationId xmlns:a16="http://schemas.microsoft.com/office/drawing/2014/main" id="{CEBA45A9-EAA1-430A-B4C5-01CAEF4B933F}"/>
              </a:ext>
            </a:extLst>
          </p:cNvPr>
          <p:cNvSpPr/>
          <p:nvPr/>
        </p:nvSpPr>
        <p:spPr>
          <a:xfrm>
            <a:off x="8361250" y="2110610"/>
            <a:ext cx="2839040" cy="615553"/>
          </a:xfrm>
          <a:prstGeom prst="rect">
            <a:avLst/>
          </a:prstGeom>
          <a:noFill/>
        </p:spPr>
        <p:txBody>
          <a:bodyPr wrap="square" lIns="60960" tIns="60960" rIns="60960" bIns="60960" anchor="b">
            <a:spAutoFit/>
          </a:bodyPr>
          <a:lstStyle/>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Renal fibrosis</a:t>
            </a:r>
          </a:p>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Renal blood flow</a:t>
            </a:r>
          </a:p>
        </p:txBody>
      </p:sp>
      <p:sp>
        <p:nvSpPr>
          <p:cNvPr id="35" name="Rectangle 34">
            <a:extLst>
              <a:ext uri="{FF2B5EF4-FFF2-40B4-BE49-F238E27FC236}">
                <a16:creationId xmlns:a16="http://schemas.microsoft.com/office/drawing/2014/main" id="{54ADE62E-B661-4FA4-931C-8B90D509B030}"/>
              </a:ext>
            </a:extLst>
          </p:cNvPr>
          <p:cNvSpPr/>
          <p:nvPr/>
        </p:nvSpPr>
        <p:spPr>
          <a:xfrm>
            <a:off x="1143292" y="3403117"/>
            <a:ext cx="4345424" cy="1107996"/>
          </a:xfrm>
          <a:prstGeom prst="rect">
            <a:avLst/>
          </a:prstGeom>
          <a:noFill/>
        </p:spPr>
        <p:txBody>
          <a:bodyPr wrap="square" lIns="60960" tIns="60960" rIns="60960" bIns="6096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Myocardial stiffening</a:t>
            </a:r>
          </a:p>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Hypertrophy</a:t>
            </a:r>
          </a:p>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Ventricular remodeling</a:t>
            </a:r>
          </a:p>
          <a:p>
            <a:pPr marL="0" marR="0" lvl="0" indent="0" algn="l" defTabSz="609585" rtl="0" eaLnBrk="1" fontAlgn="auto" latinLnBrk="0" hangingPunct="1">
              <a:lnSpc>
                <a:spcPct val="100000"/>
              </a:lnSpc>
              <a:spcBef>
                <a:spcPts val="0"/>
              </a:spcBef>
              <a:spcAft>
                <a:spcPts val="0"/>
              </a:spcAft>
              <a:buClrTx/>
              <a:buSzTx/>
              <a:buFontTx/>
              <a:buNone/>
              <a:tabLst>
                <a:tab pos="304792" algn="l"/>
              </a:tabLst>
              <a:defRPr/>
            </a:pPr>
            <a:r>
              <a:rPr kumimoji="0" lang="en-US" sz="16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 Fibrosis</a:t>
            </a:r>
          </a:p>
        </p:txBody>
      </p:sp>
      <p:grpSp>
        <p:nvGrpSpPr>
          <p:cNvPr id="36" name="Group 35">
            <a:extLst>
              <a:ext uri="{FF2B5EF4-FFF2-40B4-BE49-F238E27FC236}">
                <a16:creationId xmlns:a16="http://schemas.microsoft.com/office/drawing/2014/main" id="{5402BCB4-E350-45ED-8AB8-DDBEAE2BA0C0}"/>
              </a:ext>
            </a:extLst>
          </p:cNvPr>
          <p:cNvGrpSpPr/>
          <p:nvPr/>
        </p:nvGrpSpPr>
        <p:grpSpPr>
          <a:xfrm>
            <a:off x="3873885" y="1015046"/>
            <a:ext cx="3196324" cy="5097340"/>
            <a:chOff x="240983" y="834276"/>
            <a:chExt cx="2945745" cy="4697730"/>
          </a:xfrm>
        </p:grpSpPr>
        <p:grpSp>
          <p:nvGrpSpPr>
            <p:cNvPr id="37" name="Group 36">
              <a:extLst>
                <a:ext uri="{FF2B5EF4-FFF2-40B4-BE49-F238E27FC236}">
                  <a16:creationId xmlns:a16="http://schemas.microsoft.com/office/drawing/2014/main" id="{AC6910B0-9D00-4E90-BA50-BECCCAA42D60}"/>
                </a:ext>
              </a:extLst>
            </p:cNvPr>
            <p:cNvGrpSpPr>
              <a:grpSpLocks noChangeAspect="1"/>
            </p:cNvGrpSpPr>
            <p:nvPr/>
          </p:nvGrpSpPr>
          <p:grpSpPr>
            <a:xfrm>
              <a:off x="240983" y="834276"/>
              <a:ext cx="2945745" cy="4697730"/>
              <a:chOff x="95811" y="908053"/>
              <a:chExt cx="2449511" cy="3906362"/>
            </a:xfrm>
            <a:effectLst>
              <a:outerShdw blurRad="76200" dir="18900000" sy="23000" kx="-1200000" algn="bl" rotWithShape="0">
                <a:prstClr val="black">
                  <a:alpha val="20000"/>
                </a:prstClr>
              </a:outerShdw>
            </a:effectLst>
          </p:grpSpPr>
          <p:pic>
            <p:nvPicPr>
              <p:cNvPr id="41" name="Picture 2" descr="Brain Front 3D photos, royalty-free images, graphics, vectors ...">
                <a:extLst>
                  <a:ext uri="{FF2B5EF4-FFF2-40B4-BE49-F238E27FC236}">
                    <a16:creationId xmlns:a16="http://schemas.microsoft.com/office/drawing/2014/main" id="{1D7F773D-6119-4FE6-AE66-22EE98039EA2}"/>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18492" b="84396" l="67970" r="96265"/>
                        </a14:imgEffect>
                      </a14:imgLayer>
                    </a14:imgProps>
                  </a:ext>
                  <a:ext uri="{28A0092B-C50C-407E-A947-70E740481C1C}">
                    <a14:useLocalDpi xmlns:a14="http://schemas.microsoft.com/office/drawing/2010/main" val="0"/>
                  </a:ext>
                </a:extLst>
              </a:blip>
              <a:srcRect l="69383" t="21784" r="5148" b="18896"/>
              <a:stretch/>
            </p:blipFill>
            <p:spPr bwMode="auto">
              <a:xfrm>
                <a:off x="1171624" y="1080268"/>
                <a:ext cx="390324" cy="390324"/>
              </a:xfrm>
              <a:prstGeom prst="ellipse">
                <a:avLst/>
              </a:prstGeom>
              <a:noFill/>
              <a:ln w="19050">
                <a:noFill/>
              </a:ln>
            </p:spPr>
          </p:pic>
          <p:pic>
            <p:nvPicPr>
              <p:cNvPr id="42" name="Picture 41" descr="https://premier.shutterstock.com/image/detail-209114482/illustration-of-female-circulatory-system">
                <a:extLst>
                  <a:ext uri="{FF2B5EF4-FFF2-40B4-BE49-F238E27FC236}">
                    <a16:creationId xmlns:a16="http://schemas.microsoft.com/office/drawing/2014/main" id="{EB27AF60-1D45-4A98-BB8A-35083726E531}"/>
                  </a:ext>
                </a:extLst>
              </p:cNvPr>
              <p:cNvPicPr>
                <a:picLocks noChangeAspect="1"/>
              </p:cNvPicPr>
              <p:nvPr/>
            </p:nvPicPr>
            <p:blipFill rotWithShape="1">
              <a:blip r:embed="rId3"/>
              <a:srcRect b="2913"/>
              <a:stretch/>
            </p:blipFill>
            <p:spPr>
              <a:xfrm>
                <a:off x="95811" y="908053"/>
                <a:ext cx="2449511" cy="3906362"/>
              </a:xfrm>
              <a:prstGeom prst="rect">
                <a:avLst/>
              </a:prstGeom>
            </p:spPr>
          </p:pic>
        </p:grpSp>
        <p:sp>
          <p:nvSpPr>
            <p:cNvPr id="38" name="Oval 37">
              <a:extLst>
                <a:ext uri="{FF2B5EF4-FFF2-40B4-BE49-F238E27FC236}">
                  <a16:creationId xmlns:a16="http://schemas.microsoft.com/office/drawing/2014/main" id="{ACEFD078-7E03-45E2-AE04-DA91D583F16A}"/>
                </a:ext>
              </a:extLst>
            </p:cNvPr>
            <p:cNvSpPr/>
            <p:nvPr/>
          </p:nvSpPr>
          <p:spPr>
            <a:xfrm>
              <a:off x="1871221" y="3161089"/>
              <a:ext cx="360000" cy="360000"/>
            </a:xfrm>
            <a:prstGeom prst="ellipse">
              <a:avLst/>
            </a:prstGeom>
            <a:no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Oval 38">
              <a:extLst>
                <a:ext uri="{FF2B5EF4-FFF2-40B4-BE49-F238E27FC236}">
                  <a16:creationId xmlns:a16="http://schemas.microsoft.com/office/drawing/2014/main" id="{7715B195-BC17-4444-A2BE-673F52387C41}"/>
                </a:ext>
              </a:extLst>
            </p:cNvPr>
            <p:cNvSpPr/>
            <p:nvPr/>
          </p:nvSpPr>
          <p:spPr>
            <a:xfrm>
              <a:off x="1713855" y="2460108"/>
              <a:ext cx="360000" cy="360000"/>
            </a:xfrm>
            <a:prstGeom prst="ellipse">
              <a:avLst/>
            </a:prstGeom>
            <a:no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Oval 39">
              <a:extLst>
                <a:ext uri="{FF2B5EF4-FFF2-40B4-BE49-F238E27FC236}">
                  <a16:creationId xmlns:a16="http://schemas.microsoft.com/office/drawing/2014/main" id="{29D3ED19-FF5A-47EE-9413-24074B5DCB60}"/>
                </a:ext>
              </a:extLst>
            </p:cNvPr>
            <p:cNvSpPr/>
            <p:nvPr/>
          </p:nvSpPr>
          <p:spPr>
            <a:xfrm>
              <a:off x="1610073" y="2094367"/>
              <a:ext cx="360000" cy="360000"/>
            </a:xfrm>
            <a:prstGeom prst="ellipse">
              <a:avLst/>
            </a:prstGeom>
            <a:no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cxnSp>
        <p:nvCxnSpPr>
          <p:cNvPr id="43" name="Straight Connector 42">
            <a:extLst>
              <a:ext uri="{FF2B5EF4-FFF2-40B4-BE49-F238E27FC236}">
                <a16:creationId xmlns:a16="http://schemas.microsoft.com/office/drawing/2014/main" id="{C92CB2EF-572C-45A5-8570-B18D6B7934A9}"/>
              </a:ext>
            </a:extLst>
          </p:cNvPr>
          <p:cNvCxnSpPr>
            <a:stCxn id="28" idx="6"/>
            <a:endCxn id="40" idx="2"/>
          </p:cNvCxnSpPr>
          <p:nvPr/>
        </p:nvCxnSpPr>
        <p:spPr>
          <a:xfrm>
            <a:off x="3316004" y="2577637"/>
            <a:ext cx="2043432"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656361-F45A-470D-9CB9-78EA08446183}"/>
              </a:ext>
            </a:extLst>
          </p:cNvPr>
          <p:cNvCxnSpPr>
            <a:cxnSpLocks/>
            <a:stCxn id="39" idx="6"/>
            <a:endCxn id="29" idx="3"/>
          </p:cNvCxnSpPr>
          <p:nvPr/>
        </p:nvCxnSpPr>
        <p:spPr>
          <a:xfrm flipV="1">
            <a:off x="5862669" y="2915340"/>
            <a:ext cx="1257972"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F44C3A6-B81B-47CC-A2BE-2E080764BA3F}"/>
              </a:ext>
            </a:extLst>
          </p:cNvPr>
          <p:cNvCxnSpPr>
            <a:stCxn id="38" idx="6"/>
            <a:endCxn id="31" idx="1"/>
          </p:cNvCxnSpPr>
          <p:nvPr/>
        </p:nvCxnSpPr>
        <p:spPr>
          <a:xfrm>
            <a:off x="6033422" y="3735100"/>
            <a:ext cx="1105073"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Slide Number Placeholder 2">
            <a:extLst>
              <a:ext uri="{FF2B5EF4-FFF2-40B4-BE49-F238E27FC236}">
                <a16:creationId xmlns:a16="http://schemas.microsoft.com/office/drawing/2014/main" id="{5435D5B4-52F8-3A4D-B1DD-41F1F5AB807E}"/>
              </a:ext>
            </a:extLst>
          </p:cNvPr>
          <p:cNvSpPr txBox="1">
            <a:spLocks/>
          </p:cNvSpPr>
          <p:nvPr/>
        </p:nvSpPr>
        <p:spPr>
          <a:xfrm>
            <a:off x="11591927" y="6340239"/>
            <a:ext cx="480737" cy="365125"/>
          </a:xfrm>
          <a:prstGeom prst="rect">
            <a:avLst/>
          </a:prstGeom>
        </p:spPr>
        <p:txBody>
          <a:bodyPr anchor="b" anchorCtr="0"/>
          <a:ls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898989"/>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898989"/>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ACFD48C1-2380-4888-8527-B3EE590C6869}"/>
              </a:ext>
            </a:extLst>
          </p:cNvPr>
          <p:cNvSpPr>
            <a:spLocks noGrp="1"/>
          </p:cNvSpPr>
          <p:nvPr>
            <p:ph type="ftr" sz="quarter" idx="15"/>
          </p:nvPr>
        </p:nvSpPr>
        <p:spPr/>
        <p:txBody>
          <a:bodyPr/>
          <a:lstStyle/>
          <a:p>
            <a:pPr marL="0" marR="0" lvl="0" indent="0" algn="l" defTabSz="93744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cGMP, cyclic guanosine monophosphate; HF, heart failure; NO, nitric oxide; sGC, soluble guanylate cyclase.</a:t>
            </a:r>
          </a:p>
          <a:p>
            <a:pPr marL="0" marR="0" lvl="0" indent="0" algn="l" defTabSz="93744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References: 1. </a:t>
            </a:r>
            <a:r>
              <a:rPr kumimoji="0" lang="en-US" sz="800" b="0" i="0" u="none" strike="noStrike" kern="1200" cap="none" spc="0" normalizeH="0" baseline="0" noProof="0" err="1">
                <a:ln>
                  <a:noFill/>
                </a:ln>
                <a:solidFill>
                  <a:srgbClr val="898989"/>
                </a:solidFill>
                <a:effectLst/>
                <a:uLnTx/>
                <a:uFillTx/>
                <a:latin typeface="Arial" panose="020B0604020202020204"/>
                <a:ea typeface="+mn-ea"/>
                <a:cs typeface="+mn-cs"/>
              </a:rPr>
              <a:t>Gheorghiade</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M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Heart Fail Rev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2013;18:123–134;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2. </a:t>
            </a:r>
            <a:r>
              <a:rPr kumimoji="0" lang="en-US" sz="800" b="0" i="0" u="none" strike="noStrike" kern="1200" cap="none" spc="0" normalizeH="0" baseline="0" noProof="0" err="1">
                <a:ln>
                  <a:noFill/>
                </a:ln>
                <a:solidFill>
                  <a:srgbClr val="898989"/>
                </a:solidFill>
                <a:effectLst/>
                <a:uLnTx/>
                <a:uFillTx/>
                <a:latin typeface="Arial" panose="020B0604020202020204"/>
                <a:ea typeface="+mn-ea"/>
                <a:cs typeface="+mn-cs"/>
              </a:rPr>
              <a:t>Boerrigter</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G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Handb</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 Exp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Pharmacol</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2009;191:485–506;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3. </a:t>
            </a:r>
            <a:r>
              <a:rPr kumimoji="0" lang="en-US" sz="800" b="0" i="0" u="none" strike="noStrike" kern="1200" cap="none" spc="0" normalizeH="0" baseline="0" noProof="0" err="1">
                <a:ln>
                  <a:noFill/>
                </a:ln>
                <a:solidFill>
                  <a:srgbClr val="898989"/>
                </a:solidFill>
                <a:effectLst/>
                <a:uLnTx/>
                <a:uFillTx/>
                <a:latin typeface="Arial" panose="020B0604020202020204"/>
                <a:ea typeface="+mn-ea"/>
                <a:cs typeface="+mn-cs"/>
              </a:rPr>
              <a:t>Breitenstein</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S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Handb</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 Exp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Pharmacol</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2017;243:225–247;</a:t>
            </a:r>
            <a:b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b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4.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Felker G, Mann D.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Heart Failure: A Companion to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Braunwald’s</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 Heart Disease.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Elsevier; 2020;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5.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Armstrong PW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JACC Heart Fail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2018;6:96–104;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6. </a:t>
            </a:r>
            <a:r>
              <a:rPr kumimoji="0" lang="en-US" sz="800" b="0" i="0" u="none" strike="noStrike" kern="1200" cap="none" spc="0" normalizeH="0" baseline="0" noProof="0" err="1">
                <a:ln>
                  <a:noFill/>
                </a:ln>
                <a:solidFill>
                  <a:srgbClr val="898989"/>
                </a:solidFill>
                <a:effectLst/>
                <a:uLnTx/>
                <a:uFillTx/>
                <a:latin typeface="Arial" panose="020B0604020202020204"/>
                <a:ea typeface="+mn-ea"/>
                <a:cs typeface="+mn-cs"/>
              </a:rPr>
              <a:t>Follmann</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M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J Med Chem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2017;60:5146–5161.</a:t>
            </a:r>
          </a:p>
        </p:txBody>
      </p:sp>
      <p:sp>
        <p:nvSpPr>
          <p:cNvPr id="24" name="Text Placeholder 1">
            <a:extLst>
              <a:ext uri="{FF2B5EF4-FFF2-40B4-BE49-F238E27FC236}">
                <a16:creationId xmlns:a16="http://schemas.microsoft.com/office/drawing/2014/main" id="{1640E374-A194-4836-8726-4E2089B3D323}"/>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783904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84839-5720-4076-BB3B-E9041E2BF3DD}"/>
              </a:ext>
            </a:extLst>
          </p:cNvPr>
          <p:cNvSpPr>
            <a:spLocks noGrp="1"/>
          </p:cNvSpPr>
          <p:nvPr>
            <p:ph type="title"/>
          </p:nvPr>
        </p:nvSpPr>
        <p:spPr>
          <a:xfrm>
            <a:off x="638940" y="128094"/>
            <a:ext cx="11357117" cy="978650"/>
          </a:xfrm>
        </p:spPr>
        <p:txBody>
          <a:bodyPr>
            <a:normAutofit fontScale="90000"/>
          </a:bodyPr>
          <a:lstStyle/>
          <a:p>
            <a:r>
              <a:rPr lang="en-US" sz="2400" b="1" dirty="0">
                <a:solidFill>
                  <a:schemeClr val="accent4"/>
                </a:solidFill>
                <a:effectLst/>
                <a:ea typeface="Calibri" panose="020F0502020204030204" pitchFamily="34" charset="0"/>
              </a:rPr>
              <a:t>Current treatments for HFrEF were established based on large randomized, controlled trials, focused on patients with more </a:t>
            </a:r>
            <a:r>
              <a:rPr lang="en-US" sz="2400" b="1" i="1" u="sng" dirty="0">
                <a:solidFill>
                  <a:schemeClr val="accent4"/>
                </a:solidFill>
                <a:effectLst/>
                <a:ea typeface="Calibri" panose="020F0502020204030204" pitchFamily="34" charset="0"/>
              </a:rPr>
              <a:t>stable chronic HFrEF</a:t>
            </a:r>
            <a:endParaRPr lang="en-US" sz="2400" b="1" i="1" u="sng" dirty="0">
              <a:solidFill>
                <a:schemeClr val="accent4"/>
              </a:solidFill>
            </a:endParaRPr>
          </a:p>
        </p:txBody>
      </p:sp>
      <p:sp>
        <p:nvSpPr>
          <p:cNvPr id="5" name="Footer Placeholder 4">
            <a:extLst>
              <a:ext uri="{FF2B5EF4-FFF2-40B4-BE49-F238E27FC236}">
                <a16:creationId xmlns:a16="http://schemas.microsoft.com/office/drawing/2014/main" id="{649F11F3-0DF3-41CA-95E0-4D945BA21332}"/>
              </a:ext>
            </a:extLst>
          </p:cNvPr>
          <p:cNvSpPr>
            <a:spLocks noGrp="1"/>
          </p:cNvSpPr>
          <p:nvPr>
            <p:ph type="ftr" sz="quarter" idx="11"/>
          </p:nvPr>
        </p:nvSpPr>
        <p:spPr>
          <a:xfrm>
            <a:off x="686499" y="6598948"/>
            <a:ext cx="8466991"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E</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ach HF study was independently conducted, and no head-to-head HF studies have been completed that allow for direct comparison of the efficacy and/or safety of one drug versus anoth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Patients with AF or atrial flutter were required to have an NT-</a:t>
            </a:r>
            <a:r>
              <a:rPr kumimoji="0" lang="en-GB" sz="600" b="0" i="0" u="none" strike="noStrike" kern="1200" cap="none" spc="0" normalizeH="0" baseline="0" noProof="0" dirty="0" err="1">
                <a:ln>
                  <a:noFill/>
                </a:ln>
                <a:solidFill>
                  <a:srgbClr val="53585A"/>
                </a:solidFill>
                <a:effectLst/>
                <a:uLnTx/>
                <a:uFillTx/>
                <a:latin typeface="Arial" panose="020B0604020202020204"/>
                <a:ea typeface="MS PGothic" charset="0"/>
                <a:cs typeface="Arial"/>
              </a:rPr>
              <a:t>proBNP</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 level </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900 </a:t>
            </a:r>
            <a:r>
              <a:rPr kumimoji="0" lang="en-US" sz="600" b="0" i="0" u="none" strike="noStrike" kern="1200" cap="none" spc="0" normalizeH="0" baseline="0" noProof="0" dirty="0" err="1">
                <a:ln>
                  <a:noFill/>
                </a:ln>
                <a:solidFill>
                  <a:srgbClr val="53585A"/>
                </a:solidFill>
                <a:effectLst/>
                <a:uLnTx/>
                <a:uFillTx/>
                <a:latin typeface="Arial" panose="020B0604020202020204"/>
                <a:ea typeface="MS PGothic" charset="0"/>
                <a:cs typeface="Arial"/>
              </a:rPr>
              <a:t>pg</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ml</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 regardless of their history of HF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ADHF, acute decompensated heart failure; AF, atrial fibrillation; ED, emergency department; EF, ejection fraction; eGFR, estimated glomerular filtration rate; HF, heart failure; HFH, heart failure hospitalisation; IV, intravenous; LVEF, left ventricular ejection fraction; NT-</a:t>
            </a:r>
            <a:r>
              <a:rPr kumimoji="0" lang="en-GB" sz="600" b="0" i="0" u="none" strike="noStrike" kern="1200" cap="none" spc="0" normalizeH="0" baseline="0" noProof="0" dirty="0" err="1">
                <a:ln>
                  <a:noFill/>
                </a:ln>
                <a:solidFill>
                  <a:srgbClr val="53585A"/>
                </a:solidFill>
                <a:effectLst/>
                <a:uLnTx/>
                <a:uFillTx/>
                <a:latin typeface="Arial" panose="020B0604020202020204"/>
                <a:ea typeface="MS PGothic" charset="0"/>
                <a:cs typeface="Arial"/>
              </a:rPr>
              <a:t>proBNP</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 N-terminal pro-B-type natriuretic peptide; SR, sinus rhyth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1. McMurray JJV et al. </a:t>
            </a:r>
            <a:r>
              <a:rPr kumimoji="0" lang="en-US"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N </a:t>
            </a:r>
            <a:r>
              <a:rPr kumimoji="0" lang="en-US" sz="600" b="0" i="1" u="none" strike="noStrike" kern="1200" cap="none" spc="0" normalizeH="0" baseline="0" noProof="0" dirty="0" err="1">
                <a:ln>
                  <a:noFill/>
                </a:ln>
                <a:solidFill>
                  <a:srgbClr val="53585A"/>
                </a:solidFill>
                <a:effectLst/>
                <a:uLnTx/>
                <a:uFillTx/>
                <a:latin typeface="Arial" panose="020B0604020202020204"/>
                <a:ea typeface="MS PGothic" charset="0"/>
                <a:cs typeface="Arial"/>
              </a:rPr>
              <a:t>Engl</a:t>
            </a:r>
            <a:r>
              <a:rPr kumimoji="0" lang="en-US"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 J Med. </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2014;371:993–1004; 2. McMurray JJV et al. </a:t>
            </a:r>
            <a:r>
              <a:rPr kumimoji="0" lang="en-US"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N </a:t>
            </a:r>
            <a:r>
              <a:rPr kumimoji="0" lang="en-US" sz="600" b="0" i="1" u="none" strike="noStrike" kern="1200" cap="none" spc="0" normalizeH="0" baseline="0" noProof="0" dirty="0" err="1">
                <a:ln>
                  <a:noFill/>
                </a:ln>
                <a:solidFill>
                  <a:srgbClr val="53585A"/>
                </a:solidFill>
                <a:effectLst/>
                <a:uLnTx/>
                <a:uFillTx/>
                <a:latin typeface="Arial" panose="020B0604020202020204"/>
                <a:ea typeface="MS PGothic" charset="0"/>
                <a:cs typeface="Arial"/>
              </a:rPr>
              <a:t>Engl</a:t>
            </a:r>
            <a:r>
              <a:rPr kumimoji="0" lang="en-US"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 J Med. </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2019;381:1995–2008; 3. Packer M et al. </a:t>
            </a:r>
            <a:r>
              <a:rPr kumimoji="0" lang="en-GB"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N </a:t>
            </a:r>
            <a:r>
              <a:rPr kumimoji="0" lang="en-GB" sz="600" b="0" i="1" u="none" strike="noStrike" kern="1200" cap="none" spc="0" normalizeH="0" baseline="0" noProof="0" dirty="0" err="1">
                <a:ln>
                  <a:noFill/>
                </a:ln>
                <a:solidFill>
                  <a:srgbClr val="53585A"/>
                </a:solidFill>
                <a:effectLst/>
                <a:uLnTx/>
                <a:uFillTx/>
                <a:latin typeface="Arial" panose="020B0604020202020204"/>
                <a:ea typeface="MS PGothic" charset="0"/>
                <a:cs typeface="Arial"/>
              </a:rPr>
              <a:t>Engl</a:t>
            </a:r>
            <a:r>
              <a:rPr kumimoji="0" lang="en-GB"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 J Med</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 2020;383:1413</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panose="020B0604020202020204" pitchFamily="34" charset="0"/>
              </a:rPr>
              <a:t>–</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1424; 4. </a:t>
            </a:r>
            <a:r>
              <a:rPr kumimoji="0" lang="en-GB" sz="600" b="0" i="0" u="none" strike="noStrike" kern="1200" cap="none" spc="0" normalizeH="0" baseline="0" noProof="0" dirty="0" err="1">
                <a:ln>
                  <a:noFill/>
                </a:ln>
                <a:solidFill>
                  <a:srgbClr val="53585A"/>
                </a:solidFill>
                <a:effectLst/>
                <a:uLnTx/>
                <a:uFillTx/>
                <a:latin typeface="Arial" panose="020B0604020202020204"/>
                <a:ea typeface="MS PGothic" charset="0"/>
                <a:cs typeface="Arial"/>
              </a:rPr>
              <a:t>Teerlink</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 JR et al. </a:t>
            </a:r>
            <a:r>
              <a:rPr kumimoji="0" lang="en-GB"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N </a:t>
            </a:r>
            <a:r>
              <a:rPr kumimoji="0" lang="en-GB" sz="600" b="0" i="1" u="none" strike="noStrike" kern="1200" cap="none" spc="0" normalizeH="0" baseline="0" noProof="0" dirty="0" err="1">
                <a:ln>
                  <a:noFill/>
                </a:ln>
                <a:solidFill>
                  <a:srgbClr val="53585A"/>
                </a:solidFill>
                <a:effectLst/>
                <a:uLnTx/>
                <a:uFillTx/>
                <a:latin typeface="Arial" panose="020B0604020202020204"/>
                <a:ea typeface="MS PGothic" charset="0"/>
                <a:cs typeface="Arial"/>
              </a:rPr>
              <a:t>Engl</a:t>
            </a:r>
            <a:r>
              <a:rPr kumimoji="0" lang="en-GB"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 J Med. </a:t>
            </a:r>
            <a:r>
              <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2021;384:105–116; </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5. Armstrong PW et al. </a:t>
            </a:r>
            <a:r>
              <a:rPr kumimoji="0" lang="en-US"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N </a:t>
            </a:r>
            <a:r>
              <a:rPr kumimoji="0" lang="en-US" sz="600" b="0" i="1" u="none" strike="noStrike" kern="1200" cap="none" spc="0" normalizeH="0" baseline="0" noProof="0" dirty="0" err="1">
                <a:ln>
                  <a:noFill/>
                </a:ln>
                <a:solidFill>
                  <a:srgbClr val="53585A"/>
                </a:solidFill>
                <a:effectLst/>
                <a:uLnTx/>
                <a:uFillTx/>
                <a:latin typeface="Arial" panose="020B0604020202020204"/>
                <a:ea typeface="MS PGothic" charset="0"/>
                <a:cs typeface="Arial"/>
              </a:rPr>
              <a:t>Engl</a:t>
            </a:r>
            <a:r>
              <a:rPr kumimoji="0" lang="en-US" sz="600" b="0" i="1" u="none" strike="noStrike" kern="1200" cap="none" spc="0" normalizeH="0" baseline="0" noProof="0" dirty="0">
                <a:ln>
                  <a:noFill/>
                </a:ln>
                <a:solidFill>
                  <a:srgbClr val="53585A"/>
                </a:solidFill>
                <a:effectLst/>
                <a:uLnTx/>
                <a:uFillTx/>
                <a:latin typeface="Arial" panose="020B0604020202020204"/>
                <a:ea typeface="MS PGothic" charset="0"/>
                <a:cs typeface="Arial"/>
              </a:rPr>
              <a:t> J Med.</a:t>
            </a:r>
            <a:r>
              <a:rPr kumimoji="0" lang="en-US" sz="600" b="0" i="0" u="none" strike="noStrike" kern="1200" cap="none" spc="0" normalizeH="0" baseline="0" noProof="0" dirty="0">
                <a:ln>
                  <a:noFill/>
                </a:ln>
                <a:solidFill>
                  <a:srgbClr val="53585A"/>
                </a:solidFill>
                <a:effectLst/>
                <a:uLnTx/>
                <a:uFillTx/>
                <a:latin typeface="Arial" panose="020B0604020202020204"/>
                <a:ea typeface="MS PGothic" charset="0"/>
                <a:cs typeface="Arial"/>
              </a:rPr>
              <a:t> 2020;382:1883–1893</a:t>
            </a:r>
            <a:endParaRPr kumimoji="0" lang="en-GB" sz="600" b="0" i="0" u="none" strike="noStrike" kern="1200" cap="none" spc="0" normalizeH="0" baseline="0" noProof="0" dirty="0">
              <a:ln>
                <a:noFill/>
              </a:ln>
              <a:solidFill>
                <a:srgbClr val="53585A"/>
              </a:solidFill>
              <a:effectLst/>
              <a:uLnTx/>
              <a:uFillTx/>
              <a:latin typeface="Arial" panose="020B0604020202020204"/>
              <a:ea typeface="MS PGothic" charset="0"/>
              <a:cs typeface="Arial"/>
            </a:endParaRPr>
          </a:p>
        </p:txBody>
      </p:sp>
      <p:sp>
        <p:nvSpPr>
          <p:cNvPr id="12" name="Slide Number Placeholder 11">
            <a:extLst>
              <a:ext uri="{FF2B5EF4-FFF2-40B4-BE49-F238E27FC236}">
                <a16:creationId xmlns:a16="http://schemas.microsoft.com/office/drawing/2014/main" id="{AD9EA6F1-42C8-4432-8E33-E634CC1416A1}"/>
              </a:ext>
            </a:extLst>
          </p:cNvPr>
          <p:cNvSpPr>
            <a:spLocks noGrp="1"/>
          </p:cNvSpPr>
          <p:nvPr>
            <p:ph type="sldNum" sz="quarter" idx="12"/>
          </p:nvPr>
        </p:nvSpPr>
        <p:spPr>
          <a:prstGeom prst="rect">
            <a:avLst/>
          </a:prstGeom>
        </p:spPr>
        <p:txBody>
          <a:bodyPr/>
          <a:lstStyle/>
          <a:p>
            <a:pPr marL="0" marR="0" lvl="0" indent="0" algn="ctr" defTabSz="609585" rtl="0" eaLnBrk="0" fontAlgn="base" latinLnBrk="0" hangingPunct="0">
              <a:lnSpc>
                <a:spcPct val="100000"/>
              </a:lnSpc>
              <a:spcBef>
                <a:spcPct val="0"/>
              </a:spcBef>
              <a:spcAft>
                <a:spcPct val="0"/>
              </a:spcAft>
              <a:buClrTx/>
              <a:buSzTx/>
              <a:buFontTx/>
              <a:buNone/>
              <a:tabLst/>
              <a:defRPr/>
            </a:pPr>
            <a:fld id="{21C2FF50-D140-5E43-AEA8-75B2CE73B6E9}" type="slidenum">
              <a:rPr kumimoji="0" lang="en-US" sz="900" b="0" i="0" u="none" strike="noStrike" kern="1200" cap="none" spc="0" normalizeH="0" baseline="0" noProof="0" smtClean="0">
                <a:ln>
                  <a:noFill/>
                </a:ln>
                <a:solidFill>
                  <a:srgbClr val="53585A"/>
                </a:solidFill>
                <a:effectLst/>
                <a:uLnTx/>
                <a:uFillTx/>
                <a:latin typeface="Arial" panose="020B0604020202020204"/>
                <a:ea typeface="MS PGothic" charset="0"/>
                <a:cs typeface="Arial"/>
              </a:rPr>
              <a:pPr marL="0" marR="0" lvl="0" indent="0" algn="ctr" defTabSz="609585" rtl="0" eaLnBrk="0" fontAlgn="base" latinLnBrk="0" hangingPunct="0">
                <a:lnSpc>
                  <a:spcPct val="100000"/>
                </a:lnSpc>
                <a:spcBef>
                  <a:spcPct val="0"/>
                </a:spcBef>
                <a:spcAft>
                  <a:spcPct val="0"/>
                </a:spcAft>
                <a:buClrTx/>
                <a:buSzTx/>
                <a:buFontTx/>
                <a:buNone/>
                <a:tabLst/>
                <a:defRPr/>
              </a:pPr>
              <a:t>18</a:t>
            </a:fld>
            <a:endParaRPr kumimoji="0" lang="en-US" sz="900" b="0" i="0" u="none" strike="noStrike" kern="1200" cap="none" spc="0" normalizeH="0" baseline="0" noProof="0">
              <a:ln>
                <a:noFill/>
              </a:ln>
              <a:solidFill>
                <a:srgbClr val="53585A"/>
              </a:solidFill>
              <a:effectLst/>
              <a:uLnTx/>
              <a:uFillTx/>
              <a:latin typeface="Arial" panose="020B0604020202020204"/>
              <a:ea typeface="MS PGothic" charset="0"/>
              <a:cs typeface="Arial"/>
            </a:endParaRPr>
          </a:p>
        </p:txBody>
      </p:sp>
      <p:graphicFrame>
        <p:nvGraphicFramePr>
          <p:cNvPr id="11" name="Table Placeholder 10">
            <a:extLst>
              <a:ext uri="{FF2B5EF4-FFF2-40B4-BE49-F238E27FC236}">
                <a16:creationId xmlns:a16="http://schemas.microsoft.com/office/drawing/2014/main" id="{A5FE86F7-566D-4CE5-8C0E-698356D80B71}"/>
              </a:ext>
            </a:extLst>
          </p:cNvPr>
          <p:cNvGraphicFramePr>
            <a:graphicFrameLocks noGrp="1"/>
          </p:cNvGraphicFramePr>
          <p:nvPr>
            <p:ph idx="1"/>
          </p:nvPr>
        </p:nvGraphicFramePr>
        <p:xfrm>
          <a:off x="638940" y="1381161"/>
          <a:ext cx="10914118" cy="4861517"/>
        </p:xfrm>
        <a:graphic>
          <a:graphicData uri="http://schemas.openxmlformats.org/drawingml/2006/table">
            <a:tbl>
              <a:tblPr firstRow="1" bandRow="1">
                <a:tableStyleId>{B301B821-A1FF-4177-AEE7-76D212191A09}</a:tableStyleId>
              </a:tblPr>
              <a:tblGrid>
                <a:gridCol w="2438411">
                  <a:extLst>
                    <a:ext uri="{9D8B030D-6E8A-4147-A177-3AD203B41FA5}">
                      <a16:colId xmlns:a16="http://schemas.microsoft.com/office/drawing/2014/main" val="14027011"/>
                    </a:ext>
                  </a:extLst>
                </a:gridCol>
                <a:gridCol w="1892562">
                  <a:extLst>
                    <a:ext uri="{9D8B030D-6E8A-4147-A177-3AD203B41FA5}">
                      <a16:colId xmlns:a16="http://schemas.microsoft.com/office/drawing/2014/main" val="2786781500"/>
                    </a:ext>
                  </a:extLst>
                </a:gridCol>
                <a:gridCol w="1892562">
                  <a:extLst>
                    <a:ext uri="{9D8B030D-6E8A-4147-A177-3AD203B41FA5}">
                      <a16:colId xmlns:a16="http://schemas.microsoft.com/office/drawing/2014/main" val="2955664552"/>
                    </a:ext>
                  </a:extLst>
                </a:gridCol>
                <a:gridCol w="1892562">
                  <a:extLst>
                    <a:ext uri="{9D8B030D-6E8A-4147-A177-3AD203B41FA5}">
                      <a16:colId xmlns:a16="http://schemas.microsoft.com/office/drawing/2014/main" val="3985430651"/>
                    </a:ext>
                  </a:extLst>
                </a:gridCol>
                <a:gridCol w="378743">
                  <a:extLst>
                    <a:ext uri="{9D8B030D-6E8A-4147-A177-3AD203B41FA5}">
                      <a16:colId xmlns:a16="http://schemas.microsoft.com/office/drawing/2014/main" val="1836086217"/>
                    </a:ext>
                  </a:extLst>
                </a:gridCol>
                <a:gridCol w="2419278">
                  <a:extLst>
                    <a:ext uri="{9D8B030D-6E8A-4147-A177-3AD203B41FA5}">
                      <a16:colId xmlns:a16="http://schemas.microsoft.com/office/drawing/2014/main" val="3350232780"/>
                    </a:ext>
                  </a:extLst>
                </a:gridCol>
              </a:tblGrid>
              <a:tr h="117539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150000"/>
                        </a:lnSpc>
                      </a:pPr>
                      <a:r>
                        <a:rPr lang="en-US" sz="1400" b="1" dirty="0">
                          <a:solidFill>
                            <a:schemeClr val="bg1"/>
                          </a:solidFill>
                          <a:effectLst/>
                          <a:latin typeface="+mn-lt"/>
                          <a:cs typeface="Arial"/>
                        </a:rPr>
                        <a:t>Key details</a:t>
                      </a:r>
                      <a:endParaRPr lang="en-US" sz="1400" b="1" dirty="0">
                        <a:solidFill>
                          <a:schemeClr val="bg1"/>
                        </a:solidFill>
                        <a:effectLst/>
                        <a:latin typeface="+mn-lt"/>
                        <a:cs typeface="Arial" panose="020B0604020202020204" pitchFamily="34" charset="0"/>
                      </a:endParaRPr>
                    </a:p>
                  </a:txBody>
                  <a:tcPr marL="94388" marR="94388"/>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lnSpc>
                          <a:spcPct val="150000"/>
                        </a:lnSpc>
                        <a:spcBef>
                          <a:spcPts val="0"/>
                        </a:spcBef>
                        <a:spcAft>
                          <a:spcPts val="0"/>
                        </a:spcAft>
                      </a:pPr>
                      <a:r>
                        <a:rPr lang="en-US" sz="1400">
                          <a:effectLst/>
                        </a:rPr>
                        <a:t>PARADIGM HF (N=8399)</a:t>
                      </a:r>
                      <a:r>
                        <a:rPr lang="en-US" sz="1400" baseline="30000">
                          <a:effectLst/>
                        </a:rPr>
                        <a:t>1</a:t>
                      </a:r>
                    </a:p>
                    <a:p>
                      <a:pPr marL="0" marR="0" algn="ctr">
                        <a:lnSpc>
                          <a:spcPct val="150000"/>
                        </a:lnSpc>
                        <a:spcBef>
                          <a:spcPts val="0"/>
                        </a:spcBef>
                        <a:spcAft>
                          <a:spcPts val="0"/>
                        </a:spcAft>
                      </a:pPr>
                      <a:r>
                        <a:rPr lang="en-US" sz="1400">
                          <a:effectLst/>
                        </a:rPr>
                        <a:t>Sacubitril/valsartan</a:t>
                      </a:r>
                      <a:endParaRPr lang="en-US" sz="1400" b="1">
                        <a:solidFill>
                          <a:schemeClr val="bg1"/>
                        </a:solidFill>
                        <a:effectLst/>
                        <a:latin typeface="+mn-lt"/>
                        <a:cs typeface="Arial" panose="020B0604020202020204" pitchFamily="34" charset="0"/>
                      </a:endParaRPr>
                    </a:p>
                  </a:txBody>
                  <a:tcPr marL="94388" marR="94388">
                    <a:solidFill>
                      <a:schemeClr val="accent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lnSpc>
                          <a:spcPct val="150000"/>
                        </a:lnSpc>
                        <a:spcBef>
                          <a:spcPts val="0"/>
                        </a:spcBef>
                        <a:spcAft>
                          <a:spcPts val="0"/>
                        </a:spcAft>
                      </a:pPr>
                      <a:r>
                        <a:rPr lang="en-US" sz="1400" dirty="0">
                          <a:effectLst/>
                        </a:rPr>
                        <a:t>DAPA-HF </a:t>
                      </a:r>
                      <a:br>
                        <a:rPr lang="en-US" sz="1400" dirty="0">
                          <a:effectLst/>
                        </a:rPr>
                      </a:br>
                      <a:r>
                        <a:rPr lang="en-US" sz="1400" dirty="0">
                          <a:effectLst/>
                        </a:rPr>
                        <a:t>(N=4744)</a:t>
                      </a:r>
                      <a:r>
                        <a:rPr lang="en-US" sz="1400" baseline="30000" dirty="0">
                          <a:effectLst/>
                        </a:rPr>
                        <a:t>2</a:t>
                      </a:r>
                    </a:p>
                    <a:p>
                      <a:pPr marL="0" marR="0" algn="ctr">
                        <a:lnSpc>
                          <a:spcPct val="150000"/>
                        </a:lnSpc>
                        <a:spcBef>
                          <a:spcPts val="0"/>
                        </a:spcBef>
                        <a:spcAft>
                          <a:spcPts val="0"/>
                        </a:spcAft>
                      </a:pPr>
                      <a:r>
                        <a:rPr lang="en-US" sz="1400" dirty="0">
                          <a:effectLst/>
                        </a:rPr>
                        <a:t>Dapagliflozin</a:t>
                      </a:r>
                      <a:endParaRPr lang="en-US" sz="1400" b="1" dirty="0">
                        <a:solidFill>
                          <a:schemeClr val="bg1"/>
                        </a:solidFill>
                        <a:effectLst/>
                        <a:latin typeface="+mn-lt"/>
                        <a:cs typeface="Arial" panose="020B0604020202020204" pitchFamily="34" charset="0"/>
                      </a:endParaRPr>
                    </a:p>
                  </a:txBody>
                  <a:tcPr marL="94388" marR="94388">
                    <a:solidFill>
                      <a:schemeClr val="accent2"/>
                    </a:solidFill>
                  </a:tcPr>
                </a:tc>
                <a:tc>
                  <a:txBody>
                    <a:bodyPr/>
                    <a:lstStyle/>
                    <a:p>
                      <a:pPr marL="0" marR="0" algn="ctr">
                        <a:lnSpc>
                          <a:spcPct val="150000"/>
                        </a:lnSpc>
                        <a:spcBef>
                          <a:spcPts val="0"/>
                        </a:spcBef>
                        <a:spcAft>
                          <a:spcPts val="0"/>
                        </a:spcAft>
                      </a:pPr>
                      <a:r>
                        <a:rPr lang="en-US" sz="1400" dirty="0">
                          <a:effectLst/>
                        </a:rPr>
                        <a:t>EMPEROR-Reduced (N=3730)</a:t>
                      </a:r>
                      <a:r>
                        <a:rPr lang="en-US" sz="1400" baseline="30000" dirty="0">
                          <a:effectLst/>
                        </a:rPr>
                        <a:t>3</a:t>
                      </a:r>
                    </a:p>
                    <a:p>
                      <a:pPr marL="0" marR="0" lvl="0" indent="0" algn="ctr" defTabSz="914400" rtl="0" eaLnBrk="1" fontAlgn="auto" latinLnBrk="0" hangingPunct="1">
                        <a:lnSpc>
                          <a:spcPct val="150000"/>
                        </a:lnSpc>
                        <a:spcBef>
                          <a:spcPts val="0"/>
                        </a:spcBef>
                        <a:spcAft>
                          <a:spcPts val="0"/>
                        </a:spcAft>
                        <a:buClrTx/>
                        <a:buSzTx/>
                        <a:buFontTx/>
                        <a:buNone/>
                        <a:tabLst/>
                        <a:defRPr/>
                      </a:pPr>
                      <a:r>
                        <a:rPr lang="en-US" sz="1400" dirty="0">
                          <a:effectLst/>
                        </a:rPr>
                        <a:t>Empagliflozin</a:t>
                      </a:r>
                      <a:endParaRPr lang="en-US" sz="1400" b="1" dirty="0">
                        <a:solidFill>
                          <a:schemeClr val="bg1"/>
                        </a:solidFill>
                        <a:effectLst/>
                        <a:latin typeface="+mn-lt"/>
                        <a:ea typeface="Times New Roman" panose="02020603050405020304" pitchFamily="18" charset="0"/>
                        <a:cs typeface="Times New Roman" panose="02020603050405020304" pitchFamily="18" charset="0"/>
                      </a:endParaRPr>
                    </a:p>
                  </a:txBody>
                  <a:tcPr marL="94388" marR="94388">
                    <a:lnR>
                      <a:noFill/>
                    </a:lnR>
                    <a:solidFill>
                      <a:schemeClr val="bg2">
                        <a:lumMod val="60000"/>
                        <a:lumOff val="40000"/>
                      </a:schemeClr>
                    </a:solidFill>
                  </a:tcPr>
                </a:tc>
                <a:tc>
                  <a:txBody>
                    <a:bodyPr/>
                    <a:lstStyle/>
                    <a:p>
                      <a:pPr marL="0" lvl="0" indent="0" algn="ctr" defTabSz="914400">
                        <a:lnSpc>
                          <a:spcPct val="150000"/>
                        </a:lnSpc>
                        <a:spcBef>
                          <a:spcPts val="0"/>
                        </a:spcBef>
                        <a:spcAft>
                          <a:spcPts val="0"/>
                        </a:spcAft>
                        <a:buNone/>
                        <a:tabLst/>
                        <a:defRPr/>
                      </a:pPr>
                      <a:endParaRPr lang="en-US" sz="1400" dirty="0">
                        <a:effectLst/>
                      </a:endParaRPr>
                    </a:p>
                  </a:txBody>
                  <a:tcPr marL="94387" marR="94387">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lnSpc>
                          <a:spcPct val="115000"/>
                        </a:lnSpc>
                        <a:spcBef>
                          <a:spcPts val="0"/>
                        </a:spcBef>
                        <a:spcAft>
                          <a:spcPts val="0"/>
                        </a:spcAft>
                      </a:pPr>
                      <a:endParaRPr lang="en-US" sz="1400" dirty="0">
                        <a:effectLst/>
                      </a:endParaRPr>
                    </a:p>
                    <a:p>
                      <a:pPr marL="0" marR="0" algn="ctr">
                        <a:lnSpc>
                          <a:spcPct val="115000"/>
                        </a:lnSpc>
                        <a:spcBef>
                          <a:spcPts val="0"/>
                        </a:spcBef>
                        <a:spcAft>
                          <a:spcPts val="0"/>
                        </a:spcAft>
                      </a:pPr>
                      <a:r>
                        <a:rPr lang="en-US" sz="1400" dirty="0">
                          <a:effectLst/>
                        </a:rPr>
                        <a:t>VICTORIA </a:t>
                      </a:r>
                    </a:p>
                    <a:p>
                      <a:pPr marL="0" marR="0" algn="ctr">
                        <a:lnSpc>
                          <a:spcPct val="115000"/>
                        </a:lnSpc>
                        <a:spcBef>
                          <a:spcPts val="0"/>
                        </a:spcBef>
                        <a:spcAft>
                          <a:spcPts val="0"/>
                        </a:spcAft>
                      </a:pPr>
                      <a:r>
                        <a:rPr lang="en-US" sz="1400" dirty="0">
                          <a:effectLst/>
                        </a:rPr>
                        <a:t>(N=5050)</a:t>
                      </a:r>
                      <a:r>
                        <a:rPr lang="en-US" sz="1400" baseline="30000" dirty="0">
                          <a:effectLst/>
                        </a:rPr>
                        <a:t>5</a:t>
                      </a:r>
                    </a:p>
                    <a:p>
                      <a:pPr marL="0" marR="0" algn="ctr">
                        <a:lnSpc>
                          <a:spcPct val="115000"/>
                        </a:lnSpc>
                        <a:spcBef>
                          <a:spcPts val="0"/>
                        </a:spcBef>
                        <a:spcAft>
                          <a:spcPts val="0"/>
                        </a:spcAft>
                      </a:pPr>
                      <a:r>
                        <a:rPr lang="en-US" sz="1400" dirty="0">
                          <a:effectLst/>
                        </a:rPr>
                        <a:t>Vericiguat</a:t>
                      </a:r>
                      <a:endParaRPr lang="en-US" sz="1400" b="1" dirty="0">
                        <a:solidFill>
                          <a:schemeClr val="bg1"/>
                        </a:solidFill>
                        <a:effectLst/>
                        <a:latin typeface="+mn-lt"/>
                        <a:cs typeface="Arial" panose="020B0604020202020204" pitchFamily="34" charset="0"/>
                      </a:endParaRPr>
                    </a:p>
                  </a:txBody>
                  <a:tcPr marL="91507" marR="91507">
                    <a:lnL>
                      <a:noFill/>
                    </a:lnL>
                    <a:solidFill>
                      <a:schemeClr val="accent4"/>
                    </a:solidFill>
                  </a:tcPr>
                </a:tc>
                <a:extLst>
                  <a:ext uri="{0D108BD9-81ED-4DB2-BD59-A6C34878D82A}">
                    <a16:rowId xmlns:a16="http://schemas.microsoft.com/office/drawing/2014/main" val="935953786"/>
                  </a:ext>
                </a:extLst>
              </a:tr>
              <a:tr h="395821">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100" b="0" u="none" strike="noStrike" kern="1200" cap="none" spc="0" normalizeH="0" baseline="0" noProof="0" dirty="0">
                          <a:ln>
                            <a:noFill/>
                          </a:ln>
                          <a:solidFill>
                            <a:srgbClr val="C00000"/>
                          </a:solidFill>
                          <a:effectLst/>
                          <a:uLnTx/>
                          <a:uFillTx/>
                          <a:latin typeface="+mn-lt"/>
                        </a:rPr>
                        <a:t>eGFR cut-off</a:t>
                      </a:r>
                      <a:endParaRPr kumimoji="0" lang="en-GB" sz="1100" b="0" i="0" u="none" strike="noStrike" kern="1200" cap="none" spc="0" normalizeH="0" baseline="30000" noProof="0" dirty="0">
                        <a:ln>
                          <a:noFill/>
                        </a:ln>
                        <a:solidFill>
                          <a:srgbClr val="C00000"/>
                        </a:solidFill>
                        <a:effectLst/>
                        <a:uLnTx/>
                        <a:uFillTx/>
                        <a:latin typeface="+mn-lt"/>
                        <a:ea typeface="+mn-ea"/>
                        <a:cs typeface="+mn-cs"/>
                      </a:endParaRPr>
                    </a:p>
                  </a:txBody>
                  <a:tcPr marL="94375" marR="94375"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kern="1200" dirty="0">
                          <a:solidFill>
                            <a:srgbClr val="C00000"/>
                          </a:solidFill>
                          <a:latin typeface="+mn-lt"/>
                        </a:rPr>
                        <a:t>≥30 ml/min/1.73 m</a:t>
                      </a:r>
                      <a:r>
                        <a:rPr lang="en-US" sz="1100" kern="1200" baseline="30000" dirty="0">
                          <a:solidFill>
                            <a:srgbClr val="C00000"/>
                          </a:solidFill>
                          <a:latin typeface="+mn-lt"/>
                        </a:rPr>
                        <a:t>2</a:t>
                      </a:r>
                      <a:endParaRPr lang="en-US" sz="1100" kern="1200" baseline="30000" dirty="0">
                        <a:solidFill>
                          <a:srgbClr val="C00000"/>
                        </a:solidFill>
                        <a:latin typeface="+mn-lt"/>
                        <a:ea typeface="+mn-ea"/>
                        <a:cs typeface="+mn-cs"/>
                      </a:endParaRPr>
                    </a:p>
                  </a:txBody>
                  <a:tcPr marL="37160" marR="37160"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1100" dirty="0">
                          <a:solidFill>
                            <a:srgbClr val="C00000"/>
                          </a:solidFill>
                          <a:latin typeface="+mn-lt"/>
                        </a:rPr>
                        <a:t>≥30 ml/min/1.73 m</a:t>
                      </a:r>
                      <a:r>
                        <a:rPr lang="en-US" sz="1100" kern="1200" baseline="30000" dirty="0">
                          <a:solidFill>
                            <a:srgbClr val="C00000"/>
                          </a:solidFill>
                          <a:latin typeface="+mn-lt"/>
                        </a:rPr>
                        <a:t>2</a:t>
                      </a:r>
                      <a:endParaRPr lang="en-GB" sz="1100" baseline="30000" dirty="0">
                        <a:solidFill>
                          <a:srgbClr val="C00000"/>
                        </a:solidFill>
                        <a:latin typeface="+mn-lt"/>
                      </a:endParaRPr>
                    </a:p>
                  </a:txBody>
                  <a:tcPr marL="37160" marR="37160"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1100" dirty="0">
                          <a:solidFill>
                            <a:srgbClr val="C00000"/>
                          </a:solidFill>
                          <a:latin typeface="+mn-lt"/>
                        </a:rPr>
                        <a:t>≥20 ml/min/1.73 m</a:t>
                      </a:r>
                      <a:r>
                        <a:rPr lang="en-US" sz="1100" kern="1200" baseline="30000" dirty="0">
                          <a:solidFill>
                            <a:srgbClr val="C00000"/>
                          </a:solidFill>
                          <a:latin typeface="+mn-lt"/>
                        </a:rPr>
                        <a:t>2</a:t>
                      </a:r>
                      <a:endParaRPr lang="en-GB" sz="1100" baseline="30000" dirty="0">
                        <a:solidFill>
                          <a:srgbClr val="C00000"/>
                        </a:solidFill>
                        <a:latin typeface="+mn-lt"/>
                      </a:endParaRPr>
                    </a:p>
                  </a:txBody>
                  <a:tcPr marL="37160" marR="37160" anchor="ctr">
                    <a:lnR>
                      <a:noFill/>
                    </a:lnR>
                  </a:tcPr>
                </a:tc>
                <a:tc>
                  <a:txBody>
                    <a:bodyPr/>
                    <a:lstStyle/>
                    <a:p>
                      <a:pPr marL="0" lvl="0" indent="0" algn="ctr" defTabSz="914400">
                        <a:lnSpc>
                          <a:spcPct val="150000"/>
                        </a:lnSpc>
                        <a:spcBef>
                          <a:spcPts val="0"/>
                        </a:spcBef>
                        <a:spcAft>
                          <a:spcPts val="0"/>
                        </a:spcAft>
                        <a:buNone/>
                        <a:tabLst/>
                        <a:defRPr/>
                      </a:pPr>
                      <a:endParaRPr lang="en-US" sz="1400" kern="1200" baseline="30000" dirty="0">
                        <a:solidFill>
                          <a:srgbClr val="C00000"/>
                        </a:solidFill>
                      </a:endParaRPr>
                    </a:p>
                  </a:txBody>
                  <a:tcPr marL="37159" marR="37159">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solidFill>
                            <a:srgbClr val="C00000"/>
                          </a:solidFill>
                          <a:latin typeface="+mn-lt"/>
                        </a:rPr>
                        <a:t>≥</a:t>
                      </a:r>
                      <a:r>
                        <a:rPr lang="en-GB" sz="1200" baseline="0" dirty="0">
                          <a:solidFill>
                            <a:srgbClr val="C00000"/>
                          </a:solidFill>
                          <a:latin typeface="+mn-lt"/>
                        </a:rPr>
                        <a:t>15 ml/min/1.73 m</a:t>
                      </a:r>
                      <a:r>
                        <a:rPr lang="en-US" sz="1200" kern="1200" baseline="30000" dirty="0">
                          <a:solidFill>
                            <a:srgbClr val="C00000"/>
                          </a:solidFill>
                          <a:latin typeface="+mn-lt"/>
                        </a:rPr>
                        <a:t>2</a:t>
                      </a:r>
                      <a:endParaRPr lang="en-GB" sz="1200" baseline="30000" dirty="0">
                        <a:solidFill>
                          <a:srgbClr val="C00000"/>
                        </a:solidFill>
                        <a:latin typeface="+mn-lt"/>
                      </a:endParaRPr>
                    </a:p>
                  </a:txBody>
                  <a:tcPr marL="36026" marR="36026" anchor="ctr">
                    <a:lnL>
                      <a:noFill/>
                    </a:lnL>
                  </a:tcPr>
                </a:tc>
                <a:extLst>
                  <a:ext uri="{0D108BD9-81ED-4DB2-BD59-A6C34878D82A}">
                    <a16:rowId xmlns:a16="http://schemas.microsoft.com/office/drawing/2014/main" val="485026845"/>
                  </a:ext>
                </a:extLst>
              </a:tr>
              <a:tr h="54741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nSpc>
                          <a:spcPct val="150000"/>
                        </a:lnSpc>
                        <a:spcBef>
                          <a:spcPts val="0"/>
                        </a:spcBef>
                        <a:spcAft>
                          <a:spcPts val="0"/>
                        </a:spcAft>
                      </a:pPr>
                      <a:r>
                        <a:rPr lang="en-US" sz="1100" b="0" dirty="0">
                          <a:solidFill>
                            <a:srgbClr val="C00000"/>
                          </a:solidFill>
                          <a:effectLst/>
                          <a:latin typeface="+mn-lt"/>
                        </a:rPr>
                        <a:t>Recent HF decompensation</a:t>
                      </a:r>
                    </a:p>
                  </a:txBody>
                  <a:tcPr marL="94388" marR="94388"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dirty="0">
                          <a:solidFill>
                            <a:srgbClr val="C00000"/>
                          </a:solidFill>
                          <a:effectLst/>
                          <a:latin typeface="+mn-lt"/>
                        </a:rPr>
                        <a:t>Not required</a:t>
                      </a:r>
                      <a:endParaRPr lang="en-US" sz="1100" b="0" baseline="30000" dirty="0">
                        <a:solidFill>
                          <a:srgbClr val="C00000"/>
                        </a:solidFill>
                        <a:effectLst/>
                        <a:latin typeface="+mn-lt"/>
                        <a:ea typeface="Calibri"/>
                        <a:cs typeface="Times New Roman"/>
                      </a:endParaRPr>
                    </a:p>
                  </a:txBody>
                  <a:tcPr marL="94388" marR="94388"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dirty="0">
                          <a:solidFill>
                            <a:srgbClr val="C00000"/>
                          </a:solidFill>
                          <a:effectLst/>
                          <a:latin typeface="+mn-lt"/>
                        </a:rPr>
                        <a:t>Not required</a:t>
                      </a:r>
                      <a:endParaRPr lang="en-US" sz="1100" b="0" baseline="30000" dirty="0">
                        <a:solidFill>
                          <a:srgbClr val="C00000"/>
                        </a:solidFill>
                        <a:effectLst/>
                        <a:latin typeface="+mn-lt"/>
                        <a:ea typeface="Calibri"/>
                        <a:cs typeface="Times New Roman"/>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dirty="0">
                          <a:solidFill>
                            <a:srgbClr val="C00000"/>
                          </a:solidFill>
                          <a:effectLst/>
                          <a:latin typeface="+mn-lt"/>
                        </a:rPr>
                        <a:t>Not required</a:t>
                      </a:r>
                      <a:endParaRPr lang="en-US" sz="1100" b="0" baseline="30000" dirty="0">
                        <a:solidFill>
                          <a:srgbClr val="C00000"/>
                        </a:solidFill>
                        <a:effectLst/>
                        <a:latin typeface="+mn-lt"/>
                        <a:ea typeface="Calibri"/>
                        <a:cs typeface="Times New Roman"/>
                      </a:endParaRPr>
                    </a:p>
                  </a:txBody>
                  <a:tcPr marL="94388" marR="94388" anchor="ctr">
                    <a:lnR>
                      <a:noFill/>
                    </a:lnR>
                  </a:tcPr>
                </a:tc>
                <a:tc>
                  <a:txBody>
                    <a:bodyPr/>
                    <a:lstStyle/>
                    <a:p>
                      <a:pPr marL="0" lvl="0" indent="0" algn="ctr" defTabSz="914400">
                        <a:lnSpc>
                          <a:spcPct val="150000"/>
                        </a:lnSpc>
                        <a:spcBef>
                          <a:spcPts val="0"/>
                        </a:spcBef>
                        <a:spcAft>
                          <a:spcPts val="0"/>
                        </a:spcAft>
                        <a:buNone/>
                        <a:tabLst/>
                        <a:defRPr/>
                      </a:pPr>
                      <a:endParaRPr lang="en-US" sz="1400" dirty="0">
                        <a:solidFill>
                          <a:srgbClr val="C00000"/>
                        </a:solidFill>
                        <a:effectLst/>
                      </a:endParaRPr>
                    </a:p>
                  </a:txBody>
                  <a:tcPr marL="94387" marR="94387">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C00000"/>
                          </a:solidFill>
                          <a:effectLst/>
                          <a:latin typeface="+mn-lt"/>
                        </a:rPr>
                        <a:t>HFH within 6 months or IV diuretic use for HF within 3 months</a:t>
                      </a:r>
                      <a:endParaRPr lang="en-US" sz="1200" b="0" dirty="0">
                        <a:solidFill>
                          <a:srgbClr val="C00000"/>
                        </a:solidFill>
                        <a:effectLst/>
                        <a:latin typeface="+mn-lt"/>
                        <a:ea typeface="Calibri"/>
                        <a:cs typeface="Times New Roman"/>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baseline="30000" dirty="0">
                        <a:solidFill>
                          <a:srgbClr val="C00000"/>
                        </a:solidFill>
                        <a:latin typeface="+mn-lt"/>
                        <a:ea typeface="+mn-ea"/>
                        <a:cs typeface="+mn-cs"/>
                      </a:endParaRPr>
                    </a:p>
                  </a:txBody>
                  <a:tcPr marL="36026" marR="36026" anchor="ctr">
                    <a:lnL>
                      <a:noFill/>
                    </a:lnL>
                  </a:tcPr>
                </a:tc>
                <a:extLst>
                  <a:ext uri="{0D108BD9-81ED-4DB2-BD59-A6C34878D82A}">
                    <a16:rowId xmlns:a16="http://schemas.microsoft.com/office/drawing/2014/main" val="1271204301"/>
                  </a:ext>
                </a:extLst>
              </a:tr>
              <a:tr h="34223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nSpc>
                          <a:spcPct val="150000"/>
                        </a:lnSpc>
                        <a:spcBef>
                          <a:spcPts val="0"/>
                        </a:spcBef>
                        <a:spcAft>
                          <a:spcPts val="0"/>
                        </a:spcAft>
                      </a:pPr>
                      <a:r>
                        <a:rPr lang="en-US" sz="1100" b="0" dirty="0">
                          <a:solidFill>
                            <a:srgbClr val="C00000"/>
                          </a:solidFill>
                          <a:effectLst/>
                          <a:latin typeface="+mn-lt"/>
                        </a:rPr>
                        <a:t>Median NT-</a:t>
                      </a:r>
                      <a:r>
                        <a:rPr lang="en-US" sz="1100" b="0" dirty="0" err="1">
                          <a:solidFill>
                            <a:srgbClr val="C00000"/>
                          </a:solidFill>
                          <a:effectLst/>
                          <a:latin typeface="+mn-lt"/>
                        </a:rPr>
                        <a:t>proBNP</a:t>
                      </a:r>
                      <a:r>
                        <a:rPr lang="en-US" sz="1100" b="0" dirty="0">
                          <a:solidFill>
                            <a:srgbClr val="C00000"/>
                          </a:solidFill>
                          <a:effectLst/>
                          <a:latin typeface="+mn-lt"/>
                        </a:rPr>
                        <a:t> </a:t>
                      </a:r>
                      <a:endParaRPr lang="en-US" sz="1100" b="0" dirty="0">
                        <a:solidFill>
                          <a:srgbClr val="C00000"/>
                        </a:solidFill>
                        <a:effectLst/>
                        <a:latin typeface="+mn-lt"/>
                        <a:ea typeface="Calibri"/>
                        <a:cs typeface="Arial" panose="020B0604020202020204" pitchFamily="34" charset="0"/>
                      </a:endParaRPr>
                    </a:p>
                  </a:txBody>
                  <a:tcPr marL="94388" marR="94388"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50000"/>
                        </a:lnSpc>
                      </a:pPr>
                      <a:r>
                        <a:rPr lang="en-US" sz="1100" b="0" baseline="0" dirty="0">
                          <a:solidFill>
                            <a:srgbClr val="C00000"/>
                          </a:solidFill>
                          <a:latin typeface="+mn-lt"/>
                        </a:rPr>
                        <a:t>1608</a:t>
                      </a:r>
                    </a:p>
                  </a:txBody>
                  <a:tcPr marL="94388" marR="94388"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50000"/>
                        </a:lnSpc>
                      </a:pPr>
                      <a:r>
                        <a:rPr lang="en-US" sz="1100" b="0" baseline="0" dirty="0">
                          <a:solidFill>
                            <a:srgbClr val="C00000"/>
                          </a:solidFill>
                          <a:latin typeface="+mn-lt"/>
                        </a:rPr>
                        <a:t>1437</a:t>
                      </a: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GB" sz="1100" kern="1200" dirty="0">
                          <a:solidFill>
                            <a:srgbClr val="C00000"/>
                          </a:solidFill>
                          <a:latin typeface="+mn-lt"/>
                        </a:rPr>
                        <a:t>1906</a:t>
                      </a:r>
                    </a:p>
                  </a:txBody>
                  <a:tcPr marL="94388" marR="94388" anchor="ctr">
                    <a:lnR>
                      <a:noFill/>
                    </a:lnR>
                  </a:tcPr>
                </a:tc>
                <a:tc>
                  <a:txBody>
                    <a:bodyPr/>
                    <a:lstStyle/>
                    <a:p>
                      <a:pPr marL="0" lvl="0" indent="0" algn="ctr" defTabSz="914400">
                        <a:lnSpc>
                          <a:spcPct val="150000"/>
                        </a:lnSpc>
                        <a:spcBef>
                          <a:spcPts val="0"/>
                        </a:spcBef>
                        <a:spcAft>
                          <a:spcPts val="0"/>
                        </a:spcAft>
                        <a:buNone/>
                        <a:tabLst/>
                        <a:defRPr/>
                      </a:pPr>
                      <a:endParaRPr lang="en-GB" sz="1400" kern="1200" dirty="0">
                        <a:solidFill>
                          <a:srgbClr val="C00000"/>
                        </a:solidFill>
                      </a:endParaRPr>
                    </a:p>
                  </a:txBody>
                  <a:tcPr marL="94387" marR="94387">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IN" sz="1200" b="0" dirty="0">
                          <a:solidFill>
                            <a:srgbClr val="C00000"/>
                          </a:solidFill>
                          <a:effectLst/>
                          <a:latin typeface="+mn-lt"/>
                          <a:ea typeface="Calibri"/>
                          <a:cs typeface="Times New Roman"/>
                        </a:rPr>
                        <a:t>2816</a:t>
                      </a:r>
                      <a:endParaRPr lang="en-US" sz="1200" b="0" dirty="0">
                        <a:solidFill>
                          <a:srgbClr val="C00000"/>
                        </a:solidFill>
                        <a:effectLst/>
                        <a:latin typeface="+mn-lt"/>
                        <a:ea typeface="Calibri"/>
                        <a:cs typeface="Times New Roman"/>
                      </a:endParaRPr>
                    </a:p>
                  </a:txBody>
                  <a:tcPr marL="91507" marR="91507" anchor="ctr">
                    <a:lnL>
                      <a:noFill/>
                    </a:lnL>
                  </a:tcPr>
                </a:tc>
                <a:extLst>
                  <a:ext uri="{0D108BD9-81ED-4DB2-BD59-A6C34878D82A}">
                    <a16:rowId xmlns:a16="http://schemas.microsoft.com/office/drawing/2014/main" val="1069687838"/>
                  </a:ext>
                </a:extLst>
              </a:tr>
              <a:tr h="342233">
                <a:tc>
                  <a:txBody>
                    <a:bodyPr/>
                    <a:lstStyle/>
                    <a:p>
                      <a:pPr marL="0" marR="0">
                        <a:lnSpc>
                          <a:spcPct val="150000"/>
                        </a:lnSpc>
                        <a:spcBef>
                          <a:spcPts val="0"/>
                        </a:spcBef>
                        <a:spcAft>
                          <a:spcPts val="0"/>
                        </a:spcAft>
                      </a:pPr>
                      <a:r>
                        <a:rPr lang="en-US" sz="1100" b="0" baseline="0" dirty="0">
                          <a:solidFill>
                            <a:schemeClr val="tx2"/>
                          </a:solidFill>
                          <a:effectLst/>
                          <a:latin typeface="+mn-lt"/>
                        </a:rPr>
                        <a:t>HFH&lt;6 months</a:t>
                      </a:r>
                      <a:endParaRPr lang="en-US" sz="1100" b="0" baseline="0" dirty="0">
                        <a:solidFill>
                          <a:schemeClr val="tx2"/>
                        </a:solidFill>
                        <a:effectLst/>
                        <a:latin typeface="+mn-lt"/>
                        <a:ea typeface="Calibri"/>
                        <a:cs typeface="Arial" panose="020B0604020202020204" pitchFamily="34" charset="0"/>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b="0" baseline="0" dirty="0">
                          <a:solidFill>
                            <a:schemeClr val="tx2"/>
                          </a:solidFill>
                          <a:effectLst/>
                          <a:latin typeface="+mn-lt"/>
                        </a:rPr>
                        <a:t>31%</a:t>
                      </a:r>
                      <a:endParaRPr lang="en-US" sz="1100" b="0" baseline="0" dirty="0">
                        <a:solidFill>
                          <a:schemeClr val="tx2"/>
                        </a:solidFill>
                        <a:effectLst/>
                        <a:latin typeface="+mn-lt"/>
                        <a:ea typeface="Calibri"/>
                        <a:cs typeface="Times New Roman"/>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b="0" baseline="0" dirty="0">
                          <a:solidFill>
                            <a:schemeClr val="tx2"/>
                          </a:solidFill>
                          <a:effectLst/>
                          <a:latin typeface="+mn-lt"/>
                        </a:rPr>
                        <a:t>16%</a:t>
                      </a:r>
                      <a:endParaRPr lang="en-US" sz="1100" b="0" baseline="0" dirty="0">
                        <a:solidFill>
                          <a:schemeClr val="tx2"/>
                        </a:solidFill>
                        <a:effectLst/>
                        <a:latin typeface="+mn-lt"/>
                        <a:ea typeface="Calibri"/>
                        <a:cs typeface="Times New Roman"/>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b="0" baseline="0" dirty="0">
                          <a:solidFill>
                            <a:schemeClr val="tx2"/>
                          </a:solidFill>
                          <a:effectLst/>
                          <a:latin typeface="+mn-lt"/>
                        </a:rPr>
                        <a:t>NA</a:t>
                      </a:r>
                      <a:endParaRPr lang="en-US" sz="1100" b="0" baseline="0" dirty="0">
                        <a:solidFill>
                          <a:schemeClr val="tx2"/>
                        </a:solidFill>
                        <a:effectLst/>
                        <a:latin typeface="+mn-lt"/>
                        <a:ea typeface="Calibri"/>
                        <a:cs typeface="Times New Roman"/>
                      </a:endParaRPr>
                    </a:p>
                  </a:txBody>
                  <a:tcPr marL="94388" marR="94388" anchor="ctr">
                    <a:lnR>
                      <a:noFill/>
                    </a:lnR>
                  </a:tcPr>
                </a:tc>
                <a:tc>
                  <a:txBody>
                    <a:bodyPr/>
                    <a:lstStyle/>
                    <a:p>
                      <a:pPr marL="0" lvl="0" indent="0" algn="ctr" defTabSz="914400">
                        <a:lnSpc>
                          <a:spcPct val="150000"/>
                        </a:lnSpc>
                        <a:spcBef>
                          <a:spcPts val="0"/>
                        </a:spcBef>
                        <a:spcAft>
                          <a:spcPts val="0"/>
                        </a:spcAft>
                        <a:buNone/>
                        <a:tabLst/>
                        <a:defRPr/>
                      </a:pPr>
                      <a:endParaRPr lang="en-US" sz="1400" b="0" baseline="0" dirty="0">
                        <a:solidFill>
                          <a:schemeClr val="tx2"/>
                        </a:solidFill>
                        <a:effectLst/>
                      </a:endParaRPr>
                    </a:p>
                  </a:txBody>
                  <a:tcPr marL="94387" marR="94387">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indent="0" algn="ctr" defTabSz="914400">
                        <a:lnSpc>
                          <a:spcPct val="150000"/>
                        </a:lnSpc>
                        <a:spcBef>
                          <a:spcPts val="0"/>
                        </a:spcBef>
                        <a:spcAft>
                          <a:spcPts val="0"/>
                        </a:spcAft>
                        <a:buNone/>
                        <a:tabLst/>
                        <a:defRPr/>
                      </a:pPr>
                      <a:r>
                        <a:rPr lang="en-IN" sz="1200" b="0" baseline="0" dirty="0">
                          <a:solidFill>
                            <a:schemeClr val="tx2"/>
                          </a:solidFill>
                          <a:effectLst/>
                        </a:rPr>
                        <a:t>84%</a:t>
                      </a:r>
                      <a:endParaRPr lang="en-US" sz="1200" b="0" baseline="0" dirty="0">
                        <a:solidFill>
                          <a:schemeClr val="tx2"/>
                        </a:solidFill>
                        <a:effectLst/>
                      </a:endParaRPr>
                    </a:p>
                  </a:txBody>
                  <a:tcPr marL="94386" marR="94386">
                    <a:lnL>
                      <a:noFill/>
                    </a:lnL>
                  </a:tcPr>
                </a:tc>
                <a:extLst>
                  <a:ext uri="{0D108BD9-81ED-4DB2-BD59-A6C34878D82A}">
                    <a16:rowId xmlns:a16="http://schemas.microsoft.com/office/drawing/2014/main" val="4294293822"/>
                  </a:ext>
                </a:extLst>
              </a:tr>
              <a:tr h="749733">
                <a:tc>
                  <a:txBody>
                    <a:bodyPr/>
                    <a:lstStyle/>
                    <a:p>
                      <a:pPr marL="0" marR="0">
                        <a:lnSpc>
                          <a:spcPct val="150000"/>
                        </a:lnSpc>
                        <a:spcBef>
                          <a:spcPts val="0"/>
                        </a:spcBef>
                        <a:spcAft>
                          <a:spcPts val="0"/>
                        </a:spcAft>
                      </a:pPr>
                      <a:r>
                        <a:rPr lang="en-US" sz="1100" b="1" i="0" u="none" strike="noStrike" kern="1200" baseline="0" dirty="0">
                          <a:solidFill>
                            <a:schemeClr val="tx1"/>
                          </a:solidFill>
                          <a:latin typeface="+mn-lt"/>
                          <a:ea typeface="+mn-ea"/>
                          <a:cs typeface="+mn-cs"/>
                        </a:rPr>
                        <a:t>IV diuretic for HF (without </a:t>
                      </a:r>
                      <a:r>
                        <a:rPr lang="en-US" sz="1100" b="1" i="0" u="none" strike="noStrike" kern="1200" baseline="0" dirty="0" err="1">
                          <a:solidFill>
                            <a:schemeClr val="tx1"/>
                          </a:solidFill>
                          <a:latin typeface="+mn-lt"/>
                          <a:ea typeface="+mn-ea"/>
                          <a:cs typeface="+mn-cs"/>
                        </a:rPr>
                        <a:t>hospitalisation</a:t>
                      </a:r>
                      <a:r>
                        <a:rPr lang="en-US" sz="1100" b="1" i="0" u="none" strike="noStrike" kern="1200" baseline="0" dirty="0">
                          <a:solidFill>
                            <a:schemeClr val="tx1"/>
                          </a:solidFill>
                          <a:latin typeface="+mn-lt"/>
                          <a:ea typeface="+mn-ea"/>
                          <a:cs typeface="+mn-cs"/>
                        </a:rPr>
                        <a:t>) within 3 months, n (%)</a:t>
                      </a:r>
                      <a:endParaRPr lang="en-US" sz="800" b="1" baseline="0" dirty="0">
                        <a:solidFill>
                          <a:schemeClr val="tx1"/>
                        </a:solidFill>
                        <a:effectLst/>
                        <a:latin typeface="+mn-lt"/>
                        <a:ea typeface="Calibri"/>
                        <a:cs typeface="Arial" panose="020B0604020202020204" pitchFamily="34" charset="0"/>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IN" sz="1100" b="0" baseline="0" dirty="0">
                          <a:solidFill>
                            <a:schemeClr val="tx2"/>
                          </a:solidFill>
                          <a:effectLst/>
                          <a:latin typeface="+mn-lt"/>
                          <a:ea typeface="Calibri"/>
                          <a:cs typeface="Times New Roman"/>
                        </a:rPr>
                        <a:t>NR</a:t>
                      </a:r>
                      <a:endParaRPr lang="en-US" sz="1100" b="0" baseline="0" dirty="0">
                        <a:solidFill>
                          <a:schemeClr val="tx2"/>
                        </a:solidFill>
                        <a:effectLst/>
                        <a:latin typeface="+mn-lt"/>
                        <a:ea typeface="Calibri"/>
                        <a:cs typeface="Times New Roman"/>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IN" sz="1100" b="0" baseline="0" dirty="0">
                          <a:solidFill>
                            <a:schemeClr val="tx2"/>
                          </a:solidFill>
                          <a:effectLst/>
                          <a:latin typeface="+mn-lt"/>
                          <a:ea typeface="Calibri"/>
                          <a:cs typeface="Times New Roman"/>
                        </a:rPr>
                        <a:t>NR</a:t>
                      </a:r>
                      <a:endParaRPr lang="en-US" sz="1100" b="0" baseline="0" dirty="0">
                        <a:solidFill>
                          <a:schemeClr val="tx2"/>
                        </a:solidFill>
                        <a:effectLst/>
                        <a:latin typeface="+mn-lt"/>
                        <a:ea typeface="Calibri"/>
                        <a:cs typeface="Times New Roman"/>
                      </a:endParaRPr>
                    </a:p>
                  </a:txBody>
                  <a:tcPr marL="94388" marR="94388"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IN" sz="1100" b="0" baseline="0" dirty="0">
                          <a:solidFill>
                            <a:schemeClr val="tx2"/>
                          </a:solidFill>
                          <a:effectLst/>
                          <a:latin typeface="+mn-lt"/>
                          <a:ea typeface="Calibri"/>
                          <a:cs typeface="Times New Roman"/>
                        </a:rPr>
                        <a:t>NR</a:t>
                      </a:r>
                      <a:endParaRPr lang="en-US" sz="1100" b="0" baseline="0" dirty="0">
                        <a:solidFill>
                          <a:schemeClr val="tx2"/>
                        </a:solidFill>
                        <a:effectLst/>
                        <a:latin typeface="+mn-lt"/>
                        <a:ea typeface="Calibri"/>
                        <a:cs typeface="Times New Roman"/>
                      </a:endParaRPr>
                    </a:p>
                  </a:txBody>
                  <a:tcPr marL="94388" marR="94388" anchor="ctr">
                    <a:lnR>
                      <a:noFill/>
                    </a:lnR>
                  </a:tcPr>
                </a:tc>
                <a:tc>
                  <a:txBody>
                    <a:bodyPr/>
                    <a:lstStyle/>
                    <a:p>
                      <a:pPr marL="0" lvl="0" indent="0" algn="ctr" defTabSz="914400">
                        <a:lnSpc>
                          <a:spcPct val="150000"/>
                        </a:lnSpc>
                        <a:spcBef>
                          <a:spcPts val="0"/>
                        </a:spcBef>
                        <a:spcAft>
                          <a:spcPts val="0"/>
                        </a:spcAft>
                        <a:buNone/>
                        <a:tabLst/>
                        <a:defRPr/>
                      </a:pPr>
                      <a:endParaRPr lang="en-US" sz="1400" b="0" baseline="0" dirty="0">
                        <a:solidFill>
                          <a:schemeClr val="tx2"/>
                        </a:solidFill>
                        <a:effectLst/>
                      </a:endParaRPr>
                    </a:p>
                  </a:txBody>
                  <a:tcPr marL="94387" marR="94387">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indent="0" algn="ctr" defTabSz="914400">
                        <a:lnSpc>
                          <a:spcPct val="150000"/>
                        </a:lnSpc>
                        <a:spcBef>
                          <a:spcPts val="0"/>
                        </a:spcBef>
                        <a:spcAft>
                          <a:spcPts val="0"/>
                        </a:spcAft>
                        <a:buNone/>
                        <a:tabLst/>
                        <a:defRPr/>
                      </a:pPr>
                      <a:r>
                        <a:rPr lang="en-IN" sz="1200" b="0" baseline="0" dirty="0">
                          <a:solidFill>
                            <a:schemeClr val="tx2"/>
                          </a:solidFill>
                          <a:effectLst/>
                        </a:rPr>
                        <a:t>15.9%</a:t>
                      </a:r>
                      <a:endParaRPr lang="en-US" sz="1200" b="0" baseline="0" dirty="0">
                        <a:solidFill>
                          <a:schemeClr val="tx2"/>
                        </a:solidFill>
                        <a:effectLst/>
                      </a:endParaRPr>
                    </a:p>
                  </a:txBody>
                  <a:tcPr marL="94386" marR="94386">
                    <a:lnL>
                      <a:noFill/>
                    </a:lnL>
                  </a:tcPr>
                </a:tc>
                <a:extLst>
                  <a:ext uri="{0D108BD9-81ED-4DB2-BD59-A6C34878D82A}">
                    <a16:rowId xmlns:a16="http://schemas.microsoft.com/office/drawing/2014/main" val="165287449"/>
                  </a:ext>
                </a:extLst>
              </a:tr>
              <a:tr h="342233">
                <a:tc>
                  <a:txBody>
                    <a:bodyPr/>
                    <a:lstStyle/>
                    <a:p>
                      <a:pPr>
                        <a:lnSpc>
                          <a:spcPct val="150000"/>
                        </a:lnSpc>
                      </a:pPr>
                      <a:r>
                        <a:rPr lang="en-GB" sz="1100" b="0">
                          <a:solidFill>
                            <a:schemeClr val="tx2"/>
                          </a:solidFill>
                          <a:latin typeface="+mn-lt"/>
                        </a:rPr>
                        <a:t>NYHA III-IV</a:t>
                      </a:r>
                    </a:p>
                  </a:txBody>
                  <a:tcPr marL="94375" marR="94375"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100" kern="1200" baseline="0">
                          <a:solidFill>
                            <a:schemeClr val="tx2"/>
                          </a:solidFill>
                          <a:latin typeface="+mn-lt"/>
                        </a:rPr>
                        <a:t>25%</a:t>
                      </a:r>
                      <a:endParaRPr lang="en-US" sz="1100" kern="1200" baseline="0">
                        <a:solidFill>
                          <a:schemeClr val="tx2"/>
                        </a:solidFill>
                        <a:latin typeface="+mn-lt"/>
                        <a:ea typeface="+mn-ea"/>
                        <a:cs typeface="+mn-cs"/>
                      </a:endParaRPr>
                    </a:p>
                  </a:txBody>
                  <a:tcPr marL="37160" marR="37160" anchor="ctr"/>
                </a:tc>
                <a:tc>
                  <a:txBody>
                    <a:bodyPr/>
                    <a:lstStyle/>
                    <a:p>
                      <a:pPr algn="ctr">
                        <a:lnSpc>
                          <a:spcPct val="150000"/>
                        </a:lnSpc>
                      </a:pPr>
                      <a:r>
                        <a:rPr lang="en-GB" sz="1100">
                          <a:solidFill>
                            <a:schemeClr val="tx2"/>
                          </a:solidFill>
                          <a:latin typeface="+mn-lt"/>
                        </a:rPr>
                        <a:t>32%</a:t>
                      </a:r>
                      <a:endParaRPr lang="en-GB" sz="1100" baseline="30000">
                        <a:solidFill>
                          <a:schemeClr val="tx2"/>
                        </a:solidFill>
                        <a:latin typeface="+mn-lt"/>
                      </a:endParaRPr>
                    </a:p>
                  </a:txBody>
                  <a:tcPr marL="37160" marR="37160" anchor="ct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1100" baseline="0" dirty="0">
                          <a:solidFill>
                            <a:schemeClr val="tx2"/>
                          </a:solidFill>
                          <a:latin typeface="+mn-lt"/>
                        </a:rPr>
                        <a:t>25%</a:t>
                      </a:r>
                    </a:p>
                  </a:txBody>
                  <a:tcPr marL="37160" marR="37160" anchor="ctr">
                    <a:lnR>
                      <a:noFill/>
                    </a:lnR>
                  </a:tcPr>
                </a:tc>
                <a:tc>
                  <a:txBody>
                    <a:bodyPr/>
                    <a:lstStyle/>
                    <a:p>
                      <a:pPr marL="0" lvl="0" indent="0" algn="ctr" defTabSz="914400">
                        <a:lnSpc>
                          <a:spcPct val="150000"/>
                        </a:lnSpc>
                        <a:spcBef>
                          <a:spcPts val="0"/>
                        </a:spcBef>
                        <a:spcAft>
                          <a:spcPts val="0"/>
                        </a:spcAft>
                        <a:buNone/>
                        <a:tabLst/>
                        <a:defRPr/>
                      </a:pPr>
                      <a:endParaRPr lang="en-GB" sz="1400" baseline="0" dirty="0">
                        <a:solidFill>
                          <a:schemeClr val="tx2"/>
                        </a:solidFill>
                      </a:endParaRPr>
                    </a:p>
                  </a:txBody>
                  <a:tcPr marL="37159" marR="37159">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indent="0" algn="ctr" defTabSz="914400">
                        <a:lnSpc>
                          <a:spcPct val="150000"/>
                        </a:lnSpc>
                        <a:spcBef>
                          <a:spcPts val="0"/>
                        </a:spcBef>
                        <a:spcAft>
                          <a:spcPts val="0"/>
                        </a:spcAft>
                        <a:buNone/>
                        <a:tabLst/>
                        <a:defRPr/>
                      </a:pPr>
                      <a:r>
                        <a:rPr lang="en-GB" sz="1200" baseline="0" dirty="0">
                          <a:solidFill>
                            <a:schemeClr val="tx2"/>
                          </a:solidFill>
                        </a:rPr>
                        <a:t>41%</a:t>
                      </a:r>
                    </a:p>
                  </a:txBody>
                  <a:tcPr marL="37159" marR="37159">
                    <a:lnL>
                      <a:noFill/>
                    </a:lnL>
                  </a:tcPr>
                </a:tc>
                <a:extLst>
                  <a:ext uri="{0D108BD9-81ED-4DB2-BD59-A6C34878D82A}">
                    <a16:rowId xmlns:a16="http://schemas.microsoft.com/office/drawing/2014/main" val="1794555637"/>
                  </a:ext>
                </a:extLst>
              </a:tr>
              <a:tr h="32002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a:lnSpc>
                          <a:spcPct val="115000"/>
                        </a:lnSpc>
                        <a:spcBef>
                          <a:spcPts val="0"/>
                        </a:spcBef>
                        <a:spcAft>
                          <a:spcPts val="0"/>
                        </a:spcAft>
                      </a:pPr>
                      <a:r>
                        <a:rPr lang="en-US" sz="1100" b="0" baseline="0">
                          <a:solidFill>
                            <a:schemeClr val="tx2"/>
                          </a:solidFill>
                          <a:effectLst/>
                          <a:latin typeface="+mn-lt"/>
                        </a:rPr>
                        <a:t>eGFR &lt;60 </a:t>
                      </a:r>
                      <a:r>
                        <a:rPr lang="en-US" sz="1100" b="0">
                          <a:solidFill>
                            <a:schemeClr val="tx2"/>
                          </a:solidFill>
                          <a:effectLst/>
                          <a:latin typeface="+mn-lt"/>
                        </a:rPr>
                        <a:t>ml/min/1.73 m</a:t>
                      </a:r>
                      <a:r>
                        <a:rPr lang="en-US" sz="1100" b="0" baseline="30000">
                          <a:solidFill>
                            <a:schemeClr val="tx2"/>
                          </a:solidFill>
                          <a:effectLst/>
                          <a:latin typeface="+mn-lt"/>
                        </a:rPr>
                        <a:t>2</a:t>
                      </a:r>
                      <a:endParaRPr lang="en-US" sz="1100" b="0">
                        <a:solidFill>
                          <a:schemeClr val="tx2"/>
                        </a:solidFill>
                        <a:effectLst/>
                        <a:latin typeface="+mn-lt"/>
                        <a:ea typeface="Calibri"/>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100">
                          <a:solidFill>
                            <a:schemeClr val="tx2"/>
                          </a:solidFill>
                          <a:effectLst/>
                          <a:latin typeface="+mn-lt"/>
                        </a:rPr>
                        <a:t>37%</a:t>
                      </a:r>
                      <a:endParaRPr lang="en-US" sz="1100" b="0" baseline="30000">
                        <a:solidFill>
                          <a:schemeClr val="tx2"/>
                        </a:solidFill>
                        <a:effectLst/>
                        <a:latin typeface="+mn-lt"/>
                        <a:ea typeface="Calibri"/>
                        <a:cs typeface="Times New Roman"/>
                      </a:endParaRPr>
                    </a:p>
                  </a:txBody>
                  <a:tcPr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100">
                          <a:solidFill>
                            <a:schemeClr val="tx2"/>
                          </a:solidFill>
                          <a:effectLst/>
                          <a:latin typeface="+mn-lt"/>
                        </a:rPr>
                        <a:t>41%</a:t>
                      </a:r>
                      <a:endParaRPr lang="en-US" sz="1100" b="0" baseline="30000">
                        <a:solidFill>
                          <a:schemeClr val="tx2"/>
                        </a:solidFill>
                        <a:effectLst/>
                        <a:latin typeface="+mn-lt"/>
                        <a:ea typeface="Calibri"/>
                        <a:cs typeface="Times New Roman"/>
                      </a:endParaRPr>
                    </a:p>
                  </a:txBody>
                  <a:tcPr anchor="ctr"/>
                </a:tc>
                <a:tc>
                  <a:txBody>
                    <a:bodyPr/>
                    <a:lstStyle/>
                    <a:p>
                      <a:pPr marL="0" marR="0" algn="ctr">
                        <a:lnSpc>
                          <a:spcPct val="115000"/>
                        </a:lnSpc>
                        <a:spcBef>
                          <a:spcPts val="0"/>
                        </a:spcBef>
                        <a:spcAft>
                          <a:spcPts val="0"/>
                        </a:spcAft>
                      </a:pPr>
                      <a:r>
                        <a:rPr lang="en-US" sz="1100" baseline="0" dirty="0">
                          <a:solidFill>
                            <a:schemeClr val="tx2"/>
                          </a:solidFill>
                          <a:effectLst/>
                          <a:latin typeface="+mn-lt"/>
                        </a:rPr>
                        <a:t>48%</a:t>
                      </a:r>
                      <a:endParaRPr lang="en-US" sz="1100" b="0" baseline="30000" dirty="0">
                        <a:solidFill>
                          <a:schemeClr val="tx2"/>
                        </a:solidFill>
                        <a:effectLst/>
                        <a:latin typeface="+mn-lt"/>
                        <a:ea typeface="Calibri"/>
                        <a:cs typeface="Times New Roman"/>
                      </a:endParaRPr>
                    </a:p>
                  </a:txBody>
                  <a:tcPr anchor="ctr">
                    <a:lnR>
                      <a:noFill/>
                    </a:lnR>
                  </a:tcPr>
                </a:tc>
                <a:tc>
                  <a:txBody>
                    <a:bodyPr/>
                    <a:lstStyle/>
                    <a:p>
                      <a:pPr marL="0" lvl="0" algn="ctr">
                        <a:lnSpc>
                          <a:spcPct val="114999"/>
                        </a:lnSpc>
                        <a:spcBef>
                          <a:spcPts val="0"/>
                        </a:spcBef>
                        <a:spcAft>
                          <a:spcPts val="0"/>
                        </a:spcAft>
                        <a:buNone/>
                      </a:pPr>
                      <a:endParaRPr lang="en-US" sz="1400" baseline="0" dirty="0">
                        <a:solidFill>
                          <a:schemeClr val="tx2"/>
                        </a:solidFill>
                        <a:effectLst/>
                      </a:endParaRPr>
                    </a:p>
                  </a:txBody>
                  <a:tcP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a:lnSpc>
                          <a:spcPct val="114999"/>
                        </a:lnSpc>
                        <a:spcBef>
                          <a:spcPts val="0"/>
                        </a:spcBef>
                        <a:spcAft>
                          <a:spcPts val="0"/>
                        </a:spcAft>
                        <a:buNone/>
                      </a:pPr>
                      <a:r>
                        <a:rPr lang="en-IN" sz="1200" baseline="0" dirty="0">
                          <a:solidFill>
                            <a:schemeClr val="tx2"/>
                          </a:solidFill>
                          <a:effectLst/>
                        </a:rPr>
                        <a:t>53%</a:t>
                      </a:r>
                      <a:endParaRPr lang="en-US" sz="1200" baseline="0" dirty="0">
                        <a:solidFill>
                          <a:schemeClr val="tx2"/>
                        </a:solidFill>
                        <a:effectLst/>
                      </a:endParaRPr>
                    </a:p>
                  </a:txBody>
                  <a:tcPr>
                    <a:lnL>
                      <a:noFill/>
                    </a:lnL>
                  </a:tcPr>
                </a:tc>
                <a:extLst>
                  <a:ext uri="{0D108BD9-81ED-4DB2-BD59-A6C34878D82A}">
                    <a16:rowId xmlns:a16="http://schemas.microsoft.com/office/drawing/2014/main" val="974745206"/>
                  </a:ext>
                </a:extLst>
              </a:tr>
              <a:tr h="437929">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100" b="0">
                          <a:solidFill>
                            <a:schemeClr val="tx2"/>
                          </a:solidFill>
                          <a:effectLst/>
                          <a:latin typeface="+mn-lt"/>
                        </a:rPr>
                        <a:t>Primary endpoint event rate (control arm)</a:t>
                      </a:r>
                      <a:endParaRPr lang="en-US" sz="1100" b="0">
                        <a:solidFill>
                          <a:schemeClr val="tx2"/>
                        </a:solidFill>
                        <a:effectLst/>
                        <a:latin typeface="+mn-lt"/>
                        <a:ea typeface="Calibri"/>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100" b="1">
                          <a:solidFill>
                            <a:schemeClr val="tx2"/>
                          </a:solidFill>
                          <a:latin typeface="+mn-lt"/>
                        </a:rPr>
                        <a:t>13.2 events/</a:t>
                      </a:r>
                      <a:br>
                        <a:rPr lang="en-US" sz="1100" b="1">
                          <a:solidFill>
                            <a:srgbClr val="000000"/>
                          </a:solidFill>
                          <a:latin typeface="+mn-lt"/>
                        </a:rPr>
                      </a:br>
                      <a:r>
                        <a:rPr lang="en-US" sz="1100" b="1">
                          <a:solidFill>
                            <a:schemeClr val="tx2"/>
                          </a:solidFill>
                          <a:latin typeface="+mn-lt"/>
                        </a:rPr>
                        <a:t>100 PY</a:t>
                      </a:r>
                      <a:endParaRPr lang="en-US" sz="1100" b="1" baseline="30000">
                        <a:solidFill>
                          <a:schemeClr val="tx2"/>
                        </a:solidFill>
                        <a:latin typeface="+mn-lt"/>
                      </a:endParaRPr>
                    </a:p>
                  </a:txBody>
                  <a:tcPr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100" b="1">
                          <a:solidFill>
                            <a:schemeClr val="tx2"/>
                          </a:solidFill>
                          <a:latin typeface="+mn-lt"/>
                        </a:rPr>
                        <a:t>15.6 events/</a:t>
                      </a:r>
                      <a:br>
                        <a:rPr lang="en-US" sz="1100" b="1">
                          <a:solidFill>
                            <a:srgbClr val="000000"/>
                          </a:solidFill>
                          <a:latin typeface="+mn-lt"/>
                        </a:rPr>
                      </a:br>
                      <a:r>
                        <a:rPr lang="en-US" sz="1100" b="1">
                          <a:solidFill>
                            <a:schemeClr val="tx2"/>
                          </a:solidFill>
                          <a:latin typeface="+mn-lt"/>
                        </a:rPr>
                        <a:t>100 PY</a:t>
                      </a:r>
                      <a:endParaRPr lang="en-US" sz="1100" b="1" baseline="30000">
                        <a:solidFill>
                          <a:schemeClr val="tx2"/>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mn-lt"/>
                        </a:rPr>
                        <a:t>21.0 events/</a:t>
                      </a:r>
                      <a:br>
                        <a:rPr lang="en-US" sz="1100" b="1" dirty="0">
                          <a:solidFill>
                            <a:srgbClr val="000000"/>
                          </a:solidFill>
                          <a:latin typeface="+mn-lt"/>
                        </a:rPr>
                      </a:br>
                      <a:r>
                        <a:rPr lang="en-US" sz="1100" b="1" dirty="0">
                          <a:solidFill>
                            <a:schemeClr val="tx2"/>
                          </a:solidFill>
                          <a:latin typeface="+mn-lt"/>
                        </a:rPr>
                        <a:t>100 PY</a:t>
                      </a:r>
                      <a:endParaRPr lang="en-US" sz="1100" b="1" baseline="30000" dirty="0">
                        <a:solidFill>
                          <a:schemeClr val="tx2"/>
                        </a:solidFill>
                        <a:latin typeface="+mn-lt"/>
                      </a:endParaRPr>
                    </a:p>
                  </a:txBody>
                  <a:tcPr anchor="ctr">
                    <a:lnR>
                      <a:noFill/>
                    </a:lnR>
                  </a:tcPr>
                </a:tc>
                <a:tc>
                  <a:txBody>
                    <a:bodyPr/>
                    <a:lstStyle/>
                    <a:p>
                      <a:pPr marL="0" lvl="0" indent="0" algn="ctr" defTabSz="914400">
                        <a:lnSpc>
                          <a:spcPct val="100000"/>
                        </a:lnSpc>
                        <a:spcBef>
                          <a:spcPts val="0"/>
                        </a:spcBef>
                        <a:spcAft>
                          <a:spcPts val="0"/>
                        </a:spcAft>
                        <a:buNone/>
                        <a:tabLst/>
                        <a:defRPr/>
                      </a:pPr>
                      <a:endParaRPr lang="en-US" sz="1400" b="1" dirty="0">
                        <a:solidFill>
                          <a:schemeClr val="tx2"/>
                        </a:solidFill>
                      </a:endParaRPr>
                    </a:p>
                  </a:txBody>
                  <a:tcP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indent="0" algn="ctr" defTabSz="914400">
                        <a:lnSpc>
                          <a:spcPct val="100000"/>
                        </a:lnSpc>
                        <a:spcBef>
                          <a:spcPts val="0"/>
                        </a:spcBef>
                        <a:spcAft>
                          <a:spcPts val="0"/>
                        </a:spcAft>
                        <a:buNone/>
                        <a:tabLst/>
                        <a:defRPr/>
                      </a:pPr>
                      <a:r>
                        <a:rPr lang="en-IN" sz="1200" b="1" dirty="0">
                          <a:solidFill>
                            <a:schemeClr val="tx2"/>
                          </a:solidFill>
                        </a:rPr>
                        <a:t>37.8 events/100 PY</a:t>
                      </a:r>
                      <a:endParaRPr lang="en-US" sz="1200" b="1" dirty="0">
                        <a:solidFill>
                          <a:schemeClr val="tx2"/>
                        </a:solidFill>
                      </a:endParaRPr>
                    </a:p>
                  </a:txBody>
                  <a:tcPr>
                    <a:lnL>
                      <a:noFill/>
                    </a:lnL>
                  </a:tcPr>
                </a:tc>
                <a:extLst>
                  <a:ext uri="{0D108BD9-81ED-4DB2-BD59-A6C34878D82A}">
                    <a16:rowId xmlns:a16="http://schemas.microsoft.com/office/drawing/2014/main" val="1891006848"/>
                  </a:ext>
                </a:extLst>
              </a:tr>
            </a:tbl>
          </a:graphicData>
        </a:graphic>
      </p:graphicFrame>
      <p:sp>
        <p:nvSpPr>
          <p:cNvPr id="9" name="Rectangle 8">
            <a:extLst>
              <a:ext uri="{FF2B5EF4-FFF2-40B4-BE49-F238E27FC236}">
                <a16:creationId xmlns:a16="http://schemas.microsoft.com/office/drawing/2014/main" id="{90701CF2-B65F-44DB-8FE1-DA6C513DCA61}"/>
              </a:ext>
            </a:extLst>
          </p:cNvPr>
          <p:cNvSpPr/>
          <p:nvPr/>
        </p:nvSpPr>
        <p:spPr>
          <a:xfrm>
            <a:off x="10464102" y="6614656"/>
            <a:ext cx="130195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03030"/>
                </a:solidFill>
                <a:effectLst/>
                <a:uLnTx/>
                <a:uFillTx/>
                <a:latin typeface="Arial" panose="020B0604020202020204" pitchFamily="34" charset="0"/>
                <a:ea typeface="Arial Unicode MS"/>
                <a:cs typeface="Arial"/>
              </a:rPr>
              <a:t>MA-VER-IN-0004-1</a:t>
            </a:r>
            <a:endParaRPr kumimoji="0" lang="en-US" sz="1000" b="1" i="0" u="none" strike="noStrike" kern="1200" cap="none" spc="0" normalizeH="0" baseline="0" noProof="0">
              <a:ln>
                <a:noFill/>
              </a:ln>
              <a:solidFill>
                <a:srgbClr val="53585A"/>
              </a:solidFill>
              <a:effectLst/>
              <a:uLnTx/>
              <a:uFillTx/>
              <a:latin typeface="Arial" panose="020B0604020202020204"/>
              <a:ea typeface="Arial Unicode MS"/>
              <a:cs typeface="Arial"/>
            </a:endParaRPr>
          </a:p>
        </p:txBody>
      </p:sp>
      <p:sp>
        <p:nvSpPr>
          <p:cNvPr id="3" name="Rectangle 2">
            <a:extLst>
              <a:ext uri="{FF2B5EF4-FFF2-40B4-BE49-F238E27FC236}">
                <a16:creationId xmlns:a16="http://schemas.microsoft.com/office/drawing/2014/main" id="{E8FF0794-7A52-4F92-A819-76E9E39C41DE}"/>
              </a:ext>
            </a:extLst>
          </p:cNvPr>
          <p:cNvSpPr/>
          <p:nvPr/>
        </p:nvSpPr>
        <p:spPr>
          <a:xfrm>
            <a:off x="9153490" y="1381161"/>
            <a:ext cx="2399568" cy="4861516"/>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6E44A474-1039-4AE6-9381-329399011C1F}"/>
              </a:ext>
            </a:extLst>
          </p:cNvPr>
          <p:cNvSpPr/>
          <p:nvPr/>
        </p:nvSpPr>
        <p:spPr>
          <a:xfrm>
            <a:off x="10771266" y="3699301"/>
            <a:ext cx="1301959" cy="864295"/>
          </a:xfrm>
          <a:prstGeom prst="rect">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C00000"/>
                </a:solidFill>
                <a:effectLst/>
                <a:uLnTx/>
                <a:uFillTx/>
                <a:latin typeface="Arial" panose="020B0604020202020204"/>
                <a:ea typeface="+mn-ea"/>
                <a:cs typeface="+mn-cs"/>
              </a:rPr>
              <a:t>100% focus on WHF patients</a:t>
            </a:r>
            <a:endParaRPr kumimoji="0" lang="en-US" sz="16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538598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9CD16D-CBC4-4883-9D88-B86533383416}"/>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5B319434-83C0-43D4-A84B-47F85C8E81EA}"/>
              </a:ext>
            </a:extLst>
          </p:cNvPr>
          <p:cNvSpPr>
            <a:spLocks noGrp="1"/>
          </p:cNvSpPr>
          <p:nvPr>
            <p:ph type="title"/>
          </p:nvPr>
        </p:nvSpPr>
        <p:spPr/>
        <p:txBody>
          <a:bodyPr>
            <a:normAutofit fontScale="90000"/>
          </a:bodyPr>
          <a:lstStyle/>
          <a:p>
            <a:r>
              <a:rPr lang="en-GB" sz="2400"/>
              <a:t>VICTORIA was designed to study patients with symptomatic chronic HF who had a recent worsening HF event</a:t>
            </a:r>
            <a:r>
              <a:rPr lang="en-GB" sz="2400" baseline="30000"/>
              <a:t>1–5</a:t>
            </a:r>
            <a:endParaRPr lang="en-GB"/>
          </a:p>
        </p:txBody>
      </p:sp>
      <p:sp>
        <p:nvSpPr>
          <p:cNvPr id="4" name="Footer Placeholder 3">
            <a:extLst>
              <a:ext uri="{FF2B5EF4-FFF2-40B4-BE49-F238E27FC236}">
                <a16:creationId xmlns:a16="http://schemas.microsoft.com/office/drawing/2014/main" id="{408DC7F6-523A-47F7-9B9F-F231323B4C15}"/>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98989"/>
                </a:solidFill>
                <a:effectLst/>
                <a:uLnTx/>
                <a:uFillTx/>
                <a:latin typeface="Arial"/>
                <a:ea typeface="+mn-ea"/>
                <a:cs typeface="+mn-cs"/>
              </a:rPr>
              <a:t>*Study drug was initiated in hospital in 11% of patients.</a:t>
            </a:r>
            <a:r>
              <a:rPr kumimoji="0" lang="en-GB" sz="800" b="0" i="0" u="none" strike="noStrike" kern="1200" cap="none" spc="0" normalizeH="0" baseline="30000" noProof="0">
                <a:ln>
                  <a:noFill/>
                </a:ln>
                <a:solidFill>
                  <a:srgbClr val="898989"/>
                </a:solidFill>
                <a:effectLst/>
                <a:uLnTx/>
                <a:uFillTx/>
                <a:latin typeface="Arial"/>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a:ea typeface="+mn-ea"/>
                <a:cs typeface="+mn-cs"/>
              </a:rPr>
              <a:t>HF, heart failure; IV, intravenous; LVEF, left ventricular ejection fraction; NYHA, New York Heart Association; SBP, systolic blood press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98989"/>
                </a:solidFill>
                <a:effectLst/>
                <a:uLnTx/>
                <a:uFillTx/>
                <a:latin typeface="Arial"/>
                <a:ea typeface="+mn-ea"/>
                <a:cs typeface="+mn-cs"/>
              </a:rPr>
              <a:t>References: 1.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Armstrong PW </a:t>
            </a:r>
            <a:r>
              <a:rPr kumimoji="0" lang="en-US" sz="800" b="0" i="1" u="none" strike="noStrike" kern="1200" cap="none" spc="0" normalizeH="0" baseline="0" noProof="0">
                <a:ln>
                  <a:noFill/>
                </a:ln>
                <a:solidFill>
                  <a:srgbClr val="898989"/>
                </a:solidFill>
                <a:effectLst/>
                <a:uLnTx/>
                <a:uFillTx/>
                <a:latin typeface="Arial"/>
                <a:ea typeface="MS PGothic" charset="0"/>
                <a:cs typeface="+mn-cs"/>
              </a:rPr>
              <a:t>et al. JACC Heart Fail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2018;6:96–104; </a:t>
            </a:r>
            <a:r>
              <a:rPr kumimoji="0" lang="en-US" sz="800" b="1" i="0" u="none" strike="noStrike" kern="1200" cap="none" spc="0" normalizeH="0" baseline="0" noProof="0">
                <a:ln>
                  <a:noFill/>
                </a:ln>
                <a:solidFill>
                  <a:srgbClr val="898989"/>
                </a:solidFill>
                <a:effectLst/>
                <a:uLnTx/>
                <a:uFillTx/>
                <a:latin typeface="Arial"/>
                <a:ea typeface="MS PGothic" charset="0"/>
                <a:cs typeface="+mn-cs"/>
              </a:rPr>
              <a:t>2. </a:t>
            </a:r>
            <a:r>
              <a:rPr kumimoji="0" lang="da-DK" sz="800" b="0" i="0" u="none" strike="noStrike" kern="1200" cap="none" spc="0" normalizeH="0" baseline="0" noProof="0">
                <a:ln>
                  <a:noFill/>
                </a:ln>
                <a:solidFill>
                  <a:srgbClr val="898989"/>
                </a:solidFill>
                <a:effectLst/>
                <a:uLnTx/>
                <a:uFillTx/>
                <a:latin typeface="Arial"/>
                <a:ea typeface="MS PGothic" charset="0"/>
                <a:cs typeface="+mn-cs"/>
              </a:rPr>
              <a:t>Armstrong PW </a:t>
            </a:r>
            <a:r>
              <a:rPr kumimoji="0" lang="da-DK" sz="800" b="0" i="1" u="none" strike="noStrike" kern="1200" cap="none" spc="0" normalizeH="0" baseline="0" noProof="0">
                <a:ln>
                  <a:noFill/>
                </a:ln>
                <a:solidFill>
                  <a:srgbClr val="898989"/>
                </a:solidFill>
                <a:effectLst/>
                <a:uLnTx/>
                <a:uFillTx/>
                <a:latin typeface="Arial"/>
                <a:ea typeface="MS PGothic" charset="0"/>
                <a:cs typeface="+mn-cs"/>
              </a:rPr>
              <a:t>et al. N Engl J Med</a:t>
            </a:r>
            <a:r>
              <a:rPr kumimoji="0" lang="da-DK" sz="800" b="0" i="0" u="none" strike="noStrike" kern="1200" cap="none" spc="0" normalizeH="0" baseline="0" noProof="0">
                <a:ln>
                  <a:noFill/>
                </a:ln>
                <a:solidFill>
                  <a:srgbClr val="898989"/>
                </a:solidFill>
                <a:effectLst/>
                <a:uLnTx/>
                <a:uFillTx/>
                <a:latin typeface="Arial"/>
                <a:ea typeface="MS PGothic" charset="0"/>
                <a:cs typeface="+mn-cs"/>
              </a:rPr>
              <a:t> 2020;382:1883–1893; </a:t>
            </a:r>
            <a:r>
              <a:rPr kumimoji="0" lang="da-DK" sz="800" b="1" i="0" u="none" strike="noStrike" kern="1200" cap="none" spc="0" normalizeH="0" baseline="0" noProof="0">
                <a:ln>
                  <a:noFill/>
                </a:ln>
                <a:solidFill>
                  <a:srgbClr val="898989"/>
                </a:solidFill>
                <a:effectLst/>
                <a:uLnTx/>
                <a:uFillTx/>
                <a:latin typeface="Arial"/>
                <a:ea typeface="MS PGothic" charset="0"/>
                <a:cs typeface="+mn-cs"/>
              </a:rPr>
              <a:t>3</a:t>
            </a:r>
            <a:r>
              <a:rPr kumimoji="0" lang="en-US" sz="800" b="1" i="0" u="none" strike="noStrike" kern="1200" cap="none" spc="0" normalizeH="0" baseline="0" noProof="0">
                <a:ln>
                  <a:noFill/>
                </a:ln>
                <a:solidFill>
                  <a:srgbClr val="898989"/>
                </a:solidFill>
                <a:effectLst/>
                <a:uLnTx/>
                <a:uFillTx/>
                <a:latin typeface="Arial"/>
                <a:ea typeface="MS PGothic" charset="0"/>
                <a:cs typeface="+mn-cs"/>
              </a:rPr>
              <a:t>.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Hicks KA </a:t>
            </a:r>
            <a:r>
              <a:rPr kumimoji="0" lang="en-US" sz="800" b="0" i="1" u="none" strike="noStrike" kern="1200" cap="none" spc="0" normalizeH="0" baseline="0" noProof="0">
                <a:ln>
                  <a:noFill/>
                </a:ln>
                <a:solidFill>
                  <a:srgbClr val="898989"/>
                </a:solidFill>
                <a:effectLst/>
                <a:uLnTx/>
                <a:uFillTx/>
                <a:latin typeface="Arial"/>
                <a:ea typeface="MS PGothic" charset="0"/>
                <a:cs typeface="+mn-cs"/>
              </a:rPr>
              <a:t>et al. Circulation</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 2015;132:302–361;</a:t>
            </a:r>
            <a:br>
              <a:rPr kumimoji="0" lang="en-US" sz="800" b="0" i="0" u="none" strike="noStrike" kern="1200" cap="none" spc="0" normalizeH="0" baseline="0" noProof="0">
                <a:ln>
                  <a:noFill/>
                </a:ln>
                <a:solidFill>
                  <a:srgbClr val="898989"/>
                </a:solidFill>
                <a:effectLst/>
                <a:uLnTx/>
                <a:uFillTx/>
                <a:latin typeface="Arial"/>
                <a:ea typeface="MS PGothic" charset="0"/>
                <a:cs typeface="+mn-cs"/>
              </a:rPr>
            </a:br>
            <a:r>
              <a:rPr kumimoji="0" lang="en-US" sz="800" b="1" i="0" u="none" strike="noStrike" kern="1200" cap="none" spc="0" normalizeH="0" baseline="0" noProof="0">
                <a:ln>
                  <a:noFill/>
                </a:ln>
                <a:solidFill>
                  <a:srgbClr val="898989"/>
                </a:solidFill>
                <a:effectLst/>
                <a:uLnTx/>
                <a:uFillTx/>
                <a:latin typeface="Arial"/>
                <a:ea typeface="MS PGothic" charset="0"/>
                <a:cs typeface="+mn-cs"/>
              </a:rPr>
              <a:t>4.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European Medicines Agency. 2017. CPMP/EWP/235/95, Rev.2. Available at: </a:t>
            </a:r>
            <a:r>
              <a:rPr kumimoji="0" lang="en-US" sz="800" b="0" i="0" u="none" strike="noStrike" kern="1200" cap="none" spc="0" normalizeH="0" baseline="0" noProof="0">
                <a:ln>
                  <a:noFill/>
                </a:ln>
                <a:solidFill>
                  <a:srgbClr val="898989"/>
                </a:solidFill>
                <a:effectLst/>
                <a:uLnTx/>
                <a:uFillTx/>
                <a:latin typeface="Arial"/>
                <a:ea typeface="MS PGothic" charset="0"/>
                <a:cs typeface="+mn-cs"/>
                <a:hlinkClick r:id="rId3">
                  <a:extLst>
                    <a:ext uri="{A12FA001-AC4F-418D-AE19-62706E023703}">
                      <ahyp:hlinkClr xmlns:ahyp="http://schemas.microsoft.com/office/drawing/2018/hyperlinkcolor" val="tx"/>
                    </a:ext>
                  </a:extLst>
                </a:hlinkClick>
              </a:rPr>
              <a:t>https://www.ema.europa.eu/en/documents/scientific-guideline/guideline-clinical-investigation-medicinal-products-treatment-chronic-heart-failure-revision-2_en.pdf</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 [accessed 14 April 2022]; </a:t>
            </a:r>
            <a:r>
              <a:rPr kumimoji="0" lang="en-US" sz="800" b="1" i="0" u="none" strike="noStrike" kern="1200" cap="none" spc="0" normalizeH="0" baseline="0" noProof="0">
                <a:ln>
                  <a:noFill/>
                </a:ln>
                <a:solidFill>
                  <a:srgbClr val="898989"/>
                </a:solidFill>
                <a:effectLst/>
                <a:uLnTx/>
                <a:uFillTx/>
                <a:latin typeface="Arial"/>
                <a:ea typeface="MS PGothic" charset="0"/>
                <a:cs typeface="+mn-cs"/>
              </a:rPr>
              <a:t>5.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Lam CSP </a:t>
            </a:r>
            <a:r>
              <a:rPr kumimoji="0" lang="en-US" sz="800" b="0" i="1" u="none" strike="noStrike" kern="1200" cap="none" spc="0" normalizeH="0" baseline="0" noProof="0">
                <a:ln>
                  <a:noFill/>
                </a:ln>
                <a:solidFill>
                  <a:srgbClr val="898989"/>
                </a:solidFill>
                <a:effectLst/>
                <a:uLnTx/>
                <a:uFillTx/>
                <a:latin typeface="Arial"/>
                <a:ea typeface="MS PGothic" charset="0"/>
                <a:cs typeface="+mn-cs"/>
              </a:rPr>
              <a:t>et al. JAMA </a:t>
            </a:r>
            <a:r>
              <a:rPr kumimoji="0" lang="en-US" sz="800" b="0" i="1" u="none" strike="noStrike" kern="1200" cap="none" spc="0" normalizeH="0" baseline="0" noProof="0" err="1">
                <a:ln>
                  <a:noFill/>
                </a:ln>
                <a:solidFill>
                  <a:srgbClr val="898989"/>
                </a:solidFill>
                <a:effectLst/>
                <a:uLnTx/>
                <a:uFillTx/>
                <a:latin typeface="Arial"/>
                <a:ea typeface="MS PGothic" charset="0"/>
                <a:cs typeface="+mn-cs"/>
              </a:rPr>
              <a:t>Cardiol</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 2021;6:706–712.</a:t>
            </a:r>
          </a:p>
        </p:txBody>
      </p:sp>
      <p:sp>
        <p:nvSpPr>
          <p:cNvPr id="14" name="TextBox 13">
            <a:extLst>
              <a:ext uri="{FF2B5EF4-FFF2-40B4-BE49-F238E27FC236}">
                <a16:creationId xmlns:a16="http://schemas.microsoft.com/office/drawing/2014/main" id="{CAF88D9C-E399-4CAA-A875-6031C13BEDC2}"/>
              </a:ext>
            </a:extLst>
          </p:cNvPr>
          <p:cNvSpPr txBox="1"/>
          <p:nvPr/>
        </p:nvSpPr>
        <p:spPr>
          <a:xfrm>
            <a:off x="6240016" y="1712864"/>
            <a:ext cx="3960000" cy="972000"/>
          </a:xfrm>
          <a:prstGeom prst="rect">
            <a:avLst/>
          </a:prstGeom>
          <a:solidFill>
            <a:schemeClr val="accent5">
              <a:lumMod val="75000"/>
            </a:schemeClr>
          </a:solidFill>
          <a:ln>
            <a:noFill/>
          </a:ln>
        </p:spPr>
        <p:txBody>
          <a:bodyPr wrap="square" lIns="0" tIns="0" rIns="0" bIns="0" rtlCol="0" anchor="ctr">
            <a:noAutofit/>
          </a:bodyPr>
          <a:lstStyle/>
          <a:p>
            <a:pPr marL="0" marR="0" lvl="0" indent="0" algn="ctr" defTabSz="916411" rtl="0" eaLnBrk="1" fontAlgn="auto" latinLnBrk="0" hangingPunct="1">
              <a:lnSpc>
                <a:spcPct val="100000"/>
              </a:lnSpc>
              <a:spcBef>
                <a:spcPts val="0"/>
              </a:spcBef>
              <a:spcAft>
                <a:spcPts val="0"/>
              </a:spcAft>
              <a:buClrTx/>
              <a:buSzTx/>
              <a:buFontTx/>
              <a:buNone/>
              <a:tabLst/>
              <a:defRPr/>
            </a:pPr>
            <a:r>
              <a:rPr kumimoji="0" lang="en-US" sz="2200" b="1" i="1" u="none" strike="noStrike" kern="0" cap="none" spc="0" normalizeH="0" baseline="0" noProof="0">
                <a:ln>
                  <a:noFill/>
                </a:ln>
                <a:solidFill>
                  <a:srgbClr val="FFFFFF"/>
                </a:solidFill>
                <a:effectLst/>
                <a:uLnTx/>
                <a:uFillTx/>
                <a:latin typeface="Arial"/>
                <a:ea typeface="+mn-ea"/>
                <a:cs typeface="Calibri" panose="020F0502020204030204" pitchFamily="34" charset="0"/>
              </a:rPr>
              <a:t>‘Worsening HF event’</a:t>
            </a:r>
          </a:p>
        </p:txBody>
      </p:sp>
      <p:sp>
        <p:nvSpPr>
          <p:cNvPr id="15" name="TextBox 14">
            <a:extLst>
              <a:ext uri="{FF2B5EF4-FFF2-40B4-BE49-F238E27FC236}">
                <a16:creationId xmlns:a16="http://schemas.microsoft.com/office/drawing/2014/main" id="{6B91781A-9D11-4A59-9882-ACF33A5047C4}"/>
              </a:ext>
            </a:extLst>
          </p:cNvPr>
          <p:cNvSpPr txBox="1"/>
          <p:nvPr/>
        </p:nvSpPr>
        <p:spPr>
          <a:xfrm>
            <a:off x="596709" y="1712864"/>
            <a:ext cx="3960000" cy="972000"/>
          </a:xfrm>
          <a:prstGeom prst="rect">
            <a:avLst/>
          </a:prstGeom>
          <a:solidFill>
            <a:schemeClr val="accent5">
              <a:lumMod val="75000"/>
            </a:schemeClr>
          </a:solidFill>
          <a:ln>
            <a:noFill/>
          </a:ln>
        </p:spPr>
        <p:txBody>
          <a:bodyPr wrap="square" lIns="0" tIns="0" rIns="0" bIns="0" rtlCol="0" anchor="ctr">
            <a:noAutofit/>
          </a:bodyPr>
          <a:lstStyle/>
          <a:p>
            <a:pPr marL="0" marR="0" lvl="0" indent="0" algn="ctr" defTabSz="916411" rtl="0" eaLnBrk="1" fontAlgn="auto" latinLnBrk="0" hangingPunct="1">
              <a:lnSpc>
                <a:spcPct val="100000"/>
              </a:lnSpc>
              <a:spcBef>
                <a:spcPts val="0"/>
              </a:spcBef>
              <a:spcAft>
                <a:spcPts val="0"/>
              </a:spcAft>
              <a:buClrTx/>
              <a:buSzTx/>
              <a:buFontTx/>
              <a:buNone/>
              <a:tabLst/>
              <a:defRPr/>
            </a:pPr>
            <a:r>
              <a:rPr kumimoji="0" lang="en-US" sz="2200" b="1" i="1" u="none" strike="noStrike" kern="0" cap="none" spc="0" normalizeH="0" baseline="0" noProof="0">
                <a:ln>
                  <a:noFill/>
                </a:ln>
                <a:solidFill>
                  <a:srgbClr val="FFFFFF"/>
                </a:solidFill>
                <a:effectLst/>
                <a:uLnTx/>
                <a:uFillTx/>
                <a:latin typeface="Arial"/>
                <a:ea typeface="+mn-ea"/>
                <a:cs typeface="Calibri" panose="020F0502020204030204" pitchFamily="34" charset="0"/>
              </a:rPr>
              <a:t>‘Symptomatic chronic HF’</a:t>
            </a:r>
          </a:p>
        </p:txBody>
      </p:sp>
      <p:sp>
        <p:nvSpPr>
          <p:cNvPr id="16" name="TextBox 15">
            <a:extLst>
              <a:ext uri="{FF2B5EF4-FFF2-40B4-BE49-F238E27FC236}">
                <a16:creationId xmlns:a16="http://schemas.microsoft.com/office/drawing/2014/main" id="{207E1B0C-58C7-424F-88D9-D660816F0F0D}"/>
              </a:ext>
            </a:extLst>
          </p:cNvPr>
          <p:cNvSpPr txBox="1"/>
          <p:nvPr/>
        </p:nvSpPr>
        <p:spPr>
          <a:xfrm>
            <a:off x="4821577" y="2062295"/>
            <a:ext cx="1153571" cy="650346"/>
          </a:xfrm>
          <a:prstGeom prst="rect">
            <a:avLst/>
          </a:prstGeom>
          <a:noFill/>
        </p:spPr>
        <p:txBody>
          <a:bodyPr wrap="square" lIns="0" tIns="0" rIns="0" bIns="0" rtlCol="0">
            <a:noAutofit/>
          </a:bodyPr>
          <a:lstStyle/>
          <a:p>
            <a:pPr marL="0" marR="0" lvl="0" indent="0" algn="ctr" defTabSz="916411"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a:ln>
                  <a:noFill/>
                </a:ln>
                <a:solidFill>
                  <a:srgbClr val="FC3B2D"/>
                </a:solidFill>
                <a:effectLst/>
                <a:uLnTx/>
                <a:uFillTx/>
                <a:latin typeface="Arial"/>
                <a:ea typeface="+mn-ea"/>
                <a:cs typeface="Calibri" panose="020F0502020204030204" pitchFamily="34" charset="0"/>
              </a:rPr>
              <a:t>after a</a:t>
            </a:r>
          </a:p>
        </p:txBody>
      </p:sp>
      <p:sp>
        <p:nvSpPr>
          <p:cNvPr id="17" name="Content Placeholder 5">
            <a:extLst>
              <a:ext uri="{FF2B5EF4-FFF2-40B4-BE49-F238E27FC236}">
                <a16:creationId xmlns:a16="http://schemas.microsoft.com/office/drawing/2014/main" id="{44B4B40A-D0D6-446E-A75B-A1D6080CD184}"/>
              </a:ext>
            </a:extLst>
          </p:cNvPr>
          <p:cNvSpPr txBox="1">
            <a:spLocks/>
          </p:cNvSpPr>
          <p:nvPr/>
        </p:nvSpPr>
        <p:spPr>
          <a:xfrm>
            <a:off x="596709" y="4545124"/>
            <a:ext cx="9603307" cy="584775"/>
          </a:xfrm>
          <a:prstGeom prst="roundRect">
            <a:avLst>
              <a:gd name="adj" fmla="val 0"/>
            </a:avLst>
          </a:prstGeom>
          <a:solidFill>
            <a:schemeClr val="accent1"/>
          </a:solidFill>
          <a:ln w="12700">
            <a:noFill/>
          </a:ln>
          <a:effectLst>
            <a:outerShdw blurRad="50800" dist="38100" dir="8100000" algn="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rtlCol="0" anchor="t">
            <a:spAutoFit/>
          </a:bodyPr>
          <a:lstStyle>
            <a:defPPr>
              <a:defRPr lang="hu-HU"/>
            </a:defPPr>
            <a:lvl1pPr lvl="0" algn="ctr" defTabSz="914377">
              <a:defRPr kumimoji="0" sz="1600" b="1" i="0" u="none" strike="noStrike" cap="none" spc="0" normalizeH="0" baseline="0">
                <a:ln>
                  <a:noFill/>
                </a:ln>
                <a:solidFill>
                  <a:srgbClr val="FFFFFF"/>
                </a:solidFill>
                <a:effectLst/>
                <a:uLnTx/>
                <a:uFillTx/>
                <a:latin typeface="Aria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Patients may have been randomized as an inpatient or outpatient, but must have met</a:t>
            </a:r>
            <a:br>
              <a:rPr kumimoji="0" lang="en-US" sz="1600" b="1" i="0" u="none" strike="noStrike" kern="1200" cap="none" spc="0" normalizeH="0" baseline="0" noProof="0">
                <a:ln>
                  <a:noFill/>
                </a:ln>
                <a:solidFill>
                  <a:srgbClr val="FFFFFF"/>
                </a:solidFill>
                <a:effectLst/>
                <a:uLnTx/>
                <a:uFillTx/>
                <a:latin typeface="Arial"/>
                <a:ea typeface="+mn-ea"/>
                <a:cs typeface="+mn-cs"/>
              </a:rPr>
            </a:br>
            <a:r>
              <a:rPr kumimoji="0" lang="en-US" sz="1600" b="1" i="0" u="none" strike="noStrike" kern="1200" cap="none" spc="0" normalizeH="0" baseline="0" noProof="0">
                <a:ln>
                  <a:noFill/>
                </a:ln>
                <a:solidFill>
                  <a:srgbClr val="FFFFFF"/>
                </a:solidFill>
                <a:effectLst/>
                <a:uLnTx/>
                <a:uFillTx/>
                <a:latin typeface="Arial"/>
                <a:ea typeface="+mn-ea"/>
                <a:cs typeface="+mn-cs"/>
              </a:rPr>
              <a:t>criteria for clinical stability (e.g. SBP ≥100 mmHg, off IV treatments ≥24 hours)</a:t>
            </a:r>
          </a:p>
        </p:txBody>
      </p:sp>
      <p:sp>
        <p:nvSpPr>
          <p:cNvPr id="18" name="Content Placeholder 5">
            <a:extLst>
              <a:ext uri="{FF2B5EF4-FFF2-40B4-BE49-F238E27FC236}">
                <a16:creationId xmlns:a16="http://schemas.microsoft.com/office/drawing/2014/main" id="{13BFC809-FFA8-42DD-B02F-F21E60720B28}"/>
              </a:ext>
            </a:extLst>
          </p:cNvPr>
          <p:cNvSpPr txBox="1">
            <a:spLocks/>
          </p:cNvSpPr>
          <p:nvPr/>
        </p:nvSpPr>
        <p:spPr>
          <a:xfrm>
            <a:off x="596709" y="2780928"/>
            <a:ext cx="3960000" cy="975519"/>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NYHA class II–IV</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LVEF &lt;45%</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On available HF therapies</a:t>
            </a:r>
          </a:p>
          <a:p>
            <a:pPr marL="342900" marR="0" lvl="0" indent="-342900" algn="l" defTabSz="916411"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Arial"/>
              <a:ea typeface="+mn-ea"/>
              <a:cs typeface="Calibri" panose="020F0502020204030204" pitchFamily="34" charset="0"/>
            </a:endParaRPr>
          </a:p>
        </p:txBody>
      </p:sp>
      <p:sp>
        <p:nvSpPr>
          <p:cNvPr id="19" name="Content Placeholder 5">
            <a:extLst>
              <a:ext uri="{FF2B5EF4-FFF2-40B4-BE49-F238E27FC236}">
                <a16:creationId xmlns:a16="http://schemas.microsoft.com/office/drawing/2014/main" id="{BD7946FF-4383-4569-9E11-04B698BFE19E}"/>
              </a:ext>
            </a:extLst>
          </p:cNvPr>
          <p:cNvSpPr txBox="1">
            <a:spLocks/>
          </p:cNvSpPr>
          <p:nvPr/>
        </p:nvSpPr>
        <p:spPr>
          <a:xfrm>
            <a:off x="6240016" y="2780928"/>
            <a:ext cx="4285107" cy="1110163"/>
          </a:xfrm>
          <a:prstGeom prst="rect">
            <a:avLst/>
          </a:prstGeom>
        </p:spPr>
        <p:txBody>
          <a:bodyPr/>
          <a:lst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Recent HF decompensation</a:t>
            </a:r>
          </a:p>
          <a:p>
            <a:pPr marL="361950" marR="0" lvl="1" indent="-180975" algn="l" defTabSz="914400" rtl="0" eaLnBrk="1" fontAlgn="auto" latinLnBrk="0" hangingPunct="1">
              <a:lnSpc>
                <a:spcPct val="100000"/>
              </a:lnSpc>
              <a:spcBef>
                <a:spcPts val="600"/>
              </a:spcBef>
              <a:spcAft>
                <a:spcPts val="0"/>
              </a:spcAft>
              <a:buClr>
                <a:srgbClr val="FB6055"/>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lt;3 months after HFH (67% of patients)*</a:t>
            </a:r>
          </a:p>
          <a:p>
            <a:pPr marL="361950" marR="0" lvl="1" indent="-180975" algn="l" defTabSz="914400" rtl="0" eaLnBrk="1" fontAlgn="auto" latinLnBrk="0" hangingPunct="1">
              <a:lnSpc>
                <a:spcPct val="100000"/>
              </a:lnSpc>
              <a:spcBef>
                <a:spcPts val="600"/>
              </a:spcBef>
              <a:spcAft>
                <a:spcPts val="0"/>
              </a:spcAft>
              <a:buClr>
                <a:srgbClr val="FB6055"/>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3–6 months after HFH (17% of patients)</a:t>
            </a:r>
          </a:p>
          <a:p>
            <a:pPr marL="361950" marR="0" lvl="1" indent="-180975" algn="l" defTabSz="914400" rtl="0" eaLnBrk="1" fontAlgn="auto" latinLnBrk="0" hangingPunct="1">
              <a:lnSpc>
                <a:spcPct val="100000"/>
              </a:lnSpc>
              <a:spcBef>
                <a:spcPts val="600"/>
              </a:spcBef>
              <a:spcAft>
                <a:spcPts val="0"/>
              </a:spcAft>
              <a:buClr>
                <a:srgbClr val="FB6055"/>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lt;3 months after IV diuretic (16% of patients)</a:t>
            </a:r>
          </a:p>
          <a:p>
            <a:pPr marL="180975" marR="0" lvl="0" indent="-180975" algn="l" defTabSz="914400" rtl="0" eaLnBrk="1" fontAlgn="auto" latinLnBrk="0" hangingPunct="1">
              <a:lnSpc>
                <a:spcPct val="110000"/>
              </a:lnSpc>
              <a:spcBef>
                <a:spcPts val="600"/>
              </a:spcBef>
              <a:spcAft>
                <a:spcPts val="0"/>
              </a:spcAft>
              <a:buClr>
                <a:srgbClr val="4F256F"/>
              </a:buClr>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Elevated natriuretic peptides</a:t>
            </a:r>
          </a:p>
          <a:p>
            <a:pPr marL="343654" marR="0" lvl="0" indent="-343654" algn="l" defTabSz="916411" rtl="0" eaLnBrk="1" fontAlgn="auto" latinLnBrk="0" hangingPunct="1">
              <a:lnSpc>
                <a:spcPct val="110000"/>
              </a:lnSpc>
              <a:spcBef>
                <a:spcPts val="0"/>
              </a:spcBef>
              <a:spcAft>
                <a:spcPts val="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000000"/>
              </a:solidFill>
              <a:effectLst/>
              <a:uLnTx/>
              <a:uFillTx/>
              <a:latin typeface="Arial"/>
              <a:ea typeface="+mn-ea"/>
              <a:cs typeface="Calibri" panose="020F0502020204030204" pitchFamily="34" charset="0"/>
            </a:endParaRPr>
          </a:p>
        </p:txBody>
      </p:sp>
      <p:sp>
        <p:nvSpPr>
          <p:cNvPr id="20" name="Content Placeholder 5">
            <a:extLst>
              <a:ext uri="{FF2B5EF4-FFF2-40B4-BE49-F238E27FC236}">
                <a16:creationId xmlns:a16="http://schemas.microsoft.com/office/drawing/2014/main" id="{4CD04A05-6DBC-420C-A4F2-1DB338890A85}"/>
              </a:ext>
            </a:extLst>
          </p:cNvPr>
          <p:cNvSpPr txBox="1">
            <a:spLocks/>
          </p:cNvSpPr>
          <p:nvPr/>
        </p:nvSpPr>
        <p:spPr>
          <a:xfrm>
            <a:off x="3325627" y="5273915"/>
            <a:ext cx="4145470" cy="376734"/>
          </a:xfrm>
          <a:prstGeom prst="roundRect">
            <a:avLst>
              <a:gd name="adj" fmla="val 0"/>
            </a:avLst>
          </a:prstGeom>
          <a:solidFill>
            <a:schemeClr val="accent1"/>
          </a:solidFill>
          <a:ln w="12700">
            <a:noFill/>
          </a:ln>
          <a:effectLst>
            <a:outerShdw blurRad="50800" dist="38100" dir="8100000" algn="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rtlCol="0" anchor="t">
            <a:spAutoFit/>
          </a:bodyPr>
          <a:lstStyle>
            <a:defPPr>
              <a:defRPr lang="hu-HU"/>
            </a:defPPr>
            <a:lvl1pPr lvl="0" algn="ctr" defTabSz="914377">
              <a:defRPr kumimoji="0" sz="1600" b="1" i="0" u="none" strike="noStrike" cap="none" spc="0" normalizeH="0" baseline="0">
                <a:ln>
                  <a:noFill/>
                </a:ln>
                <a:solidFill>
                  <a:srgbClr val="FFFFFF"/>
                </a:solidFill>
                <a:effectLst/>
                <a:uLnTx/>
                <a:uFillTx/>
                <a:latin typeface="Aria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There was no run-in period</a:t>
            </a:r>
          </a:p>
        </p:txBody>
      </p:sp>
      <p:sp>
        <p:nvSpPr>
          <p:cNvPr id="12" name="Text Placeholder 1">
            <a:extLst>
              <a:ext uri="{FF2B5EF4-FFF2-40B4-BE49-F238E27FC236}">
                <a16:creationId xmlns:a16="http://schemas.microsoft.com/office/drawing/2014/main" id="{25195E92-AC17-48BB-99F7-7DFB0E534C74}"/>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848746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6B6DF8A-13F6-4748-AB6B-22F217D1A29C}"/>
              </a:ext>
            </a:extLst>
          </p:cNvPr>
          <p:cNvSpPr>
            <a:spLocks noGrp="1"/>
          </p:cNvSpPr>
          <p:nvPr>
            <p:ph type="title"/>
          </p:nvPr>
        </p:nvSpPr>
        <p:spPr>
          <a:xfrm>
            <a:off x="127091" y="1384084"/>
            <a:ext cx="11316356" cy="1001168"/>
          </a:xfrm>
        </p:spPr>
        <p:txBody>
          <a:bodyPr>
            <a:normAutofit fontScale="90000"/>
          </a:bodyPr>
          <a:lstStyle/>
          <a:p>
            <a:pPr marL="0" marR="0">
              <a:lnSpc>
                <a:spcPct val="150000"/>
              </a:lnSpc>
              <a:spcBef>
                <a:spcPts val="0"/>
              </a:spcBef>
              <a:spcAft>
                <a:spcPts val="0"/>
              </a:spcAft>
            </a:pPr>
            <a:br>
              <a:rPr lang="en-US" sz="3600" dirty="0">
                <a:effectLst/>
              </a:rPr>
            </a:br>
            <a:r>
              <a:rPr lang="en-US" sz="2800" dirty="0">
                <a:effectLst/>
              </a:rPr>
              <a:t>Expanding horizons in worsening heart failure</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D8C65DA2-7871-4333-B622-DEE959E23F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4F3E8DA-EFA8-4AF6-91A7-62A147E0F12C}" type="slidenum">
              <a:rPr kumimoji="0" lang="en-US" sz="1000" b="0" i="0" u="none" strike="noStrike" kern="1200" cap="none" spc="0" normalizeH="0" baseline="0" noProof="0" smtClean="0">
                <a:ln>
                  <a:noFill/>
                </a:ln>
                <a:solidFill>
                  <a:srgbClr val="000000">
                    <a:tint val="75000"/>
                  </a:srgbClr>
                </a:solidFill>
                <a:effectLst/>
                <a:uLnTx/>
                <a:uFillTx/>
                <a:latin typeface="Arial Black" panose="020B0A040201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000000">
                  <a:tint val="75000"/>
                </a:srgbClr>
              </a:solidFill>
              <a:effectLst/>
              <a:uLnTx/>
              <a:uFillTx/>
              <a:latin typeface="Arial Black" panose="020B0A04020102020204" pitchFamily="34" charset="0"/>
              <a:ea typeface="+mn-ea"/>
              <a:cs typeface="+mn-cs"/>
            </a:endParaRPr>
          </a:p>
        </p:txBody>
      </p:sp>
      <p:sp>
        <p:nvSpPr>
          <p:cNvPr id="5" name="TextBox 4">
            <a:extLst>
              <a:ext uri="{FF2B5EF4-FFF2-40B4-BE49-F238E27FC236}">
                <a16:creationId xmlns:a16="http://schemas.microsoft.com/office/drawing/2014/main" id="{F15D7E17-85DC-4C6B-A8C9-8D211C585D80}"/>
              </a:ext>
            </a:extLst>
          </p:cNvPr>
          <p:cNvSpPr txBox="1"/>
          <p:nvPr/>
        </p:nvSpPr>
        <p:spPr>
          <a:xfrm>
            <a:off x="317639" y="5074148"/>
            <a:ext cx="3559622" cy="10156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strike="noStrike" kern="1200" cap="none" spc="0" normalizeH="0" baseline="0" noProof="0" dirty="0">
                <a:ln>
                  <a:noFill/>
                </a:ln>
                <a:effectLst/>
                <a:uLnTx/>
                <a:uFillTx/>
                <a:ea typeface="+mn-ea"/>
                <a:cs typeface="+mn-cs"/>
              </a:rPr>
              <a:t>Dr. Rajesh Pandit</a:t>
            </a:r>
            <a:endParaRPr lang="en-US" sz="2000" b="1" dirty="0"/>
          </a:p>
          <a:p>
            <a:r>
              <a:rPr lang="en-US" sz="2000" b="1" i="0" dirty="0">
                <a:effectLst/>
              </a:rPr>
              <a:t>MD MBBS, </a:t>
            </a:r>
            <a:r>
              <a:rPr lang="en-US" sz="2000" b="1" i="0" dirty="0" err="1">
                <a:effectLst/>
              </a:rPr>
              <a:t>Prayagraj</a:t>
            </a:r>
            <a:br>
              <a:rPr lang="en-US" sz="2000" b="1" i="0" dirty="0">
                <a:effectLst/>
              </a:rPr>
            </a:br>
            <a:endParaRPr lang="en-US" sz="2000" b="1" i="0" dirty="0">
              <a:effectLst/>
            </a:endParaRPr>
          </a:p>
        </p:txBody>
      </p:sp>
    </p:spTree>
    <p:extLst>
      <p:ext uri="{BB962C8B-B14F-4D97-AF65-F5344CB8AC3E}">
        <p14:creationId xmlns:p14="http://schemas.microsoft.com/office/powerpoint/2010/main" val="607908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B6737AA-0839-43DE-AF1A-2841A0EE20EA}"/>
              </a:ext>
            </a:extLst>
          </p:cNvPr>
          <p:cNvSpPr>
            <a:spLocks noGrp="1"/>
          </p:cNvSpPr>
          <p:nvPr>
            <p:ph sz="quarter" idx="13"/>
          </p:nvPr>
        </p:nvSpPr>
        <p:spPr/>
        <p:txBody>
          <a:bodyPr/>
          <a:lstStyle/>
          <a:p>
            <a:endParaRPr lang="en-US"/>
          </a:p>
        </p:txBody>
      </p:sp>
      <p:sp>
        <p:nvSpPr>
          <p:cNvPr id="7" name="Text Placeholder 6">
            <a:extLst>
              <a:ext uri="{FF2B5EF4-FFF2-40B4-BE49-F238E27FC236}">
                <a16:creationId xmlns:a16="http://schemas.microsoft.com/office/drawing/2014/main" id="{9664A40D-745A-4BDF-833E-A463C1FF72DC}"/>
              </a:ext>
            </a:extLst>
          </p:cNvPr>
          <p:cNvSpPr>
            <a:spLocks noGrp="1"/>
          </p:cNvSpPr>
          <p:nvPr>
            <p:ph type="body" sz="quarter" idx="14"/>
          </p:nvPr>
        </p:nvSpPr>
        <p:spPr/>
        <p:txBody>
          <a:bodyPr/>
          <a:lstStyle/>
          <a:p>
            <a:endParaRPr lang="en-US"/>
          </a:p>
        </p:txBody>
      </p:sp>
      <p:sp>
        <p:nvSpPr>
          <p:cNvPr id="4" name="Slide Number Placeholder 3">
            <a:extLst>
              <a:ext uri="{FF2B5EF4-FFF2-40B4-BE49-F238E27FC236}">
                <a16:creationId xmlns:a16="http://schemas.microsoft.com/office/drawing/2014/main" id="{25D2702B-AE51-4587-8237-791098130560}"/>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1C2FF50-D140-5E43-AEA8-75B2CE73B6E9}" type="slidenum">
              <a:rPr kumimoji="0" lang="en-US" sz="900" b="0" i="0" u="none" strike="noStrike" kern="1200" cap="none" spc="0" normalizeH="0" baseline="0" noProof="0" smtClean="0">
                <a:ln>
                  <a:noFill/>
                </a:ln>
                <a:solidFill>
                  <a:srgbClr val="53585A"/>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785F3F8-993A-4773-8000-D40500582B45}"/>
              </a:ext>
            </a:extLst>
          </p:cNvPr>
          <p:cNvSpPr>
            <a:spLocks noGrp="1"/>
          </p:cNvSpPr>
          <p:nvPr>
            <p:ph type="title"/>
          </p:nvPr>
        </p:nvSpPr>
        <p:spPr>
          <a:xfrm>
            <a:off x="496194" y="329381"/>
            <a:ext cx="11700783" cy="929127"/>
          </a:xfrm>
        </p:spPr>
        <p:txBody>
          <a:bodyPr>
            <a:noAutofit/>
          </a:bodyPr>
          <a:lstStyle/>
          <a:p>
            <a:r>
              <a:rPr lang="en-US" b="1" dirty="0">
                <a:solidFill>
                  <a:schemeClr val="accent4"/>
                </a:solidFill>
              </a:rPr>
              <a:t>The majority of VICTORIA patients received multiple HF therapies before randomization &amp; all randomized patients had a worsening HF event</a:t>
            </a:r>
            <a:endParaRPr lang="en-GB" b="1" dirty="0">
              <a:solidFill>
                <a:schemeClr val="accent4"/>
              </a:solidFill>
            </a:endParaRPr>
          </a:p>
        </p:txBody>
      </p:sp>
      <p:sp>
        <p:nvSpPr>
          <p:cNvPr id="3" name="Footer Placeholder 2">
            <a:extLst>
              <a:ext uri="{FF2B5EF4-FFF2-40B4-BE49-F238E27FC236}">
                <a16:creationId xmlns:a16="http://schemas.microsoft.com/office/drawing/2014/main" id="{F737954B-774E-40C0-A1A1-6BFAD80E86B7}"/>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3585A"/>
                </a:solidFill>
                <a:effectLst/>
                <a:uLnTx/>
                <a:uFillTx/>
                <a:latin typeface="Arial" panose="020B0604020202020204"/>
                <a:ea typeface="+mn-ea"/>
                <a:cs typeface="+mn-cs"/>
              </a:rPr>
              <a:t>HF, heart failure; HFrEF, heart failure with reduced ejection fraction; IV, intravenous; SD, standard devi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3585A"/>
                </a:solidFill>
                <a:effectLst/>
                <a:uLnTx/>
                <a:uFillTx/>
                <a:latin typeface="Arial" panose="020B0604020202020204"/>
                <a:ea typeface="+mn-ea"/>
                <a:cs typeface="+mn-cs"/>
              </a:rPr>
              <a:t>Armstrong PW et al. </a:t>
            </a:r>
            <a:r>
              <a:rPr kumimoji="0" lang="da-DK" sz="900" b="0" i="1" u="none" strike="noStrike" kern="1200" cap="none" spc="0" normalizeH="0" baseline="0" noProof="0" dirty="0">
                <a:ln>
                  <a:noFill/>
                </a:ln>
                <a:solidFill>
                  <a:srgbClr val="53585A"/>
                </a:solidFill>
                <a:effectLst/>
                <a:uLnTx/>
                <a:uFillTx/>
                <a:latin typeface="Arial" panose="020B0604020202020204"/>
                <a:ea typeface="+mn-ea"/>
                <a:cs typeface="+mn-cs"/>
              </a:rPr>
              <a:t>N Engl J Med</a:t>
            </a:r>
            <a:r>
              <a:rPr kumimoji="0" lang="da-DK" sz="900" b="0" i="0" u="none" strike="noStrike" kern="1200" cap="none" spc="0" normalizeH="0" baseline="0" noProof="0" dirty="0">
                <a:ln>
                  <a:noFill/>
                </a:ln>
                <a:solidFill>
                  <a:srgbClr val="53585A"/>
                </a:solidFill>
                <a:effectLst/>
                <a:uLnTx/>
                <a:uFillTx/>
                <a:latin typeface="Arial" panose="020B0604020202020204"/>
                <a:ea typeface="+mn-ea"/>
                <a:cs typeface="+mn-cs"/>
              </a:rPr>
              <a:t>. 2020;382:1883–1893</a:t>
            </a: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graphicFrame>
        <p:nvGraphicFramePr>
          <p:cNvPr id="10" name="Table 9">
            <a:extLst>
              <a:ext uri="{FF2B5EF4-FFF2-40B4-BE49-F238E27FC236}">
                <a16:creationId xmlns:a16="http://schemas.microsoft.com/office/drawing/2014/main" id="{2C52C994-21CE-4C45-B837-0E52DFA17D0F}"/>
              </a:ext>
            </a:extLst>
          </p:cNvPr>
          <p:cNvGraphicFramePr>
            <a:graphicFrameLocks noGrp="1"/>
          </p:cNvGraphicFramePr>
          <p:nvPr/>
        </p:nvGraphicFramePr>
        <p:xfrm>
          <a:off x="797541" y="1177425"/>
          <a:ext cx="5594300" cy="4346501"/>
        </p:xfrm>
        <a:graphic>
          <a:graphicData uri="http://schemas.openxmlformats.org/drawingml/2006/table">
            <a:tbl>
              <a:tblPr firstRow="1" bandRow="1">
                <a:tableStyleId>{69012ECD-51FC-41F1-AA8D-1B2483CD663E}</a:tableStyleId>
              </a:tblPr>
              <a:tblGrid>
                <a:gridCol w="2852823">
                  <a:extLst>
                    <a:ext uri="{9D8B030D-6E8A-4147-A177-3AD203B41FA5}">
                      <a16:colId xmlns:a16="http://schemas.microsoft.com/office/drawing/2014/main" val="1957727008"/>
                    </a:ext>
                  </a:extLst>
                </a:gridCol>
                <a:gridCol w="1291967">
                  <a:extLst>
                    <a:ext uri="{9D8B030D-6E8A-4147-A177-3AD203B41FA5}">
                      <a16:colId xmlns:a16="http://schemas.microsoft.com/office/drawing/2014/main" val="2904227581"/>
                    </a:ext>
                  </a:extLst>
                </a:gridCol>
                <a:gridCol w="1449510">
                  <a:extLst>
                    <a:ext uri="{9D8B030D-6E8A-4147-A177-3AD203B41FA5}">
                      <a16:colId xmlns:a16="http://schemas.microsoft.com/office/drawing/2014/main" val="1745320249"/>
                    </a:ext>
                  </a:extLst>
                </a:gridCol>
              </a:tblGrid>
              <a:tr h="269267">
                <a:tc>
                  <a:txBody>
                    <a:bodyPr/>
                    <a:lstStyle/>
                    <a:p>
                      <a:pPr algn="l" fontAlgn="b"/>
                      <a:r>
                        <a:rPr lang="en-GB" sz="1600" u="none" strike="noStrike">
                          <a:effectLst/>
                        </a:rPr>
                        <a:t>Characteristic</a:t>
                      </a:r>
                      <a:endParaRPr lang="en-GB" sz="16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600" u="none" strike="noStrike">
                          <a:effectLst/>
                        </a:rPr>
                        <a:t>Vericiguat (N=2526)</a:t>
                      </a:r>
                      <a:endParaRPr lang="en-GB" sz="1600" b="1"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GB" sz="1600" u="none" strike="noStrike">
                          <a:effectLst/>
                        </a:rPr>
                        <a:t>Placebo (N=2524)</a:t>
                      </a:r>
                      <a:endParaRPr lang="en-GB" sz="1600" b="1"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900759199"/>
                  </a:ext>
                </a:extLst>
              </a:tr>
              <a:tr h="550353">
                <a:tc>
                  <a:txBody>
                    <a:bodyPr/>
                    <a:lstStyle/>
                    <a:p>
                      <a:pPr algn="l" fontAlgn="b"/>
                      <a:r>
                        <a:rPr lang="en-GB" sz="1400" b="1" u="none" strike="noStrike" dirty="0">
                          <a:solidFill>
                            <a:schemeClr val="accent1"/>
                          </a:solidFill>
                          <a:effectLst/>
                        </a:rPr>
                        <a:t>  Beta blocker</a:t>
                      </a:r>
                      <a:endParaRPr lang="en-GB" sz="1400" b="1" i="0" u="none" strike="noStrike" dirty="0">
                        <a:solidFill>
                          <a:schemeClr val="accent1"/>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2349 (93.2%)</a:t>
                      </a:r>
                      <a:endParaRPr lang="en-GB" sz="1400" b="0" i="0" u="none" strike="noStrike" dirty="0">
                        <a:solidFill>
                          <a:schemeClr val="tx2"/>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2342 (93.0%)</a:t>
                      </a:r>
                      <a:endParaRPr lang="en-GB" sz="1400" b="0" i="0" u="none" strike="noStrike" dirty="0">
                        <a:solidFill>
                          <a:schemeClr val="tx2"/>
                        </a:solidFill>
                        <a:effectLst/>
                        <a:latin typeface="+mn-lt"/>
                      </a:endParaRPr>
                    </a:p>
                  </a:txBody>
                  <a:tcPr marL="6350" marR="6350" marT="6350" marB="0" anchor="ctr"/>
                </a:tc>
                <a:extLst>
                  <a:ext uri="{0D108BD9-81ED-4DB2-BD59-A6C34878D82A}">
                    <a16:rowId xmlns:a16="http://schemas.microsoft.com/office/drawing/2014/main" val="2683880190"/>
                  </a:ext>
                </a:extLst>
              </a:tr>
              <a:tr h="550353">
                <a:tc>
                  <a:txBody>
                    <a:bodyPr/>
                    <a:lstStyle/>
                    <a:p>
                      <a:pPr algn="l" fontAlgn="b"/>
                      <a:r>
                        <a:rPr lang="en-GB" sz="1400" b="1" u="none" strike="noStrike" dirty="0">
                          <a:solidFill>
                            <a:schemeClr val="accent1"/>
                          </a:solidFill>
                          <a:effectLst/>
                        </a:rPr>
                        <a:t>  </a:t>
                      </a:r>
                      <a:r>
                        <a:rPr lang="en-GB" sz="1400" b="1" u="none" strike="noStrike" dirty="0" err="1">
                          <a:solidFill>
                            <a:schemeClr val="accent1"/>
                          </a:solidFill>
                          <a:effectLst/>
                        </a:rPr>
                        <a:t>ACEi</a:t>
                      </a:r>
                      <a:r>
                        <a:rPr lang="en-GB" sz="1400" b="1" u="none" strike="noStrike" dirty="0">
                          <a:solidFill>
                            <a:schemeClr val="accent1"/>
                          </a:solidFill>
                          <a:effectLst/>
                        </a:rPr>
                        <a:t>/ARB</a:t>
                      </a:r>
                      <a:endParaRPr lang="en-GB" sz="1400" b="1" i="0" u="none" strike="noStrike" dirty="0">
                        <a:solidFill>
                          <a:schemeClr val="accent1"/>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1847 (73.3%)</a:t>
                      </a:r>
                      <a:endParaRPr lang="en-GB" sz="1400" b="0" i="0" u="none" strike="noStrike" dirty="0">
                        <a:solidFill>
                          <a:schemeClr val="tx2"/>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1853 (73.6%)</a:t>
                      </a:r>
                      <a:endParaRPr lang="en-GB" sz="1400" b="0" i="0" u="none" strike="noStrike" dirty="0">
                        <a:solidFill>
                          <a:schemeClr val="tx2"/>
                        </a:solidFill>
                        <a:effectLst/>
                        <a:latin typeface="+mn-lt"/>
                      </a:endParaRPr>
                    </a:p>
                  </a:txBody>
                  <a:tcPr marL="6350" marR="6350" marT="6350" marB="0" anchor="ctr"/>
                </a:tc>
                <a:extLst>
                  <a:ext uri="{0D108BD9-81ED-4DB2-BD59-A6C34878D82A}">
                    <a16:rowId xmlns:a16="http://schemas.microsoft.com/office/drawing/2014/main" val="1000341455"/>
                  </a:ext>
                </a:extLst>
              </a:tr>
              <a:tr h="550353">
                <a:tc>
                  <a:txBody>
                    <a:bodyPr/>
                    <a:lstStyle/>
                    <a:p>
                      <a:pPr algn="l" fontAlgn="b"/>
                      <a:r>
                        <a:rPr lang="en-GB" sz="1400" b="1" u="none" strike="noStrike" dirty="0">
                          <a:solidFill>
                            <a:schemeClr val="accent1"/>
                          </a:solidFill>
                          <a:effectLst/>
                        </a:rPr>
                        <a:t>  MRA</a:t>
                      </a:r>
                      <a:endParaRPr lang="en-GB" sz="1400" b="1" i="0" u="none" strike="noStrike" dirty="0">
                        <a:solidFill>
                          <a:schemeClr val="accent1"/>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1747 (69.3%)</a:t>
                      </a:r>
                      <a:endParaRPr lang="en-GB" sz="1400" b="0" i="0" u="none" strike="noStrike" dirty="0">
                        <a:solidFill>
                          <a:schemeClr val="tx2"/>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1798 (71.4%)</a:t>
                      </a:r>
                      <a:endParaRPr lang="en-GB" sz="1400" b="0" i="0" u="none" strike="noStrike" dirty="0">
                        <a:solidFill>
                          <a:schemeClr val="tx2"/>
                        </a:solidFill>
                        <a:effectLst/>
                        <a:latin typeface="+mn-lt"/>
                      </a:endParaRPr>
                    </a:p>
                  </a:txBody>
                  <a:tcPr marL="6350" marR="6350" marT="6350" marB="0" anchor="ctr"/>
                </a:tc>
                <a:extLst>
                  <a:ext uri="{0D108BD9-81ED-4DB2-BD59-A6C34878D82A}">
                    <a16:rowId xmlns:a16="http://schemas.microsoft.com/office/drawing/2014/main" val="3535796163"/>
                  </a:ext>
                </a:extLst>
              </a:tr>
              <a:tr h="550353">
                <a:tc>
                  <a:txBody>
                    <a:bodyPr/>
                    <a:lstStyle/>
                    <a:p>
                      <a:pPr algn="l" fontAlgn="b"/>
                      <a:r>
                        <a:rPr lang="en-GB" sz="1400" b="1" u="none" strike="noStrike" dirty="0">
                          <a:solidFill>
                            <a:schemeClr val="accent1"/>
                          </a:solidFill>
                          <a:effectLst/>
                        </a:rPr>
                        <a:t>  </a:t>
                      </a:r>
                      <a:r>
                        <a:rPr lang="en-GB" sz="1400" b="1" u="none" strike="noStrike" dirty="0" err="1">
                          <a:solidFill>
                            <a:schemeClr val="accent1"/>
                          </a:solidFill>
                          <a:effectLst/>
                        </a:rPr>
                        <a:t>ARNi</a:t>
                      </a:r>
                      <a:r>
                        <a:rPr lang="en-GB" sz="1400" b="1" u="none" strike="noStrike" dirty="0">
                          <a:solidFill>
                            <a:schemeClr val="accent1"/>
                          </a:solidFill>
                          <a:effectLst/>
                        </a:rPr>
                        <a:t> (sacubitril/valsartan)</a:t>
                      </a:r>
                      <a:endParaRPr lang="en-GB" sz="1400" b="1" i="0" u="none" strike="noStrike" dirty="0">
                        <a:solidFill>
                          <a:schemeClr val="accent1"/>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360 (14.3%)</a:t>
                      </a:r>
                      <a:endParaRPr lang="en-GB" sz="1400" b="0" i="0" u="none" strike="noStrike" dirty="0">
                        <a:solidFill>
                          <a:schemeClr val="tx2"/>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371 (14.7%)</a:t>
                      </a:r>
                      <a:endParaRPr lang="en-GB" sz="1400" b="0" i="0" u="none" strike="noStrike" dirty="0">
                        <a:solidFill>
                          <a:schemeClr val="tx2"/>
                        </a:solidFill>
                        <a:effectLst/>
                        <a:latin typeface="+mn-lt"/>
                      </a:endParaRPr>
                    </a:p>
                  </a:txBody>
                  <a:tcPr marL="6350" marR="6350" marT="6350" marB="0" anchor="ctr"/>
                </a:tc>
                <a:extLst>
                  <a:ext uri="{0D108BD9-81ED-4DB2-BD59-A6C34878D82A}">
                    <a16:rowId xmlns:a16="http://schemas.microsoft.com/office/drawing/2014/main" val="2899559696"/>
                  </a:ext>
                </a:extLst>
              </a:tr>
              <a:tr h="550353">
                <a:tc>
                  <a:txBody>
                    <a:bodyPr/>
                    <a:lstStyle/>
                    <a:p>
                      <a:pPr algn="l" fontAlgn="b"/>
                      <a:r>
                        <a:rPr lang="en-GB" sz="1400" b="1" u="none" strike="noStrike" dirty="0">
                          <a:solidFill>
                            <a:schemeClr val="accent1"/>
                          </a:solidFill>
                          <a:effectLst/>
                        </a:rPr>
                        <a:t>Patients on triple therapy, n (%)*</a:t>
                      </a:r>
                      <a:endParaRPr lang="en-GB" sz="1400" b="1" i="0" u="none" strike="noStrike" dirty="0">
                        <a:solidFill>
                          <a:schemeClr val="accent1"/>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1480 (58.7%)</a:t>
                      </a:r>
                      <a:endParaRPr lang="en-GB" sz="1400" b="0" i="0" u="none" strike="noStrike" dirty="0">
                        <a:solidFill>
                          <a:schemeClr val="tx2"/>
                        </a:solidFill>
                        <a:effectLst/>
                        <a:latin typeface="+mn-lt"/>
                      </a:endParaRPr>
                    </a:p>
                  </a:txBody>
                  <a:tcPr marL="6350" marR="6350" marT="6350" marB="0" anchor="ctr"/>
                </a:tc>
                <a:tc>
                  <a:txBody>
                    <a:bodyPr/>
                    <a:lstStyle/>
                    <a:p>
                      <a:pPr algn="ctr" fontAlgn="b"/>
                      <a:r>
                        <a:rPr lang="en-GB" sz="1400" u="none" strike="noStrike" dirty="0">
                          <a:solidFill>
                            <a:schemeClr val="tx2"/>
                          </a:solidFill>
                          <a:effectLst/>
                        </a:rPr>
                        <a:t>1529 (60.7%)</a:t>
                      </a:r>
                      <a:endParaRPr lang="en-GB" sz="1400" b="0" i="0" u="none" strike="noStrike" dirty="0">
                        <a:solidFill>
                          <a:schemeClr val="tx2"/>
                        </a:solidFill>
                        <a:effectLst/>
                        <a:latin typeface="+mn-lt"/>
                      </a:endParaRPr>
                    </a:p>
                  </a:txBody>
                  <a:tcPr marL="6350" marR="6350" marT="6350" marB="0" anchor="ctr"/>
                </a:tc>
                <a:extLst>
                  <a:ext uri="{0D108BD9-81ED-4DB2-BD59-A6C34878D82A}">
                    <a16:rowId xmlns:a16="http://schemas.microsoft.com/office/drawing/2014/main" val="1091644714"/>
                  </a:ext>
                </a:extLst>
              </a:tr>
              <a:tr h="550353">
                <a:tc>
                  <a:txBody>
                    <a:bodyPr/>
                    <a:lstStyle/>
                    <a:p>
                      <a:pPr algn="l" fontAlgn="b"/>
                      <a:r>
                        <a:rPr lang="en-GB" sz="1400" b="1" i="0" u="none" strike="noStrike" dirty="0">
                          <a:solidFill>
                            <a:schemeClr val="accent1"/>
                          </a:solidFill>
                          <a:effectLst/>
                          <a:latin typeface="+mn-lt"/>
                        </a:rPr>
                        <a:t>ICD, n(%)</a:t>
                      </a:r>
                    </a:p>
                  </a:txBody>
                  <a:tcPr marL="6350" marR="6350" marT="6350" marB="0" anchor="ctr"/>
                </a:tc>
                <a:tc>
                  <a:txBody>
                    <a:bodyPr/>
                    <a:lstStyle/>
                    <a:p>
                      <a:pPr algn="ctr" fontAlgn="b"/>
                      <a:r>
                        <a:rPr lang="en-GB" sz="1400" b="0" i="0" u="none" strike="noStrike" dirty="0">
                          <a:solidFill>
                            <a:schemeClr val="tx2"/>
                          </a:solidFill>
                          <a:effectLst/>
                          <a:latin typeface="+mn-lt"/>
                        </a:rPr>
                        <a:t>696(27.8%)</a:t>
                      </a:r>
                    </a:p>
                  </a:txBody>
                  <a:tcPr marL="6350" marR="6350" marT="6350" marB="0" anchor="ctr"/>
                </a:tc>
                <a:tc>
                  <a:txBody>
                    <a:bodyPr/>
                    <a:lstStyle/>
                    <a:p>
                      <a:pPr algn="ctr" fontAlgn="b"/>
                      <a:r>
                        <a:rPr lang="en-GB" sz="1400" b="0" i="0" u="none" strike="noStrike" dirty="0">
                          <a:solidFill>
                            <a:schemeClr val="tx2"/>
                          </a:solidFill>
                          <a:effectLst/>
                          <a:latin typeface="+mn-lt"/>
                        </a:rPr>
                        <a:t>703(27.9%)</a:t>
                      </a:r>
                    </a:p>
                  </a:txBody>
                  <a:tcPr marL="6350" marR="6350" marT="6350" marB="0" anchor="ctr"/>
                </a:tc>
                <a:extLst>
                  <a:ext uri="{0D108BD9-81ED-4DB2-BD59-A6C34878D82A}">
                    <a16:rowId xmlns:a16="http://schemas.microsoft.com/office/drawing/2014/main" val="2980098823"/>
                  </a:ext>
                </a:extLst>
              </a:tr>
              <a:tr h="550353">
                <a:tc>
                  <a:txBody>
                    <a:bodyPr/>
                    <a:lstStyle/>
                    <a:p>
                      <a:pPr algn="l" fontAlgn="b"/>
                      <a:r>
                        <a:rPr lang="en-GB" sz="1400" b="1" i="0" u="none" strike="noStrike" dirty="0">
                          <a:solidFill>
                            <a:schemeClr val="accent1"/>
                          </a:solidFill>
                          <a:effectLst/>
                          <a:latin typeface="+mn-lt"/>
                        </a:rPr>
                        <a:t>Biventricular pacemaker  n(%)</a:t>
                      </a:r>
                    </a:p>
                  </a:txBody>
                  <a:tcPr marL="6350" marR="6350" marT="6350" marB="0" anchor="ctr"/>
                </a:tc>
                <a:tc>
                  <a:txBody>
                    <a:bodyPr/>
                    <a:lstStyle/>
                    <a:p>
                      <a:pPr algn="ctr" fontAlgn="b"/>
                      <a:r>
                        <a:rPr lang="en-GB" sz="1400" b="0" i="0" u="none" strike="noStrike" dirty="0">
                          <a:solidFill>
                            <a:schemeClr val="tx2"/>
                          </a:solidFill>
                          <a:effectLst/>
                          <a:latin typeface="+mn-lt"/>
                        </a:rPr>
                        <a:t>370(14.7%)</a:t>
                      </a:r>
                    </a:p>
                  </a:txBody>
                  <a:tcPr marL="6350" marR="6350" marT="6350" marB="0" anchor="ctr"/>
                </a:tc>
                <a:tc>
                  <a:txBody>
                    <a:bodyPr/>
                    <a:lstStyle/>
                    <a:p>
                      <a:pPr algn="ctr" fontAlgn="b"/>
                      <a:r>
                        <a:rPr lang="en-GB" sz="1400" b="0" i="0" u="none" strike="noStrike" dirty="0">
                          <a:solidFill>
                            <a:schemeClr val="tx2"/>
                          </a:solidFill>
                          <a:effectLst/>
                          <a:latin typeface="+mn-lt"/>
                        </a:rPr>
                        <a:t>369(14.8%)</a:t>
                      </a:r>
                    </a:p>
                  </a:txBody>
                  <a:tcPr marL="6350" marR="6350" marT="6350" marB="0" anchor="ctr"/>
                </a:tc>
                <a:extLst>
                  <a:ext uri="{0D108BD9-81ED-4DB2-BD59-A6C34878D82A}">
                    <a16:rowId xmlns:a16="http://schemas.microsoft.com/office/drawing/2014/main" val="3480745460"/>
                  </a:ext>
                </a:extLst>
              </a:tr>
            </a:tbl>
          </a:graphicData>
        </a:graphic>
      </p:graphicFrame>
      <p:grpSp>
        <p:nvGrpSpPr>
          <p:cNvPr id="75" name="Group 74">
            <a:extLst>
              <a:ext uri="{FF2B5EF4-FFF2-40B4-BE49-F238E27FC236}">
                <a16:creationId xmlns:a16="http://schemas.microsoft.com/office/drawing/2014/main" id="{0BC839C5-52E4-4717-AF59-2FF5B1E7503F}"/>
              </a:ext>
            </a:extLst>
          </p:cNvPr>
          <p:cNvGrpSpPr/>
          <p:nvPr/>
        </p:nvGrpSpPr>
        <p:grpSpPr>
          <a:xfrm>
            <a:off x="6786527" y="1636033"/>
            <a:ext cx="4857800" cy="3439098"/>
            <a:chOff x="6786527" y="2280603"/>
            <a:chExt cx="4857800" cy="3439098"/>
          </a:xfrm>
        </p:grpSpPr>
        <p:grpSp>
          <p:nvGrpSpPr>
            <p:cNvPr id="69" name="Group 68">
              <a:extLst>
                <a:ext uri="{FF2B5EF4-FFF2-40B4-BE49-F238E27FC236}">
                  <a16:creationId xmlns:a16="http://schemas.microsoft.com/office/drawing/2014/main" id="{4AB0C764-5544-40E8-A421-215856BC01FD}"/>
                </a:ext>
              </a:extLst>
            </p:cNvPr>
            <p:cNvGrpSpPr/>
            <p:nvPr/>
          </p:nvGrpSpPr>
          <p:grpSpPr>
            <a:xfrm>
              <a:off x="7180288" y="2514443"/>
              <a:ext cx="4464039" cy="3150586"/>
              <a:chOff x="7285218" y="2919173"/>
              <a:chExt cx="4464039" cy="3150586"/>
            </a:xfrm>
          </p:grpSpPr>
          <p:grpSp>
            <p:nvGrpSpPr>
              <p:cNvPr id="11" name="Group 10">
                <a:extLst>
                  <a:ext uri="{FF2B5EF4-FFF2-40B4-BE49-F238E27FC236}">
                    <a16:creationId xmlns:a16="http://schemas.microsoft.com/office/drawing/2014/main" id="{2B69B42B-D560-4CBF-AA11-648B02A3C5E4}"/>
                  </a:ext>
                </a:extLst>
              </p:cNvPr>
              <p:cNvGrpSpPr/>
              <p:nvPr/>
            </p:nvGrpSpPr>
            <p:grpSpPr>
              <a:xfrm>
                <a:off x="7417738" y="3085227"/>
                <a:ext cx="651697" cy="1015663"/>
                <a:chOff x="1457271" y="3672777"/>
                <a:chExt cx="228149" cy="444312"/>
              </a:xfrm>
            </p:grpSpPr>
            <p:sp>
              <p:nvSpPr>
                <p:cNvPr id="12" name="Rectangle 11">
                  <a:extLst>
                    <a:ext uri="{FF2B5EF4-FFF2-40B4-BE49-F238E27FC236}">
                      <a16:creationId xmlns:a16="http://schemas.microsoft.com/office/drawing/2014/main" id="{6079BF11-31ED-4D66-9B77-253D56857537}"/>
                    </a:ext>
                  </a:extLst>
                </p:cNvPr>
                <p:cNvSpPr/>
                <p:nvPr/>
              </p:nvSpPr>
              <p:spPr bwMode="auto">
                <a:xfrm>
                  <a:off x="1457271" y="3767521"/>
                  <a:ext cx="228149" cy="349568"/>
                </a:xfrm>
                <a:prstGeom prst="rect">
                  <a:avLst/>
                </a:prstGeom>
                <a:solidFill>
                  <a:schemeClr val="bg1"/>
                </a:solidFill>
                <a:ln w="57150" algn="ctr">
                  <a:solidFill>
                    <a:schemeClr val="accent2"/>
                  </a:solid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6BD17"/>
                    </a:solidFill>
                    <a:effectLst/>
                    <a:uLnTx/>
                    <a:uFillTx/>
                    <a:latin typeface="Arial"/>
                    <a:ea typeface="MS PGothic" charset="0"/>
                    <a:cs typeface="+mn-cs"/>
                  </a:endParaRPr>
                </a:p>
              </p:txBody>
            </p:sp>
            <p:grpSp>
              <p:nvGrpSpPr>
                <p:cNvPr id="13" name="Group 12">
                  <a:extLst>
                    <a:ext uri="{FF2B5EF4-FFF2-40B4-BE49-F238E27FC236}">
                      <a16:creationId xmlns:a16="http://schemas.microsoft.com/office/drawing/2014/main" id="{C51A1908-14E7-4B9F-8ECC-076947F71B0F}"/>
                    </a:ext>
                  </a:extLst>
                </p:cNvPr>
                <p:cNvGrpSpPr/>
                <p:nvPr/>
              </p:nvGrpSpPr>
              <p:grpSpPr>
                <a:xfrm>
                  <a:off x="1482114" y="3790809"/>
                  <a:ext cx="178463" cy="45719"/>
                  <a:chOff x="1018853" y="1399651"/>
                  <a:chExt cx="178463" cy="45719"/>
                </a:xfrm>
                <a:solidFill>
                  <a:schemeClr val="accent1"/>
                </a:solidFill>
              </p:grpSpPr>
              <p:sp>
                <p:nvSpPr>
                  <p:cNvPr id="34" name="Rectangle 33">
                    <a:extLst>
                      <a:ext uri="{FF2B5EF4-FFF2-40B4-BE49-F238E27FC236}">
                        <a16:creationId xmlns:a16="http://schemas.microsoft.com/office/drawing/2014/main" id="{0B639F42-C0C4-40E4-9335-056E8044F81A}"/>
                      </a:ext>
                    </a:extLst>
                  </p:cNvPr>
                  <p:cNvSpPr/>
                  <p:nvPr/>
                </p:nvSpPr>
                <p:spPr bwMode="auto">
                  <a:xfrm>
                    <a:off x="1018853"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35" name="Rectangle 34">
                    <a:extLst>
                      <a:ext uri="{FF2B5EF4-FFF2-40B4-BE49-F238E27FC236}">
                        <a16:creationId xmlns:a16="http://schemas.microsoft.com/office/drawing/2014/main" id="{B94D20AA-8D77-4961-8163-F1254E16D96A}"/>
                      </a:ext>
                    </a:extLst>
                  </p:cNvPr>
                  <p:cNvSpPr/>
                  <p:nvPr/>
                </p:nvSpPr>
                <p:spPr bwMode="auto">
                  <a:xfrm>
                    <a:off x="1085225"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36" name="Rectangle 35">
                    <a:extLst>
                      <a:ext uri="{FF2B5EF4-FFF2-40B4-BE49-F238E27FC236}">
                        <a16:creationId xmlns:a16="http://schemas.microsoft.com/office/drawing/2014/main" id="{14273401-8191-4DAA-9E91-47300ACF0560}"/>
                      </a:ext>
                    </a:extLst>
                  </p:cNvPr>
                  <p:cNvSpPr/>
                  <p:nvPr/>
                </p:nvSpPr>
                <p:spPr bwMode="auto">
                  <a:xfrm>
                    <a:off x="1151597"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grpSp>
              <p:nvGrpSpPr>
                <p:cNvPr id="14" name="Group 13">
                  <a:extLst>
                    <a:ext uri="{FF2B5EF4-FFF2-40B4-BE49-F238E27FC236}">
                      <a16:creationId xmlns:a16="http://schemas.microsoft.com/office/drawing/2014/main" id="{50ACA42F-BA95-434B-A23B-B0E20AC30C4C}"/>
                    </a:ext>
                  </a:extLst>
                </p:cNvPr>
                <p:cNvGrpSpPr/>
                <p:nvPr/>
              </p:nvGrpSpPr>
              <p:grpSpPr>
                <a:xfrm>
                  <a:off x="1482114" y="3854219"/>
                  <a:ext cx="178463" cy="45719"/>
                  <a:chOff x="1018853" y="1399651"/>
                  <a:chExt cx="178463" cy="45719"/>
                </a:xfrm>
                <a:solidFill>
                  <a:schemeClr val="accent1"/>
                </a:solidFill>
              </p:grpSpPr>
              <p:sp>
                <p:nvSpPr>
                  <p:cNvPr id="31" name="Rectangle 30">
                    <a:extLst>
                      <a:ext uri="{FF2B5EF4-FFF2-40B4-BE49-F238E27FC236}">
                        <a16:creationId xmlns:a16="http://schemas.microsoft.com/office/drawing/2014/main" id="{6A234F9D-BA9C-493F-A777-789C9DA931C3}"/>
                      </a:ext>
                    </a:extLst>
                  </p:cNvPr>
                  <p:cNvSpPr/>
                  <p:nvPr/>
                </p:nvSpPr>
                <p:spPr bwMode="auto">
                  <a:xfrm>
                    <a:off x="1018853"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32" name="Rectangle 31">
                    <a:extLst>
                      <a:ext uri="{FF2B5EF4-FFF2-40B4-BE49-F238E27FC236}">
                        <a16:creationId xmlns:a16="http://schemas.microsoft.com/office/drawing/2014/main" id="{6935123C-4E8B-4934-B4BC-E20C88220481}"/>
                      </a:ext>
                    </a:extLst>
                  </p:cNvPr>
                  <p:cNvSpPr/>
                  <p:nvPr/>
                </p:nvSpPr>
                <p:spPr bwMode="auto">
                  <a:xfrm>
                    <a:off x="1085225"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33" name="Rectangle 32">
                    <a:extLst>
                      <a:ext uri="{FF2B5EF4-FFF2-40B4-BE49-F238E27FC236}">
                        <a16:creationId xmlns:a16="http://schemas.microsoft.com/office/drawing/2014/main" id="{05213991-0B1D-49AB-A5AF-C0E2F2A1E962}"/>
                      </a:ext>
                    </a:extLst>
                  </p:cNvPr>
                  <p:cNvSpPr/>
                  <p:nvPr/>
                </p:nvSpPr>
                <p:spPr bwMode="auto">
                  <a:xfrm>
                    <a:off x="1151597"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grpSp>
              <p:nvGrpSpPr>
                <p:cNvPr id="15" name="Group 14">
                  <a:extLst>
                    <a:ext uri="{FF2B5EF4-FFF2-40B4-BE49-F238E27FC236}">
                      <a16:creationId xmlns:a16="http://schemas.microsoft.com/office/drawing/2014/main" id="{DE20630F-2CAE-4505-9396-43F6353263DE}"/>
                    </a:ext>
                  </a:extLst>
                </p:cNvPr>
                <p:cNvGrpSpPr/>
                <p:nvPr/>
              </p:nvGrpSpPr>
              <p:grpSpPr>
                <a:xfrm>
                  <a:off x="1482114" y="3917629"/>
                  <a:ext cx="178463" cy="45719"/>
                  <a:chOff x="1018853" y="1399651"/>
                  <a:chExt cx="178463" cy="45719"/>
                </a:xfrm>
                <a:solidFill>
                  <a:schemeClr val="accent1"/>
                </a:solidFill>
              </p:grpSpPr>
              <p:sp>
                <p:nvSpPr>
                  <p:cNvPr id="28" name="Rectangle 27">
                    <a:extLst>
                      <a:ext uri="{FF2B5EF4-FFF2-40B4-BE49-F238E27FC236}">
                        <a16:creationId xmlns:a16="http://schemas.microsoft.com/office/drawing/2014/main" id="{D54ADE8E-8813-4E1E-8955-57C743AB0BE9}"/>
                      </a:ext>
                    </a:extLst>
                  </p:cNvPr>
                  <p:cNvSpPr/>
                  <p:nvPr/>
                </p:nvSpPr>
                <p:spPr bwMode="auto">
                  <a:xfrm>
                    <a:off x="1018853"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29" name="Rectangle 28">
                    <a:extLst>
                      <a:ext uri="{FF2B5EF4-FFF2-40B4-BE49-F238E27FC236}">
                        <a16:creationId xmlns:a16="http://schemas.microsoft.com/office/drawing/2014/main" id="{5AB9CD05-74CD-4A4B-BC7D-4064E7A8C065}"/>
                      </a:ext>
                    </a:extLst>
                  </p:cNvPr>
                  <p:cNvSpPr/>
                  <p:nvPr/>
                </p:nvSpPr>
                <p:spPr bwMode="auto">
                  <a:xfrm>
                    <a:off x="1085225"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30" name="Rectangle 29">
                    <a:extLst>
                      <a:ext uri="{FF2B5EF4-FFF2-40B4-BE49-F238E27FC236}">
                        <a16:creationId xmlns:a16="http://schemas.microsoft.com/office/drawing/2014/main" id="{04F16664-0A08-4C00-A28E-32925497FC27}"/>
                      </a:ext>
                    </a:extLst>
                  </p:cNvPr>
                  <p:cNvSpPr/>
                  <p:nvPr/>
                </p:nvSpPr>
                <p:spPr bwMode="auto">
                  <a:xfrm>
                    <a:off x="1151597"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grpSp>
              <p:nvGrpSpPr>
                <p:cNvPr id="16" name="Group 15">
                  <a:extLst>
                    <a:ext uri="{FF2B5EF4-FFF2-40B4-BE49-F238E27FC236}">
                      <a16:creationId xmlns:a16="http://schemas.microsoft.com/office/drawing/2014/main" id="{F79D10B0-A03C-422F-8F58-32D3793ED308}"/>
                    </a:ext>
                  </a:extLst>
                </p:cNvPr>
                <p:cNvGrpSpPr/>
                <p:nvPr/>
              </p:nvGrpSpPr>
              <p:grpSpPr>
                <a:xfrm>
                  <a:off x="1482114" y="3981039"/>
                  <a:ext cx="178463" cy="45719"/>
                  <a:chOff x="1018853" y="1399651"/>
                  <a:chExt cx="178463" cy="45719"/>
                </a:xfrm>
                <a:solidFill>
                  <a:schemeClr val="accent1"/>
                </a:solidFill>
              </p:grpSpPr>
              <p:sp>
                <p:nvSpPr>
                  <p:cNvPr id="25" name="Rectangle 24">
                    <a:extLst>
                      <a:ext uri="{FF2B5EF4-FFF2-40B4-BE49-F238E27FC236}">
                        <a16:creationId xmlns:a16="http://schemas.microsoft.com/office/drawing/2014/main" id="{CB62BBE6-6B80-4DD9-9FB2-AA1652A00CDB}"/>
                      </a:ext>
                    </a:extLst>
                  </p:cNvPr>
                  <p:cNvSpPr/>
                  <p:nvPr/>
                </p:nvSpPr>
                <p:spPr bwMode="auto">
                  <a:xfrm>
                    <a:off x="1018853"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26" name="Rectangle 25">
                    <a:extLst>
                      <a:ext uri="{FF2B5EF4-FFF2-40B4-BE49-F238E27FC236}">
                        <a16:creationId xmlns:a16="http://schemas.microsoft.com/office/drawing/2014/main" id="{7E6813B1-EA5E-4722-B3DD-8F012881A606}"/>
                      </a:ext>
                    </a:extLst>
                  </p:cNvPr>
                  <p:cNvSpPr/>
                  <p:nvPr/>
                </p:nvSpPr>
                <p:spPr bwMode="auto">
                  <a:xfrm>
                    <a:off x="1085225"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27" name="Rectangle 26">
                    <a:extLst>
                      <a:ext uri="{FF2B5EF4-FFF2-40B4-BE49-F238E27FC236}">
                        <a16:creationId xmlns:a16="http://schemas.microsoft.com/office/drawing/2014/main" id="{088A3EB2-D80D-4EF7-BBB9-BA01ACB12CD3}"/>
                      </a:ext>
                    </a:extLst>
                  </p:cNvPr>
                  <p:cNvSpPr/>
                  <p:nvPr/>
                </p:nvSpPr>
                <p:spPr bwMode="auto">
                  <a:xfrm>
                    <a:off x="1151597"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grpSp>
              <p:nvGrpSpPr>
                <p:cNvPr id="17" name="Group 16">
                  <a:extLst>
                    <a:ext uri="{FF2B5EF4-FFF2-40B4-BE49-F238E27FC236}">
                      <a16:creationId xmlns:a16="http://schemas.microsoft.com/office/drawing/2014/main" id="{5BBC97AE-E23E-454D-8806-24ED148D96FB}"/>
                    </a:ext>
                  </a:extLst>
                </p:cNvPr>
                <p:cNvGrpSpPr/>
                <p:nvPr/>
              </p:nvGrpSpPr>
              <p:grpSpPr>
                <a:xfrm>
                  <a:off x="1482114" y="4044447"/>
                  <a:ext cx="178463" cy="45719"/>
                  <a:chOff x="1018853" y="1399651"/>
                  <a:chExt cx="178463" cy="45719"/>
                </a:xfrm>
                <a:solidFill>
                  <a:schemeClr val="accent1"/>
                </a:solidFill>
              </p:grpSpPr>
              <p:sp>
                <p:nvSpPr>
                  <p:cNvPr id="22" name="Rectangle 21">
                    <a:extLst>
                      <a:ext uri="{FF2B5EF4-FFF2-40B4-BE49-F238E27FC236}">
                        <a16:creationId xmlns:a16="http://schemas.microsoft.com/office/drawing/2014/main" id="{CB7A43B5-C53C-446E-AFB5-4556E166F38E}"/>
                      </a:ext>
                    </a:extLst>
                  </p:cNvPr>
                  <p:cNvSpPr/>
                  <p:nvPr/>
                </p:nvSpPr>
                <p:spPr bwMode="auto">
                  <a:xfrm>
                    <a:off x="1018853"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23" name="Rectangle 22">
                    <a:extLst>
                      <a:ext uri="{FF2B5EF4-FFF2-40B4-BE49-F238E27FC236}">
                        <a16:creationId xmlns:a16="http://schemas.microsoft.com/office/drawing/2014/main" id="{815D8A3C-E340-41AC-A1FF-702B9D226331}"/>
                      </a:ext>
                    </a:extLst>
                  </p:cNvPr>
                  <p:cNvSpPr/>
                  <p:nvPr/>
                </p:nvSpPr>
                <p:spPr bwMode="auto">
                  <a:xfrm>
                    <a:off x="1085225"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24" name="Rectangle 23">
                    <a:extLst>
                      <a:ext uri="{FF2B5EF4-FFF2-40B4-BE49-F238E27FC236}">
                        <a16:creationId xmlns:a16="http://schemas.microsoft.com/office/drawing/2014/main" id="{16D30392-4A6A-4C93-9305-320BD6BF2AAE}"/>
                      </a:ext>
                    </a:extLst>
                  </p:cNvPr>
                  <p:cNvSpPr/>
                  <p:nvPr/>
                </p:nvSpPr>
                <p:spPr bwMode="auto">
                  <a:xfrm>
                    <a:off x="1151597" y="1399651"/>
                    <a:ext cx="45719" cy="45719"/>
                  </a:xfrm>
                  <a:prstGeom prst="rect">
                    <a:avLst/>
                  </a:prstGeom>
                  <a:grp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grpSp>
              <p:nvGrpSpPr>
                <p:cNvPr id="18" name="Group 17">
                  <a:extLst>
                    <a:ext uri="{FF2B5EF4-FFF2-40B4-BE49-F238E27FC236}">
                      <a16:creationId xmlns:a16="http://schemas.microsoft.com/office/drawing/2014/main" id="{FBC629A1-48B8-4CD3-A205-2F083966291B}"/>
                    </a:ext>
                  </a:extLst>
                </p:cNvPr>
                <p:cNvGrpSpPr/>
                <p:nvPr/>
              </p:nvGrpSpPr>
              <p:grpSpPr>
                <a:xfrm>
                  <a:off x="1509669" y="3672777"/>
                  <a:ext cx="123353" cy="92623"/>
                  <a:chOff x="1300465" y="1342920"/>
                  <a:chExt cx="123353" cy="92623"/>
                </a:xfrm>
              </p:grpSpPr>
              <p:sp>
                <p:nvSpPr>
                  <p:cNvPr id="19" name="Rectangle 18">
                    <a:extLst>
                      <a:ext uri="{FF2B5EF4-FFF2-40B4-BE49-F238E27FC236}">
                        <a16:creationId xmlns:a16="http://schemas.microsoft.com/office/drawing/2014/main" id="{26969094-58BB-42BD-BA91-D6E50342D718}"/>
                      </a:ext>
                    </a:extLst>
                  </p:cNvPr>
                  <p:cNvSpPr/>
                  <p:nvPr/>
                </p:nvSpPr>
                <p:spPr bwMode="auto">
                  <a:xfrm>
                    <a:off x="1300465" y="1342920"/>
                    <a:ext cx="123353" cy="92623"/>
                  </a:xfrm>
                  <a:prstGeom prst="rect">
                    <a:avLst/>
                  </a:prstGeom>
                  <a:solidFill>
                    <a:schemeClr val="bg1"/>
                  </a:solidFill>
                  <a:ln w="57150" algn="ctr">
                    <a:solidFill>
                      <a:schemeClr val="accent2"/>
                    </a:solid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6BD17"/>
                      </a:solidFill>
                      <a:effectLst/>
                      <a:uLnTx/>
                      <a:uFillTx/>
                      <a:latin typeface="Arial"/>
                      <a:ea typeface="MS PGothic" charset="0"/>
                      <a:cs typeface="+mn-cs"/>
                    </a:endParaRPr>
                  </a:p>
                </p:txBody>
              </p:sp>
              <p:cxnSp>
                <p:nvCxnSpPr>
                  <p:cNvPr id="20" name="Straight Connector 19">
                    <a:extLst>
                      <a:ext uri="{FF2B5EF4-FFF2-40B4-BE49-F238E27FC236}">
                        <a16:creationId xmlns:a16="http://schemas.microsoft.com/office/drawing/2014/main" id="{2FF42BB0-C4A3-4D51-85BA-465AEE059889}"/>
                      </a:ext>
                    </a:extLst>
                  </p:cNvPr>
                  <p:cNvCxnSpPr>
                    <a:cxnSpLocks/>
                  </p:cNvCxnSpPr>
                  <p:nvPr/>
                </p:nvCxnSpPr>
                <p:spPr bwMode="auto">
                  <a:xfrm>
                    <a:off x="1362141" y="1362231"/>
                    <a:ext cx="0" cy="54000"/>
                  </a:xfrm>
                  <a:prstGeom prst="line">
                    <a:avLst/>
                  </a:prstGeom>
                  <a:noFill/>
                  <a:ln w="5715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1" name="Straight Connector 20">
                    <a:extLst>
                      <a:ext uri="{FF2B5EF4-FFF2-40B4-BE49-F238E27FC236}">
                        <a16:creationId xmlns:a16="http://schemas.microsoft.com/office/drawing/2014/main" id="{41AC3FC4-A0D2-410A-8050-E83CEC4AFFC3}"/>
                      </a:ext>
                    </a:extLst>
                  </p:cNvPr>
                  <p:cNvCxnSpPr>
                    <a:cxnSpLocks/>
                  </p:cNvCxnSpPr>
                  <p:nvPr/>
                </p:nvCxnSpPr>
                <p:spPr bwMode="auto">
                  <a:xfrm rot="16200000">
                    <a:off x="1362141" y="1362232"/>
                    <a:ext cx="0" cy="54000"/>
                  </a:xfrm>
                  <a:prstGeom prst="line">
                    <a:avLst/>
                  </a:prstGeom>
                  <a:noFill/>
                  <a:ln w="5715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sp>
            <p:nvSpPr>
              <p:cNvPr id="37" name="TextBox 36">
                <a:extLst>
                  <a:ext uri="{FF2B5EF4-FFF2-40B4-BE49-F238E27FC236}">
                    <a16:creationId xmlns:a16="http://schemas.microsoft.com/office/drawing/2014/main" id="{EB09105B-F1FB-42B3-BB8F-0E5AB746D25B}"/>
                  </a:ext>
                </a:extLst>
              </p:cNvPr>
              <p:cNvSpPr txBox="1"/>
              <p:nvPr/>
            </p:nvSpPr>
            <p:spPr>
              <a:xfrm>
                <a:off x="7976697" y="2928289"/>
                <a:ext cx="208823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lt;3 months</a:t>
                </a:r>
                <a:b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b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after HF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67%</a:t>
                </a:r>
                <a:r>
                  <a:rPr kumimoji="0" lang="en-GB" sz="1600" b="1" i="0" u="none" strike="noStrike" kern="1200" cap="none" spc="0" normalizeH="0" baseline="30000" noProof="0" dirty="0">
                    <a:ln>
                      <a:noFill/>
                    </a:ln>
                    <a:solidFill>
                      <a:srgbClr val="000000"/>
                    </a:solidFill>
                    <a:effectLst/>
                    <a:uLnTx/>
                    <a:uFillTx/>
                    <a:latin typeface="Arial"/>
                    <a:ea typeface="MS PGothic" charset="0"/>
                    <a:cs typeface="+mn-cs"/>
                  </a:rPr>
                  <a:t>1*</a:t>
                </a:r>
                <a:endParaRPr kumimoji="0" lang="en-GB" sz="1600" b="1"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38" name="TextBox 37">
                <a:extLst>
                  <a:ext uri="{FF2B5EF4-FFF2-40B4-BE49-F238E27FC236}">
                    <a16:creationId xmlns:a16="http://schemas.microsoft.com/office/drawing/2014/main" id="{659B539B-DFC9-44EB-9D5F-1AE19DF2E5C2}"/>
                  </a:ext>
                </a:extLst>
              </p:cNvPr>
              <p:cNvSpPr txBox="1"/>
              <p:nvPr/>
            </p:nvSpPr>
            <p:spPr>
              <a:xfrm>
                <a:off x="9661025" y="2919173"/>
                <a:ext cx="208823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3–6 months</a:t>
                </a:r>
                <a:b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b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after HF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17%</a:t>
                </a:r>
                <a:r>
                  <a:rPr kumimoji="0" lang="en-GB" sz="1600" b="1" i="0" u="none" strike="noStrike" kern="1200" cap="none" spc="0" normalizeH="0" baseline="30000" noProof="0" dirty="0">
                    <a:ln>
                      <a:noFill/>
                    </a:ln>
                    <a:solidFill>
                      <a:srgbClr val="000000"/>
                    </a:solidFill>
                    <a:effectLst/>
                    <a:uLnTx/>
                    <a:uFillTx/>
                    <a:latin typeface="Arial"/>
                    <a:ea typeface="MS PGothic" charset="0"/>
                    <a:cs typeface="+mn-cs"/>
                  </a:rPr>
                  <a:t>1</a:t>
                </a:r>
                <a:endParaRPr kumimoji="0" lang="en-GB" sz="1600" b="1"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52" name="TextBox 51">
                <a:extLst>
                  <a:ext uri="{FF2B5EF4-FFF2-40B4-BE49-F238E27FC236}">
                    <a16:creationId xmlns:a16="http://schemas.microsoft.com/office/drawing/2014/main" id="{7EB6F916-612F-4C49-964C-1F8E169E81A9}"/>
                  </a:ext>
                </a:extLst>
              </p:cNvPr>
              <p:cNvSpPr txBox="1"/>
              <p:nvPr/>
            </p:nvSpPr>
            <p:spPr>
              <a:xfrm>
                <a:off x="8631690" y="4793072"/>
                <a:ext cx="208823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lt;3 months</a:t>
                </a:r>
                <a:b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b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after IV diure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S PGothic" charset="0"/>
                    <a:cs typeface="+mn-cs"/>
                  </a:rPr>
                  <a:t>16%</a:t>
                </a:r>
                <a:r>
                  <a:rPr kumimoji="0" lang="en-GB" sz="1600" b="1" i="0" u="none" strike="noStrike" kern="1200" cap="none" spc="0" normalizeH="0" baseline="30000" noProof="0" dirty="0">
                    <a:ln>
                      <a:noFill/>
                    </a:ln>
                    <a:solidFill>
                      <a:srgbClr val="000000"/>
                    </a:solidFill>
                    <a:effectLst/>
                    <a:uLnTx/>
                    <a:uFillTx/>
                    <a:latin typeface="Arial"/>
                    <a:ea typeface="MS PGothic" charset="0"/>
                    <a:cs typeface="+mn-cs"/>
                  </a:rPr>
                  <a:t>1</a:t>
                </a:r>
                <a:endParaRPr kumimoji="0" lang="en-GB" sz="1600" b="1"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53" name="Rectangle 52">
                <a:extLst>
                  <a:ext uri="{FF2B5EF4-FFF2-40B4-BE49-F238E27FC236}">
                    <a16:creationId xmlns:a16="http://schemas.microsoft.com/office/drawing/2014/main" id="{A7C62024-0B89-4D22-A5CC-46D4D3DC78FF}"/>
                  </a:ext>
                </a:extLst>
              </p:cNvPr>
              <p:cNvSpPr/>
              <p:nvPr/>
            </p:nvSpPr>
            <p:spPr>
              <a:xfrm>
                <a:off x="8237249" y="4259772"/>
                <a:ext cx="2877114" cy="2804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Arial"/>
                    <a:ea typeface="+mn-ea"/>
                    <a:cs typeface="+mn-cs"/>
                  </a:rPr>
                  <a:t>In-hospital initiation: 11%</a:t>
                </a:r>
                <a:r>
                  <a:rPr kumimoji="0" lang="da-DK" sz="1600" b="1" i="0" u="none" strike="noStrike" kern="1200" cap="none" spc="0" normalizeH="0" baseline="30000" noProof="0" dirty="0">
                    <a:ln>
                      <a:noFill/>
                    </a:ln>
                    <a:solidFill>
                      <a:srgbClr val="FFFFFF"/>
                    </a:solidFill>
                    <a:effectLst/>
                    <a:uLnTx/>
                    <a:uFillTx/>
                    <a:latin typeface="Arial"/>
                    <a:ea typeface="+mn-ea"/>
                    <a:cs typeface="+mn-cs"/>
                  </a:rPr>
                  <a:t>2</a:t>
                </a:r>
                <a:endParaRPr kumimoji="0" lang="da-DK"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Arrow: Right 53">
                <a:extLst>
                  <a:ext uri="{FF2B5EF4-FFF2-40B4-BE49-F238E27FC236}">
                    <a16:creationId xmlns:a16="http://schemas.microsoft.com/office/drawing/2014/main" id="{7B2A49D8-BD13-4345-8F46-4CE4DE03C1F3}"/>
                  </a:ext>
                </a:extLst>
              </p:cNvPr>
              <p:cNvSpPr/>
              <p:nvPr/>
            </p:nvSpPr>
            <p:spPr>
              <a:xfrm>
                <a:off x="8237249" y="3903930"/>
                <a:ext cx="3344194" cy="3959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6" name="Group 55">
                <a:extLst>
                  <a:ext uri="{FF2B5EF4-FFF2-40B4-BE49-F238E27FC236}">
                    <a16:creationId xmlns:a16="http://schemas.microsoft.com/office/drawing/2014/main" id="{06BA73A6-6747-4C92-B745-2971ED329DC5}"/>
                  </a:ext>
                </a:extLst>
              </p:cNvPr>
              <p:cNvGrpSpPr/>
              <p:nvPr/>
            </p:nvGrpSpPr>
            <p:grpSpPr>
              <a:xfrm>
                <a:off x="7285218" y="4695292"/>
                <a:ext cx="906531" cy="1051966"/>
                <a:chOff x="1144799" y="4233499"/>
                <a:chExt cx="256545" cy="239458"/>
              </a:xfrm>
            </p:grpSpPr>
            <p:sp>
              <p:nvSpPr>
                <p:cNvPr id="57" name="Rectangle 56">
                  <a:extLst>
                    <a:ext uri="{FF2B5EF4-FFF2-40B4-BE49-F238E27FC236}">
                      <a16:creationId xmlns:a16="http://schemas.microsoft.com/office/drawing/2014/main" id="{0029735B-97F8-46FB-A9AD-FD041337D9E5}"/>
                    </a:ext>
                  </a:extLst>
                </p:cNvPr>
                <p:cNvSpPr/>
                <p:nvPr/>
              </p:nvSpPr>
              <p:spPr bwMode="auto">
                <a:xfrm>
                  <a:off x="1158997" y="4299941"/>
                  <a:ext cx="228149" cy="173015"/>
                </a:xfrm>
                <a:prstGeom prst="rect">
                  <a:avLst/>
                </a:prstGeom>
                <a:solidFill>
                  <a:schemeClr val="bg1"/>
                </a:solidFill>
                <a:ln w="57150" algn="ctr">
                  <a:solidFill>
                    <a:schemeClr val="accent2"/>
                  </a:solid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nvGrpSpPr>
                <p:cNvPr id="58" name="Group 57">
                  <a:extLst>
                    <a:ext uri="{FF2B5EF4-FFF2-40B4-BE49-F238E27FC236}">
                      <a16:creationId xmlns:a16="http://schemas.microsoft.com/office/drawing/2014/main" id="{CB87CC38-349E-49E9-85D5-6D9F6FCBC23B}"/>
                    </a:ext>
                  </a:extLst>
                </p:cNvPr>
                <p:cNvGrpSpPr/>
                <p:nvPr/>
              </p:nvGrpSpPr>
              <p:grpSpPr>
                <a:xfrm>
                  <a:off x="1183840" y="4400315"/>
                  <a:ext cx="178463" cy="72642"/>
                  <a:chOff x="1185979" y="4400315"/>
                  <a:chExt cx="178463" cy="72642"/>
                </a:xfrm>
              </p:grpSpPr>
              <p:sp>
                <p:nvSpPr>
                  <p:cNvPr id="64" name="Rectangle 63">
                    <a:extLst>
                      <a:ext uri="{FF2B5EF4-FFF2-40B4-BE49-F238E27FC236}">
                        <a16:creationId xmlns:a16="http://schemas.microsoft.com/office/drawing/2014/main" id="{699600DD-3B10-495F-AEDE-C4B1F29E038F}"/>
                      </a:ext>
                    </a:extLst>
                  </p:cNvPr>
                  <p:cNvSpPr/>
                  <p:nvPr/>
                </p:nvSpPr>
                <p:spPr bwMode="auto">
                  <a:xfrm>
                    <a:off x="1185979" y="4400315"/>
                    <a:ext cx="45719" cy="45719"/>
                  </a:xfrm>
                  <a:prstGeom prst="rect">
                    <a:avLst/>
                  </a:prstGeom>
                  <a:solidFill>
                    <a:schemeClr val="accent1"/>
                  </a:solid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65" name="Rectangle 64">
                    <a:extLst>
                      <a:ext uri="{FF2B5EF4-FFF2-40B4-BE49-F238E27FC236}">
                        <a16:creationId xmlns:a16="http://schemas.microsoft.com/office/drawing/2014/main" id="{32605A73-7E3B-4024-B0BD-85962AF188B9}"/>
                      </a:ext>
                    </a:extLst>
                  </p:cNvPr>
                  <p:cNvSpPr/>
                  <p:nvPr/>
                </p:nvSpPr>
                <p:spPr bwMode="auto">
                  <a:xfrm>
                    <a:off x="1250281" y="4400315"/>
                    <a:ext cx="49859" cy="72642"/>
                  </a:xfrm>
                  <a:prstGeom prst="rect">
                    <a:avLst/>
                  </a:prstGeom>
                  <a:solidFill>
                    <a:schemeClr val="accent1"/>
                  </a:solidFill>
                  <a:ln w="57150" algn="ctr">
                    <a:solidFill>
                      <a:schemeClr val="accent1"/>
                    </a:solid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66" name="Rectangle 65">
                    <a:extLst>
                      <a:ext uri="{FF2B5EF4-FFF2-40B4-BE49-F238E27FC236}">
                        <a16:creationId xmlns:a16="http://schemas.microsoft.com/office/drawing/2014/main" id="{331E90BF-4BA4-44B8-B282-862BFD28A6D9}"/>
                      </a:ext>
                    </a:extLst>
                  </p:cNvPr>
                  <p:cNvSpPr/>
                  <p:nvPr/>
                </p:nvSpPr>
                <p:spPr bwMode="auto">
                  <a:xfrm>
                    <a:off x="1318723" y="4400315"/>
                    <a:ext cx="45719" cy="45719"/>
                  </a:xfrm>
                  <a:prstGeom prst="rect">
                    <a:avLst/>
                  </a:prstGeom>
                  <a:solidFill>
                    <a:schemeClr val="accent1"/>
                  </a:solid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grpSp>
              <p:nvGrpSpPr>
                <p:cNvPr id="59" name="Group 58">
                  <a:extLst>
                    <a:ext uri="{FF2B5EF4-FFF2-40B4-BE49-F238E27FC236}">
                      <a16:creationId xmlns:a16="http://schemas.microsoft.com/office/drawing/2014/main" id="{7B0EBD02-6927-4755-A9DF-92256C0A5CDC}"/>
                    </a:ext>
                  </a:extLst>
                </p:cNvPr>
                <p:cNvGrpSpPr/>
                <p:nvPr/>
              </p:nvGrpSpPr>
              <p:grpSpPr>
                <a:xfrm>
                  <a:off x="1183704" y="4327673"/>
                  <a:ext cx="178734" cy="46181"/>
                  <a:chOff x="1185979" y="4327673"/>
                  <a:chExt cx="178734" cy="46181"/>
                </a:xfrm>
              </p:grpSpPr>
              <p:sp>
                <p:nvSpPr>
                  <p:cNvPr id="62" name="Rectangle 61">
                    <a:extLst>
                      <a:ext uri="{FF2B5EF4-FFF2-40B4-BE49-F238E27FC236}">
                        <a16:creationId xmlns:a16="http://schemas.microsoft.com/office/drawing/2014/main" id="{656D4A87-912E-4B66-B906-D1FA94A41007}"/>
                      </a:ext>
                    </a:extLst>
                  </p:cNvPr>
                  <p:cNvSpPr/>
                  <p:nvPr/>
                </p:nvSpPr>
                <p:spPr bwMode="auto">
                  <a:xfrm>
                    <a:off x="1185979" y="4328135"/>
                    <a:ext cx="45719" cy="45719"/>
                  </a:xfrm>
                  <a:prstGeom prst="rect">
                    <a:avLst/>
                  </a:prstGeom>
                  <a:solidFill>
                    <a:schemeClr val="accent1"/>
                  </a:solid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63" name="Rectangle 62">
                    <a:extLst>
                      <a:ext uri="{FF2B5EF4-FFF2-40B4-BE49-F238E27FC236}">
                        <a16:creationId xmlns:a16="http://schemas.microsoft.com/office/drawing/2014/main" id="{7C9AAC21-13CC-4C29-AFEB-113D72C898A1}"/>
                      </a:ext>
                    </a:extLst>
                  </p:cNvPr>
                  <p:cNvSpPr/>
                  <p:nvPr/>
                </p:nvSpPr>
                <p:spPr bwMode="auto">
                  <a:xfrm>
                    <a:off x="1318994" y="4327673"/>
                    <a:ext cx="45719" cy="45719"/>
                  </a:xfrm>
                  <a:prstGeom prst="rect">
                    <a:avLst/>
                  </a:prstGeom>
                  <a:solidFill>
                    <a:schemeClr val="accent1"/>
                  </a:solidFill>
                  <a:ln w="19050" algn="ctr">
                    <a:no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sp>
              <p:nvSpPr>
                <p:cNvPr id="60" name="Trapezoid 59">
                  <a:extLst>
                    <a:ext uri="{FF2B5EF4-FFF2-40B4-BE49-F238E27FC236}">
                      <a16:creationId xmlns:a16="http://schemas.microsoft.com/office/drawing/2014/main" id="{E09A6E55-AA05-402A-809C-08BD43DC89B4}"/>
                    </a:ext>
                  </a:extLst>
                </p:cNvPr>
                <p:cNvSpPr/>
                <p:nvPr/>
              </p:nvSpPr>
              <p:spPr bwMode="auto">
                <a:xfrm>
                  <a:off x="1144799" y="4253638"/>
                  <a:ext cx="256545" cy="46070"/>
                </a:xfrm>
                <a:prstGeom prst="trapezoid">
                  <a:avLst>
                    <a:gd name="adj" fmla="val 113856"/>
                  </a:avLst>
                </a:prstGeom>
                <a:solidFill>
                  <a:schemeClr val="accent2"/>
                </a:solidFill>
                <a:ln w="19050" algn="ctr">
                  <a:solidFill>
                    <a:schemeClr val="accent2"/>
                  </a:solid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sp>
              <p:nvSpPr>
                <p:cNvPr id="61" name="Rectangle 60">
                  <a:extLst>
                    <a:ext uri="{FF2B5EF4-FFF2-40B4-BE49-F238E27FC236}">
                      <a16:creationId xmlns:a16="http://schemas.microsoft.com/office/drawing/2014/main" id="{098A4035-7519-40A5-8962-ECDCB0B25C9E}"/>
                    </a:ext>
                  </a:extLst>
                </p:cNvPr>
                <p:cNvSpPr/>
                <p:nvPr/>
              </p:nvSpPr>
              <p:spPr bwMode="auto">
                <a:xfrm>
                  <a:off x="1351146" y="4233499"/>
                  <a:ext cx="24071" cy="61064"/>
                </a:xfrm>
                <a:prstGeom prst="rect">
                  <a:avLst/>
                </a:prstGeom>
                <a:solidFill>
                  <a:schemeClr val="accent2"/>
                </a:solidFill>
                <a:ln w="19050" algn="ctr">
                  <a:solidFill>
                    <a:schemeClr val="accent2"/>
                  </a:solidFill>
                  <a:miter lim="800000"/>
                  <a:headEnd/>
                  <a:tailEnd/>
                </a:ln>
                <a:effectLst/>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lumMod val="65000"/>
                        <a:lumOff val="35000"/>
                      </a:srgbClr>
                    </a:solidFill>
                    <a:effectLst/>
                    <a:uLnTx/>
                    <a:uFillTx/>
                    <a:latin typeface="Arial"/>
                    <a:ea typeface="MS PGothic" charset="0"/>
                    <a:cs typeface="+mn-cs"/>
                  </a:endParaRPr>
                </a:p>
              </p:txBody>
            </p:sp>
          </p:grpSp>
          <p:sp>
            <p:nvSpPr>
              <p:cNvPr id="67" name="Oval 66">
                <a:extLst>
                  <a:ext uri="{FF2B5EF4-FFF2-40B4-BE49-F238E27FC236}">
                    <a16:creationId xmlns:a16="http://schemas.microsoft.com/office/drawing/2014/main" id="{93653996-EFFC-474E-9045-ABC20721E256}"/>
                  </a:ext>
                </a:extLst>
              </p:cNvPr>
              <p:cNvSpPr/>
              <p:nvPr/>
            </p:nvSpPr>
            <p:spPr>
              <a:xfrm>
                <a:off x="7867878" y="5476186"/>
                <a:ext cx="672892" cy="593573"/>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68" name="Graphic 67" descr="Needle">
                <a:extLst>
                  <a:ext uri="{FF2B5EF4-FFF2-40B4-BE49-F238E27FC236}">
                    <a16:creationId xmlns:a16="http://schemas.microsoft.com/office/drawing/2014/main" id="{A4A3A8AF-CFD6-40E8-8164-6FE850DE9D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02778" y="5565617"/>
                <a:ext cx="439877" cy="439877"/>
              </a:xfrm>
              <a:prstGeom prst="rect">
                <a:avLst/>
              </a:prstGeom>
            </p:spPr>
          </p:pic>
        </p:grpSp>
        <p:sp>
          <p:nvSpPr>
            <p:cNvPr id="70" name="Rectangle 69">
              <a:extLst>
                <a:ext uri="{FF2B5EF4-FFF2-40B4-BE49-F238E27FC236}">
                  <a16:creationId xmlns:a16="http://schemas.microsoft.com/office/drawing/2014/main" id="{6EEEF9BD-6EA3-4CD5-928C-EFCC5F7D8A4F}"/>
                </a:ext>
              </a:extLst>
            </p:cNvPr>
            <p:cNvSpPr/>
            <p:nvPr/>
          </p:nvSpPr>
          <p:spPr bwMode="gray">
            <a:xfrm>
              <a:off x="6786527" y="2280603"/>
              <a:ext cx="4853783" cy="3439098"/>
            </a:xfrm>
            <a:prstGeom prst="rect">
              <a:avLst/>
            </a:prstGeom>
            <a:noFill/>
            <a:ln>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71" name="Rectangle 70">
            <a:extLst>
              <a:ext uri="{FF2B5EF4-FFF2-40B4-BE49-F238E27FC236}">
                <a16:creationId xmlns:a16="http://schemas.microsoft.com/office/drawing/2014/main" id="{6791A67C-51AE-4E74-9553-67B54C23A5D3}"/>
              </a:ext>
            </a:extLst>
          </p:cNvPr>
          <p:cNvSpPr/>
          <p:nvPr/>
        </p:nvSpPr>
        <p:spPr>
          <a:xfrm>
            <a:off x="6756416" y="6397051"/>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Study drug was initiated in hospital in 11% of patients.</a:t>
            </a:r>
            <a:r>
              <a:rPr kumimoji="0" lang="da-DK" sz="900" b="0" i="0" u="none" strike="noStrike" kern="1200" cap="none" spc="0" normalizeH="0" baseline="30000" noProof="0" dirty="0">
                <a:ln>
                  <a:noFill/>
                </a:ln>
                <a:solidFill>
                  <a:srgbClr val="53585A"/>
                </a:solidFill>
                <a:effectLst/>
                <a:uLnTx/>
                <a:uFillTx/>
                <a:latin typeface="Arial" panose="020B0604020202020204"/>
                <a:ea typeface="MS PGothic" charset="0"/>
                <a:cs typeface="+mn-cs"/>
              </a:rPr>
              <a:t>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HF, heart failure; HFH, heart failure hospitalisation; IV, intravenous.</a:t>
            </a:r>
          </a:p>
        </p:txBody>
      </p:sp>
      <p:sp>
        <p:nvSpPr>
          <p:cNvPr id="74" name="Rectangle 73">
            <a:extLst>
              <a:ext uri="{FF2B5EF4-FFF2-40B4-BE49-F238E27FC236}">
                <a16:creationId xmlns:a16="http://schemas.microsoft.com/office/drawing/2014/main" id="{FA796BC6-052E-4273-9501-C33C6F0F0CAD}"/>
              </a:ext>
            </a:extLst>
          </p:cNvPr>
          <p:cNvSpPr/>
          <p:nvPr/>
        </p:nvSpPr>
        <p:spPr>
          <a:xfrm>
            <a:off x="6756416" y="5194605"/>
            <a:ext cx="4883894" cy="954107"/>
          </a:xfrm>
          <a:prstGeom prst="rect">
            <a:avLst/>
          </a:prstGeom>
          <a:solidFill>
            <a:schemeClr val="accent1"/>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Patients could be enrolled in VICTORIA up to 6 months after HF hospitalisation or up to 3 months after an episode of worsening HF requiring IV diuretics without hospitalisation</a:t>
            </a:r>
            <a:r>
              <a:rPr kumimoji="0" lang="en-GB" sz="1400" b="1" i="0" u="none" strike="noStrike" kern="1200" cap="none" spc="0" normalizeH="0" baseline="30000" noProof="0" dirty="0">
                <a:ln>
                  <a:noFill/>
                </a:ln>
                <a:solidFill>
                  <a:srgbClr val="FFFFFF"/>
                </a:solidFill>
                <a:effectLst/>
                <a:uLnTx/>
                <a:uFillTx/>
                <a:latin typeface="Arial" panose="020B0604020202020204"/>
                <a:ea typeface="+mn-ea"/>
                <a:cs typeface="+mn-cs"/>
              </a:rPr>
              <a:t>1</a:t>
            </a:r>
            <a:endPar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BAD72E90-ED3E-40D5-BE86-4D488AC75CF1}"/>
              </a:ext>
            </a:extLst>
          </p:cNvPr>
          <p:cNvSpPr/>
          <p:nvPr/>
        </p:nvSpPr>
        <p:spPr>
          <a:xfrm>
            <a:off x="797541" y="3250553"/>
            <a:ext cx="5549045" cy="11282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Text Placeholder 1">
            <a:extLst>
              <a:ext uri="{FF2B5EF4-FFF2-40B4-BE49-F238E27FC236}">
                <a16:creationId xmlns:a16="http://schemas.microsoft.com/office/drawing/2014/main" id="{D0611B73-48DF-4291-AC08-B25E76BF02A2}"/>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977594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A58855-3200-4C5D-82FC-8AB4602669EB}"/>
              </a:ext>
            </a:extLst>
          </p:cNvPr>
          <p:cNvSpPr>
            <a:spLocks noGrp="1"/>
          </p:cNvSpPr>
          <p:nvPr>
            <p:ph type="body" sz="quarter" idx="14"/>
          </p:nvPr>
        </p:nvSpPr>
        <p:spPr/>
        <p:txBody>
          <a:bodyPr/>
          <a:lstStyle/>
          <a:p>
            <a:r>
              <a:rPr lang="en-US"/>
              <a:t>Time to first HF hospitalization or CV death</a:t>
            </a:r>
          </a:p>
        </p:txBody>
      </p:sp>
      <p:sp>
        <p:nvSpPr>
          <p:cNvPr id="6" name="Slide Number Placeholder 5">
            <a:extLst>
              <a:ext uri="{FF2B5EF4-FFF2-40B4-BE49-F238E27FC236}">
                <a16:creationId xmlns:a16="http://schemas.microsoft.com/office/drawing/2014/main" id="{32CD78D6-55A1-473E-B3D2-69D3C4E0149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3E8DA-EFA8-4AF6-91A7-62A147E0F12C}"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39798930-5DA3-4CC6-984F-926008A82157}"/>
              </a:ext>
            </a:extLst>
          </p:cNvPr>
          <p:cNvSpPr>
            <a:spLocks noGrp="1"/>
          </p:cNvSpPr>
          <p:nvPr>
            <p:ph type="title"/>
          </p:nvPr>
        </p:nvSpPr>
        <p:spPr/>
        <p:txBody>
          <a:bodyPr/>
          <a:lstStyle/>
          <a:p>
            <a:r>
              <a:rPr lang="en-US"/>
              <a:t>Vericiguat significantly reduced the primary composite outcome of first HF hospitalization or CV death</a:t>
            </a:r>
          </a:p>
        </p:txBody>
      </p:sp>
      <p:sp>
        <p:nvSpPr>
          <p:cNvPr id="22" name="Footer Placeholder 21">
            <a:extLst>
              <a:ext uri="{FF2B5EF4-FFF2-40B4-BE49-F238E27FC236}">
                <a16:creationId xmlns:a16="http://schemas.microsoft.com/office/drawing/2014/main" id="{0634AA25-24EF-4486-90B8-793568485FAF}"/>
              </a:ext>
            </a:extLst>
          </p:cNvPr>
          <p:cNvSpPr>
            <a:spLocks noGrp="1"/>
          </p:cNvSpPr>
          <p:nvPr>
            <p:ph type="ftr" sz="quarter" idx="17"/>
          </p:nvPr>
        </p:nvSpPr>
        <p:spPr/>
        <p:txBody>
          <a:bodyPr/>
          <a:lstStyle/>
          <a:p>
            <a:pPr marL="0" marR="0" lvl="0" indent="0" algn="l" defTabSz="914400" rtl="0" eaLnBrk="1" fontAlgn="auto" latinLnBrk="0" hangingPunct="1">
              <a:lnSpc>
                <a:spcPct val="80000"/>
              </a:lnSpc>
              <a:spcBef>
                <a:spcPts val="200"/>
              </a:spcBef>
              <a:spcAft>
                <a:spcPts val="0"/>
              </a:spcAft>
              <a:buClr>
                <a:srgbClr val="0D2B4C"/>
              </a:buClr>
              <a:buSzTx/>
              <a:buFontTx/>
              <a:buNone/>
              <a:tabLst/>
              <a:defRPr/>
            </a:pPr>
            <a:r>
              <a:rPr kumimoji="0" lang="en-GB" sz="800" b="0" i="0" u="none" strike="noStrike" kern="1200" cap="none" spc="0" normalizeH="0" baseline="0" noProof="0">
                <a:ln>
                  <a:noFill/>
                </a:ln>
                <a:solidFill>
                  <a:srgbClr val="898989"/>
                </a:solidFill>
                <a:effectLst/>
                <a:uLnTx/>
                <a:uFillTx/>
                <a:latin typeface="Arial"/>
                <a:ea typeface="+mn-ea"/>
                <a:cs typeface="+mn-cs"/>
              </a:rPr>
              <a:t>* Calculations: annual NNT = 100/4.2 = 24.</a:t>
            </a:r>
          </a:p>
          <a:p>
            <a:pPr marL="0" marR="0" lvl="0" indent="0" algn="l" defTabSz="914400" rtl="0" eaLnBrk="1" fontAlgn="auto" latinLnBrk="0" hangingPunct="1">
              <a:lnSpc>
                <a:spcPct val="80000"/>
              </a:lnSpc>
              <a:spcBef>
                <a:spcPts val="200"/>
              </a:spcBef>
              <a:spcAft>
                <a:spcPts val="0"/>
              </a:spcAft>
              <a:buClr>
                <a:srgbClr val="0D2B4C"/>
              </a:buClr>
              <a:buSzTx/>
              <a:buFontTx/>
              <a:buNone/>
              <a:tabLst/>
              <a:defRPr/>
            </a:pPr>
            <a:r>
              <a:rPr kumimoji="0" lang="en-GB" sz="800" b="0" i="0" u="none" strike="noStrike" kern="1200" cap="none" spc="0" normalizeH="0" baseline="0" noProof="0">
                <a:ln>
                  <a:noFill/>
                </a:ln>
                <a:solidFill>
                  <a:srgbClr val="898989"/>
                </a:solidFill>
                <a:effectLst/>
                <a:uLnTx/>
                <a:uFillTx/>
                <a:latin typeface="Arial"/>
                <a:ea typeface="+mn-ea"/>
                <a:cs typeface="+mn-cs"/>
              </a:rPr>
              <a:t>ARR, absolute rate reduction; CI, confidence interval; CV, cardiovascular; HF, heart failure; HR, hazard ratio; NNT, number needed to treat; PY, patient-years.</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800" b="1" i="0" u="none" strike="noStrike" kern="1200" cap="none" spc="0" normalizeH="0" baseline="0" noProof="0">
                <a:ln>
                  <a:noFill/>
                </a:ln>
                <a:solidFill>
                  <a:srgbClr val="898989"/>
                </a:solidFill>
                <a:effectLst/>
                <a:uLnTx/>
                <a:uFillTx/>
                <a:latin typeface="Arial"/>
                <a:ea typeface="+mn-ea"/>
                <a:cs typeface="+mn-cs"/>
              </a:rPr>
              <a:t>Reference: </a:t>
            </a:r>
            <a:r>
              <a:rPr kumimoji="0" lang="en-GB" sz="800" b="0" i="0" u="none" strike="noStrike" kern="1200" cap="none" spc="0" normalizeH="0" baseline="0" noProof="0">
                <a:ln>
                  <a:noFill/>
                </a:ln>
                <a:solidFill>
                  <a:srgbClr val="898989"/>
                </a:solidFill>
                <a:effectLst/>
                <a:uLnTx/>
                <a:uFillTx/>
                <a:latin typeface="Arial"/>
                <a:ea typeface="+mn-ea"/>
                <a:cs typeface="+mn-cs"/>
              </a:rPr>
              <a:t>Armstrong PW </a:t>
            </a:r>
            <a:r>
              <a:rPr kumimoji="0" lang="en-GB" sz="800" b="0" i="1" u="none" strike="noStrike" kern="1200" cap="none" spc="0" normalizeH="0" baseline="0" noProof="0">
                <a:ln>
                  <a:noFill/>
                </a:ln>
                <a:solidFill>
                  <a:srgbClr val="898989"/>
                </a:solidFill>
                <a:effectLst/>
                <a:uLnTx/>
                <a:uFillTx/>
                <a:latin typeface="Arial"/>
                <a:ea typeface="+mn-ea"/>
                <a:cs typeface="+mn-cs"/>
              </a:rPr>
              <a:t>et al</a:t>
            </a:r>
            <a:r>
              <a:rPr kumimoji="0" lang="en-GB" sz="800" b="0" i="0" u="none" strike="noStrike" kern="1200" cap="none" spc="0" normalizeH="0" baseline="0" noProof="0">
                <a:ln>
                  <a:noFill/>
                </a:ln>
                <a:solidFill>
                  <a:srgbClr val="898989"/>
                </a:solidFill>
                <a:effectLst/>
                <a:uLnTx/>
                <a:uFillTx/>
                <a:latin typeface="Arial"/>
                <a:ea typeface="+mn-ea"/>
                <a:cs typeface="+mn-cs"/>
              </a:rPr>
              <a:t>. </a:t>
            </a:r>
            <a:r>
              <a:rPr kumimoji="0" lang="en-GB" sz="800" b="0" i="1" u="none" strike="noStrike" kern="1200" cap="none" spc="0" normalizeH="0" baseline="0" noProof="0">
                <a:ln>
                  <a:noFill/>
                </a:ln>
                <a:solidFill>
                  <a:srgbClr val="898989"/>
                </a:solidFill>
                <a:effectLst/>
                <a:uLnTx/>
                <a:uFillTx/>
                <a:latin typeface="Arial"/>
                <a:ea typeface="+mn-ea"/>
                <a:cs typeface="+mn-cs"/>
              </a:rPr>
              <a:t>N </a:t>
            </a:r>
            <a:r>
              <a:rPr kumimoji="0" lang="en-GB" sz="800" b="0" i="1" u="none" strike="noStrike" kern="1200" cap="none" spc="0" normalizeH="0" baseline="0" noProof="0" err="1">
                <a:ln>
                  <a:noFill/>
                </a:ln>
                <a:solidFill>
                  <a:srgbClr val="898989"/>
                </a:solidFill>
                <a:effectLst/>
                <a:uLnTx/>
                <a:uFillTx/>
                <a:latin typeface="Arial"/>
                <a:ea typeface="+mn-ea"/>
                <a:cs typeface="+mn-cs"/>
              </a:rPr>
              <a:t>Engl</a:t>
            </a:r>
            <a:r>
              <a:rPr kumimoji="0" lang="en-GB" sz="800" b="0" i="1" u="none" strike="noStrike" kern="1200" cap="none" spc="0" normalizeH="0" baseline="0" noProof="0">
                <a:ln>
                  <a:noFill/>
                </a:ln>
                <a:solidFill>
                  <a:srgbClr val="898989"/>
                </a:solidFill>
                <a:effectLst/>
                <a:uLnTx/>
                <a:uFillTx/>
                <a:latin typeface="Arial"/>
                <a:ea typeface="+mn-ea"/>
                <a:cs typeface="+mn-cs"/>
              </a:rPr>
              <a:t> J Med</a:t>
            </a:r>
            <a:r>
              <a:rPr kumimoji="0" lang="en-GB" sz="800" b="0" i="0" u="none" strike="noStrike" kern="1200" cap="none" spc="0" normalizeH="0" baseline="0" noProof="0">
                <a:ln>
                  <a:noFill/>
                </a:ln>
                <a:solidFill>
                  <a:srgbClr val="898989"/>
                </a:solidFill>
                <a:effectLst/>
                <a:uLnTx/>
                <a:uFillTx/>
                <a:latin typeface="Arial"/>
                <a:ea typeface="+mn-ea"/>
                <a:cs typeface="+mn-cs"/>
              </a:rPr>
              <a:t> 2020;382:1883–1893.</a:t>
            </a:r>
            <a:endParaRPr kumimoji="0" lang="en-US" sz="800" b="0" i="0" u="none" strike="noStrike" kern="1200" cap="none" spc="0" normalizeH="0" baseline="0" noProof="0">
              <a:ln>
                <a:noFill/>
              </a:ln>
              <a:solidFill>
                <a:srgbClr val="898989"/>
              </a:solidFill>
              <a:effectLst/>
              <a:uLnTx/>
              <a:uFillTx/>
              <a:latin typeface="Arial"/>
              <a:ea typeface="+mn-ea"/>
              <a:cs typeface="+mn-cs"/>
            </a:endParaRPr>
          </a:p>
        </p:txBody>
      </p:sp>
      <p:grpSp>
        <p:nvGrpSpPr>
          <p:cNvPr id="75" name="Group 74">
            <a:extLst>
              <a:ext uri="{FF2B5EF4-FFF2-40B4-BE49-F238E27FC236}">
                <a16:creationId xmlns:a16="http://schemas.microsoft.com/office/drawing/2014/main" id="{600E974A-DF4E-4702-9C34-A59B61BB97EB}"/>
              </a:ext>
            </a:extLst>
          </p:cNvPr>
          <p:cNvGrpSpPr/>
          <p:nvPr/>
        </p:nvGrpSpPr>
        <p:grpSpPr>
          <a:xfrm>
            <a:off x="288031" y="1568459"/>
            <a:ext cx="7475315" cy="4438342"/>
            <a:chOff x="939883" y="1600201"/>
            <a:chExt cx="7734141" cy="4592017"/>
          </a:xfrm>
        </p:grpSpPr>
        <p:sp>
          <p:nvSpPr>
            <p:cNvPr id="8" name="Content Placeholder 2">
              <a:extLst>
                <a:ext uri="{FF2B5EF4-FFF2-40B4-BE49-F238E27FC236}">
                  <a16:creationId xmlns:a16="http://schemas.microsoft.com/office/drawing/2014/main" id="{F0F72DFE-93F6-4FC5-AEA0-536AF2072C2B}"/>
                </a:ext>
              </a:extLst>
            </p:cNvPr>
            <p:cNvSpPr txBox="1">
              <a:spLocks/>
            </p:cNvSpPr>
            <p:nvPr/>
          </p:nvSpPr>
          <p:spPr>
            <a:xfrm>
              <a:off x="949536" y="1600201"/>
              <a:ext cx="7724488" cy="45259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Clr>
                  <a:srgbClr val="FFFF00"/>
                </a:buClr>
                <a:buSzPct val="100000"/>
                <a:buFont typeface="Arial" panose="020B0604020202020204" pitchFamily="34" charset="0"/>
                <a:buNone/>
                <a:defRPr sz="2400" b="1" kern="1200">
                  <a:solidFill>
                    <a:schemeClr val="tx1"/>
                  </a:solidFill>
                  <a:latin typeface="+mn-lt"/>
                  <a:ea typeface="+mn-ea"/>
                  <a:cs typeface="+mn-cs"/>
                </a:defRPr>
              </a:lvl1pPr>
              <a:lvl2pPr marL="227013" indent="-227013" algn="l" defTabSz="914400" rtl="0" eaLnBrk="1" latinLnBrk="0" hangingPunct="1">
                <a:lnSpc>
                  <a:spcPct val="100000"/>
                </a:lnSpc>
                <a:spcBef>
                  <a:spcPts val="600"/>
                </a:spcBef>
                <a:buClr>
                  <a:schemeClr val="accent3"/>
                </a:buClr>
                <a:buFont typeface="Arial" panose="020B0604020202020204" pitchFamily="34" charset="0"/>
                <a:buChar char="•"/>
                <a:tabLst/>
                <a:defRPr sz="2000" kern="1200">
                  <a:solidFill>
                    <a:schemeClr val="tx1"/>
                  </a:solidFill>
                  <a:latin typeface="+mn-lt"/>
                  <a:ea typeface="+mn-ea"/>
                  <a:cs typeface="+mn-cs"/>
                </a:defRPr>
              </a:lvl2pPr>
              <a:lvl3pPr marL="461963" indent="-234950" algn="l" defTabSz="914400" rtl="0" eaLnBrk="1" latinLnBrk="0" hangingPunct="1">
                <a:lnSpc>
                  <a:spcPct val="100000"/>
                </a:lnSpc>
                <a:spcBef>
                  <a:spcPts val="6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687388" indent="-225425"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914400" indent="-227013"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FFFF00"/>
                </a:buClr>
                <a:buSzPct val="100000"/>
                <a:buFont typeface="Arial" panose="020B0604020202020204" pitchFamily="34" charset="0"/>
                <a:buNone/>
                <a:tabLst/>
                <a:defRPr/>
              </a:pPr>
              <a:endParaRPr kumimoji="0" lang="en-GB" sz="1200" b="1" i="0" u="none" strike="noStrike" kern="1200" cap="none" spc="0" normalizeH="0" baseline="0" noProof="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C1E64084-54AF-4312-92B0-C86FCAE7C8D4}"/>
                </a:ext>
              </a:extLst>
            </p:cNvPr>
            <p:cNvGrpSpPr/>
            <p:nvPr/>
          </p:nvGrpSpPr>
          <p:grpSpPr>
            <a:xfrm>
              <a:off x="939883" y="1943453"/>
              <a:ext cx="7424588" cy="4248765"/>
              <a:chOff x="1390015" y="1943453"/>
              <a:chExt cx="7424588" cy="4248765"/>
            </a:xfrm>
          </p:grpSpPr>
          <p:graphicFrame>
            <p:nvGraphicFramePr>
              <p:cNvPr id="10" name="Table Placeholder 5">
                <a:extLst>
                  <a:ext uri="{FF2B5EF4-FFF2-40B4-BE49-F238E27FC236}">
                    <a16:creationId xmlns:a16="http://schemas.microsoft.com/office/drawing/2014/main" id="{3C5E5D03-C789-4687-867C-BEA5E08676DD}"/>
                  </a:ext>
                </a:extLst>
              </p:cNvPr>
              <p:cNvGraphicFramePr>
                <a:graphicFrameLocks/>
              </p:cNvGraphicFramePr>
              <p:nvPr/>
            </p:nvGraphicFramePr>
            <p:xfrm>
              <a:off x="1390015" y="5388066"/>
              <a:ext cx="7424588" cy="804152"/>
            </p:xfrm>
            <a:graphic>
              <a:graphicData uri="http://schemas.openxmlformats.org/drawingml/2006/table">
                <a:tbl>
                  <a:tblPr firstRow="1" bandRow="1">
                    <a:tableStyleId>{2D5ABB26-0587-4C30-8999-92F81FD0307C}</a:tableStyleId>
                  </a:tblPr>
                  <a:tblGrid>
                    <a:gridCol w="765624">
                      <a:extLst>
                        <a:ext uri="{9D8B030D-6E8A-4147-A177-3AD203B41FA5}">
                          <a16:colId xmlns:a16="http://schemas.microsoft.com/office/drawing/2014/main" val="20000"/>
                        </a:ext>
                      </a:extLst>
                    </a:gridCol>
                    <a:gridCol w="505844">
                      <a:extLst>
                        <a:ext uri="{9D8B030D-6E8A-4147-A177-3AD203B41FA5}">
                          <a16:colId xmlns:a16="http://schemas.microsoft.com/office/drawing/2014/main" val="20002"/>
                        </a:ext>
                      </a:extLst>
                    </a:gridCol>
                    <a:gridCol w="612065">
                      <a:extLst>
                        <a:ext uri="{9D8B030D-6E8A-4147-A177-3AD203B41FA5}">
                          <a16:colId xmlns:a16="http://schemas.microsoft.com/office/drawing/2014/main" val="1577222836"/>
                        </a:ext>
                      </a:extLst>
                    </a:gridCol>
                    <a:gridCol w="756084">
                      <a:extLst>
                        <a:ext uri="{9D8B030D-6E8A-4147-A177-3AD203B41FA5}">
                          <a16:colId xmlns:a16="http://schemas.microsoft.com/office/drawing/2014/main" val="672927634"/>
                        </a:ext>
                      </a:extLst>
                    </a:gridCol>
                    <a:gridCol w="648072">
                      <a:extLst>
                        <a:ext uri="{9D8B030D-6E8A-4147-A177-3AD203B41FA5}">
                          <a16:colId xmlns:a16="http://schemas.microsoft.com/office/drawing/2014/main" val="3478128122"/>
                        </a:ext>
                      </a:extLst>
                    </a:gridCol>
                    <a:gridCol w="734217">
                      <a:extLst>
                        <a:ext uri="{9D8B030D-6E8A-4147-A177-3AD203B41FA5}">
                          <a16:colId xmlns:a16="http://schemas.microsoft.com/office/drawing/2014/main" val="4200255387"/>
                        </a:ext>
                      </a:extLst>
                    </a:gridCol>
                    <a:gridCol w="630843">
                      <a:extLst>
                        <a:ext uri="{9D8B030D-6E8A-4147-A177-3AD203B41FA5}">
                          <a16:colId xmlns:a16="http://schemas.microsoft.com/office/drawing/2014/main" val="4264237533"/>
                        </a:ext>
                      </a:extLst>
                    </a:gridCol>
                    <a:gridCol w="831184">
                      <a:extLst>
                        <a:ext uri="{9D8B030D-6E8A-4147-A177-3AD203B41FA5}">
                          <a16:colId xmlns:a16="http://schemas.microsoft.com/office/drawing/2014/main" val="3204389226"/>
                        </a:ext>
                      </a:extLst>
                    </a:gridCol>
                    <a:gridCol w="540060">
                      <a:extLst>
                        <a:ext uri="{9D8B030D-6E8A-4147-A177-3AD203B41FA5}">
                          <a16:colId xmlns:a16="http://schemas.microsoft.com/office/drawing/2014/main" val="852687898"/>
                        </a:ext>
                      </a:extLst>
                    </a:gridCol>
                    <a:gridCol w="864096">
                      <a:extLst>
                        <a:ext uri="{9D8B030D-6E8A-4147-A177-3AD203B41FA5}">
                          <a16:colId xmlns:a16="http://schemas.microsoft.com/office/drawing/2014/main" val="1064255070"/>
                        </a:ext>
                      </a:extLst>
                    </a:gridCol>
                    <a:gridCol w="288032">
                      <a:extLst>
                        <a:ext uri="{9D8B030D-6E8A-4147-A177-3AD203B41FA5}">
                          <a16:colId xmlns:a16="http://schemas.microsoft.com/office/drawing/2014/main" val="2980194039"/>
                        </a:ext>
                      </a:extLst>
                    </a:gridCol>
                  </a:tblGrid>
                  <a:tr h="187740">
                    <a:tc gridSpan="10">
                      <a:txBody>
                        <a:bodyPr/>
                        <a:lstStyle/>
                        <a:p>
                          <a:pPr algn="l"/>
                          <a:r>
                            <a:rPr lang="en-US" sz="1100" b="1" strike="noStrike" baseline="0" noProof="0"/>
                            <a:t>Number of patients at risk </a:t>
                          </a:r>
                        </a:p>
                      </a:txBody>
                      <a:tcPr marL="0" marR="0" anchor="ctr"/>
                    </a:tc>
                    <a:tc hMerge="1">
                      <a:txBody>
                        <a:bodyPr/>
                        <a:lstStyle/>
                        <a:p>
                          <a:pPr algn="ctr"/>
                          <a:endParaRPr lang="en-US" sz="1400"/>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a:txBody>
                        <a:bodyPr/>
                        <a:lstStyle/>
                        <a:p>
                          <a:pPr algn="l"/>
                          <a:endParaRPr lang="en-US" sz="1100" b="1" strike="noStrike" baseline="0" noProof="0"/>
                        </a:p>
                      </a:txBody>
                      <a:tcPr marL="0" marR="0" anchor="ctr"/>
                    </a:tc>
                    <a:extLst>
                      <a:ext uri="{0D108BD9-81ED-4DB2-BD59-A6C34878D82A}">
                        <a16:rowId xmlns:a16="http://schemas.microsoft.com/office/drawing/2014/main" val="10000"/>
                      </a:ext>
                    </a:extLst>
                  </a:tr>
                  <a:tr h="187740">
                    <a:tc>
                      <a:txBody>
                        <a:bodyPr/>
                        <a:lstStyle/>
                        <a:p>
                          <a:pPr marL="0" marR="0" algn="l">
                            <a:lnSpc>
                              <a:spcPct val="100000"/>
                            </a:lnSpc>
                            <a:spcBef>
                              <a:spcPts val="0"/>
                            </a:spcBef>
                            <a:spcAft>
                              <a:spcPts val="0"/>
                            </a:spcAft>
                          </a:pPr>
                          <a:r>
                            <a:rPr lang="en-US" sz="1100" b="1" noProof="0">
                              <a:effectLst/>
                            </a:rPr>
                            <a:t>Vericiguat</a:t>
                          </a:r>
                          <a:endParaRPr lang="en-US" sz="1100" b="1"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0" marR="0" indent="0" algn="l">
                            <a:lnSpc>
                              <a:spcPct val="100000"/>
                            </a:lnSpc>
                            <a:spcBef>
                              <a:spcPts val="0"/>
                            </a:spcBef>
                            <a:spcAft>
                              <a:spcPts val="0"/>
                            </a:spcAft>
                          </a:pPr>
                          <a:r>
                            <a:rPr lang="en-US" sz="1100" noProof="0">
                              <a:effectLst/>
                            </a:rPr>
                            <a:t>2,526</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2,099</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1,621</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1,154</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826</a:t>
                          </a:r>
                          <a:endParaRPr lang="en-US" sz="1100" noProof="0">
                            <a:effectLst/>
                            <a:latin typeface="+mn-lt"/>
                            <a:ea typeface="Calibri" panose="020F0502020204030204" pitchFamily="34" charset="0"/>
                            <a:cs typeface="Times New Roman" panose="02020603050405020304" pitchFamily="18" charset="0"/>
                          </a:endParaRPr>
                        </a:p>
                      </a:txBody>
                      <a:tcPr marL="36000" marR="0" anchor="ctr"/>
                    </a:tc>
                    <a:tc>
                      <a:txBody>
                        <a:bodyPr/>
                        <a:lstStyle/>
                        <a:p>
                          <a:pPr marL="155575" marR="0" algn="ctr">
                            <a:lnSpc>
                              <a:spcPct val="100000"/>
                            </a:lnSpc>
                            <a:spcBef>
                              <a:spcPts val="0"/>
                            </a:spcBef>
                            <a:spcAft>
                              <a:spcPts val="0"/>
                            </a:spcAft>
                          </a:pPr>
                          <a:r>
                            <a:rPr lang="en-US" sz="1100" noProof="0">
                              <a:effectLst/>
                            </a:rPr>
                            <a:t> 577</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348</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 125</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 1</a:t>
                          </a:r>
                          <a:endParaRPr lang="en-US" sz="1100" noProof="0">
                            <a:effectLst/>
                            <a:latin typeface="+mn-lt"/>
                            <a:ea typeface="Calibri" panose="020F0502020204030204" pitchFamily="34" charset="0"/>
                            <a:cs typeface="Times New Roman" panose="02020603050405020304" pitchFamily="18" charset="0"/>
                          </a:endParaRPr>
                        </a:p>
                      </a:txBody>
                      <a:tcPr marL="36000" marR="0" anchor="ctr"/>
                    </a:tc>
                    <a:tc>
                      <a:txBody>
                        <a:bodyPr/>
                        <a:lstStyle/>
                        <a:p>
                          <a:pPr marL="155575" marR="0" algn="ctr">
                            <a:lnSpc>
                              <a:spcPct val="100000"/>
                            </a:lnSpc>
                            <a:spcBef>
                              <a:spcPts val="0"/>
                            </a:spcBef>
                            <a:spcAft>
                              <a:spcPts val="0"/>
                            </a:spcAft>
                          </a:pPr>
                          <a:endParaRPr lang="en-US" sz="1100" noProof="0">
                            <a:effectLst/>
                            <a:latin typeface="+mn-lt"/>
                            <a:ea typeface="Calibri" panose="020F0502020204030204" pitchFamily="34" charset="0"/>
                            <a:cs typeface="Times New Roman" panose="02020603050405020304" pitchFamily="18" charset="0"/>
                          </a:endParaRPr>
                        </a:p>
                      </a:txBody>
                      <a:tcPr marL="0" marR="0" anchor="ctr"/>
                    </a:tc>
                    <a:extLst>
                      <a:ext uri="{0D108BD9-81ED-4DB2-BD59-A6C34878D82A}">
                        <a16:rowId xmlns:a16="http://schemas.microsoft.com/office/drawing/2014/main" val="10006"/>
                      </a:ext>
                    </a:extLst>
                  </a:tr>
                  <a:tr h="187740">
                    <a:tc>
                      <a:txBody>
                        <a:bodyPr/>
                        <a:lstStyle/>
                        <a:p>
                          <a:pPr marL="0" marR="0" algn="l">
                            <a:lnSpc>
                              <a:spcPct val="100000"/>
                            </a:lnSpc>
                            <a:spcBef>
                              <a:spcPts val="0"/>
                            </a:spcBef>
                            <a:spcAft>
                              <a:spcPts val="0"/>
                            </a:spcAft>
                          </a:pPr>
                          <a:r>
                            <a:rPr lang="en-US" sz="1100" b="1" noProof="0">
                              <a:effectLst/>
                            </a:rPr>
                            <a:t>Placebo</a:t>
                          </a:r>
                          <a:endParaRPr lang="en-US" sz="1100" b="1"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0" marR="0" indent="0" algn="l">
                            <a:lnSpc>
                              <a:spcPct val="100000"/>
                            </a:lnSpc>
                            <a:spcBef>
                              <a:spcPts val="0"/>
                            </a:spcBef>
                            <a:spcAft>
                              <a:spcPts val="0"/>
                            </a:spcAft>
                          </a:pPr>
                          <a:r>
                            <a:rPr lang="en-US" sz="1100" noProof="0">
                              <a:effectLst/>
                            </a:rPr>
                            <a:t>2,524</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2,053</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1,555</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1,097</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772</a:t>
                          </a:r>
                          <a:endParaRPr lang="en-US" sz="1100" noProof="0">
                            <a:effectLst/>
                            <a:latin typeface="+mn-lt"/>
                            <a:ea typeface="Calibri" panose="020F0502020204030204" pitchFamily="34" charset="0"/>
                            <a:cs typeface="Times New Roman" panose="02020603050405020304" pitchFamily="18" charset="0"/>
                          </a:endParaRPr>
                        </a:p>
                      </a:txBody>
                      <a:tcPr marL="36000" marR="0" anchor="ctr"/>
                    </a:tc>
                    <a:tc>
                      <a:txBody>
                        <a:bodyPr/>
                        <a:lstStyle/>
                        <a:p>
                          <a:pPr marL="155575" marR="0" algn="ctr">
                            <a:lnSpc>
                              <a:spcPct val="100000"/>
                            </a:lnSpc>
                            <a:spcBef>
                              <a:spcPts val="0"/>
                            </a:spcBef>
                            <a:spcAft>
                              <a:spcPts val="0"/>
                            </a:spcAft>
                          </a:pPr>
                          <a:r>
                            <a:rPr lang="en-US" sz="1100" noProof="0">
                              <a:effectLst/>
                            </a:rPr>
                            <a:t> 559</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324</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 110</a:t>
                          </a:r>
                          <a:endParaRPr lang="en-US" sz="1100" noProof="0">
                            <a:effectLst/>
                            <a:latin typeface="+mn-lt"/>
                            <a:ea typeface="Calibri" panose="020F0502020204030204" pitchFamily="34" charset="0"/>
                            <a:cs typeface="Times New Roman" panose="02020603050405020304" pitchFamily="18" charset="0"/>
                          </a:endParaRPr>
                        </a:p>
                      </a:txBody>
                      <a:tcPr marL="0" marR="0" anchor="ctr"/>
                    </a:tc>
                    <a:tc>
                      <a:txBody>
                        <a:bodyPr/>
                        <a:lstStyle/>
                        <a:p>
                          <a:pPr marL="155575" marR="0" algn="ctr">
                            <a:lnSpc>
                              <a:spcPct val="100000"/>
                            </a:lnSpc>
                            <a:spcBef>
                              <a:spcPts val="0"/>
                            </a:spcBef>
                            <a:spcAft>
                              <a:spcPts val="0"/>
                            </a:spcAft>
                          </a:pPr>
                          <a:r>
                            <a:rPr lang="en-US" sz="1100" noProof="0">
                              <a:effectLst/>
                            </a:rPr>
                            <a:t> 0</a:t>
                          </a:r>
                          <a:endParaRPr lang="en-US" sz="1100" noProof="0">
                            <a:effectLst/>
                            <a:latin typeface="+mn-lt"/>
                            <a:ea typeface="Calibri" panose="020F0502020204030204" pitchFamily="34" charset="0"/>
                            <a:cs typeface="Times New Roman" panose="02020603050405020304" pitchFamily="18" charset="0"/>
                          </a:endParaRPr>
                        </a:p>
                      </a:txBody>
                      <a:tcPr marL="36000" marR="0" anchor="ctr"/>
                    </a:tc>
                    <a:tc>
                      <a:txBody>
                        <a:bodyPr/>
                        <a:lstStyle/>
                        <a:p>
                          <a:pPr marL="155575" marR="0" algn="ctr">
                            <a:lnSpc>
                              <a:spcPct val="100000"/>
                            </a:lnSpc>
                            <a:spcBef>
                              <a:spcPts val="0"/>
                            </a:spcBef>
                            <a:spcAft>
                              <a:spcPts val="0"/>
                            </a:spcAft>
                          </a:pPr>
                          <a:endParaRPr lang="en-US" sz="1100" noProof="0">
                            <a:effectLst/>
                            <a:latin typeface="+mn-lt"/>
                            <a:ea typeface="Calibri" panose="020F0502020204030204" pitchFamily="34" charset="0"/>
                            <a:cs typeface="Times New Roman" panose="02020603050405020304" pitchFamily="18" charset="0"/>
                          </a:endParaRPr>
                        </a:p>
                      </a:txBody>
                      <a:tcPr marL="0" marR="0" anchor="ctr"/>
                    </a:tc>
                    <a:extLst>
                      <a:ext uri="{0D108BD9-81ED-4DB2-BD59-A6C34878D82A}">
                        <a16:rowId xmlns:a16="http://schemas.microsoft.com/office/drawing/2014/main" val="3499258922"/>
                      </a:ext>
                    </a:extLst>
                  </a:tr>
                </a:tbl>
              </a:graphicData>
            </a:graphic>
          </p:graphicFrame>
          <p:sp>
            <p:nvSpPr>
              <p:cNvPr id="11" name="TextBox 10">
                <a:extLst>
                  <a:ext uri="{FF2B5EF4-FFF2-40B4-BE49-F238E27FC236}">
                    <a16:creationId xmlns:a16="http://schemas.microsoft.com/office/drawing/2014/main" id="{85D4FE64-7A77-4FAE-A16F-17D43F7BB577}"/>
                  </a:ext>
                </a:extLst>
              </p:cNvPr>
              <p:cNvSpPr txBox="1"/>
              <p:nvPr/>
            </p:nvSpPr>
            <p:spPr>
              <a:xfrm>
                <a:off x="2376489" y="5208621"/>
                <a:ext cx="5784540"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Months since randomization</a:t>
                </a:r>
              </a:p>
            </p:txBody>
          </p:sp>
          <p:sp>
            <p:nvSpPr>
              <p:cNvPr id="12" name="TextBox 11">
                <a:extLst>
                  <a:ext uri="{FF2B5EF4-FFF2-40B4-BE49-F238E27FC236}">
                    <a16:creationId xmlns:a16="http://schemas.microsoft.com/office/drawing/2014/main" id="{BDED9651-0F72-4A94-9B2F-8C692EDC4B71}"/>
                  </a:ext>
                </a:extLst>
              </p:cNvPr>
              <p:cNvSpPr txBox="1"/>
              <p:nvPr/>
            </p:nvSpPr>
            <p:spPr>
              <a:xfrm rot="16200000">
                <a:off x="531733" y="3380797"/>
                <a:ext cx="2567565"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Cumulative incidence rate</a:t>
                </a:r>
              </a:p>
            </p:txBody>
          </p:sp>
          <p:grpSp>
            <p:nvGrpSpPr>
              <p:cNvPr id="13" name="Group 12">
                <a:extLst>
                  <a:ext uri="{FF2B5EF4-FFF2-40B4-BE49-F238E27FC236}">
                    <a16:creationId xmlns:a16="http://schemas.microsoft.com/office/drawing/2014/main" id="{F36FAC1D-EB69-46D2-A26E-1B3CE12E3DE8}"/>
                  </a:ext>
                </a:extLst>
              </p:cNvPr>
              <p:cNvGrpSpPr/>
              <p:nvPr/>
            </p:nvGrpSpPr>
            <p:grpSpPr>
              <a:xfrm>
                <a:off x="1915516" y="1943453"/>
                <a:ext cx="6372806" cy="3184748"/>
                <a:chOff x="1915516" y="1943453"/>
                <a:chExt cx="6372806" cy="3184748"/>
              </a:xfrm>
            </p:grpSpPr>
            <p:sp>
              <p:nvSpPr>
                <p:cNvPr id="24" name="TextBox 23">
                  <a:extLst>
                    <a:ext uri="{FF2B5EF4-FFF2-40B4-BE49-F238E27FC236}">
                      <a16:creationId xmlns:a16="http://schemas.microsoft.com/office/drawing/2014/main" id="{4D7F189C-AD9F-41E2-8D17-CDD3320A4E05}"/>
                    </a:ext>
                  </a:extLst>
                </p:cNvPr>
                <p:cNvSpPr txBox="1"/>
                <p:nvPr/>
              </p:nvSpPr>
              <p:spPr>
                <a:xfrm>
                  <a:off x="4422756"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12</a:t>
                  </a:r>
                </a:p>
              </p:txBody>
            </p:sp>
            <p:sp>
              <p:nvSpPr>
                <p:cNvPr id="25" name="TextBox 24">
                  <a:extLst>
                    <a:ext uri="{FF2B5EF4-FFF2-40B4-BE49-F238E27FC236}">
                      <a16:creationId xmlns:a16="http://schemas.microsoft.com/office/drawing/2014/main" id="{0A1CB47D-37DF-4440-A6A1-C3E3636C0E98}"/>
                    </a:ext>
                  </a:extLst>
                </p:cNvPr>
                <p:cNvSpPr txBox="1"/>
                <p:nvPr/>
              </p:nvSpPr>
              <p:spPr>
                <a:xfrm>
                  <a:off x="3701763"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8</a:t>
                  </a:r>
                </a:p>
              </p:txBody>
            </p:sp>
            <p:sp>
              <p:nvSpPr>
                <p:cNvPr id="26" name="TextBox 25">
                  <a:extLst>
                    <a:ext uri="{FF2B5EF4-FFF2-40B4-BE49-F238E27FC236}">
                      <a16:creationId xmlns:a16="http://schemas.microsoft.com/office/drawing/2014/main" id="{D4F8FD76-83F2-41F0-9396-E08E7AFA0228}"/>
                    </a:ext>
                  </a:extLst>
                </p:cNvPr>
                <p:cNvSpPr txBox="1"/>
                <p:nvPr/>
              </p:nvSpPr>
              <p:spPr>
                <a:xfrm>
                  <a:off x="2980958"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4</a:t>
                  </a:r>
                </a:p>
              </p:txBody>
            </p:sp>
            <p:sp>
              <p:nvSpPr>
                <p:cNvPr id="27" name="TextBox 26">
                  <a:extLst>
                    <a:ext uri="{FF2B5EF4-FFF2-40B4-BE49-F238E27FC236}">
                      <a16:creationId xmlns:a16="http://schemas.microsoft.com/office/drawing/2014/main" id="{9A156EAF-C267-48F9-ACDE-1C20EFB615BC}"/>
                    </a:ext>
                  </a:extLst>
                </p:cNvPr>
                <p:cNvSpPr txBox="1"/>
                <p:nvPr/>
              </p:nvSpPr>
              <p:spPr>
                <a:xfrm>
                  <a:off x="2259881"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CD1B22C1-259E-44B1-BB00-12ACAF7DFDA1}"/>
                    </a:ext>
                  </a:extLst>
                </p:cNvPr>
                <p:cNvSpPr txBox="1"/>
                <p:nvPr/>
              </p:nvSpPr>
              <p:spPr>
                <a:xfrm>
                  <a:off x="5149286"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16</a:t>
                  </a:r>
                </a:p>
              </p:txBody>
            </p:sp>
            <p:sp>
              <p:nvSpPr>
                <p:cNvPr id="29" name="TextBox 28">
                  <a:extLst>
                    <a:ext uri="{FF2B5EF4-FFF2-40B4-BE49-F238E27FC236}">
                      <a16:creationId xmlns:a16="http://schemas.microsoft.com/office/drawing/2014/main" id="{8C693EB4-EB57-4921-85B9-2D51F50C9307}"/>
                    </a:ext>
                  </a:extLst>
                </p:cNvPr>
                <p:cNvSpPr txBox="1"/>
                <p:nvPr/>
              </p:nvSpPr>
              <p:spPr>
                <a:xfrm>
                  <a:off x="5872662"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20</a:t>
                  </a:r>
                </a:p>
              </p:txBody>
            </p:sp>
            <p:sp>
              <p:nvSpPr>
                <p:cNvPr id="30" name="TextBox 29">
                  <a:extLst>
                    <a:ext uri="{FF2B5EF4-FFF2-40B4-BE49-F238E27FC236}">
                      <a16:creationId xmlns:a16="http://schemas.microsoft.com/office/drawing/2014/main" id="{41F6D5EF-7731-4EC5-9ED8-20D46ADDDF22}"/>
                    </a:ext>
                  </a:extLst>
                </p:cNvPr>
                <p:cNvSpPr txBox="1"/>
                <p:nvPr/>
              </p:nvSpPr>
              <p:spPr>
                <a:xfrm>
                  <a:off x="6590059"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24</a:t>
                  </a:r>
                </a:p>
              </p:txBody>
            </p:sp>
            <p:sp>
              <p:nvSpPr>
                <p:cNvPr id="31" name="TextBox 30">
                  <a:extLst>
                    <a:ext uri="{FF2B5EF4-FFF2-40B4-BE49-F238E27FC236}">
                      <a16:creationId xmlns:a16="http://schemas.microsoft.com/office/drawing/2014/main" id="{5C889B79-4352-4EE7-B2D4-4E491F4A7522}"/>
                    </a:ext>
                  </a:extLst>
                </p:cNvPr>
                <p:cNvSpPr txBox="1"/>
                <p:nvPr/>
              </p:nvSpPr>
              <p:spPr>
                <a:xfrm>
                  <a:off x="7320571"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28</a:t>
                  </a:r>
                </a:p>
              </p:txBody>
            </p:sp>
            <p:sp>
              <p:nvSpPr>
                <p:cNvPr id="32" name="TextBox 31">
                  <a:extLst>
                    <a:ext uri="{FF2B5EF4-FFF2-40B4-BE49-F238E27FC236}">
                      <a16:creationId xmlns:a16="http://schemas.microsoft.com/office/drawing/2014/main" id="{68A7DC77-0BD1-438F-B60A-4C426C09E7CA}"/>
                    </a:ext>
                  </a:extLst>
                </p:cNvPr>
                <p:cNvSpPr txBox="1"/>
                <p:nvPr/>
              </p:nvSpPr>
              <p:spPr>
                <a:xfrm>
                  <a:off x="8045108" y="4943535"/>
                  <a:ext cx="243214" cy="184666"/>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32</a:t>
                  </a:r>
                </a:p>
              </p:txBody>
            </p:sp>
            <p:sp>
              <p:nvSpPr>
                <p:cNvPr id="33" name="TextBox 32">
                  <a:extLst>
                    <a:ext uri="{FF2B5EF4-FFF2-40B4-BE49-F238E27FC236}">
                      <a16:creationId xmlns:a16="http://schemas.microsoft.com/office/drawing/2014/main" id="{A10DB035-6F9B-4243-A844-677483D1CCC8}"/>
                    </a:ext>
                  </a:extLst>
                </p:cNvPr>
                <p:cNvSpPr txBox="1"/>
                <p:nvPr/>
              </p:nvSpPr>
              <p:spPr>
                <a:xfrm>
                  <a:off x="1915516" y="1943453"/>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55</a:t>
                  </a:r>
                </a:p>
              </p:txBody>
            </p:sp>
            <p:sp>
              <p:nvSpPr>
                <p:cNvPr id="34" name="TextBox 33">
                  <a:extLst>
                    <a:ext uri="{FF2B5EF4-FFF2-40B4-BE49-F238E27FC236}">
                      <a16:creationId xmlns:a16="http://schemas.microsoft.com/office/drawing/2014/main" id="{70DB3F16-60D2-4B05-A3BF-B64F4BC42E76}"/>
                    </a:ext>
                  </a:extLst>
                </p:cNvPr>
                <p:cNvSpPr txBox="1"/>
                <p:nvPr/>
              </p:nvSpPr>
              <p:spPr>
                <a:xfrm>
                  <a:off x="1915516" y="2204736"/>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50</a:t>
                  </a:r>
                </a:p>
              </p:txBody>
            </p:sp>
            <p:sp>
              <p:nvSpPr>
                <p:cNvPr id="35" name="TextBox 34">
                  <a:extLst>
                    <a:ext uri="{FF2B5EF4-FFF2-40B4-BE49-F238E27FC236}">
                      <a16:creationId xmlns:a16="http://schemas.microsoft.com/office/drawing/2014/main" id="{6BDCFEDB-8933-4AB0-A579-2C67956DF1C0}"/>
                    </a:ext>
                  </a:extLst>
                </p:cNvPr>
                <p:cNvSpPr txBox="1"/>
                <p:nvPr/>
              </p:nvSpPr>
              <p:spPr>
                <a:xfrm>
                  <a:off x="1915516" y="2461337"/>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45</a:t>
                  </a:r>
                </a:p>
              </p:txBody>
            </p:sp>
            <p:sp>
              <p:nvSpPr>
                <p:cNvPr id="36" name="TextBox 35">
                  <a:extLst>
                    <a:ext uri="{FF2B5EF4-FFF2-40B4-BE49-F238E27FC236}">
                      <a16:creationId xmlns:a16="http://schemas.microsoft.com/office/drawing/2014/main" id="{511C29D2-974F-4AE3-B548-198831D85670}"/>
                    </a:ext>
                  </a:extLst>
                </p:cNvPr>
                <p:cNvSpPr txBox="1"/>
                <p:nvPr/>
              </p:nvSpPr>
              <p:spPr>
                <a:xfrm>
                  <a:off x="1915516" y="2717938"/>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40</a:t>
                  </a:r>
                </a:p>
              </p:txBody>
            </p:sp>
            <p:sp>
              <p:nvSpPr>
                <p:cNvPr id="37" name="TextBox 36">
                  <a:extLst>
                    <a:ext uri="{FF2B5EF4-FFF2-40B4-BE49-F238E27FC236}">
                      <a16:creationId xmlns:a16="http://schemas.microsoft.com/office/drawing/2014/main" id="{FEF98EF0-D137-41E5-8748-CF7A602EE21A}"/>
                    </a:ext>
                  </a:extLst>
                </p:cNvPr>
                <p:cNvSpPr txBox="1"/>
                <p:nvPr/>
              </p:nvSpPr>
              <p:spPr>
                <a:xfrm>
                  <a:off x="1915516" y="2970191"/>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35</a:t>
                  </a:r>
                </a:p>
              </p:txBody>
            </p:sp>
            <p:sp>
              <p:nvSpPr>
                <p:cNvPr id="38" name="TextBox 37">
                  <a:extLst>
                    <a:ext uri="{FF2B5EF4-FFF2-40B4-BE49-F238E27FC236}">
                      <a16:creationId xmlns:a16="http://schemas.microsoft.com/office/drawing/2014/main" id="{4FB77E23-55A4-49E7-84D8-58B5F3181892}"/>
                    </a:ext>
                  </a:extLst>
                </p:cNvPr>
                <p:cNvSpPr txBox="1"/>
                <p:nvPr/>
              </p:nvSpPr>
              <p:spPr>
                <a:xfrm>
                  <a:off x="1915516" y="3235491"/>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30</a:t>
                  </a:r>
                </a:p>
              </p:txBody>
            </p:sp>
            <p:sp>
              <p:nvSpPr>
                <p:cNvPr id="39" name="TextBox 38">
                  <a:extLst>
                    <a:ext uri="{FF2B5EF4-FFF2-40B4-BE49-F238E27FC236}">
                      <a16:creationId xmlns:a16="http://schemas.microsoft.com/office/drawing/2014/main" id="{EA4A0AEA-3997-4CCB-BB3E-985702B7951F}"/>
                    </a:ext>
                  </a:extLst>
                </p:cNvPr>
                <p:cNvSpPr txBox="1"/>
                <p:nvPr/>
              </p:nvSpPr>
              <p:spPr>
                <a:xfrm>
                  <a:off x="1915516" y="3487744"/>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25</a:t>
                  </a:r>
                </a:p>
              </p:txBody>
            </p:sp>
            <p:sp>
              <p:nvSpPr>
                <p:cNvPr id="40" name="TextBox 39">
                  <a:extLst>
                    <a:ext uri="{FF2B5EF4-FFF2-40B4-BE49-F238E27FC236}">
                      <a16:creationId xmlns:a16="http://schemas.microsoft.com/office/drawing/2014/main" id="{2E118575-B158-48CE-B8B1-44681EA7CB86}"/>
                    </a:ext>
                  </a:extLst>
                </p:cNvPr>
                <p:cNvSpPr txBox="1"/>
                <p:nvPr/>
              </p:nvSpPr>
              <p:spPr>
                <a:xfrm>
                  <a:off x="1915516" y="3739997"/>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20</a:t>
                  </a:r>
                </a:p>
              </p:txBody>
            </p:sp>
            <p:sp>
              <p:nvSpPr>
                <p:cNvPr id="41" name="TextBox 40">
                  <a:extLst>
                    <a:ext uri="{FF2B5EF4-FFF2-40B4-BE49-F238E27FC236}">
                      <a16:creationId xmlns:a16="http://schemas.microsoft.com/office/drawing/2014/main" id="{590C026D-8723-48F6-B9EB-F74D857DE016}"/>
                    </a:ext>
                  </a:extLst>
                </p:cNvPr>
                <p:cNvSpPr txBox="1"/>
                <p:nvPr/>
              </p:nvSpPr>
              <p:spPr>
                <a:xfrm>
                  <a:off x="1915516" y="3996598"/>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15</a:t>
                  </a:r>
                </a:p>
              </p:txBody>
            </p:sp>
            <p:sp>
              <p:nvSpPr>
                <p:cNvPr id="42" name="TextBox 41">
                  <a:extLst>
                    <a:ext uri="{FF2B5EF4-FFF2-40B4-BE49-F238E27FC236}">
                      <a16:creationId xmlns:a16="http://schemas.microsoft.com/office/drawing/2014/main" id="{771802F3-F15C-44DA-9320-FA1037D2E659}"/>
                    </a:ext>
                  </a:extLst>
                </p:cNvPr>
                <p:cNvSpPr txBox="1"/>
                <p:nvPr/>
              </p:nvSpPr>
              <p:spPr>
                <a:xfrm>
                  <a:off x="1915516" y="4266247"/>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10</a:t>
                  </a:r>
                </a:p>
              </p:txBody>
            </p:sp>
            <p:sp>
              <p:nvSpPr>
                <p:cNvPr id="43" name="TextBox 42">
                  <a:extLst>
                    <a:ext uri="{FF2B5EF4-FFF2-40B4-BE49-F238E27FC236}">
                      <a16:creationId xmlns:a16="http://schemas.microsoft.com/office/drawing/2014/main" id="{8755729C-342D-4E65-94F2-44208E66FC29}"/>
                    </a:ext>
                  </a:extLst>
                </p:cNvPr>
                <p:cNvSpPr txBox="1"/>
                <p:nvPr/>
              </p:nvSpPr>
              <p:spPr>
                <a:xfrm>
                  <a:off x="1915516" y="4518500"/>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05</a:t>
                  </a:r>
                </a:p>
              </p:txBody>
            </p:sp>
            <p:sp>
              <p:nvSpPr>
                <p:cNvPr id="44" name="TextBox 43">
                  <a:extLst>
                    <a:ext uri="{FF2B5EF4-FFF2-40B4-BE49-F238E27FC236}">
                      <a16:creationId xmlns:a16="http://schemas.microsoft.com/office/drawing/2014/main" id="{87E83716-BAA0-424F-8209-5C1B4A225B31}"/>
                    </a:ext>
                  </a:extLst>
                </p:cNvPr>
                <p:cNvSpPr txBox="1"/>
                <p:nvPr/>
              </p:nvSpPr>
              <p:spPr>
                <a:xfrm>
                  <a:off x="1915516" y="4770752"/>
                  <a:ext cx="389613" cy="18466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a:ln>
                        <a:noFill/>
                      </a:ln>
                      <a:solidFill>
                        <a:prstClr val="black"/>
                      </a:solidFill>
                      <a:effectLst/>
                      <a:uLnTx/>
                      <a:uFillTx/>
                      <a:latin typeface="Arial"/>
                      <a:ea typeface="+mn-ea"/>
                      <a:cs typeface="+mn-cs"/>
                    </a:rPr>
                    <a:t>0</a:t>
                  </a:r>
                </a:p>
              </p:txBody>
            </p:sp>
            <p:grpSp>
              <p:nvGrpSpPr>
                <p:cNvPr id="45" name="Group 44">
                  <a:extLst>
                    <a:ext uri="{FF2B5EF4-FFF2-40B4-BE49-F238E27FC236}">
                      <a16:creationId xmlns:a16="http://schemas.microsoft.com/office/drawing/2014/main" id="{B3EE537B-BAE4-428D-A1AA-A521E9EF7A4A}"/>
                    </a:ext>
                  </a:extLst>
                </p:cNvPr>
                <p:cNvGrpSpPr/>
                <p:nvPr/>
              </p:nvGrpSpPr>
              <p:grpSpPr>
                <a:xfrm>
                  <a:off x="2324432" y="2057400"/>
                  <a:ext cx="5843260" cy="2862263"/>
                  <a:chOff x="2324432" y="2057400"/>
                  <a:chExt cx="5843260" cy="2862263"/>
                </a:xfrm>
              </p:grpSpPr>
              <p:cxnSp>
                <p:nvCxnSpPr>
                  <p:cNvPr id="46" name="Straight Connector 45">
                    <a:extLst>
                      <a:ext uri="{FF2B5EF4-FFF2-40B4-BE49-F238E27FC236}">
                        <a16:creationId xmlns:a16="http://schemas.microsoft.com/office/drawing/2014/main" id="{CFDA94AD-17A3-4ABC-8DAF-DB35C0ED81F8}"/>
                      </a:ext>
                    </a:extLst>
                  </p:cNvPr>
                  <p:cNvCxnSpPr>
                    <a:cxnSpLocks/>
                  </p:cNvCxnSpPr>
                  <p:nvPr/>
                </p:nvCxnSpPr>
                <p:spPr>
                  <a:xfrm rot="5400000">
                    <a:off x="2347292" y="2543747"/>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DFD63AF-221B-4BEB-8558-6C6DEFC7ADAE}"/>
                      </a:ext>
                    </a:extLst>
                  </p:cNvPr>
                  <p:cNvCxnSpPr>
                    <a:cxnSpLocks/>
                  </p:cNvCxnSpPr>
                  <p:nvPr/>
                </p:nvCxnSpPr>
                <p:spPr>
                  <a:xfrm rot="5400000">
                    <a:off x="2347292" y="280034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43D28E0-71C6-4404-82D3-5D27908B9518}"/>
                      </a:ext>
                    </a:extLst>
                  </p:cNvPr>
                  <p:cNvCxnSpPr>
                    <a:cxnSpLocks/>
                  </p:cNvCxnSpPr>
                  <p:nvPr/>
                </p:nvCxnSpPr>
                <p:spPr>
                  <a:xfrm rot="5400000">
                    <a:off x="2347292" y="3052601"/>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556C981-513C-4081-85BD-AE941977E7F5}"/>
                      </a:ext>
                    </a:extLst>
                  </p:cNvPr>
                  <p:cNvCxnSpPr>
                    <a:cxnSpLocks/>
                  </p:cNvCxnSpPr>
                  <p:nvPr/>
                </p:nvCxnSpPr>
                <p:spPr>
                  <a:xfrm rot="5400000">
                    <a:off x="2347292" y="3317901"/>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EE41AA3-4297-4F7B-BFEC-269816186CC6}"/>
                      </a:ext>
                    </a:extLst>
                  </p:cNvPr>
                  <p:cNvCxnSpPr>
                    <a:cxnSpLocks/>
                  </p:cNvCxnSpPr>
                  <p:nvPr/>
                </p:nvCxnSpPr>
                <p:spPr>
                  <a:xfrm rot="5400000">
                    <a:off x="2347292" y="228585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C6648A2-3EB3-4362-AA6F-3C54651325EA}"/>
                      </a:ext>
                    </a:extLst>
                  </p:cNvPr>
                  <p:cNvCxnSpPr>
                    <a:cxnSpLocks/>
                  </p:cNvCxnSpPr>
                  <p:nvPr/>
                </p:nvCxnSpPr>
                <p:spPr>
                  <a:xfrm rot="5400000">
                    <a:off x="2347292" y="2543033"/>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44BD190-61CE-453E-BBBC-486DDB1A27DB}"/>
                      </a:ext>
                    </a:extLst>
                  </p:cNvPr>
                  <p:cNvCxnSpPr>
                    <a:cxnSpLocks/>
                  </p:cNvCxnSpPr>
                  <p:nvPr/>
                </p:nvCxnSpPr>
                <p:spPr>
                  <a:xfrm rot="5400000">
                    <a:off x="2347292" y="2800207"/>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05C26AB-9290-478C-819F-3BA6830CA381}"/>
                      </a:ext>
                    </a:extLst>
                  </p:cNvPr>
                  <p:cNvCxnSpPr>
                    <a:cxnSpLocks/>
                  </p:cNvCxnSpPr>
                  <p:nvPr/>
                </p:nvCxnSpPr>
                <p:spPr>
                  <a:xfrm rot="5400000">
                    <a:off x="2347292" y="3824145"/>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03AAA76-C871-4445-962F-0EDE73BA8283}"/>
                      </a:ext>
                    </a:extLst>
                  </p:cNvPr>
                  <p:cNvCxnSpPr>
                    <a:cxnSpLocks/>
                  </p:cNvCxnSpPr>
                  <p:nvPr/>
                </p:nvCxnSpPr>
                <p:spPr>
                  <a:xfrm rot="5400000">
                    <a:off x="2347292" y="4076556"/>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FE307-7D10-4B5A-A06B-FABBD66B21F2}"/>
                      </a:ext>
                    </a:extLst>
                  </p:cNvPr>
                  <p:cNvCxnSpPr>
                    <a:cxnSpLocks/>
                  </p:cNvCxnSpPr>
                  <p:nvPr/>
                </p:nvCxnSpPr>
                <p:spPr>
                  <a:xfrm rot="5400000">
                    <a:off x="2347292" y="434801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5F4CCC-4E90-45D0-9346-B55E0CDC62BA}"/>
                      </a:ext>
                    </a:extLst>
                  </p:cNvPr>
                  <p:cNvCxnSpPr>
                    <a:cxnSpLocks/>
                  </p:cNvCxnSpPr>
                  <p:nvPr/>
                </p:nvCxnSpPr>
                <p:spPr>
                  <a:xfrm rot="5400000">
                    <a:off x="2347292" y="459859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74B698C-1574-41C4-A7BC-1384806D06B9}"/>
                      </a:ext>
                    </a:extLst>
                  </p:cNvPr>
                  <p:cNvCxnSpPr>
                    <a:cxnSpLocks/>
                  </p:cNvCxnSpPr>
                  <p:nvPr/>
                </p:nvCxnSpPr>
                <p:spPr>
                  <a:xfrm rot="5400000">
                    <a:off x="2347292" y="2035993"/>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88EB616-F48C-4B3D-8F41-A12C7009162A}"/>
                      </a:ext>
                    </a:extLst>
                  </p:cNvPr>
                  <p:cNvCxnSpPr>
                    <a:cxnSpLocks/>
                  </p:cNvCxnSpPr>
                  <p:nvPr/>
                </p:nvCxnSpPr>
                <p:spPr>
                  <a:xfrm rot="5400000">
                    <a:off x="2347292" y="3566970"/>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9C74E5-A234-40C6-951C-51D1007EEA11}"/>
                      </a:ext>
                    </a:extLst>
                  </p:cNvPr>
                  <p:cNvCxnSpPr>
                    <a:cxnSpLocks/>
                  </p:cNvCxnSpPr>
                  <p:nvPr/>
                </p:nvCxnSpPr>
                <p:spPr>
                  <a:xfrm rot="10800000">
                    <a:off x="3819297"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92207B0-1E8A-427D-AE0F-C2072243DE6B}"/>
                      </a:ext>
                    </a:extLst>
                  </p:cNvPr>
                  <p:cNvCxnSpPr>
                    <a:cxnSpLocks/>
                  </p:cNvCxnSpPr>
                  <p:nvPr/>
                </p:nvCxnSpPr>
                <p:spPr>
                  <a:xfrm rot="10800000">
                    <a:off x="31001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E7EA053-114D-4FD1-A8C9-34F73A5B8920}"/>
                      </a:ext>
                    </a:extLst>
                  </p:cNvPr>
                  <p:cNvCxnSpPr>
                    <a:cxnSpLocks/>
                  </p:cNvCxnSpPr>
                  <p:nvPr/>
                </p:nvCxnSpPr>
                <p:spPr>
                  <a:xfrm rot="10800000">
                    <a:off x="45479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56CA37A-C016-4EF0-8152-2A34883F4EB7}"/>
                      </a:ext>
                    </a:extLst>
                  </p:cNvPr>
                  <p:cNvCxnSpPr>
                    <a:cxnSpLocks/>
                  </p:cNvCxnSpPr>
                  <p:nvPr/>
                </p:nvCxnSpPr>
                <p:spPr>
                  <a:xfrm rot="10800000">
                    <a:off x="5267085"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E5A32EC-3A5B-4E69-A16B-EB0D8A9DE67D}"/>
                      </a:ext>
                    </a:extLst>
                  </p:cNvPr>
                  <p:cNvCxnSpPr>
                    <a:cxnSpLocks/>
                  </p:cNvCxnSpPr>
                  <p:nvPr/>
                </p:nvCxnSpPr>
                <p:spPr>
                  <a:xfrm rot="10800000">
                    <a:off x="59957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AB08282-46AB-4990-B227-1D8CB88367D9}"/>
                      </a:ext>
                    </a:extLst>
                  </p:cNvPr>
                  <p:cNvCxnSpPr>
                    <a:cxnSpLocks/>
                  </p:cNvCxnSpPr>
                  <p:nvPr/>
                </p:nvCxnSpPr>
                <p:spPr>
                  <a:xfrm rot="10800000">
                    <a:off x="6714886"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9F26D35-2452-4A53-9DC3-15EF95F07AD3}"/>
                      </a:ext>
                    </a:extLst>
                  </p:cNvPr>
                  <p:cNvCxnSpPr>
                    <a:cxnSpLocks/>
                  </p:cNvCxnSpPr>
                  <p:nvPr/>
                </p:nvCxnSpPr>
                <p:spPr>
                  <a:xfrm rot="10800000">
                    <a:off x="7438785"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54E68E0-D2D8-4FF8-A09A-45564AB41776}"/>
                      </a:ext>
                    </a:extLst>
                  </p:cNvPr>
                  <p:cNvCxnSpPr>
                    <a:cxnSpLocks/>
                  </p:cNvCxnSpPr>
                  <p:nvPr/>
                </p:nvCxnSpPr>
                <p:spPr>
                  <a:xfrm rot="10800000">
                    <a:off x="81674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9483F068-69BD-431C-9911-4977C0C3CD20}"/>
                      </a:ext>
                    </a:extLst>
                  </p:cNvPr>
                  <p:cNvGrpSpPr/>
                  <p:nvPr/>
                </p:nvGrpSpPr>
                <p:grpSpPr>
                  <a:xfrm>
                    <a:off x="2324432" y="4872037"/>
                    <a:ext cx="5843260" cy="0"/>
                    <a:chOff x="2324432" y="2308718"/>
                    <a:chExt cx="5843260" cy="0"/>
                  </a:xfrm>
                </p:grpSpPr>
                <p:cxnSp>
                  <p:nvCxnSpPr>
                    <p:cNvPr id="69" name="Straight Connector 68">
                      <a:extLst>
                        <a:ext uri="{FF2B5EF4-FFF2-40B4-BE49-F238E27FC236}">
                          <a16:creationId xmlns:a16="http://schemas.microsoft.com/office/drawing/2014/main" id="{1EFBEF41-A2E2-435B-A0BB-E02A73A5FF17}"/>
                        </a:ext>
                      </a:extLst>
                    </p:cNvPr>
                    <p:cNvCxnSpPr>
                      <a:cxnSpLocks/>
                    </p:cNvCxnSpPr>
                    <p:nvPr/>
                  </p:nvCxnSpPr>
                  <p:spPr>
                    <a:xfrm rot="5400000">
                      <a:off x="2347292" y="228585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28A35E9-80A4-48D6-97EA-E5568CA52C8F}"/>
                        </a:ext>
                      </a:extLst>
                    </p:cNvPr>
                    <p:cNvCxnSpPr>
                      <a:cxnSpLocks/>
                    </p:cNvCxnSpPr>
                    <p:nvPr/>
                  </p:nvCxnSpPr>
                  <p:spPr>
                    <a:xfrm flipH="1">
                      <a:off x="2376488" y="2308718"/>
                      <a:ext cx="5791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Straight Connector 67">
                    <a:extLst>
                      <a:ext uri="{FF2B5EF4-FFF2-40B4-BE49-F238E27FC236}">
                        <a16:creationId xmlns:a16="http://schemas.microsoft.com/office/drawing/2014/main" id="{6A790698-6612-474D-8A93-B6D832C42980}"/>
                      </a:ext>
                    </a:extLst>
                  </p:cNvPr>
                  <p:cNvCxnSpPr>
                    <a:cxnSpLocks/>
                  </p:cNvCxnSpPr>
                  <p:nvPr/>
                </p:nvCxnSpPr>
                <p:spPr>
                  <a:xfrm>
                    <a:off x="2371725" y="2057400"/>
                    <a:ext cx="0" cy="28622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 name="Group 14">
                <a:extLst>
                  <a:ext uri="{FF2B5EF4-FFF2-40B4-BE49-F238E27FC236}">
                    <a16:creationId xmlns:a16="http://schemas.microsoft.com/office/drawing/2014/main" id="{21F38BF5-C882-4939-88CA-C6E27677FF22}"/>
                  </a:ext>
                </a:extLst>
              </p:cNvPr>
              <p:cNvGrpSpPr/>
              <p:nvPr/>
            </p:nvGrpSpPr>
            <p:grpSpPr>
              <a:xfrm>
                <a:off x="2485187" y="2049681"/>
                <a:ext cx="1583998" cy="369332"/>
                <a:chOff x="2332041" y="1534200"/>
                <a:chExt cx="1583998" cy="369332"/>
              </a:xfrm>
            </p:grpSpPr>
            <p:sp>
              <p:nvSpPr>
                <p:cNvPr id="18" name="TextBox 17">
                  <a:extLst>
                    <a:ext uri="{FF2B5EF4-FFF2-40B4-BE49-F238E27FC236}">
                      <a16:creationId xmlns:a16="http://schemas.microsoft.com/office/drawing/2014/main" id="{2294576D-DFB3-4332-9105-863CBE5A2706}"/>
                    </a:ext>
                  </a:extLst>
                </p:cNvPr>
                <p:cNvSpPr txBox="1"/>
                <p:nvPr/>
              </p:nvSpPr>
              <p:spPr>
                <a:xfrm>
                  <a:off x="2332041" y="1534200"/>
                  <a:ext cx="1583998" cy="369332"/>
                </a:xfrm>
                <a:prstGeom prst="rect">
                  <a:avLst/>
                </a:prstGeom>
                <a:noFill/>
              </p:spPr>
              <p:txBody>
                <a:bodyPr wrap="square" lIns="0" tIns="0" rIns="0" bIns="0" rtlCol="0">
                  <a:spAutoFit/>
                </a:bodyPr>
                <a:lstStyle/>
                <a:p>
                  <a:pPr marL="45720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lacebo</a:t>
                  </a:r>
                </a:p>
                <a:p>
                  <a:pPr marL="45720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Vericiguat</a:t>
                  </a:r>
                </a:p>
              </p:txBody>
            </p:sp>
            <p:cxnSp>
              <p:nvCxnSpPr>
                <p:cNvPr id="19" name="Straight Connector 18">
                  <a:extLst>
                    <a:ext uri="{FF2B5EF4-FFF2-40B4-BE49-F238E27FC236}">
                      <a16:creationId xmlns:a16="http://schemas.microsoft.com/office/drawing/2014/main" id="{8E7FC6C6-01E3-4333-B698-D36A85E7842D}"/>
                    </a:ext>
                  </a:extLst>
                </p:cNvPr>
                <p:cNvCxnSpPr/>
                <p:nvPr/>
              </p:nvCxnSpPr>
              <p:spPr>
                <a:xfrm>
                  <a:off x="2349949" y="1812240"/>
                  <a:ext cx="3657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5453976-1A9F-4DF3-894A-857CAF5087F5}"/>
                    </a:ext>
                  </a:extLst>
                </p:cNvPr>
                <p:cNvCxnSpPr/>
                <p:nvPr/>
              </p:nvCxnSpPr>
              <p:spPr>
                <a:xfrm>
                  <a:off x="2349949" y="1620288"/>
                  <a:ext cx="3657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reeform 466">
                <a:extLst>
                  <a:ext uri="{FF2B5EF4-FFF2-40B4-BE49-F238E27FC236}">
                    <a16:creationId xmlns:a16="http://schemas.microsoft.com/office/drawing/2014/main" id="{CA627BB3-D70E-4AD9-AF7E-985C741351A2}"/>
                  </a:ext>
                </a:extLst>
              </p:cNvPr>
              <p:cNvSpPr/>
              <p:nvPr/>
            </p:nvSpPr>
            <p:spPr>
              <a:xfrm>
                <a:off x="2371907" y="2248989"/>
                <a:ext cx="5789122" cy="2605777"/>
              </a:xfrm>
              <a:custGeom>
                <a:avLst/>
                <a:gdLst>
                  <a:gd name="connsiteX0" fmla="*/ 0 w 1489990"/>
                  <a:gd name="connsiteY0" fmla="*/ 1011585 h 1011585"/>
                  <a:gd name="connsiteX1" fmla="*/ 1535 w 1489990"/>
                  <a:gd name="connsiteY1" fmla="*/ 1011585 h 1011585"/>
                  <a:gd name="connsiteX2" fmla="*/ 1535 w 1489990"/>
                  <a:gd name="connsiteY2" fmla="*/ 1008449 h 1011585"/>
                  <a:gd name="connsiteX3" fmla="*/ 3069 w 1489990"/>
                  <a:gd name="connsiteY3" fmla="*/ 1008449 h 1011585"/>
                  <a:gd name="connsiteX4" fmla="*/ 3069 w 1489990"/>
                  <a:gd name="connsiteY4" fmla="*/ 1005279 h 1011585"/>
                  <a:gd name="connsiteX5" fmla="*/ 4604 w 1489990"/>
                  <a:gd name="connsiteY5" fmla="*/ 1005279 h 1011585"/>
                  <a:gd name="connsiteX6" fmla="*/ 4604 w 1489990"/>
                  <a:gd name="connsiteY6" fmla="*/ 1003711 h 1011585"/>
                  <a:gd name="connsiteX7" fmla="*/ 6127 w 1489990"/>
                  <a:gd name="connsiteY7" fmla="*/ 1003711 h 1011585"/>
                  <a:gd name="connsiteX8" fmla="*/ 6127 w 1489990"/>
                  <a:gd name="connsiteY8" fmla="*/ 999774 h 1011585"/>
                  <a:gd name="connsiteX9" fmla="*/ 7662 w 1489990"/>
                  <a:gd name="connsiteY9" fmla="*/ 999774 h 1011585"/>
                  <a:gd name="connsiteX10" fmla="*/ 7662 w 1489990"/>
                  <a:gd name="connsiteY10" fmla="*/ 997405 h 1011585"/>
                  <a:gd name="connsiteX11" fmla="*/ 9196 w 1489990"/>
                  <a:gd name="connsiteY11" fmla="*/ 997405 h 1011585"/>
                  <a:gd name="connsiteX12" fmla="*/ 9196 w 1489990"/>
                  <a:gd name="connsiteY12" fmla="*/ 992700 h 1011585"/>
                  <a:gd name="connsiteX13" fmla="*/ 10731 w 1489990"/>
                  <a:gd name="connsiteY13" fmla="*/ 992700 h 1011585"/>
                  <a:gd name="connsiteX14" fmla="*/ 10731 w 1489990"/>
                  <a:gd name="connsiteY14" fmla="*/ 990331 h 1011585"/>
                  <a:gd name="connsiteX15" fmla="*/ 12266 w 1489990"/>
                  <a:gd name="connsiteY15" fmla="*/ 990331 h 1011585"/>
                  <a:gd name="connsiteX16" fmla="*/ 12266 w 1489990"/>
                  <a:gd name="connsiteY16" fmla="*/ 988763 h 1011585"/>
                  <a:gd name="connsiteX17" fmla="*/ 13800 w 1489990"/>
                  <a:gd name="connsiteY17" fmla="*/ 988763 h 1011585"/>
                  <a:gd name="connsiteX18" fmla="*/ 13800 w 1489990"/>
                  <a:gd name="connsiteY18" fmla="*/ 984025 h 1011585"/>
                  <a:gd name="connsiteX19" fmla="*/ 15290 w 1489990"/>
                  <a:gd name="connsiteY19" fmla="*/ 984025 h 1011585"/>
                  <a:gd name="connsiteX20" fmla="*/ 15290 w 1489990"/>
                  <a:gd name="connsiteY20" fmla="*/ 982457 h 1011585"/>
                  <a:gd name="connsiteX21" fmla="*/ 16825 w 1489990"/>
                  <a:gd name="connsiteY21" fmla="*/ 982457 h 1011585"/>
                  <a:gd name="connsiteX22" fmla="*/ 16825 w 1489990"/>
                  <a:gd name="connsiteY22" fmla="*/ 980088 h 1011585"/>
                  <a:gd name="connsiteX23" fmla="*/ 18359 w 1489990"/>
                  <a:gd name="connsiteY23" fmla="*/ 980088 h 1011585"/>
                  <a:gd name="connsiteX24" fmla="*/ 18359 w 1489990"/>
                  <a:gd name="connsiteY24" fmla="*/ 976952 h 1011585"/>
                  <a:gd name="connsiteX25" fmla="*/ 19894 w 1489990"/>
                  <a:gd name="connsiteY25" fmla="*/ 976952 h 1011585"/>
                  <a:gd name="connsiteX26" fmla="*/ 19894 w 1489990"/>
                  <a:gd name="connsiteY26" fmla="*/ 966708 h 1011585"/>
                  <a:gd name="connsiteX27" fmla="*/ 21429 w 1489990"/>
                  <a:gd name="connsiteY27" fmla="*/ 966708 h 1011585"/>
                  <a:gd name="connsiteX28" fmla="*/ 21429 w 1489990"/>
                  <a:gd name="connsiteY28" fmla="*/ 962771 h 1011585"/>
                  <a:gd name="connsiteX29" fmla="*/ 22952 w 1489990"/>
                  <a:gd name="connsiteY29" fmla="*/ 962771 h 1011585"/>
                  <a:gd name="connsiteX30" fmla="*/ 22952 w 1489990"/>
                  <a:gd name="connsiteY30" fmla="*/ 954897 h 1011585"/>
                  <a:gd name="connsiteX31" fmla="*/ 24487 w 1489990"/>
                  <a:gd name="connsiteY31" fmla="*/ 954897 h 1011585"/>
                  <a:gd name="connsiteX32" fmla="*/ 24487 w 1489990"/>
                  <a:gd name="connsiteY32" fmla="*/ 948591 h 1011585"/>
                  <a:gd name="connsiteX33" fmla="*/ 26021 w 1489990"/>
                  <a:gd name="connsiteY33" fmla="*/ 948591 h 1011585"/>
                  <a:gd name="connsiteX34" fmla="*/ 26021 w 1489990"/>
                  <a:gd name="connsiteY34" fmla="*/ 946989 h 1011585"/>
                  <a:gd name="connsiteX35" fmla="*/ 27556 w 1489990"/>
                  <a:gd name="connsiteY35" fmla="*/ 946989 h 1011585"/>
                  <a:gd name="connsiteX36" fmla="*/ 27556 w 1489990"/>
                  <a:gd name="connsiteY36" fmla="*/ 943052 h 1011585"/>
                  <a:gd name="connsiteX37" fmla="*/ 29090 w 1489990"/>
                  <a:gd name="connsiteY37" fmla="*/ 943052 h 1011585"/>
                  <a:gd name="connsiteX38" fmla="*/ 29090 w 1489990"/>
                  <a:gd name="connsiteY38" fmla="*/ 936746 h 1011585"/>
                  <a:gd name="connsiteX39" fmla="*/ 30614 w 1489990"/>
                  <a:gd name="connsiteY39" fmla="*/ 936746 h 1011585"/>
                  <a:gd name="connsiteX40" fmla="*/ 30614 w 1489990"/>
                  <a:gd name="connsiteY40" fmla="*/ 935178 h 1011585"/>
                  <a:gd name="connsiteX41" fmla="*/ 32115 w 1489990"/>
                  <a:gd name="connsiteY41" fmla="*/ 935178 h 1011585"/>
                  <a:gd name="connsiteX42" fmla="*/ 32115 w 1489990"/>
                  <a:gd name="connsiteY42" fmla="*/ 932809 h 1011585"/>
                  <a:gd name="connsiteX43" fmla="*/ 33650 w 1489990"/>
                  <a:gd name="connsiteY43" fmla="*/ 932809 h 1011585"/>
                  <a:gd name="connsiteX44" fmla="*/ 33650 w 1489990"/>
                  <a:gd name="connsiteY44" fmla="*/ 927303 h 1011585"/>
                  <a:gd name="connsiteX45" fmla="*/ 35184 w 1489990"/>
                  <a:gd name="connsiteY45" fmla="*/ 927303 h 1011585"/>
                  <a:gd name="connsiteX46" fmla="*/ 35184 w 1489990"/>
                  <a:gd name="connsiteY46" fmla="*/ 923366 h 1011585"/>
                  <a:gd name="connsiteX47" fmla="*/ 36719 w 1489990"/>
                  <a:gd name="connsiteY47" fmla="*/ 923366 h 1011585"/>
                  <a:gd name="connsiteX48" fmla="*/ 36719 w 1489990"/>
                  <a:gd name="connsiteY48" fmla="*/ 919395 h 1011585"/>
                  <a:gd name="connsiteX49" fmla="*/ 38242 w 1489990"/>
                  <a:gd name="connsiteY49" fmla="*/ 919395 h 1011585"/>
                  <a:gd name="connsiteX50" fmla="*/ 38242 w 1489990"/>
                  <a:gd name="connsiteY50" fmla="*/ 913089 h 1011585"/>
                  <a:gd name="connsiteX51" fmla="*/ 39788 w 1489990"/>
                  <a:gd name="connsiteY51" fmla="*/ 913089 h 1011585"/>
                  <a:gd name="connsiteX52" fmla="*/ 39788 w 1489990"/>
                  <a:gd name="connsiteY52" fmla="*/ 910720 h 1011585"/>
                  <a:gd name="connsiteX53" fmla="*/ 41311 w 1489990"/>
                  <a:gd name="connsiteY53" fmla="*/ 910720 h 1011585"/>
                  <a:gd name="connsiteX54" fmla="*/ 41311 w 1489990"/>
                  <a:gd name="connsiteY54" fmla="*/ 907584 h 1011585"/>
                  <a:gd name="connsiteX55" fmla="*/ 42846 w 1489990"/>
                  <a:gd name="connsiteY55" fmla="*/ 907584 h 1011585"/>
                  <a:gd name="connsiteX56" fmla="*/ 42846 w 1489990"/>
                  <a:gd name="connsiteY56" fmla="*/ 904414 h 1011585"/>
                  <a:gd name="connsiteX57" fmla="*/ 44381 w 1489990"/>
                  <a:gd name="connsiteY57" fmla="*/ 904414 h 1011585"/>
                  <a:gd name="connsiteX58" fmla="*/ 44381 w 1489990"/>
                  <a:gd name="connsiteY58" fmla="*/ 902846 h 1011585"/>
                  <a:gd name="connsiteX59" fmla="*/ 45915 w 1489990"/>
                  <a:gd name="connsiteY59" fmla="*/ 902846 h 1011585"/>
                  <a:gd name="connsiteX60" fmla="*/ 45915 w 1489990"/>
                  <a:gd name="connsiteY60" fmla="*/ 901278 h 1011585"/>
                  <a:gd name="connsiteX61" fmla="*/ 47450 w 1489990"/>
                  <a:gd name="connsiteY61" fmla="*/ 901278 h 1011585"/>
                  <a:gd name="connsiteX62" fmla="*/ 47450 w 1489990"/>
                  <a:gd name="connsiteY62" fmla="*/ 896540 h 1011585"/>
                  <a:gd name="connsiteX63" fmla="*/ 48984 w 1489990"/>
                  <a:gd name="connsiteY63" fmla="*/ 896540 h 1011585"/>
                  <a:gd name="connsiteX64" fmla="*/ 48984 w 1489990"/>
                  <a:gd name="connsiteY64" fmla="*/ 890200 h 1011585"/>
                  <a:gd name="connsiteX65" fmla="*/ 50474 w 1489990"/>
                  <a:gd name="connsiteY65" fmla="*/ 890200 h 1011585"/>
                  <a:gd name="connsiteX66" fmla="*/ 50474 w 1489990"/>
                  <a:gd name="connsiteY66" fmla="*/ 887831 h 1011585"/>
                  <a:gd name="connsiteX67" fmla="*/ 52009 w 1489990"/>
                  <a:gd name="connsiteY67" fmla="*/ 887831 h 1011585"/>
                  <a:gd name="connsiteX68" fmla="*/ 52009 w 1489990"/>
                  <a:gd name="connsiteY68" fmla="*/ 883093 h 1011585"/>
                  <a:gd name="connsiteX69" fmla="*/ 53544 w 1489990"/>
                  <a:gd name="connsiteY69" fmla="*/ 883093 h 1011585"/>
                  <a:gd name="connsiteX70" fmla="*/ 53544 w 1489990"/>
                  <a:gd name="connsiteY70" fmla="*/ 879957 h 1011585"/>
                  <a:gd name="connsiteX71" fmla="*/ 55078 w 1489990"/>
                  <a:gd name="connsiteY71" fmla="*/ 879957 h 1011585"/>
                  <a:gd name="connsiteX72" fmla="*/ 55078 w 1489990"/>
                  <a:gd name="connsiteY72" fmla="*/ 876787 h 1011585"/>
                  <a:gd name="connsiteX73" fmla="*/ 56613 w 1489990"/>
                  <a:gd name="connsiteY73" fmla="*/ 876787 h 1011585"/>
                  <a:gd name="connsiteX74" fmla="*/ 56613 w 1489990"/>
                  <a:gd name="connsiteY74" fmla="*/ 874418 h 1011585"/>
                  <a:gd name="connsiteX75" fmla="*/ 58147 w 1489990"/>
                  <a:gd name="connsiteY75" fmla="*/ 874418 h 1011585"/>
                  <a:gd name="connsiteX76" fmla="*/ 58147 w 1489990"/>
                  <a:gd name="connsiteY76" fmla="*/ 871249 h 1011585"/>
                  <a:gd name="connsiteX77" fmla="*/ 59671 w 1489990"/>
                  <a:gd name="connsiteY77" fmla="*/ 871249 h 1011585"/>
                  <a:gd name="connsiteX78" fmla="*/ 59671 w 1489990"/>
                  <a:gd name="connsiteY78" fmla="*/ 867311 h 1011585"/>
                  <a:gd name="connsiteX79" fmla="*/ 61205 w 1489990"/>
                  <a:gd name="connsiteY79" fmla="*/ 867311 h 1011585"/>
                  <a:gd name="connsiteX80" fmla="*/ 61205 w 1489990"/>
                  <a:gd name="connsiteY80" fmla="*/ 864931 h 1011585"/>
                  <a:gd name="connsiteX81" fmla="*/ 62740 w 1489990"/>
                  <a:gd name="connsiteY81" fmla="*/ 864931 h 1011585"/>
                  <a:gd name="connsiteX82" fmla="*/ 62740 w 1489990"/>
                  <a:gd name="connsiteY82" fmla="*/ 861762 h 1011585"/>
                  <a:gd name="connsiteX83" fmla="*/ 65798 w 1489990"/>
                  <a:gd name="connsiteY83" fmla="*/ 861762 h 1011585"/>
                  <a:gd name="connsiteX84" fmla="*/ 65798 w 1489990"/>
                  <a:gd name="connsiteY84" fmla="*/ 859393 h 1011585"/>
                  <a:gd name="connsiteX85" fmla="*/ 67299 w 1489990"/>
                  <a:gd name="connsiteY85" fmla="*/ 859393 h 1011585"/>
                  <a:gd name="connsiteX86" fmla="*/ 67299 w 1489990"/>
                  <a:gd name="connsiteY86" fmla="*/ 856223 h 1011585"/>
                  <a:gd name="connsiteX87" fmla="*/ 68834 w 1489990"/>
                  <a:gd name="connsiteY87" fmla="*/ 856223 h 1011585"/>
                  <a:gd name="connsiteX88" fmla="*/ 68834 w 1489990"/>
                  <a:gd name="connsiteY88" fmla="*/ 853854 h 1011585"/>
                  <a:gd name="connsiteX89" fmla="*/ 71903 w 1489990"/>
                  <a:gd name="connsiteY89" fmla="*/ 853854 h 1011585"/>
                  <a:gd name="connsiteX90" fmla="*/ 71903 w 1489990"/>
                  <a:gd name="connsiteY90" fmla="*/ 852286 h 1011585"/>
                  <a:gd name="connsiteX91" fmla="*/ 73438 w 1489990"/>
                  <a:gd name="connsiteY91" fmla="*/ 852286 h 1011585"/>
                  <a:gd name="connsiteX92" fmla="*/ 73438 w 1489990"/>
                  <a:gd name="connsiteY92" fmla="*/ 851485 h 1011585"/>
                  <a:gd name="connsiteX93" fmla="*/ 74972 w 1489990"/>
                  <a:gd name="connsiteY93" fmla="*/ 851485 h 1011585"/>
                  <a:gd name="connsiteX94" fmla="*/ 74972 w 1489990"/>
                  <a:gd name="connsiteY94" fmla="*/ 847548 h 1011585"/>
                  <a:gd name="connsiteX95" fmla="*/ 76496 w 1489990"/>
                  <a:gd name="connsiteY95" fmla="*/ 847548 h 1011585"/>
                  <a:gd name="connsiteX96" fmla="*/ 76496 w 1489990"/>
                  <a:gd name="connsiteY96" fmla="*/ 844378 h 1011585"/>
                  <a:gd name="connsiteX97" fmla="*/ 78030 w 1489990"/>
                  <a:gd name="connsiteY97" fmla="*/ 844378 h 1011585"/>
                  <a:gd name="connsiteX98" fmla="*/ 78030 w 1489990"/>
                  <a:gd name="connsiteY98" fmla="*/ 839640 h 1011585"/>
                  <a:gd name="connsiteX99" fmla="*/ 79565 w 1489990"/>
                  <a:gd name="connsiteY99" fmla="*/ 839640 h 1011585"/>
                  <a:gd name="connsiteX100" fmla="*/ 79565 w 1489990"/>
                  <a:gd name="connsiteY100" fmla="*/ 837271 h 1011585"/>
                  <a:gd name="connsiteX101" fmla="*/ 81099 w 1489990"/>
                  <a:gd name="connsiteY101" fmla="*/ 837271 h 1011585"/>
                  <a:gd name="connsiteX102" fmla="*/ 81099 w 1489990"/>
                  <a:gd name="connsiteY102" fmla="*/ 833334 h 1011585"/>
                  <a:gd name="connsiteX103" fmla="*/ 82634 w 1489990"/>
                  <a:gd name="connsiteY103" fmla="*/ 833334 h 1011585"/>
                  <a:gd name="connsiteX104" fmla="*/ 82634 w 1489990"/>
                  <a:gd name="connsiteY104" fmla="*/ 830164 h 1011585"/>
                  <a:gd name="connsiteX105" fmla="*/ 84157 w 1489990"/>
                  <a:gd name="connsiteY105" fmla="*/ 830164 h 1011585"/>
                  <a:gd name="connsiteX106" fmla="*/ 84157 w 1489990"/>
                  <a:gd name="connsiteY106" fmla="*/ 826227 h 1011585"/>
                  <a:gd name="connsiteX107" fmla="*/ 85659 w 1489990"/>
                  <a:gd name="connsiteY107" fmla="*/ 826227 h 1011585"/>
                  <a:gd name="connsiteX108" fmla="*/ 85659 w 1489990"/>
                  <a:gd name="connsiteY108" fmla="*/ 823825 h 1011585"/>
                  <a:gd name="connsiteX109" fmla="*/ 87193 w 1489990"/>
                  <a:gd name="connsiteY109" fmla="*/ 823825 h 1011585"/>
                  <a:gd name="connsiteX110" fmla="*/ 87193 w 1489990"/>
                  <a:gd name="connsiteY110" fmla="*/ 822256 h 1011585"/>
                  <a:gd name="connsiteX111" fmla="*/ 88728 w 1489990"/>
                  <a:gd name="connsiteY111" fmla="*/ 822256 h 1011585"/>
                  <a:gd name="connsiteX112" fmla="*/ 88728 w 1489990"/>
                  <a:gd name="connsiteY112" fmla="*/ 817518 h 1011585"/>
                  <a:gd name="connsiteX113" fmla="*/ 90262 w 1489990"/>
                  <a:gd name="connsiteY113" fmla="*/ 817518 h 1011585"/>
                  <a:gd name="connsiteX114" fmla="*/ 90262 w 1489990"/>
                  <a:gd name="connsiteY114" fmla="*/ 815150 h 1011585"/>
                  <a:gd name="connsiteX115" fmla="*/ 91786 w 1489990"/>
                  <a:gd name="connsiteY115" fmla="*/ 815150 h 1011585"/>
                  <a:gd name="connsiteX116" fmla="*/ 91786 w 1489990"/>
                  <a:gd name="connsiteY116" fmla="*/ 814349 h 1011585"/>
                  <a:gd name="connsiteX117" fmla="*/ 93332 w 1489990"/>
                  <a:gd name="connsiteY117" fmla="*/ 814349 h 1011585"/>
                  <a:gd name="connsiteX118" fmla="*/ 93332 w 1489990"/>
                  <a:gd name="connsiteY118" fmla="*/ 811980 h 1011585"/>
                  <a:gd name="connsiteX119" fmla="*/ 94855 w 1489990"/>
                  <a:gd name="connsiteY119" fmla="*/ 811980 h 1011585"/>
                  <a:gd name="connsiteX120" fmla="*/ 94855 w 1489990"/>
                  <a:gd name="connsiteY120" fmla="*/ 806441 h 1011585"/>
                  <a:gd name="connsiteX121" fmla="*/ 96390 w 1489990"/>
                  <a:gd name="connsiteY121" fmla="*/ 806441 h 1011585"/>
                  <a:gd name="connsiteX122" fmla="*/ 96390 w 1489990"/>
                  <a:gd name="connsiteY122" fmla="*/ 804072 h 1011585"/>
                  <a:gd name="connsiteX123" fmla="*/ 97924 w 1489990"/>
                  <a:gd name="connsiteY123" fmla="*/ 804072 h 1011585"/>
                  <a:gd name="connsiteX124" fmla="*/ 97924 w 1489990"/>
                  <a:gd name="connsiteY124" fmla="*/ 797766 h 1011585"/>
                  <a:gd name="connsiteX125" fmla="*/ 99459 w 1489990"/>
                  <a:gd name="connsiteY125" fmla="*/ 797766 h 1011585"/>
                  <a:gd name="connsiteX126" fmla="*/ 99459 w 1489990"/>
                  <a:gd name="connsiteY126" fmla="*/ 796164 h 1011585"/>
                  <a:gd name="connsiteX127" fmla="*/ 100993 w 1489990"/>
                  <a:gd name="connsiteY127" fmla="*/ 796164 h 1011585"/>
                  <a:gd name="connsiteX128" fmla="*/ 100993 w 1489990"/>
                  <a:gd name="connsiteY128" fmla="*/ 795364 h 1011585"/>
                  <a:gd name="connsiteX129" fmla="*/ 102483 w 1489990"/>
                  <a:gd name="connsiteY129" fmla="*/ 795364 h 1011585"/>
                  <a:gd name="connsiteX130" fmla="*/ 102483 w 1489990"/>
                  <a:gd name="connsiteY130" fmla="*/ 791426 h 1011585"/>
                  <a:gd name="connsiteX131" fmla="*/ 104018 w 1489990"/>
                  <a:gd name="connsiteY131" fmla="*/ 791426 h 1011585"/>
                  <a:gd name="connsiteX132" fmla="*/ 104018 w 1489990"/>
                  <a:gd name="connsiteY132" fmla="*/ 789057 h 1011585"/>
                  <a:gd name="connsiteX133" fmla="*/ 105553 w 1489990"/>
                  <a:gd name="connsiteY133" fmla="*/ 789057 h 1011585"/>
                  <a:gd name="connsiteX134" fmla="*/ 105553 w 1489990"/>
                  <a:gd name="connsiteY134" fmla="*/ 783519 h 1011585"/>
                  <a:gd name="connsiteX135" fmla="*/ 107087 w 1489990"/>
                  <a:gd name="connsiteY135" fmla="*/ 783519 h 1011585"/>
                  <a:gd name="connsiteX136" fmla="*/ 107087 w 1489990"/>
                  <a:gd name="connsiteY136" fmla="*/ 780338 h 1011585"/>
                  <a:gd name="connsiteX137" fmla="*/ 108622 w 1489990"/>
                  <a:gd name="connsiteY137" fmla="*/ 780338 h 1011585"/>
                  <a:gd name="connsiteX138" fmla="*/ 108622 w 1489990"/>
                  <a:gd name="connsiteY138" fmla="*/ 777980 h 1011585"/>
                  <a:gd name="connsiteX139" fmla="*/ 110145 w 1489990"/>
                  <a:gd name="connsiteY139" fmla="*/ 777980 h 1011585"/>
                  <a:gd name="connsiteX140" fmla="*/ 110145 w 1489990"/>
                  <a:gd name="connsiteY140" fmla="*/ 775567 h 1011585"/>
                  <a:gd name="connsiteX141" fmla="*/ 111680 w 1489990"/>
                  <a:gd name="connsiteY141" fmla="*/ 775567 h 1011585"/>
                  <a:gd name="connsiteX142" fmla="*/ 111680 w 1489990"/>
                  <a:gd name="connsiteY142" fmla="*/ 773998 h 1011585"/>
                  <a:gd name="connsiteX143" fmla="*/ 113214 w 1489990"/>
                  <a:gd name="connsiteY143" fmla="*/ 773998 h 1011585"/>
                  <a:gd name="connsiteX144" fmla="*/ 113214 w 1489990"/>
                  <a:gd name="connsiteY144" fmla="*/ 769260 h 1011585"/>
                  <a:gd name="connsiteX145" fmla="*/ 114749 w 1489990"/>
                  <a:gd name="connsiteY145" fmla="*/ 769260 h 1011585"/>
                  <a:gd name="connsiteX146" fmla="*/ 114749 w 1489990"/>
                  <a:gd name="connsiteY146" fmla="*/ 766091 h 1011585"/>
                  <a:gd name="connsiteX147" fmla="*/ 116284 w 1489990"/>
                  <a:gd name="connsiteY147" fmla="*/ 766091 h 1011585"/>
                  <a:gd name="connsiteX148" fmla="*/ 116284 w 1489990"/>
                  <a:gd name="connsiteY148" fmla="*/ 763722 h 1011585"/>
                  <a:gd name="connsiteX149" fmla="*/ 117818 w 1489990"/>
                  <a:gd name="connsiteY149" fmla="*/ 763722 h 1011585"/>
                  <a:gd name="connsiteX150" fmla="*/ 117818 w 1489990"/>
                  <a:gd name="connsiteY150" fmla="*/ 762921 h 1011585"/>
                  <a:gd name="connsiteX151" fmla="*/ 119342 w 1489990"/>
                  <a:gd name="connsiteY151" fmla="*/ 762921 h 1011585"/>
                  <a:gd name="connsiteX152" fmla="*/ 119342 w 1489990"/>
                  <a:gd name="connsiteY152" fmla="*/ 760552 h 1011585"/>
                  <a:gd name="connsiteX153" fmla="*/ 120843 w 1489990"/>
                  <a:gd name="connsiteY153" fmla="*/ 760552 h 1011585"/>
                  <a:gd name="connsiteX154" fmla="*/ 120843 w 1489990"/>
                  <a:gd name="connsiteY154" fmla="*/ 759751 h 1011585"/>
                  <a:gd name="connsiteX155" fmla="*/ 122377 w 1489990"/>
                  <a:gd name="connsiteY155" fmla="*/ 759751 h 1011585"/>
                  <a:gd name="connsiteX156" fmla="*/ 122377 w 1489990"/>
                  <a:gd name="connsiteY156" fmla="*/ 758950 h 1011585"/>
                  <a:gd name="connsiteX157" fmla="*/ 123912 w 1489990"/>
                  <a:gd name="connsiteY157" fmla="*/ 758950 h 1011585"/>
                  <a:gd name="connsiteX158" fmla="*/ 123912 w 1489990"/>
                  <a:gd name="connsiteY158" fmla="*/ 756581 h 1011585"/>
                  <a:gd name="connsiteX159" fmla="*/ 125447 w 1489990"/>
                  <a:gd name="connsiteY159" fmla="*/ 756581 h 1011585"/>
                  <a:gd name="connsiteX160" fmla="*/ 125447 w 1489990"/>
                  <a:gd name="connsiteY160" fmla="*/ 755781 h 1011585"/>
                  <a:gd name="connsiteX161" fmla="*/ 126970 w 1489990"/>
                  <a:gd name="connsiteY161" fmla="*/ 755781 h 1011585"/>
                  <a:gd name="connsiteX162" fmla="*/ 126970 w 1489990"/>
                  <a:gd name="connsiteY162" fmla="*/ 752611 h 1011585"/>
                  <a:gd name="connsiteX163" fmla="*/ 128516 w 1489990"/>
                  <a:gd name="connsiteY163" fmla="*/ 752611 h 1011585"/>
                  <a:gd name="connsiteX164" fmla="*/ 128516 w 1489990"/>
                  <a:gd name="connsiteY164" fmla="*/ 750242 h 1011585"/>
                  <a:gd name="connsiteX165" fmla="*/ 130039 w 1489990"/>
                  <a:gd name="connsiteY165" fmla="*/ 750242 h 1011585"/>
                  <a:gd name="connsiteX166" fmla="*/ 130039 w 1489990"/>
                  <a:gd name="connsiteY166" fmla="*/ 749441 h 1011585"/>
                  <a:gd name="connsiteX167" fmla="*/ 131574 w 1489990"/>
                  <a:gd name="connsiteY167" fmla="*/ 749441 h 1011585"/>
                  <a:gd name="connsiteX168" fmla="*/ 131574 w 1489990"/>
                  <a:gd name="connsiteY168" fmla="*/ 746271 h 1011585"/>
                  <a:gd name="connsiteX169" fmla="*/ 133108 w 1489990"/>
                  <a:gd name="connsiteY169" fmla="*/ 746271 h 1011585"/>
                  <a:gd name="connsiteX170" fmla="*/ 133108 w 1489990"/>
                  <a:gd name="connsiteY170" fmla="*/ 744703 h 1011585"/>
                  <a:gd name="connsiteX171" fmla="*/ 136178 w 1489990"/>
                  <a:gd name="connsiteY171" fmla="*/ 744703 h 1011585"/>
                  <a:gd name="connsiteX172" fmla="*/ 136178 w 1489990"/>
                  <a:gd name="connsiteY172" fmla="*/ 743902 h 1011585"/>
                  <a:gd name="connsiteX173" fmla="*/ 137701 w 1489990"/>
                  <a:gd name="connsiteY173" fmla="*/ 743902 h 1011585"/>
                  <a:gd name="connsiteX174" fmla="*/ 137701 w 1489990"/>
                  <a:gd name="connsiteY174" fmla="*/ 739164 h 1011585"/>
                  <a:gd name="connsiteX175" fmla="*/ 139202 w 1489990"/>
                  <a:gd name="connsiteY175" fmla="*/ 739164 h 1011585"/>
                  <a:gd name="connsiteX176" fmla="*/ 139202 w 1489990"/>
                  <a:gd name="connsiteY176" fmla="*/ 734393 h 1011585"/>
                  <a:gd name="connsiteX177" fmla="*/ 140737 w 1489990"/>
                  <a:gd name="connsiteY177" fmla="*/ 734393 h 1011585"/>
                  <a:gd name="connsiteX178" fmla="*/ 140737 w 1489990"/>
                  <a:gd name="connsiteY178" fmla="*/ 728854 h 1011585"/>
                  <a:gd name="connsiteX179" fmla="*/ 142271 w 1489990"/>
                  <a:gd name="connsiteY179" fmla="*/ 728854 h 1011585"/>
                  <a:gd name="connsiteX180" fmla="*/ 142271 w 1489990"/>
                  <a:gd name="connsiteY180" fmla="*/ 724072 h 1011585"/>
                  <a:gd name="connsiteX181" fmla="*/ 143806 w 1489990"/>
                  <a:gd name="connsiteY181" fmla="*/ 724072 h 1011585"/>
                  <a:gd name="connsiteX182" fmla="*/ 143806 w 1489990"/>
                  <a:gd name="connsiteY182" fmla="*/ 722504 h 1011585"/>
                  <a:gd name="connsiteX183" fmla="*/ 145329 w 1489990"/>
                  <a:gd name="connsiteY183" fmla="*/ 722504 h 1011585"/>
                  <a:gd name="connsiteX184" fmla="*/ 145329 w 1489990"/>
                  <a:gd name="connsiteY184" fmla="*/ 720135 h 1011585"/>
                  <a:gd name="connsiteX185" fmla="*/ 146875 w 1489990"/>
                  <a:gd name="connsiteY185" fmla="*/ 720135 h 1011585"/>
                  <a:gd name="connsiteX186" fmla="*/ 146875 w 1489990"/>
                  <a:gd name="connsiteY186" fmla="*/ 716932 h 1011585"/>
                  <a:gd name="connsiteX187" fmla="*/ 148399 w 1489990"/>
                  <a:gd name="connsiteY187" fmla="*/ 716932 h 1011585"/>
                  <a:gd name="connsiteX188" fmla="*/ 148399 w 1489990"/>
                  <a:gd name="connsiteY188" fmla="*/ 714563 h 1011585"/>
                  <a:gd name="connsiteX189" fmla="*/ 149933 w 1489990"/>
                  <a:gd name="connsiteY189" fmla="*/ 714563 h 1011585"/>
                  <a:gd name="connsiteX190" fmla="*/ 149933 w 1489990"/>
                  <a:gd name="connsiteY190" fmla="*/ 713762 h 1011585"/>
                  <a:gd name="connsiteX191" fmla="*/ 151468 w 1489990"/>
                  <a:gd name="connsiteY191" fmla="*/ 713762 h 1011585"/>
                  <a:gd name="connsiteX192" fmla="*/ 151468 w 1489990"/>
                  <a:gd name="connsiteY192" fmla="*/ 709024 h 1011585"/>
                  <a:gd name="connsiteX193" fmla="*/ 153002 w 1489990"/>
                  <a:gd name="connsiteY193" fmla="*/ 709024 h 1011585"/>
                  <a:gd name="connsiteX194" fmla="*/ 153002 w 1489990"/>
                  <a:gd name="connsiteY194" fmla="*/ 708223 h 1011585"/>
                  <a:gd name="connsiteX195" fmla="*/ 154526 w 1489990"/>
                  <a:gd name="connsiteY195" fmla="*/ 708223 h 1011585"/>
                  <a:gd name="connsiteX196" fmla="*/ 154526 w 1489990"/>
                  <a:gd name="connsiteY196" fmla="*/ 705053 h 1011585"/>
                  <a:gd name="connsiteX197" fmla="*/ 156027 w 1489990"/>
                  <a:gd name="connsiteY197" fmla="*/ 705053 h 1011585"/>
                  <a:gd name="connsiteX198" fmla="*/ 156027 w 1489990"/>
                  <a:gd name="connsiteY198" fmla="*/ 704253 h 1011585"/>
                  <a:gd name="connsiteX199" fmla="*/ 157562 w 1489990"/>
                  <a:gd name="connsiteY199" fmla="*/ 704253 h 1011585"/>
                  <a:gd name="connsiteX200" fmla="*/ 157562 w 1489990"/>
                  <a:gd name="connsiteY200" fmla="*/ 703485 h 1011585"/>
                  <a:gd name="connsiteX201" fmla="*/ 159096 w 1489990"/>
                  <a:gd name="connsiteY201" fmla="*/ 703485 h 1011585"/>
                  <a:gd name="connsiteX202" fmla="*/ 159096 w 1489990"/>
                  <a:gd name="connsiteY202" fmla="*/ 702684 h 1011585"/>
                  <a:gd name="connsiteX203" fmla="*/ 160631 w 1489990"/>
                  <a:gd name="connsiteY203" fmla="*/ 702684 h 1011585"/>
                  <a:gd name="connsiteX204" fmla="*/ 160631 w 1489990"/>
                  <a:gd name="connsiteY204" fmla="*/ 700315 h 1011585"/>
                  <a:gd name="connsiteX205" fmla="*/ 162165 w 1489990"/>
                  <a:gd name="connsiteY205" fmla="*/ 700315 h 1011585"/>
                  <a:gd name="connsiteX206" fmla="*/ 162165 w 1489990"/>
                  <a:gd name="connsiteY206" fmla="*/ 698714 h 1011585"/>
                  <a:gd name="connsiteX207" fmla="*/ 163689 w 1489990"/>
                  <a:gd name="connsiteY207" fmla="*/ 698714 h 1011585"/>
                  <a:gd name="connsiteX208" fmla="*/ 163689 w 1489990"/>
                  <a:gd name="connsiteY208" fmla="*/ 697112 h 1011585"/>
                  <a:gd name="connsiteX209" fmla="*/ 165223 w 1489990"/>
                  <a:gd name="connsiteY209" fmla="*/ 697112 h 1011585"/>
                  <a:gd name="connsiteX210" fmla="*/ 165223 w 1489990"/>
                  <a:gd name="connsiteY210" fmla="*/ 693175 h 1011585"/>
                  <a:gd name="connsiteX211" fmla="*/ 166758 w 1489990"/>
                  <a:gd name="connsiteY211" fmla="*/ 693175 h 1011585"/>
                  <a:gd name="connsiteX212" fmla="*/ 166758 w 1489990"/>
                  <a:gd name="connsiteY212" fmla="*/ 690762 h 1011585"/>
                  <a:gd name="connsiteX213" fmla="*/ 168293 w 1489990"/>
                  <a:gd name="connsiteY213" fmla="*/ 690762 h 1011585"/>
                  <a:gd name="connsiteX214" fmla="*/ 168293 w 1489990"/>
                  <a:gd name="connsiteY214" fmla="*/ 686791 h 1011585"/>
                  <a:gd name="connsiteX215" fmla="*/ 169827 w 1489990"/>
                  <a:gd name="connsiteY215" fmla="*/ 686791 h 1011585"/>
                  <a:gd name="connsiteX216" fmla="*/ 169827 w 1489990"/>
                  <a:gd name="connsiteY216" fmla="*/ 684422 h 1011585"/>
                  <a:gd name="connsiteX217" fmla="*/ 171362 w 1489990"/>
                  <a:gd name="connsiteY217" fmla="*/ 684422 h 1011585"/>
                  <a:gd name="connsiteX218" fmla="*/ 171362 w 1489990"/>
                  <a:gd name="connsiteY218" fmla="*/ 682020 h 1011585"/>
                  <a:gd name="connsiteX219" fmla="*/ 172885 w 1489990"/>
                  <a:gd name="connsiteY219" fmla="*/ 682020 h 1011585"/>
                  <a:gd name="connsiteX220" fmla="*/ 172885 w 1489990"/>
                  <a:gd name="connsiteY220" fmla="*/ 678850 h 1011585"/>
                  <a:gd name="connsiteX221" fmla="*/ 174386 w 1489990"/>
                  <a:gd name="connsiteY221" fmla="*/ 678850 h 1011585"/>
                  <a:gd name="connsiteX222" fmla="*/ 174386 w 1489990"/>
                  <a:gd name="connsiteY222" fmla="*/ 675680 h 1011585"/>
                  <a:gd name="connsiteX223" fmla="*/ 175921 w 1489990"/>
                  <a:gd name="connsiteY223" fmla="*/ 675680 h 1011585"/>
                  <a:gd name="connsiteX224" fmla="*/ 175921 w 1489990"/>
                  <a:gd name="connsiteY224" fmla="*/ 671710 h 1011585"/>
                  <a:gd name="connsiteX225" fmla="*/ 177456 w 1489990"/>
                  <a:gd name="connsiteY225" fmla="*/ 671710 h 1011585"/>
                  <a:gd name="connsiteX226" fmla="*/ 177456 w 1489990"/>
                  <a:gd name="connsiteY226" fmla="*/ 666938 h 1011585"/>
                  <a:gd name="connsiteX227" fmla="*/ 178990 w 1489990"/>
                  <a:gd name="connsiteY227" fmla="*/ 666938 h 1011585"/>
                  <a:gd name="connsiteX228" fmla="*/ 178990 w 1489990"/>
                  <a:gd name="connsiteY228" fmla="*/ 665337 h 1011585"/>
                  <a:gd name="connsiteX229" fmla="*/ 182059 w 1489990"/>
                  <a:gd name="connsiteY229" fmla="*/ 665337 h 1011585"/>
                  <a:gd name="connsiteX230" fmla="*/ 182059 w 1489990"/>
                  <a:gd name="connsiteY230" fmla="*/ 661355 h 1011585"/>
                  <a:gd name="connsiteX231" fmla="*/ 183583 w 1489990"/>
                  <a:gd name="connsiteY231" fmla="*/ 661355 h 1011585"/>
                  <a:gd name="connsiteX232" fmla="*/ 183583 w 1489990"/>
                  <a:gd name="connsiteY232" fmla="*/ 658986 h 1011585"/>
                  <a:gd name="connsiteX233" fmla="*/ 185117 w 1489990"/>
                  <a:gd name="connsiteY233" fmla="*/ 658986 h 1011585"/>
                  <a:gd name="connsiteX234" fmla="*/ 185117 w 1489990"/>
                  <a:gd name="connsiteY234" fmla="*/ 657385 h 1011585"/>
                  <a:gd name="connsiteX235" fmla="*/ 186652 w 1489990"/>
                  <a:gd name="connsiteY235" fmla="*/ 657385 h 1011585"/>
                  <a:gd name="connsiteX236" fmla="*/ 186652 w 1489990"/>
                  <a:gd name="connsiteY236" fmla="*/ 655817 h 1011585"/>
                  <a:gd name="connsiteX237" fmla="*/ 188187 w 1489990"/>
                  <a:gd name="connsiteY237" fmla="*/ 655817 h 1011585"/>
                  <a:gd name="connsiteX238" fmla="*/ 188187 w 1489990"/>
                  <a:gd name="connsiteY238" fmla="*/ 655016 h 1011585"/>
                  <a:gd name="connsiteX239" fmla="*/ 189721 w 1489990"/>
                  <a:gd name="connsiteY239" fmla="*/ 655016 h 1011585"/>
                  <a:gd name="connsiteX240" fmla="*/ 189721 w 1489990"/>
                  <a:gd name="connsiteY240" fmla="*/ 653414 h 1011585"/>
                  <a:gd name="connsiteX241" fmla="*/ 191211 w 1489990"/>
                  <a:gd name="connsiteY241" fmla="*/ 653414 h 1011585"/>
                  <a:gd name="connsiteX242" fmla="*/ 191211 w 1489990"/>
                  <a:gd name="connsiteY242" fmla="*/ 652613 h 1011585"/>
                  <a:gd name="connsiteX243" fmla="*/ 192746 w 1489990"/>
                  <a:gd name="connsiteY243" fmla="*/ 652613 h 1011585"/>
                  <a:gd name="connsiteX244" fmla="*/ 192746 w 1489990"/>
                  <a:gd name="connsiteY244" fmla="*/ 648643 h 1011585"/>
                  <a:gd name="connsiteX245" fmla="*/ 194280 w 1489990"/>
                  <a:gd name="connsiteY245" fmla="*/ 648643 h 1011585"/>
                  <a:gd name="connsiteX246" fmla="*/ 194280 w 1489990"/>
                  <a:gd name="connsiteY246" fmla="*/ 645473 h 1011585"/>
                  <a:gd name="connsiteX247" fmla="*/ 195815 w 1489990"/>
                  <a:gd name="connsiteY247" fmla="*/ 645473 h 1011585"/>
                  <a:gd name="connsiteX248" fmla="*/ 195815 w 1489990"/>
                  <a:gd name="connsiteY248" fmla="*/ 643872 h 1011585"/>
                  <a:gd name="connsiteX249" fmla="*/ 197350 w 1489990"/>
                  <a:gd name="connsiteY249" fmla="*/ 643872 h 1011585"/>
                  <a:gd name="connsiteX250" fmla="*/ 197350 w 1489990"/>
                  <a:gd name="connsiteY250" fmla="*/ 641503 h 1011585"/>
                  <a:gd name="connsiteX251" fmla="*/ 198873 w 1489990"/>
                  <a:gd name="connsiteY251" fmla="*/ 641503 h 1011585"/>
                  <a:gd name="connsiteX252" fmla="*/ 198873 w 1489990"/>
                  <a:gd name="connsiteY252" fmla="*/ 639134 h 1011585"/>
                  <a:gd name="connsiteX253" fmla="*/ 200408 w 1489990"/>
                  <a:gd name="connsiteY253" fmla="*/ 639134 h 1011585"/>
                  <a:gd name="connsiteX254" fmla="*/ 201942 w 1489990"/>
                  <a:gd name="connsiteY254" fmla="*/ 639134 h 1011585"/>
                  <a:gd name="connsiteX255" fmla="*/ 201942 w 1489990"/>
                  <a:gd name="connsiteY255" fmla="*/ 636720 h 1011585"/>
                  <a:gd name="connsiteX256" fmla="*/ 203477 w 1489990"/>
                  <a:gd name="connsiteY256" fmla="*/ 636720 h 1011585"/>
                  <a:gd name="connsiteX257" fmla="*/ 203477 w 1489990"/>
                  <a:gd name="connsiteY257" fmla="*/ 634362 h 1011585"/>
                  <a:gd name="connsiteX258" fmla="*/ 205011 w 1489990"/>
                  <a:gd name="connsiteY258" fmla="*/ 634362 h 1011585"/>
                  <a:gd name="connsiteX259" fmla="*/ 205011 w 1489990"/>
                  <a:gd name="connsiteY259" fmla="*/ 631949 h 1011585"/>
                  <a:gd name="connsiteX260" fmla="*/ 206546 w 1489990"/>
                  <a:gd name="connsiteY260" fmla="*/ 631949 h 1011585"/>
                  <a:gd name="connsiteX261" fmla="*/ 206546 w 1489990"/>
                  <a:gd name="connsiteY261" fmla="*/ 631148 h 1011585"/>
                  <a:gd name="connsiteX262" fmla="*/ 208069 w 1489990"/>
                  <a:gd name="connsiteY262" fmla="*/ 631148 h 1011585"/>
                  <a:gd name="connsiteX263" fmla="*/ 208069 w 1489990"/>
                  <a:gd name="connsiteY263" fmla="*/ 628790 h 1011585"/>
                  <a:gd name="connsiteX264" fmla="*/ 209571 w 1489990"/>
                  <a:gd name="connsiteY264" fmla="*/ 628790 h 1011585"/>
                  <a:gd name="connsiteX265" fmla="*/ 209571 w 1489990"/>
                  <a:gd name="connsiteY265" fmla="*/ 626377 h 1011585"/>
                  <a:gd name="connsiteX266" fmla="*/ 211105 w 1489990"/>
                  <a:gd name="connsiteY266" fmla="*/ 626377 h 1011585"/>
                  <a:gd name="connsiteX267" fmla="*/ 211105 w 1489990"/>
                  <a:gd name="connsiteY267" fmla="*/ 624775 h 1011585"/>
                  <a:gd name="connsiteX268" fmla="*/ 212640 w 1489990"/>
                  <a:gd name="connsiteY268" fmla="*/ 624775 h 1011585"/>
                  <a:gd name="connsiteX269" fmla="*/ 212640 w 1489990"/>
                  <a:gd name="connsiteY269" fmla="*/ 623207 h 1011585"/>
                  <a:gd name="connsiteX270" fmla="*/ 214174 w 1489990"/>
                  <a:gd name="connsiteY270" fmla="*/ 623207 h 1011585"/>
                  <a:gd name="connsiteX271" fmla="*/ 214174 w 1489990"/>
                  <a:gd name="connsiteY271" fmla="*/ 620805 h 1011585"/>
                  <a:gd name="connsiteX272" fmla="*/ 217232 w 1489990"/>
                  <a:gd name="connsiteY272" fmla="*/ 620805 h 1011585"/>
                  <a:gd name="connsiteX273" fmla="*/ 217232 w 1489990"/>
                  <a:gd name="connsiteY273" fmla="*/ 617635 h 1011585"/>
                  <a:gd name="connsiteX274" fmla="*/ 218767 w 1489990"/>
                  <a:gd name="connsiteY274" fmla="*/ 617635 h 1011585"/>
                  <a:gd name="connsiteX275" fmla="*/ 218767 w 1489990"/>
                  <a:gd name="connsiteY275" fmla="*/ 614432 h 1011585"/>
                  <a:gd name="connsiteX276" fmla="*/ 220302 w 1489990"/>
                  <a:gd name="connsiteY276" fmla="*/ 614432 h 1011585"/>
                  <a:gd name="connsiteX277" fmla="*/ 220302 w 1489990"/>
                  <a:gd name="connsiteY277" fmla="*/ 612819 h 1011585"/>
                  <a:gd name="connsiteX278" fmla="*/ 221836 w 1489990"/>
                  <a:gd name="connsiteY278" fmla="*/ 612819 h 1011585"/>
                  <a:gd name="connsiteX279" fmla="*/ 221836 w 1489990"/>
                  <a:gd name="connsiteY279" fmla="*/ 611262 h 1011585"/>
                  <a:gd name="connsiteX280" fmla="*/ 224905 w 1489990"/>
                  <a:gd name="connsiteY280" fmla="*/ 611262 h 1011585"/>
                  <a:gd name="connsiteX281" fmla="*/ 224905 w 1489990"/>
                  <a:gd name="connsiteY281" fmla="*/ 608860 h 1011585"/>
                  <a:gd name="connsiteX282" fmla="*/ 226395 w 1489990"/>
                  <a:gd name="connsiteY282" fmla="*/ 608860 h 1011585"/>
                  <a:gd name="connsiteX283" fmla="*/ 226395 w 1489990"/>
                  <a:gd name="connsiteY283" fmla="*/ 605679 h 1011585"/>
                  <a:gd name="connsiteX284" fmla="*/ 227930 w 1489990"/>
                  <a:gd name="connsiteY284" fmla="*/ 605679 h 1011585"/>
                  <a:gd name="connsiteX285" fmla="*/ 227930 w 1489990"/>
                  <a:gd name="connsiteY285" fmla="*/ 604077 h 1011585"/>
                  <a:gd name="connsiteX286" fmla="*/ 229465 w 1489990"/>
                  <a:gd name="connsiteY286" fmla="*/ 604077 h 1011585"/>
                  <a:gd name="connsiteX287" fmla="*/ 229465 w 1489990"/>
                  <a:gd name="connsiteY287" fmla="*/ 602476 h 1011585"/>
                  <a:gd name="connsiteX288" fmla="*/ 230999 w 1489990"/>
                  <a:gd name="connsiteY288" fmla="*/ 602476 h 1011585"/>
                  <a:gd name="connsiteX289" fmla="*/ 230999 w 1489990"/>
                  <a:gd name="connsiteY289" fmla="*/ 600874 h 1011585"/>
                  <a:gd name="connsiteX290" fmla="*/ 232534 w 1489990"/>
                  <a:gd name="connsiteY290" fmla="*/ 600874 h 1011585"/>
                  <a:gd name="connsiteX291" fmla="*/ 232534 w 1489990"/>
                  <a:gd name="connsiteY291" fmla="*/ 599306 h 1011585"/>
                  <a:gd name="connsiteX292" fmla="*/ 234057 w 1489990"/>
                  <a:gd name="connsiteY292" fmla="*/ 599306 h 1011585"/>
                  <a:gd name="connsiteX293" fmla="*/ 234057 w 1489990"/>
                  <a:gd name="connsiteY293" fmla="*/ 598505 h 1011585"/>
                  <a:gd name="connsiteX294" fmla="*/ 235592 w 1489990"/>
                  <a:gd name="connsiteY294" fmla="*/ 598505 h 1011585"/>
                  <a:gd name="connsiteX295" fmla="*/ 235592 w 1489990"/>
                  <a:gd name="connsiteY295" fmla="*/ 597704 h 1011585"/>
                  <a:gd name="connsiteX296" fmla="*/ 237126 w 1489990"/>
                  <a:gd name="connsiteY296" fmla="*/ 597704 h 1011585"/>
                  <a:gd name="connsiteX297" fmla="*/ 237126 w 1489990"/>
                  <a:gd name="connsiteY297" fmla="*/ 592132 h 1011585"/>
                  <a:gd name="connsiteX298" fmla="*/ 238661 w 1489990"/>
                  <a:gd name="connsiteY298" fmla="*/ 592132 h 1011585"/>
                  <a:gd name="connsiteX299" fmla="*/ 238661 w 1489990"/>
                  <a:gd name="connsiteY299" fmla="*/ 589730 h 1011585"/>
                  <a:gd name="connsiteX300" fmla="*/ 240196 w 1489990"/>
                  <a:gd name="connsiteY300" fmla="*/ 589730 h 1011585"/>
                  <a:gd name="connsiteX301" fmla="*/ 240196 w 1489990"/>
                  <a:gd name="connsiteY301" fmla="*/ 588128 h 1011585"/>
                  <a:gd name="connsiteX302" fmla="*/ 241730 w 1489990"/>
                  <a:gd name="connsiteY302" fmla="*/ 588128 h 1011585"/>
                  <a:gd name="connsiteX303" fmla="*/ 241730 w 1489990"/>
                  <a:gd name="connsiteY303" fmla="*/ 584914 h 1011585"/>
                  <a:gd name="connsiteX304" fmla="*/ 243254 w 1489990"/>
                  <a:gd name="connsiteY304" fmla="*/ 584914 h 1011585"/>
                  <a:gd name="connsiteX305" fmla="*/ 243254 w 1489990"/>
                  <a:gd name="connsiteY305" fmla="*/ 583357 h 1011585"/>
                  <a:gd name="connsiteX306" fmla="*/ 244755 w 1489990"/>
                  <a:gd name="connsiteY306" fmla="*/ 583357 h 1011585"/>
                  <a:gd name="connsiteX307" fmla="*/ 244755 w 1489990"/>
                  <a:gd name="connsiteY307" fmla="*/ 581744 h 1011585"/>
                  <a:gd name="connsiteX308" fmla="*/ 247824 w 1489990"/>
                  <a:gd name="connsiteY308" fmla="*/ 581744 h 1011585"/>
                  <a:gd name="connsiteX309" fmla="*/ 247824 w 1489990"/>
                  <a:gd name="connsiteY309" fmla="*/ 580944 h 1011585"/>
                  <a:gd name="connsiteX310" fmla="*/ 249359 w 1489990"/>
                  <a:gd name="connsiteY310" fmla="*/ 580944 h 1011585"/>
                  <a:gd name="connsiteX311" fmla="*/ 249359 w 1489990"/>
                  <a:gd name="connsiteY311" fmla="*/ 578541 h 1011585"/>
                  <a:gd name="connsiteX312" fmla="*/ 250893 w 1489990"/>
                  <a:gd name="connsiteY312" fmla="*/ 578541 h 1011585"/>
                  <a:gd name="connsiteX313" fmla="*/ 250893 w 1489990"/>
                  <a:gd name="connsiteY313" fmla="*/ 576139 h 1011585"/>
                  <a:gd name="connsiteX314" fmla="*/ 252417 w 1489990"/>
                  <a:gd name="connsiteY314" fmla="*/ 576139 h 1011585"/>
                  <a:gd name="connsiteX315" fmla="*/ 252417 w 1489990"/>
                  <a:gd name="connsiteY315" fmla="*/ 572969 h 1011585"/>
                  <a:gd name="connsiteX316" fmla="*/ 253951 w 1489990"/>
                  <a:gd name="connsiteY316" fmla="*/ 572969 h 1011585"/>
                  <a:gd name="connsiteX317" fmla="*/ 253951 w 1489990"/>
                  <a:gd name="connsiteY317" fmla="*/ 571368 h 1011585"/>
                  <a:gd name="connsiteX318" fmla="*/ 255486 w 1489990"/>
                  <a:gd name="connsiteY318" fmla="*/ 571368 h 1011585"/>
                  <a:gd name="connsiteX319" fmla="*/ 255486 w 1489990"/>
                  <a:gd name="connsiteY319" fmla="*/ 570567 h 1011585"/>
                  <a:gd name="connsiteX320" fmla="*/ 258544 w 1489990"/>
                  <a:gd name="connsiteY320" fmla="*/ 570567 h 1011585"/>
                  <a:gd name="connsiteX321" fmla="*/ 258544 w 1489990"/>
                  <a:gd name="connsiteY321" fmla="*/ 568153 h 1011585"/>
                  <a:gd name="connsiteX322" fmla="*/ 260089 w 1489990"/>
                  <a:gd name="connsiteY322" fmla="*/ 568153 h 1011585"/>
                  <a:gd name="connsiteX323" fmla="*/ 260089 w 1489990"/>
                  <a:gd name="connsiteY323" fmla="*/ 564995 h 1011585"/>
                  <a:gd name="connsiteX324" fmla="*/ 261580 w 1489990"/>
                  <a:gd name="connsiteY324" fmla="*/ 564995 h 1011585"/>
                  <a:gd name="connsiteX325" fmla="*/ 261580 w 1489990"/>
                  <a:gd name="connsiteY325" fmla="*/ 564183 h 1011585"/>
                  <a:gd name="connsiteX326" fmla="*/ 264649 w 1489990"/>
                  <a:gd name="connsiteY326" fmla="*/ 564183 h 1011585"/>
                  <a:gd name="connsiteX327" fmla="*/ 264649 w 1489990"/>
                  <a:gd name="connsiteY327" fmla="*/ 561781 h 1011585"/>
                  <a:gd name="connsiteX328" fmla="*/ 266183 w 1489990"/>
                  <a:gd name="connsiteY328" fmla="*/ 561781 h 1011585"/>
                  <a:gd name="connsiteX329" fmla="*/ 266183 w 1489990"/>
                  <a:gd name="connsiteY329" fmla="*/ 560179 h 1011585"/>
                  <a:gd name="connsiteX330" fmla="*/ 269241 w 1489990"/>
                  <a:gd name="connsiteY330" fmla="*/ 560179 h 1011585"/>
                  <a:gd name="connsiteX331" fmla="*/ 269241 w 1489990"/>
                  <a:gd name="connsiteY331" fmla="*/ 559378 h 1011585"/>
                  <a:gd name="connsiteX332" fmla="*/ 270776 w 1489990"/>
                  <a:gd name="connsiteY332" fmla="*/ 559378 h 1011585"/>
                  <a:gd name="connsiteX333" fmla="*/ 270776 w 1489990"/>
                  <a:gd name="connsiteY333" fmla="*/ 555408 h 1011585"/>
                  <a:gd name="connsiteX334" fmla="*/ 272311 w 1489990"/>
                  <a:gd name="connsiteY334" fmla="*/ 555408 h 1011585"/>
                  <a:gd name="connsiteX335" fmla="*/ 272311 w 1489990"/>
                  <a:gd name="connsiteY335" fmla="*/ 553806 h 1011585"/>
                  <a:gd name="connsiteX336" fmla="*/ 273845 w 1489990"/>
                  <a:gd name="connsiteY336" fmla="*/ 553806 h 1011585"/>
                  <a:gd name="connsiteX337" fmla="*/ 273845 w 1489990"/>
                  <a:gd name="connsiteY337" fmla="*/ 552205 h 1011585"/>
                  <a:gd name="connsiteX338" fmla="*/ 275380 w 1489990"/>
                  <a:gd name="connsiteY338" fmla="*/ 552205 h 1011585"/>
                  <a:gd name="connsiteX339" fmla="*/ 275380 w 1489990"/>
                  <a:gd name="connsiteY339" fmla="*/ 550603 h 1011585"/>
                  <a:gd name="connsiteX340" fmla="*/ 276903 w 1489990"/>
                  <a:gd name="connsiteY340" fmla="*/ 550603 h 1011585"/>
                  <a:gd name="connsiteX341" fmla="*/ 276903 w 1489990"/>
                  <a:gd name="connsiteY341" fmla="*/ 547433 h 1011585"/>
                  <a:gd name="connsiteX342" fmla="*/ 278449 w 1489990"/>
                  <a:gd name="connsiteY342" fmla="*/ 547433 h 1011585"/>
                  <a:gd name="connsiteX343" fmla="*/ 278449 w 1489990"/>
                  <a:gd name="connsiteY343" fmla="*/ 546621 h 1011585"/>
                  <a:gd name="connsiteX344" fmla="*/ 279939 w 1489990"/>
                  <a:gd name="connsiteY344" fmla="*/ 546621 h 1011585"/>
                  <a:gd name="connsiteX345" fmla="*/ 279939 w 1489990"/>
                  <a:gd name="connsiteY345" fmla="*/ 545020 h 1011585"/>
                  <a:gd name="connsiteX346" fmla="*/ 281474 w 1489990"/>
                  <a:gd name="connsiteY346" fmla="*/ 545020 h 1011585"/>
                  <a:gd name="connsiteX347" fmla="*/ 281474 w 1489990"/>
                  <a:gd name="connsiteY347" fmla="*/ 543418 h 1011585"/>
                  <a:gd name="connsiteX348" fmla="*/ 283008 w 1489990"/>
                  <a:gd name="connsiteY348" fmla="*/ 543418 h 1011585"/>
                  <a:gd name="connsiteX349" fmla="*/ 283008 w 1489990"/>
                  <a:gd name="connsiteY349" fmla="*/ 541817 h 1011585"/>
                  <a:gd name="connsiteX350" fmla="*/ 284532 w 1489990"/>
                  <a:gd name="connsiteY350" fmla="*/ 541817 h 1011585"/>
                  <a:gd name="connsiteX351" fmla="*/ 284532 w 1489990"/>
                  <a:gd name="connsiteY351" fmla="*/ 541016 h 1011585"/>
                  <a:gd name="connsiteX352" fmla="*/ 286077 w 1489990"/>
                  <a:gd name="connsiteY352" fmla="*/ 541016 h 1011585"/>
                  <a:gd name="connsiteX353" fmla="*/ 286077 w 1489990"/>
                  <a:gd name="connsiteY353" fmla="*/ 537813 h 1011585"/>
                  <a:gd name="connsiteX354" fmla="*/ 287601 w 1489990"/>
                  <a:gd name="connsiteY354" fmla="*/ 537813 h 1011585"/>
                  <a:gd name="connsiteX355" fmla="*/ 289135 w 1489990"/>
                  <a:gd name="connsiteY355" fmla="*/ 537813 h 1011585"/>
                  <a:gd name="connsiteX356" fmla="*/ 289135 w 1489990"/>
                  <a:gd name="connsiteY356" fmla="*/ 536211 h 1011585"/>
                  <a:gd name="connsiteX357" fmla="*/ 290670 w 1489990"/>
                  <a:gd name="connsiteY357" fmla="*/ 536211 h 1011585"/>
                  <a:gd name="connsiteX358" fmla="*/ 290670 w 1489990"/>
                  <a:gd name="connsiteY358" fmla="*/ 535410 h 1011585"/>
                  <a:gd name="connsiteX359" fmla="*/ 292205 w 1489990"/>
                  <a:gd name="connsiteY359" fmla="*/ 535410 h 1011585"/>
                  <a:gd name="connsiteX360" fmla="*/ 292205 w 1489990"/>
                  <a:gd name="connsiteY360" fmla="*/ 531362 h 1011585"/>
                  <a:gd name="connsiteX361" fmla="*/ 293739 w 1489990"/>
                  <a:gd name="connsiteY361" fmla="*/ 531362 h 1011585"/>
                  <a:gd name="connsiteX362" fmla="*/ 293739 w 1489990"/>
                  <a:gd name="connsiteY362" fmla="*/ 529760 h 1011585"/>
                  <a:gd name="connsiteX363" fmla="*/ 295274 w 1489990"/>
                  <a:gd name="connsiteY363" fmla="*/ 529760 h 1011585"/>
                  <a:gd name="connsiteX364" fmla="*/ 295274 w 1489990"/>
                  <a:gd name="connsiteY364" fmla="*/ 528159 h 1011585"/>
                  <a:gd name="connsiteX365" fmla="*/ 296797 w 1489990"/>
                  <a:gd name="connsiteY365" fmla="*/ 528159 h 1011585"/>
                  <a:gd name="connsiteX366" fmla="*/ 296797 w 1489990"/>
                  <a:gd name="connsiteY366" fmla="*/ 527325 h 1011585"/>
                  <a:gd name="connsiteX367" fmla="*/ 298298 w 1489990"/>
                  <a:gd name="connsiteY367" fmla="*/ 527325 h 1011585"/>
                  <a:gd name="connsiteX368" fmla="*/ 299833 w 1489990"/>
                  <a:gd name="connsiteY368" fmla="*/ 527325 h 1011585"/>
                  <a:gd name="connsiteX369" fmla="*/ 301368 w 1489990"/>
                  <a:gd name="connsiteY369" fmla="*/ 527325 h 1011585"/>
                  <a:gd name="connsiteX370" fmla="*/ 301368 w 1489990"/>
                  <a:gd name="connsiteY370" fmla="*/ 524889 h 1011585"/>
                  <a:gd name="connsiteX371" fmla="*/ 302902 w 1489990"/>
                  <a:gd name="connsiteY371" fmla="*/ 524889 h 1011585"/>
                  <a:gd name="connsiteX372" fmla="*/ 302902 w 1489990"/>
                  <a:gd name="connsiteY372" fmla="*/ 523243 h 1011585"/>
                  <a:gd name="connsiteX373" fmla="*/ 304426 w 1489990"/>
                  <a:gd name="connsiteY373" fmla="*/ 523243 h 1011585"/>
                  <a:gd name="connsiteX374" fmla="*/ 304426 w 1489990"/>
                  <a:gd name="connsiteY374" fmla="*/ 522420 h 1011585"/>
                  <a:gd name="connsiteX375" fmla="*/ 305960 w 1489990"/>
                  <a:gd name="connsiteY375" fmla="*/ 522420 h 1011585"/>
                  <a:gd name="connsiteX376" fmla="*/ 305960 w 1489990"/>
                  <a:gd name="connsiteY376" fmla="*/ 521575 h 1011585"/>
                  <a:gd name="connsiteX377" fmla="*/ 307495 w 1489990"/>
                  <a:gd name="connsiteY377" fmla="*/ 521575 h 1011585"/>
                  <a:gd name="connsiteX378" fmla="*/ 307495 w 1489990"/>
                  <a:gd name="connsiteY378" fmla="*/ 519940 h 1011585"/>
                  <a:gd name="connsiteX379" fmla="*/ 309029 w 1489990"/>
                  <a:gd name="connsiteY379" fmla="*/ 519940 h 1011585"/>
                  <a:gd name="connsiteX380" fmla="*/ 309029 w 1489990"/>
                  <a:gd name="connsiteY380" fmla="*/ 518294 h 1011585"/>
                  <a:gd name="connsiteX381" fmla="*/ 310564 w 1489990"/>
                  <a:gd name="connsiteY381" fmla="*/ 518294 h 1011585"/>
                  <a:gd name="connsiteX382" fmla="*/ 310564 w 1489990"/>
                  <a:gd name="connsiteY382" fmla="*/ 517460 h 1011585"/>
                  <a:gd name="connsiteX383" fmla="*/ 312087 w 1489990"/>
                  <a:gd name="connsiteY383" fmla="*/ 517460 h 1011585"/>
                  <a:gd name="connsiteX384" fmla="*/ 312087 w 1489990"/>
                  <a:gd name="connsiteY384" fmla="*/ 514123 h 1011585"/>
                  <a:gd name="connsiteX385" fmla="*/ 313633 w 1489990"/>
                  <a:gd name="connsiteY385" fmla="*/ 514123 h 1011585"/>
                  <a:gd name="connsiteX386" fmla="*/ 313633 w 1489990"/>
                  <a:gd name="connsiteY386" fmla="*/ 512455 h 1011585"/>
                  <a:gd name="connsiteX387" fmla="*/ 315123 w 1489990"/>
                  <a:gd name="connsiteY387" fmla="*/ 512455 h 1011585"/>
                  <a:gd name="connsiteX388" fmla="*/ 315123 w 1489990"/>
                  <a:gd name="connsiteY388" fmla="*/ 510775 h 1011585"/>
                  <a:gd name="connsiteX389" fmla="*/ 316658 w 1489990"/>
                  <a:gd name="connsiteY389" fmla="*/ 510775 h 1011585"/>
                  <a:gd name="connsiteX390" fmla="*/ 316658 w 1489990"/>
                  <a:gd name="connsiteY390" fmla="*/ 509941 h 1011585"/>
                  <a:gd name="connsiteX391" fmla="*/ 318192 w 1489990"/>
                  <a:gd name="connsiteY391" fmla="*/ 509941 h 1011585"/>
                  <a:gd name="connsiteX392" fmla="*/ 319716 w 1489990"/>
                  <a:gd name="connsiteY392" fmla="*/ 509941 h 1011585"/>
                  <a:gd name="connsiteX393" fmla="*/ 319716 w 1489990"/>
                  <a:gd name="connsiteY393" fmla="*/ 506560 h 1011585"/>
                  <a:gd name="connsiteX394" fmla="*/ 321261 w 1489990"/>
                  <a:gd name="connsiteY394" fmla="*/ 506560 h 1011585"/>
                  <a:gd name="connsiteX395" fmla="*/ 321261 w 1489990"/>
                  <a:gd name="connsiteY395" fmla="*/ 505693 h 1011585"/>
                  <a:gd name="connsiteX396" fmla="*/ 322785 w 1489990"/>
                  <a:gd name="connsiteY396" fmla="*/ 505693 h 1011585"/>
                  <a:gd name="connsiteX397" fmla="*/ 322785 w 1489990"/>
                  <a:gd name="connsiteY397" fmla="*/ 503980 h 1011585"/>
                  <a:gd name="connsiteX398" fmla="*/ 324320 w 1489990"/>
                  <a:gd name="connsiteY398" fmla="*/ 503980 h 1011585"/>
                  <a:gd name="connsiteX399" fmla="*/ 325854 w 1489990"/>
                  <a:gd name="connsiteY399" fmla="*/ 503980 h 1011585"/>
                  <a:gd name="connsiteX400" fmla="*/ 325854 w 1489990"/>
                  <a:gd name="connsiteY400" fmla="*/ 502278 h 1011585"/>
                  <a:gd name="connsiteX401" fmla="*/ 327389 w 1489990"/>
                  <a:gd name="connsiteY401" fmla="*/ 502278 h 1011585"/>
                  <a:gd name="connsiteX402" fmla="*/ 327389 w 1489990"/>
                  <a:gd name="connsiteY402" fmla="*/ 501399 h 1011585"/>
                  <a:gd name="connsiteX403" fmla="*/ 328923 w 1489990"/>
                  <a:gd name="connsiteY403" fmla="*/ 501399 h 1011585"/>
                  <a:gd name="connsiteX404" fmla="*/ 328923 w 1489990"/>
                  <a:gd name="connsiteY404" fmla="*/ 499664 h 1011585"/>
                  <a:gd name="connsiteX405" fmla="*/ 330447 w 1489990"/>
                  <a:gd name="connsiteY405" fmla="*/ 499664 h 1011585"/>
                  <a:gd name="connsiteX406" fmla="*/ 330447 w 1489990"/>
                  <a:gd name="connsiteY406" fmla="*/ 495371 h 1011585"/>
                  <a:gd name="connsiteX407" fmla="*/ 331981 w 1489990"/>
                  <a:gd name="connsiteY407" fmla="*/ 495371 h 1011585"/>
                  <a:gd name="connsiteX408" fmla="*/ 333483 w 1489990"/>
                  <a:gd name="connsiteY408" fmla="*/ 495371 h 1011585"/>
                  <a:gd name="connsiteX409" fmla="*/ 335017 w 1489990"/>
                  <a:gd name="connsiteY409" fmla="*/ 495371 h 1011585"/>
                  <a:gd name="connsiteX410" fmla="*/ 335017 w 1489990"/>
                  <a:gd name="connsiteY410" fmla="*/ 493603 h 1011585"/>
                  <a:gd name="connsiteX411" fmla="*/ 336552 w 1489990"/>
                  <a:gd name="connsiteY411" fmla="*/ 493603 h 1011585"/>
                  <a:gd name="connsiteX412" fmla="*/ 336552 w 1489990"/>
                  <a:gd name="connsiteY412" fmla="*/ 490989 h 1011585"/>
                  <a:gd name="connsiteX413" fmla="*/ 338075 w 1489990"/>
                  <a:gd name="connsiteY413" fmla="*/ 490989 h 1011585"/>
                  <a:gd name="connsiteX414" fmla="*/ 338075 w 1489990"/>
                  <a:gd name="connsiteY414" fmla="*/ 488376 h 1011585"/>
                  <a:gd name="connsiteX415" fmla="*/ 339621 w 1489990"/>
                  <a:gd name="connsiteY415" fmla="*/ 488376 h 1011585"/>
                  <a:gd name="connsiteX416" fmla="*/ 339621 w 1489990"/>
                  <a:gd name="connsiteY416" fmla="*/ 486630 h 1011585"/>
                  <a:gd name="connsiteX417" fmla="*/ 341144 w 1489990"/>
                  <a:gd name="connsiteY417" fmla="*/ 486630 h 1011585"/>
                  <a:gd name="connsiteX418" fmla="*/ 341144 w 1489990"/>
                  <a:gd name="connsiteY418" fmla="*/ 484850 h 1011585"/>
                  <a:gd name="connsiteX419" fmla="*/ 342679 w 1489990"/>
                  <a:gd name="connsiteY419" fmla="*/ 484850 h 1011585"/>
                  <a:gd name="connsiteX420" fmla="*/ 342679 w 1489990"/>
                  <a:gd name="connsiteY420" fmla="*/ 482236 h 1011585"/>
                  <a:gd name="connsiteX421" fmla="*/ 344214 w 1489990"/>
                  <a:gd name="connsiteY421" fmla="*/ 482236 h 1011585"/>
                  <a:gd name="connsiteX422" fmla="*/ 344214 w 1489990"/>
                  <a:gd name="connsiteY422" fmla="*/ 477810 h 1011585"/>
                  <a:gd name="connsiteX423" fmla="*/ 345748 w 1489990"/>
                  <a:gd name="connsiteY423" fmla="*/ 477810 h 1011585"/>
                  <a:gd name="connsiteX424" fmla="*/ 345748 w 1489990"/>
                  <a:gd name="connsiteY424" fmla="*/ 476041 h 1011585"/>
                  <a:gd name="connsiteX425" fmla="*/ 347272 w 1489990"/>
                  <a:gd name="connsiteY425" fmla="*/ 476041 h 1011585"/>
                  <a:gd name="connsiteX426" fmla="*/ 347272 w 1489990"/>
                  <a:gd name="connsiteY426" fmla="*/ 475129 h 1011585"/>
                  <a:gd name="connsiteX427" fmla="*/ 348806 w 1489990"/>
                  <a:gd name="connsiteY427" fmla="*/ 475129 h 1011585"/>
                  <a:gd name="connsiteX428" fmla="*/ 348806 w 1489990"/>
                  <a:gd name="connsiteY428" fmla="*/ 474262 h 1011585"/>
                  <a:gd name="connsiteX429" fmla="*/ 350307 w 1489990"/>
                  <a:gd name="connsiteY429" fmla="*/ 474262 h 1011585"/>
                  <a:gd name="connsiteX430" fmla="*/ 351842 w 1489990"/>
                  <a:gd name="connsiteY430" fmla="*/ 474262 h 1011585"/>
                  <a:gd name="connsiteX431" fmla="*/ 351842 w 1489990"/>
                  <a:gd name="connsiteY431" fmla="*/ 473350 h 1011585"/>
                  <a:gd name="connsiteX432" fmla="*/ 353377 w 1489990"/>
                  <a:gd name="connsiteY432" fmla="*/ 473350 h 1011585"/>
                  <a:gd name="connsiteX433" fmla="*/ 353377 w 1489990"/>
                  <a:gd name="connsiteY433" fmla="*/ 471582 h 1011585"/>
                  <a:gd name="connsiteX434" fmla="*/ 354911 w 1489990"/>
                  <a:gd name="connsiteY434" fmla="*/ 471582 h 1011585"/>
                  <a:gd name="connsiteX435" fmla="*/ 354911 w 1489990"/>
                  <a:gd name="connsiteY435" fmla="*/ 468901 h 1011585"/>
                  <a:gd name="connsiteX436" fmla="*/ 356446 w 1489990"/>
                  <a:gd name="connsiteY436" fmla="*/ 468901 h 1011585"/>
                  <a:gd name="connsiteX437" fmla="*/ 356446 w 1489990"/>
                  <a:gd name="connsiteY437" fmla="*/ 465309 h 1011585"/>
                  <a:gd name="connsiteX438" fmla="*/ 357969 w 1489990"/>
                  <a:gd name="connsiteY438" fmla="*/ 465309 h 1011585"/>
                  <a:gd name="connsiteX439" fmla="*/ 357969 w 1489990"/>
                  <a:gd name="connsiteY439" fmla="*/ 464441 h 1011585"/>
                  <a:gd name="connsiteX440" fmla="*/ 359504 w 1489990"/>
                  <a:gd name="connsiteY440" fmla="*/ 464441 h 1011585"/>
                  <a:gd name="connsiteX441" fmla="*/ 359504 w 1489990"/>
                  <a:gd name="connsiteY441" fmla="*/ 462628 h 1011585"/>
                  <a:gd name="connsiteX442" fmla="*/ 361038 w 1489990"/>
                  <a:gd name="connsiteY442" fmla="*/ 462628 h 1011585"/>
                  <a:gd name="connsiteX443" fmla="*/ 361038 w 1489990"/>
                  <a:gd name="connsiteY443" fmla="*/ 461716 h 1011585"/>
                  <a:gd name="connsiteX444" fmla="*/ 362573 w 1489990"/>
                  <a:gd name="connsiteY444" fmla="*/ 461716 h 1011585"/>
                  <a:gd name="connsiteX445" fmla="*/ 362573 w 1489990"/>
                  <a:gd name="connsiteY445" fmla="*/ 460815 h 1011585"/>
                  <a:gd name="connsiteX446" fmla="*/ 364108 w 1489990"/>
                  <a:gd name="connsiteY446" fmla="*/ 460815 h 1011585"/>
                  <a:gd name="connsiteX447" fmla="*/ 364108 w 1489990"/>
                  <a:gd name="connsiteY447" fmla="*/ 458091 h 1011585"/>
                  <a:gd name="connsiteX448" fmla="*/ 365631 w 1489990"/>
                  <a:gd name="connsiteY448" fmla="*/ 458091 h 1011585"/>
                  <a:gd name="connsiteX449" fmla="*/ 365631 w 1489990"/>
                  <a:gd name="connsiteY449" fmla="*/ 457190 h 1011585"/>
                  <a:gd name="connsiteX450" fmla="*/ 367177 w 1489990"/>
                  <a:gd name="connsiteY450" fmla="*/ 457190 h 1011585"/>
                  <a:gd name="connsiteX451" fmla="*/ 367177 w 1489990"/>
                  <a:gd name="connsiteY451" fmla="*/ 455377 h 1011585"/>
                  <a:gd name="connsiteX452" fmla="*/ 368667 w 1489990"/>
                  <a:gd name="connsiteY452" fmla="*/ 455377 h 1011585"/>
                  <a:gd name="connsiteX453" fmla="*/ 370201 w 1489990"/>
                  <a:gd name="connsiteY453" fmla="*/ 455377 h 1011585"/>
                  <a:gd name="connsiteX454" fmla="*/ 371736 w 1489990"/>
                  <a:gd name="connsiteY454" fmla="*/ 455377 h 1011585"/>
                  <a:gd name="connsiteX455" fmla="*/ 373259 w 1489990"/>
                  <a:gd name="connsiteY455" fmla="*/ 455377 h 1011585"/>
                  <a:gd name="connsiteX456" fmla="*/ 373259 w 1489990"/>
                  <a:gd name="connsiteY456" fmla="*/ 454431 h 1011585"/>
                  <a:gd name="connsiteX457" fmla="*/ 374805 w 1489990"/>
                  <a:gd name="connsiteY457" fmla="*/ 454431 h 1011585"/>
                  <a:gd name="connsiteX458" fmla="*/ 376329 w 1489990"/>
                  <a:gd name="connsiteY458" fmla="*/ 454431 h 1011585"/>
                  <a:gd name="connsiteX459" fmla="*/ 376329 w 1489990"/>
                  <a:gd name="connsiteY459" fmla="*/ 451684 h 1011585"/>
                  <a:gd name="connsiteX460" fmla="*/ 377863 w 1489990"/>
                  <a:gd name="connsiteY460" fmla="*/ 451684 h 1011585"/>
                  <a:gd name="connsiteX461" fmla="*/ 377863 w 1489990"/>
                  <a:gd name="connsiteY461" fmla="*/ 449838 h 1011585"/>
                  <a:gd name="connsiteX462" fmla="*/ 382467 w 1489990"/>
                  <a:gd name="connsiteY462" fmla="*/ 449838 h 1011585"/>
                  <a:gd name="connsiteX463" fmla="*/ 382467 w 1489990"/>
                  <a:gd name="connsiteY463" fmla="*/ 447959 h 1011585"/>
                  <a:gd name="connsiteX464" fmla="*/ 383990 w 1489990"/>
                  <a:gd name="connsiteY464" fmla="*/ 447959 h 1011585"/>
                  <a:gd name="connsiteX465" fmla="*/ 385492 w 1489990"/>
                  <a:gd name="connsiteY465" fmla="*/ 447959 h 1011585"/>
                  <a:gd name="connsiteX466" fmla="*/ 385492 w 1489990"/>
                  <a:gd name="connsiteY466" fmla="*/ 447047 h 1011585"/>
                  <a:gd name="connsiteX467" fmla="*/ 387026 w 1489990"/>
                  <a:gd name="connsiteY467" fmla="*/ 447047 h 1011585"/>
                  <a:gd name="connsiteX468" fmla="*/ 387026 w 1489990"/>
                  <a:gd name="connsiteY468" fmla="*/ 446112 h 1011585"/>
                  <a:gd name="connsiteX469" fmla="*/ 388561 w 1489990"/>
                  <a:gd name="connsiteY469" fmla="*/ 446112 h 1011585"/>
                  <a:gd name="connsiteX470" fmla="*/ 390095 w 1489990"/>
                  <a:gd name="connsiteY470" fmla="*/ 446112 h 1011585"/>
                  <a:gd name="connsiteX471" fmla="*/ 390095 w 1489990"/>
                  <a:gd name="connsiteY471" fmla="*/ 445167 h 1011585"/>
                  <a:gd name="connsiteX472" fmla="*/ 391619 w 1489990"/>
                  <a:gd name="connsiteY472" fmla="*/ 445167 h 1011585"/>
                  <a:gd name="connsiteX473" fmla="*/ 391619 w 1489990"/>
                  <a:gd name="connsiteY473" fmla="*/ 443287 h 1011585"/>
                  <a:gd name="connsiteX474" fmla="*/ 393153 w 1489990"/>
                  <a:gd name="connsiteY474" fmla="*/ 443287 h 1011585"/>
                  <a:gd name="connsiteX475" fmla="*/ 393153 w 1489990"/>
                  <a:gd name="connsiteY475" fmla="*/ 441374 h 1011585"/>
                  <a:gd name="connsiteX476" fmla="*/ 394688 w 1489990"/>
                  <a:gd name="connsiteY476" fmla="*/ 441374 h 1011585"/>
                  <a:gd name="connsiteX477" fmla="*/ 394688 w 1489990"/>
                  <a:gd name="connsiteY477" fmla="*/ 440429 h 1011585"/>
                  <a:gd name="connsiteX478" fmla="*/ 396223 w 1489990"/>
                  <a:gd name="connsiteY478" fmla="*/ 440429 h 1011585"/>
                  <a:gd name="connsiteX479" fmla="*/ 396223 w 1489990"/>
                  <a:gd name="connsiteY479" fmla="*/ 437615 h 1011585"/>
                  <a:gd name="connsiteX480" fmla="*/ 397757 w 1489990"/>
                  <a:gd name="connsiteY480" fmla="*/ 437615 h 1011585"/>
                  <a:gd name="connsiteX481" fmla="*/ 397757 w 1489990"/>
                  <a:gd name="connsiteY481" fmla="*/ 434757 h 1011585"/>
                  <a:gd name="connsiteX482" fmla="*/ 399292 w 1489990"/>
                  <a:gd name="connsiteY482" fmla="*/ 434757 h 1011585"/>
                  <a:gd name="connsiteX483" fmla="*/ 400815 w 1489990"/>
                  <a:gd name="connsiteY483" fmla="*/ 434757 h 1011585"/>
                  <a:gd name="connsiteX484" fmla="*/ 400815 w 1489990"/>
                  <a:gd name="connsiteY484" fmla="*/ 433811 h 1011585"/>
                  <a:gd name="connsiteX485" fmla="*/ 405386 w 1489990"/>
                  <a:gd name="connsiteY485" fmla="*/ 433811 h 1011585"/>
                  <a:gd name="connsiteX486" fmla="*/ 406920 w 1489990"/>
                  <a:gd name="connsiteY486" fmla="*/ 433811 h 1011585"/>
                  <a:gd name="connsiteX487" fmla="*/ 406920 w 1489990"/>
                  <a:gd name="connsiteY487" fmla="*/ 432866 h 1011585"/>
                  <a:gd name="connsiteX488" fmla="*/ 408444 w 1489990"/>
                  <a:gd name="connsiteY488" fmla="*/ 432866 h 1011585"/>
                  <a:gd name="connsiteX489" fmla="*/ 408444 w 1489990"/>
                  <a:gd name="connsiteY489" fmla="*/ 431898 h 1011585"/>
                  <a:gd name="connsiteX490" fmla="*/ 409978 w 1489990"/>
                  <a:gd name="connsiteY490" fmla="*/ 431898 h 1011585"/>
                  <a:gd name="connsiteX491" fmla="*/ 409978 w 1489990"/>
                  <a:gd name="connsiteY491" fmla="*/ 429007 h 1011585"/>
                  <a:gd name="connsiteX492" fmla="*/ 411513 w 1489990"/>
                  <a:gd name="connsiteY492" fmla="*/ 429007 h 1011585"/>
                  <a:gd name="connsiteX493" fmla="*/ 414582 w 1489990"/>
                  <a:gd name="connsiteY493" fmla="*/ 429007 h 1011585"/>
                  <a:gd name="connsiteX494" fmla="*/ 414582 w 1489990"/>
                  <a:gd name="connsiteY494" fmla="*/ 428028 h 1011585"/>
                  <a:gd name="connsiteX495" fmla="*/ 416117 w 1489990"/>
                  <a:gd name="connsiteY495" fmla="*/ 428028 h 1011585"/>
                  <a:gd name="connsiteX496" fmla="*/ 417651 w 1489990"/>
                  <a:gd name="connsiteY496" fmla="*/ 428028 h 1011585"/>
                  <a:gd name="connsiteX497" fmla="*/ 417651 w 1489990"/>
                  <a:gd name="connsiteY497" fmla="*/ 426071 h 1011585"/>
                  <a:gd name="connsiteX498" fmla="*/ 419175 w 1489990"/>
                  <a:gd name="connsiteY498" fmla="*/ 426071 h 1011585"/>
                  <a:gd name="connsiteX499" fmla="*/ 419175 w 1489990"/>
                  <a:gd name="connsiteY499" fmla="*/ 423112 h 1011585"/>
                  <a:gd name="connsiteX500" fmla="*/ 420709 w 1489990"/>
                  <a:gd name="connsiteY500" fmla="*/ 423112 h 1011585"/>
                  <a:gd name="connsiteX501" fmla="*/ 422210 w 1489990"/>
                  <a:gd name="connsiteY501" fmla="*/ 423112 h 1011585"/>
                  <a:gd name="connsiteX502" fmla="*/ 422210 w 1489990"/>
                  <a:gd name="connsiteY502" fmla="*/ 422133 h 1011585"/>
                  <a:gd name="connsiteX503" fmla="*/ 423745 w 1489990"/>
                  <a:gd name="connsiteY503" fmla="*/ 422133 h 1011585"/>
                  <a:gd name="connsiteX504" fmla="*/ 423745 w 1489990"/>
                  <a:gd name="connsiteY504" fmla="*/ 420187 h 1011585"/>
                  <a:gd name="connsiteX505" fmla="*/ 425280 w 1489990"/>
                  <a:gd name="connsiteY505" fmla="*/ 420187 h 1011585"/>
                  <a:gd name="connsiteX506" fmla="*/ 425280 w 1489990"/>
                  <a:gd name="connsiteY506" fmla="*/ 419175 h 1011585"/>
                  <a:gd name="connsiteX507" fmla="*/ 426803 w 1489990"/>
                  <a:gd name="connsiteY507" fmla="*/ 419175 h 1011585"/>
                  <a:gd name="connsiteX508" fmla="*/ 428349 w 1489990"/>
                  <a:gd name="connsiteY508" fmla="*/ 419175 h 1011585"/>
                  <a:gd name="connsiteX509" fmla="*/ 428349 w 1489990"/>
                  <a:gd name="connsiteY509" fmla="*/ 418196 h 1011585"/>
                  <a:gd name="connsiteX510" fmla="*/ 429872 w 1489990"/>
                  <a:gd name="connsiteY510" fmla="*/ 418196 h 1011585"/>
                  <a:gd name="connsiteX511" fmla="*/ 429872 w 1489990"/>
                  <a:gd name="connsiteY511" fmla="*/ 416217 h 1011585"/>
                  <a:gd name="connsiteX512" fmla="*/ 431407 w 1489990"/>
                  <a:gd name="connsiteY512" fmla="*/ 416217 h 1011585"/>
                  <a:gd name="connsiteX513" fmla="*/ 431407 w 1489990"/>
                  <a:gd name="connsiteY513" fmla="*/ 415204 h 1011585"/>
                  <a:gd name="connsiteX514" fmla="*/ 432941 w 1489990"/>
                  <a:gd name="connsiteY514" fmla="*/ 415204 h 1011585"/>
                  <a:gd name="connsiteX515" fmla="*/ 432941 w 1489990"/>
                  <a:gd name="connsiteY515" fmla="*/ 412246 h 1011585"/>
                  <a:gd name="connsiteX516" fmla="*/ 434476 w 1489990"/>
                  <a:gd name="connsiteY516" fmla="*/ 412246 h 1011585"/>
                  <a:gd name="connsiteX517" fmla="*/ 434476 w 1489990"/>
                  <a:gd name="connsiteY517" fmla="*/ 411234 h 1011585"/>
                  <a:gd name="connsiteX518" fmla="*/ 435999 w 1489990"/>
                  <a:gd name="connsiteY518" fmla="*/ 411234 h 1011585"/>
                  <a:gd name="connsiteX519" fmla="*/ 437534 w 1489990"/>
                  <a:gd name="connsiteY519" fmla="*/ 411234 h 1011585"/>
                  <a:gd name="connsiteX520" fmla="*/ 437534 w 1489990"/>
                  <a:gd name="connsiteY520" fmla="*/ 409243 h 1011585"/>
                  <a:gd name="connsiteX521" fmla="*/ 439035 w 1489990"/>
                  <a:gd name="connsiteY521" fmla="*/ 409243 h 1011585"/>
                  <a:gd name="connsiteX522" fmla="*/ 440570 w 1489990"/>
                  <a:gd name="connsiteY522" fmla="*/ 409243 h 1011585"/>
                  <a:gd name="connsiteX523" fmla="*/ 440570 w 1489990"/>
                  <a:gd name="connsiteY523" fmla="*/ 408231 h 1011585"/>
                  <a:gd name="connsiteX524" fmla="*/ 442104 w 1489990"/>
                  <a:gd name="connsiteY524" fmla="*/ 408231 h 1011585"/>
                  <a:gd name="connsiteX525" fmla="*/ 442104 w 1489990"/>
                  <a:gd name="connsiteY525" fmla="*/ 406218 h 1011585"/>
                  <a:gd name="connsiteX526" fmla="*/ 443639 w 1489990"/>
                  <a:gd name="connsiteY526" fmla="*/ 406218 h 1011585"/>
                  <a:gd name="connsiteX527" fmla="*/ 443639 w 1489990"/>
                  <a:gd name="connsiteY527" fmla="*/ 405206 h 1011585"/>
                  <a:gd name="connsiteX528" fmla="*/ 445162 w 1489990"/>
                  <a:gd name="connsiteY528" fmla="*/ 405206 h 1011585"/>
                  <a:gd name="connsiteX529" fmla="*/ 445162 w 1489990"/>
                  <a:gd name="connsiteY529" fmla="*/ 401169 h 1011585"/>
                  <a:gd name="connsiteX530" fmla="*/ 446697 w 1489990"/>
                  <a:gd name="connsiteY530" fmla="*/ 401169 h 1011585"/>
                  <a:gd name="connsiteX531" fmla="*/ 448232 w 1489990"/>
                  <a:gd name="connsiteY531" fmla="*/ 401169 h 1011585"/>
                  <a:gd name="connsiteX532" fmla="*/ 448232 w 1489990"/>
                  <a:gd name="connsiteY532" fmla="*/ 400156 h 1011585"/>
                  <a:gd name="connsiteX533" fmla="*/ 449766 w 1489990"/>
                  <a:gd name="connsiteY533" fmla="*/ 400156 h 1011585"/>
                  <a:gd name="connsiteX534" fmla="*/ 449766 w 1489990"/>
                  <a:gd name="connsiteY534" fmla="*/ 398099 h 1011585"/>
                  <a:gd name="connsiteX535" fmla="*/ 451290 w 1489990"/>
                  <a:gd name="connsiteY535" fmla="*/ 398099 h 1011585"/>
                  <a:gd name="connsiteX536" fmla="*/ 451290 w 1489990"/>
                  <a:gd name="connsiteY536" fmla="*/ 395029 h 1011585"/>
                  <a:gd name="connsiteX537" fmla="*/ 452835 w 1489990"/>
                  <a:gd name="connsiteY537" fmla="*/ 395029 h 1011585"/>
                  <a:gd name="connsiteX538" fmla="*/ 454359 w 1489990"/>
                  <a:gd name="connsiteY538" fmla="*/ 395029 h 1011585"/>
                  <a:gd name="connsiteX539" fmla="*/ 454359 w 1489990"/>
                  <a:gd name="connsiteY539" fmla="*/ 392972 h 1011585"/>
                  <a:gd name="connsiteX540" fmla="*/ 455893 w 1489990"/>
                  <a:gd name="connsiteY540" fmla="*/ 392972 h 1011585"/>
                  <a:gd name="connsiteX541" fmla="*/ 455893 w 1489990"/>
                  <a:gd name="connsiteY541" fmla="*/ 391971 h 1011585"/>
                  <a:gd name="connsiteX542" fmla="*/ 457395 w 1489990"/>
                  <a:gd name="connsiteY542" fmla="*/ 391971 h 1011585"/>
                  <a:gd name="connsiteX543" fmla="*/ 457395 w 1489990"/>
                  <a:gd name="connsiteY543" fmla="*/ 390925 h 1011585"/>
                  <a:gd name="connsiteX544" fmla="*/ 458929 w 1489990"/>
                  <a:gd name="connsiteY544" fmla="*/ 390925 h 1011585"/>
                  <a:gd name="connsiteX545" fmla="*/ 458929 w 1489990"/>
                  <a:gd name="connsiteY545" fmla="*/ 389913 h 1011585"/>
                  <a:gd name="connsiteX546" fmla="*/ 460464 w 1489990"/>
                  <a:gd name="connsiteY546" fmla="*/ 389913 h 1011585"/>
                  <a:gd name="connsiteX547" fmla="*/ 460464 w 1489990"/>
                  <a:gd name="connsiteY547" fmla="*/ 388868 h 1011585"/>
                  <a:gd name="connsiteX548" fmla="*/ 461987 w 1489990"/>
                  <a:gd name="connsiteY548" fmla="*/ 388868 h 1011585"/>
                  <a:gd name="connsiteX549" fmla="*/ 463522 w 1489990"/>
                  <a:gd name="connsiteY549" fmla="*/ 388868 h 1011585"/>
                  <a:gd name="connsiteX550" fmla="*/ 463522 w 1489990"/>
                  <a:gd name="connsiteY550" fmla="*/ 383707 h 1011585"/>
                  <a:gd name="connsiteX551" fmla="*/ 466591 w 1489990"/>
                  <a:gd name="connsiteY551" fmla="*/ 383707 h 1011585"/>
                  <a:gd name="connsiteX552" fmla="*/ 466591 w 1489990"/>
                  <a:gd name="connsiteY552" fmla="*/ 382662 h 1011585"/>
                  <a:gd name="connsiteX553" fmla="*/ 468125 w 1489990"/>
                  <a:gd name="connsiteY553" fmla="*/ 382662 h 1011585"/>
                  <a:gd name="connsiteX554" fmla="*/ 468125 w 1489990"/>
                  <a:gd name="connsiteY554" fmla="*/ 381616 h 1011585"/>
                  <a:gd name="connsiteX555" fmla="*/ 469660 w 1489990"/>
                  <a:gd name="connsiteY555" fmla="*/ 381616 h 1011585"/>
                  <a:gd name="connsiteX556" fmla="*/ 469660 w 1489990"/>
                  <a:gd name="connsiteY556" fmla="*/ 380571 h 1011585"/>
                  <a:gd name="connsiteX557" fmla="*/ 471195 w 1489990"/>
                  <a:gd name="connsiteY557" fmla="*/ 380571 h 1011585"/>
                  <a:gd name="connsiteX558" fmla="*/ 471195 w 1489990"/>
                  <a:gd name="connsiteY558" fmla="*/ 378480 h 1011585"/>
                  <a:gd name="connsiteX559" fmla="*/ 472718 w 1489990"/>
                  <a:gd name="connsiteY559" fmla="*/ 378480 h 1011585"/>
                  <a:gd name="connsiteX560" fmla="*/ 472718 w 1489990"/>
                  <a:gd name="connsiteY560" fmla="*/ 375343 h 1011585"/>
                  <a:gd name="connsiteX561" fmla="*/ 474219 w 1489990"/>
                  <a:gd name="connsiteY561" fmla="*/ 375343 h 1011585"/>
                  <a:gd name="connsiteX562" fmla="*/ 474219 w 1489990"/>
                  <a:gd name="connsiteY562" fmla="*/ 373252 h 1011585"/>
                  <a:gd name="connsiteX563" fmla="*/ 475754 w 1489990"/>
                  <a:gd name="connsiteY563" fmla="*/ 373252 h 1011585"/>
                  <a:gd name="connsiteX564" fmla="*/ 475754 w 1489990"/>
                  <a:gd name="connsiteY564" fmla="*/ 371162 h 1011585"/>
                  <a:gd name="connsiteX565" fmla="*/ 477289 w 1489990"/>
                  <a:gd name="connsiteY565" fmla="*/ 371162 h 1011585"/>
                  <a:gd name="connsiteX566" fmla="*/ 477289 w 1489990"/>
                  <a:gd name="connsiteY566" fmla="*/ 370116 h 1011585"/>
                  <a:gd name="connsiteX567" fmla="*/ 478823 w 1489990"/>
                  <a:gd name="connsiteY567" fmla="*/ 370116 h 1011585"/>
                  <a:gd name="connsiteX568" fmla="*/ 478823 w 1489990"/>
                  <a:gd name="connsiteY568" fmla="*/ 369071 h 1011585"/>
                  <a:gd name="connsiteX569" fmla="*/ 480347 w 1489990"/>
                  <a:gd name="connsiteY569" fmla="*/ 369071 h 1011585"/>
                  <a:gd name="connsiteX570" fmla="*/ 480347 w 1489990"/>
                  <a:gd name="connsiteY570" fmla="*/ 368036 h 1011585"/>
                  <a:gd name="connsiteX571" fmla="*/ 481881 w 1489990"/>
                  <a:gd name="connsiteY571" fmla="*/ 368036 h 1011585"/>
                  <a:gd name="connsiteX572" fmla="*/ 481881 w 1489990"/>
                  <a:gd name="connsiteY572" fmla="*/ 364867 h 1011585"/>
                  <a:gd name="connsiteX573" fmla="*/ 483416 w 1489990"/>
                  <a:gd name="connsiteY573" fmla="*/ 364867 h 1011585"/>
                  <a:gd name="connsiteX574" fmla="*/ 484950 w 1489990"/>
                  <a:gd name="connsiteY574" fmla="*/ 364867 h 1011585"/>
                  <a:gd name="connsiteX575" fmla="*/ 484950 w 1489990"/>
                  <a:gd name="connsiteY575" fmla="*/ 363810 h 1011585"/>
                  <a:gd name="connsiteX576" fmla="*/ 486485 w 1489990"/>
                  <a:gd name="connsiteY576" fmla="*/ 363810 h 1011585"/>
                  <a:gd name="connsiteX577" fmla="*/ 486485 w 1489990"/>
                  <a:gd name="connsiteY577" fmla="*/ 362731 h 1011585"/>
                  <a:gd name="connsiteX578" fmla="*/ 488019 w 1489990"/>
                  <a:gd name="connsiteY578" fmla="*/ 362731 h 1011585"/>
                  <a:gd name="connsiteX579" fmla="*/ 489543 w 1489990"/>
                  <a:gd name="connsiteY579" fmla="*/ 362731 h 1011585"/>
                  <a:gd name="connsiteX580" fmla="*/ 489543 w 1489990"/>
                  <a:gd name="connsiteY580" fmla="*/ 360607 h 1011585"/>
                  <a:gd name="connsiteX581" fmla="*/ 491078 w 1489990"/>
                  <a:gd name="connsiteY581" fmla="*/ 360607 h 1011585"/>
                  <a:gd name="connsiteX582" fmla="*/ 492579 w 1489990"/>
                  <a:gd name="connsiteY582" fmla="*/ 360607 h 1011585"/>
                  <a:gd name="connsiteX583" fmla="*/ 492579 w 1489990"/>
                  <a:gd name="connsiteY583" fmla="*/ 359561 h 1011585"/>
                  <a:gd name="connsiteX584" fmla="*/ 494113 w 1489990"/>
                  <a:gd name="connsiteY584" fmla="*/ 359561 h 1011585"/>
                  <a:gd name="connsiteX585" fmla="*/ 494113 w 1489990"/>
                  <a:gd name="connsiteY585" fmla="*/ 358482 h 1011585"/>
                  <a:gd name="connsiteX586" fmla="*/ 495648 w 1489990"/>
                  <a:gd name="connsiteY586" fmla="*/ 358482 h 1011585"/>
                  <a:gd name="connsiteX587" fmla="*/ 495648 w 1489990"/>
                  <a:gd name="connsiteY587" fmla="*/ 357404 h 1011585"/>
                  <a:gd name="connsiteX588" fmla="*/ 497171 w 1489990"/>
                  <a:gd name="connsiteY588" fmla="*/ 357404 h 1011585"/>
                  <a:gd name="connsiteX589" fmla="*/ 498706 w 1489990"/>
                  <a:gd name="connsiteY589" fmla="*/ 357404 h 1011585"/>
                  <a:gd name="connsiteX590" fmla="*/ 498706 w 1489990"/>
                  <a:gd name="connsiteY590" fmla="*/ 355246 h 1011585"/>
                  <a:gd name="connsiteX591" fmla="*/ 500241 w 1489990"/>
                  <a:gd name="connsiteY591" fmla="*/ 355246 h 1011585"/>
                  <a:gd name="connsiteX592" fmla="*/ 500241 w 1489990"/>
                  <a:gd name="connsiteY592" fmla="*/ 354167 h 1011585"/>
                  <a:gd name="connsiteX593" fmla="*/ 501775 w 1489990"/>
                  <a:gd name="connsiteY593" fmla="*/ 354167 h 1011585"/>
                  <a:gd name="connsiteX594" fmla="*/ 503310 w 1489990"/>
                  <a:gd name="connsiteY594" fmla="*/ 354167 h 1011585"/>
                  <a:gd name="connsiteX595" fmla="*/ 504833 w 1489990"/>
                  <a:gd name="connsiteY595" fmla="*/ 354167 h 1011585"/>
                  <a:gd name="connsiteX596" fmla="*/ 504833 w 1489990"/>
                  <a:gd name="connsiteY596" fmla="*/ 353077 h 1011585"/>
                  <a:gd name="connsiteX597" fmla="*/ 506379 w 1489990"/>
                  <a:gd name="connsiteY597" fmla="*/ 353077 h 1011585"/>
                  <a:gd name="connsiteX598" fmla="*/ 506379 w 1489990"/>
                  <a:gd name="connsiteY598" fmla="*/ 351998 h 1011585"/>
                  <a:gd name="connsiteX599" fmla="*/ 507902 w 1489990"/>
                  <a:gd name="connsiteY599" fmla="*/ 351998 h 1011585"/>
                  <a:gd name="connsiteX600" fmla="*/ 507902 w 1489990"/>
                  <a:gd name="connsiteY600" fmla="*/ 350920 h 1011585"/>
                  <a:gd name="connsiteX601" fmla="*/ 510938 w 1489990"/>
                  <a:gd name="connsiteY601" fmla="*/ 350920 h 1011585"/>
                  <a:gd name="connsiteX602" fmla="*/ 510938 w 1489990"/>
                  <a:gd name="connsiteY602" fmla="*/ 348729 h 1011585"/>
                  <a:gd name="connsiteX603" fmla="*/ 512462 w 1489990"/>
                  <a:gd name="connsiteY603" fmla="*/ 348729 h 1011585"/>
                  <a:gd name="connsiteX604" fmla="*/ 512462 w 1489990"/>
                  <a:gd name="connsiteY604" fmla="*/ 346538 h 1011585"/>
                  <a:gd name="connsiteX605" fmla="*/ 514007 w 1489990"/>
                  <a:gd name="connsiteY605" fmla="*/ 346538 h 1011585"/>
                  <a:gd name="connsiteX606" fmla="*/ 514007 w 1489990"/>
                  <a:gd name="connsiteY606" fmla="*/ 345448 h 1011585"/>
                  <a:gd name="connsiteX607" fmla="*/ 515531 w 1489990"/>
                  <a:gd name="connsiteY607" fmla="*/ 345448 h 1011585"/>
                  <a:gd name="connsiteX608" fmla="*/ 517065 w 1489990"/>
                  <a:gd name="connsiteY608" fmla="*/ 345448 h 1011585"/>
                  <a:gd name="connsiteX609" fmla="*/ 517065 w 1489990"/>
                  <a:gd name="connsiteY609" fmla="*/ 344335 h 1011585"/>
                  <a:gd name="connsiteX610" fmla="*/ 520134 w 1489990"/>
                  <a:gd name="connsiteY610" fmla="*/ 344335 h 1011585"/>
                  <a:gd name="connsiteX611" fmla="*/ 520134 w 1489990"/>
                  <a:gd name="connsiteY611" fmla="*/ 343223 h 1011585"/>
                  <a:gd name="connsiteX612" fmla="*/ 521669 w 1489990"/>
                  <a:gd name="connsiteY612" fmla="*/ 343223 h 1011585"/>
                  <a:gd name="connsiteX613" fmla="*/ 523193 w 1489990"/>
                  <a:gd name="connsiteY613" fmla="*/ 343223 h 1011585"/>
                  <a:gd name="connsiteX614" fmla="*/ 523193 w 1489990"/>
                  <a:gd name="connsiteY614" fmla="*/ 342111 h 1011585"/>
                  <a:gd name="connsiteX615" fmla="*/ 524738 w 1489990"/>
                  <a:gd name="connsiteY615" fmla="*/ 342111 h 1011585"/>
                  <a:gd name="connsiteX616" fmla="*/ 526262 w 1489990"/>
                  <a:gd name="connsiteY616" fmla="*/ 342111 h 1011585"/>
                  <a:gd name="connsiteX617" fmla="*/ 526262 w 1489990"/>
                  <a:gd name="connsiteY617" fmla="*/ 340999 h 1011585"/>
                  <a:gd name="connsiteX618" fmla="*/ 527763 w 1489990"/>
                  <a:gd name="connsiteY618" fmla="*/ 340999 h 1011585"/>
                  <a:gd name="connsiteX619" fmla="*/ 530832 w 1489990"/>
                  <a:gd name="connsiteY619" fmla="*/ 340999 h 1011585"/>
                  <a:gd name="connsiteX620" fmla="*/ 530832 w 1489990"/>
                  <a:gd name="connsiteY620" fmla="*/ 339875 h 1011585"/>
                  <a:gd name="connsiteX621" fmla="*/ 532367 w 1489990"/>
                  <a:gd name="connsiteY621" fmla="*/ 339875 h 1011585"/>
                  <a:gd name="connsiteX622" fmla="*/ 533890 w 1489990"/>
                  <a:gd name="connsiteY622" fmla="*/ 339875 h 1011585"/>
                  <a:gd name="connsiteX623" fmla="*/ 535425 w 1489990"/>
                  <a:gd name="connsiteY623" fmla="*/ 339875 h 1011585"/>
                  <a:gd name="connsiteX624" fmla="*/ 536959 w 1489990"/>
                  <a:gd name="connsiteY624" fmla="*/ 339875 h 1011585"/>
                  <a:gd name="connsiteX625" fmla="*/ 536959 w 1489990"/>
                  <a:gd name="connsiteY625" fmla="*/ 338730 h 1011585"/>
                  <a:gd name="connsiteX626" fmla="*/ 538494 w 1489990"/>
                  <a:gd name="connsiteY626" fmla="*/ 338730 h 1011585"/>
                  <a:gd name="connsiteX627" fmla="*/ 540028 w 1489990"/>
                  <a:gd name="connsiteY627" fmla="*/ 338730 h 1011585"/>
                  <a:gd name="connsiteX628" fmla="*/ 540028 w 1489990"/>
                  <a:gd name="connsiteY628" fmla="*/ 337573 h 1011585"/>
                  <a:gd name="connsiteX629" fmla="*/ 543087 w 1489990"/>
                  <a:gd name="connsiteY629" fmla="*/ 337573 h 1011585"/>
                  <a:gd name="connsiteX630" fmla="*/ 543087 w 1489990"/>
                  <a:gd name="connsiteY630" fmla="*/ 336428 h 1011585"/>
                  <a:gd name="connsiteX631" fmla="*/ 544621 w 1489990"/>
                  <a:gd name="connsiteY631" fmla="*/ 336428 h 1011585"/>
                  <a:gd name="connsiteX632" fmla="*/ 544621 w 1489990"/>
                  <a:gd name="connsiteY632" fmla="*/ 335315 h 1011585"/>
                  <a:gd name="connsiteX633" fmla="*/ 546122 w 1489990"/>
                  <a:gd name="connsiteY633" fmla="*/ 335315 h 1011585"/>
                  <a:gd name="connsiteX634" fmla="*/ 546122 w 1489990"/>
                  <a:gd name="connsiteY634" fmla="*/ 331834 h 1011585"/>
                  <a:gd name="connsiteX635" fmla="*/ 547657 w 1489990"/>
                  <a:gd name="connsiteY635" fmla="*/ 331834 h 1011585"/>
                  <a:gd name="connsiteX636" fmla="*/ 547657 w 1489990"/>
                  <a:gd name="connsiteY636" fmla="*/ 329532 h 1011585"/>
                  <a:gd name="connsiteX637" fmla="*/ 549191 w 1489990"/>
                  <a:gd name="connsiteY637" fmla="*/ 329532 h 1011585"/>
                  <a:gd name="connsiteX638" fmla="*/ 549191 w 1489990"/>
                  <a:gd name="connsiteY638" fmla="*/ 328375 h 1011585"/>
                  <a:gd name="connsiteX639" fmla="*/ 553784 w 1489990"/>
                  <a:gd name="connsiteY639" fmla="*/ 328375 h 1011585"/>
                  <a:gd name="connsiteX640" fmla="*/ 553784 w 1489990"/>
                  <a:gd name="connsiteY640" fmla="*/ 326051 h 1011585"/>
                  <a:gd name="connsiteX641" fmla="*/ 555319 w 1489990"/>
                  <a:gd name="connsiteY641" fmla="*/ 326051 h 1011585"/>
                  <a:gd name="connsiteX642" fmla="*/ 555319 w 1489990"/>
                  <a:gd name="connsiteY642" fmla="*/ 324861 h 1011585"/>
                  <a:gd name="connsiteX643" fmla="*/ 556853 w 1489990"/>
                  <a:gd name="connsiteY643" fmla="*/ 324861 h 1011585"/>
                  <a:gd name="connsiteX644" fmla="*/ 556853 w 1489990"/>
                  <a:gd name="connsiteY644" fmla="*/ 323715 h 1011585"/>
                  <a:gd name="connsiteX645" fmla="*/ 558377 w 1489990"/>
                  <a:gd name="connsiteY645" fmla="*/ 323715 h 1011585"/>
                  <a:gd name="connsiteX646" fmla="*/ 558377 w 1489990"/>
                  <a:gd name="connsiteY646" fmla="*/ 322525 h 1011585"/>
                  <a:gd name="connsiteX647" fmla="*/ 559922 w 1489990"/>
                  <a:gd name="connsiteY647" fmla="*/ 322525 h 1011585"/>
                  <a:gd name="connsiteX648" fmla="*/ 561446 w 1489990"/>
                  <a:gd name="connsiteY648" fmla="*/ 322525 h 1011585"/>
                  <a:gd name="connsiteX649" fmla="*/ 561446 w 1489990"/>
                  <a:gd name="connsiteY649" fmla="*/ 321346 h 1011585"/>
                  <a:gd name="connsiteX650" fmla="*/ 564482 w 1489990"/>
                  <a:gd name="connsiteY650" fmla="*/ 321346 h 1011585"/>
                  <a:gd name="connsiteX651" fmla="*/ 564482 w 1489990"/>
                  <a:gd name="connsiteY651" fmla="*/ 320156 h 1011585"/>
                  <a:gd name="connsiteX652" fmla="*/ 566005 w 1489990"/>
                  <a:gd name="connsiteY652" fmla="*/ 320156 h 1011585"/>
                  <a:gd name="connsiteX653" fmla="*/ 566005 w 1489990"/>
                  <a:gd name="connsiteY653" fmla="*/ 318977 h 1011585"/>
                  <a:gd name="connsiteX654" fmla="*/ 567551 w 1489990"/>
                  <a:gd name="connsiteY654" fmla="*/ 318977 h 1011585"/>
                  <a:gd name="connsiteX655" fmla="*/ 567551 w 1489990"/>
                  <a:gd name="connsiteY655" fmla="*/ 317787 h 1011585"/>
                  <a:gd name="connsiteX656" fmla="*/ 569074 w 1489990"/>
                  <a:gd name="connsiteY656" fmla="*/ 317787 h 1011585"/>
                  <a:gd name="connsiteX657" fmla="*/ 569074 w 1489990"/>
                  <a:gd name="connsiteY657" fmla="*/ 316608 h 1011585"/>
                  <a:gd name="connsiteX658" fmla="*/ 570609 w 1489990"/>
                  <a:gd name="connsiteY658" fmla="*/ 316608 h 1011585"/>
                  <a:gd name="connsiteX659" fmla="*/ 575213 w 1489990"/>
                  <a:gd name="connsiteY659" fmla="*/ 316608 h 1011585"/>
                  <a:gd name="connsiteX660" fmla="*/ 576736 w 1489990"/>
                  <a:gd name="connsiteY660" fmla="*/ 316608 h 1011585"/>
                  <a:gd name="connsiteX661" fmla="*/ 576736 w 1489990"/>
                  <a:gd name="connsiteY661" fmla="*/ 312983 h 1011585"/>
                  <a:gd name="connsiteX662" fmla="*/ 578271 w 1489990"/>
                  <a:gd name="connsiteY662" fmla="*/ 312983 h 1011585"/>
                  <a:gd name="connsiteX663" fmla="*/ 578271 w 1489990"/>
                  <a:gd name="connsiteY663" fmla="*/ 311759 h 1011585"/>
                  <a:gd name="connsiteX664" fmla="*/ 579805 w 1489990"/>
                  <a:gd name="connsiteY664" fmla="*/ 311759 h 1011585"/>
                  <a:gd name="connsiteX665" fmla="*/ 579805 w 1489990"/>
                  <a:gd name="connsiteY665" fmla="*/ 310547 h 1011585"/>
                  <a:gd name="connsiteX666" fmla="*/ 581307 w 1489990"/>
                  <a:gd name="connsiteY666" fmla="*/ 310547 h 1011585"/>
                  <a:gd name="connsiteX667" fmla="*/ 582841 w 1489990"/>
                  <a:gd name="connsiteY667" fmla="*/ 310547 h 1011585"/>
                  <a:gd name="connsiteX668" fmla="*/ 582841 w 1489990"/>
                  <a:gd name="connsiteY668" fmla="*/ 309324 h 1011585"/>
                  <a:gd name="connsiteX669" fmla="*/ 584365 w 1489990"/>
                  <a:gd name="connsiteY669" fmla="*/ 309324 h 1011585"/>
                  <a:gd name="connsiteX670" fmla="*/ 584365 w 1489990"/>
                  <a:gd name="connsiteY670" fmla="*/ 308111 h 1011585"/>
                  <a:gd name="connsiteX671" fmla="*/ 585899 w 1489990"/>
                  <a:gd name="connsiteY671" fmla="*/ 308111 h 1011585"/>
                  <a:gd name="connsiteX672" fmla="*/ 585899 w 1489990"/>
                  <a:gd name="connsiteY672" fmla="*/ 306888 h 1011585"/>
                  <a:gd name="connsiteX673" fmla="*/ 587434 w 1489990"/>
                  <a:gd name="connsiteY673" fmla="*/ 306888 h 1011585"/>
                  <a:gd name="connsiteX674" fmla="*/ 587434 w 1489990"/>
                  <a:gd name="connsiteY674" fmla="*/ 305664 h 1011585"/>
                  <a:gd name="connsiteX675" fmla="*/ 588968 w 1489990"/>
                  <a:gd name="connsiteY675" fmla="*/ 305664 h 1011585"/>
                  <a:gd name="connsiteX676" fmla="*/ 590503 w 1489990"/>
                  <a:gd name="connsiteY676" fmla="*/ 305664 h 1011585"/>
                  <a:gd name="connsiteX677" fmla="*/ 590503 w 1489990"/>
                  <a:gd name="connsiteY677" fmla="*/ 304408 h 1011585"/>
                  <a:gd name="connsiteX678" fmla="*/ 592037 w 1489990"/>
                  <a:gd name="connsiteY678" fmla="*/ 304408 h 1011585"/>
                  <a:gd name="connsiteX679" fmla="*/ 592037 w 1489990"/>
                  <a:gd name="connsiteY679" fmla="*/ 300682 h 1011585"/>
                  <a:gd name="connsiteX680" fmla="*/ 596630 w 1489990"/>
                  <a:gd name="connsiteY680" fmla="*/ 300682 h 1011585"/>
                  <a:gd name="connsiteX681" fmla="*/ 596630 w 1489990"/>
                  <a:gd name="connsiteY681" fmla="*/ 299425 h 1011585"/>
                  <a:gd name="connsiteX682" fmla="*/ 598131 w 1489990"/>
                  <a:gd name="connsiteY682" fmla="*/ 299425 h 1011585"/>
                  <a:gd name="connsiteX683" fmla="*/ 599666 w 1489990"/>
                  <a:gd name="connsiteY683" fmla="*/ 299425 h 1011585"/>
                  <a:gd name="connsiteX684" fmla="*/ 599666 w 1489990"/>
                  <a:gd name="connsiteY684" fmla="*/ 296923 h 1011585"/>
                  <a:gd name="connsiteX685" fmla="*/ 601189 w 1489990"/>
                  <a:gd name="connsiteY685" fmla="*/ 296923 h 1011585"/>
                  <a:gd name="connsiteX686" fmla="*/ 601189 w 1489990"/>
                  <a:gd name="connsiteY686" fmla="*/ 295666 h 1011585"/>
                  <a:gd name="connsiteX687" fmla="*/ 602735 w 1489990"/>
                  <a:gd name="connsiteY687" fmla="*/ 295666 h 1011585"/>
                  <a:gd name="connsiteX688" fmla="*/ 604258 w 1489990"/>
                  <a:gd name="connsiteY688" fmla="*/ 295666 h 1011585"/>
                  <a:gd name="connsiteX689" fmla="*/ 604258 w 1489990"/>
                  <a:gd name="connsiteY689" fmla="*/ 294376 h 1011585"/>
                  <a:gd name="connsiteX690" fmla="*/ 605793 w 1489990"/>
                  <a:gd name="connsiteY690" fmla="*/ 294376 h 1011585"/>
                  <a:gd name="connsiteX691" fmla="*/ 605793 w 1489990"/>
                  <a:gd name="connsiteY691" fmla="*/ 293119 h 1011585"/>
                  <a:gd name="connsiteX692" fmla="*/ 607328 w 1489990"/>
                  <a:gd name="connsiteY692" fmla="*/ 293119 h 1011585"/>
                  <a:gd name="connsiteX693" fmla="*/ 607328 w 1489990"/>
                  <a:gd name="connsiteY693" fmla="*/ 291829 h 1011585"/>
                  <a:gd name="connsiteX694" fmla="*/ 608862 w 1489990"/>
                  <a:gd name="connsiteY694" fmla="*/ 291829 h 1011585"/>
                  <a:gd name="connsiteX695" fmla="*/ 610397 w 1489990"/>
                  <a:gd name="connsiteY695" fmla="*/ 291829 h 1011585"/>
                  <a:gd name="connsiteX696" fmla="*/ 611920 w 1489990"/>
                  <a:gd name="connsiteY696" fmla="*/ 291829 h 1011585"/>
                  <a:gd name="connsiteX697" fmla="*/ 613466 w 1489990"/>
                  <a:gd name="connsiteY697" fmla="*/ 291829 h 1011585"/>
                  <a:gd name="connsiteX698" fmla="*/ 616491 w 1489990"/>
                  <a:gd name="connsiteY698" fmla="*/ 291829 h 1011585"/>
                  <a:gd name="connsiteX699" fmla="*/ 616491 w 1489990"/>
                  <a:gd name="connsiteY699" fmla="*/ 290539 h 1011585"/>
                  <a:gd name="connsiteX700" fmla="*/ 618025 w 1489990"/>
                  <a:gd name="connsiteY700" fmla="*/ 290539 h 1011585"/>
                  <a:gd name="connsiteX701" fmla="*/ 619549 w 1489990"/>
                  <a:gd name="connsiteY701" fmla="*/ 290539 h 1011585"/>
                  <a:gd name="connsiteX702" fmla="*/ 619549 w 1489990"/>
                  <a:gd name="connsiteY702" fmla="*/ 289260 h 1011585"/>
                  <a:gd name="connsiteX703" fmla="*/ 621094 w 1489990"/>
                  <a:gd name="connsiteY703" fmla="*/ 289260 h 1011585"/>
                  <a:gd name="connsiteX704" fmla="*/ 622618 w 1489990"/>
                  <a:gd name="connsiteY704" fmla="*/ 289260 h 1011585"/>
                  <a:gd name="connsiteX705" fmla="*/ 624152 w 1489990"/>
                  <a:gd name="connsiteY705" fmla="*/ 289260 h 1011585"/>
                  <a:gd name="connsiteX706" fmla="*/ 624152 w 1489990"/>
                  <a:gd name="connsiteY706" fmla="*/ 287936 h 1011585"/>
                  <a:gd name="connsiteX707" fmla="*/ 627222 w 1489990"/>
                  <a:gd name="connsiteY707" fmla="*/ 287936 h 1011585"/>
                  <a:gd name="connsiteX708" fmla="*/ 627222 w 1489990"/>
                  <a:gd name="connsiteY708" fmla="*/ 286601 h 1011585"/>
                  <a:gd name="connsiteX709" fmla="*/ 628756 w 1489990"/>
                  <a:gd name="connsiteY709" fmla="*/ 286601 h 1011585"/>
                  <a:gd name="connsiteX710" fmla="*/ 630280 w 1489990"/>
                  <a:gd name="connsiteY710" fmla="*/ 286601 h 1011585"/>
                  <a:gd name="connsiteX711" fmla="*/ 631814 w 1489990"/>
                  <a:gd name="connsiteY711" fmla="*/ 286601 h 1011585"/>
                  <a:gd name="connsiteX712" fmla="*/ 631814 w 1489990"/>
                  <a:gd name="connsiteY712" fmla="*/ 285278 h 1011585"/>
                  <a:gd name="connsiteX713" fmla="*/ 633316 w 1489990"/>
                  <a:gd name="connsiteY713" fmla="*/ 285278 h 1011585"/>
                  <a:gd name="connsiteX714" fmla="*/ 634850 w 1489990"/>
                  <a:gd name="connsiteY714" fmla="*/ 285278 h 1011585"/>
                  <a:gd name="connsiteX715" fmla="*/ 636385 w 1489990"/>
                  <a:gd name="connsiteY715" fmla="*/ 285278 h 1011585"/>
                  <a:gd name="connsiteX716" fmla="*/ 636385 w 1489990"/>
                  <a:gd name="connsiteY716" fmla="*/ 283921 h 1011585"/>
                  <a:gd name="connsiteX717" fmla="*/ 637908 w 1489990"/>
                  <a:gd name="connsiteY717" fmla="*/ 283921 h 1011585"/>
                  <a:gd name="connsiteX718" fmla="*/ 637908 w 1489990"/>
                  <a:gd name="connsiteY718" fmla="*/ 282597 h 1011585"/>
                  <a:gd name="connsiteX719" fmla="*/ 639443 w 1489990"/>
                  <a:gd name="connsiteY719" fmla="*/ 282597 h 1011585"/>
                  <a:gd name="connsiteX720" fmla="*/ 640977 w 1489990"/>
                  <a:gd name="connsiteY720" fmla="*/ 282597 h 1011585"/>
                  <a:gd name="connsiteX721" fmla="*/ 642512 w 1489990"/>
                  <a:gd name="connsiteY721" fmla="*/ 282597 h 1011585"/>
                  <a:gd name="connsiteX722" fmla="*/ 642512 w 1489990"/>
                  <a:gd name="connsiteY722" fmla="*/ 281241 h 1011585"/>
                  <a:gd name="connsiteX723" fmla="*/ 644046 w 1489990"/>
                  <a:gd name="connsiteY723" fmla="*/ 281241 h 1011585"/>
                  <a:gd name="connsiteX724" fmla="*/ 644046 w 1489990"/>
                  <a:gd name="connsiteY724" fmla="*/ 279884 h 1011585"/>
                  <a:gd name="connsiteX725" fmla="*/ 645581 w 1489990"/>
                  <a:gd name="connsiteY725" fmla="*/ 279884 h 1011585"/>
                  <a:gd name="connsiteX726" fmla="*/ 645581 w 1489990"/>
                  <a:gd name="connsiteY726" fmla="*/ 278527 h 1011585"/>
                  <a:gd name="connsiteX727" fmla="*/ 647105 w 1489990"/>
                  <a:gd name="connsiteY727" fmla="*/ 278527 h 1011585"/>
                  <a:gd name="connsiteX728" fmla="*/ 647105 w 1489990"/>
                  <a:gd name="connsiteY728" fmla="*/ 277125 h 1011585"/>
                  <a:gd name="connsiteX729" fmla="*/ 650174 w 1489990"/>
                  <a:gd name="connsiteY729" fmla="*/ 277125 h 1011585"/>
                  <a:gd name="connsiteX730" fmla="*/ 651675 w 1489990"/>
                  <a:gd name="connsiteY730" fmla="*/ 277125 h 1011585"/>
                  <a:gd name="connsiteX731" fmla="*/ 653210 w 1489990"/>
                  <a:gd name="connsiteY731" fmla="*/ 277125 h 1011585"/>
                  <a:gd name="connsiteX732" fmla="*/ 653210 w 1489990"/>
                  <a:gd name="connsiteY732" fmla="*/ 275769 h 1011585"/>
                  <a:gd name="connsiteX733" fmla="*/ 654733 w 1489990"/>
                  <a:gd name="connsiteY733" fmla="*/ 275769 h 1011585"/>
                  <a:gd name="connsiteX734" fmla="*/ 656267 w 1489990"/>
                  <a:gd name="connsiteY734" fmla="*/ 275769 h 1011585"/>
                  <a:gd name="connsiteX735" fmla="*/ 657802 w 1489990"/>
                  <a:gd name="connsiteY735" fmla="*/ 275769 h 1011585"/>
                  <a:gd name="connsiteX736" fmla="*/ 657802 w 1489990"/>
                  <a:gd name="connsiteY736" fmla="*/ 271620 h 1011585"/>
                  <a:gd name="connsiteX737" fmla="*/ 660871 w 1489990"/>
                  <a:gd name="connsiteY737" fmla="*/ 271620 h 1011585"/>
                  <a:gd name="connsiteX738" fmla="*/ 662406 w 1489990"/>
                  <a:gd name="connsiteY738" fmla="*/ 271620 h 1011585"/>
                  <a:gd name="connsiteX739" fmla="*/ 662406 w 1489990"/>
                  <a:gd name="connsiteY739" fmla="*/ 270230 h 1011585"/>
                  <a:gd name="connsiteX740" fmla="*/ 663940 w 1489990"/>
                  <a:gd name="connsiteY740" fmla="*/ 270230 h 1011585"/>
                  <a:gd name="connsiteX741" fmla="*/ 665464 w 1489990"/>
                  <a:gd name="connsiteY741" fmla="*/ 270230 h 1011585"/>
                  <a:gd name="connsiteX742" fmla="*/ 671569 w 1489990"/>
                  <a:gd name="connsiteY742" fmla="*/ 270230 h 1011585"/>
                  <a:gd name="connsiteX743" fmla="*/ 671569 w 1489990"/>
                  <a:gd name="connsiteY743" fmla="*/ 268840 h 1011585"/>
                  <a:gd name="connsiteX744" fmla="*/ 673092 w 1489990"/>
                  <a:gd name="connsiteY744" fmla="*/ 268840 h 1011585"/>
                  <a:gd name="connsiteX745" fmla="*/ 674627 w 1489990"/>
                  <a:gd name="connsiteY745" fmla="*/ 268840 h 1011585"/>
                  <a:gd name="connsiteX746" fmla="*/ 674627 w 1489990"/>
                  <a:gd name="connsiteY746" fmla="*/ 267405 h 1011585"/>
                  <a:gd name="connsiteX747" fmla="*/ 676161 w 1489990"/>
                  <a:gd name="connsiteY747" fmla="*/ 267405 h 1011585"/>
                  <a:gd name="connsiteX748" fmla="*/ 677696 w 1489990"/>
                  <a:gd name="connsiteY748" fmla="*/ 267405 h 1011585"/>
                  <a:gd name="connsiteX749" fmla="*/ 680765 w 1489990"/>
                  <a:gd name="connsiteY749" fmla="*/ 267405 h 1011585"/>
                  <a:gd name="connsiteX750" fmla="*/ 680765 w 1489990"/>
                  <a:gd name="connsiteY750" fmla="*/ 265981 h 1011585"/>
                  <a:gd name="connsiteX751" fmla="*/ 683823 w 1489990"/>
                  <a:gd name="connsiteY751" fmla="*/ 265981 h 1011585"/>
                  <a:gd name="connsiteX752" fmla="*/ 683823 w 1489990"/>
                  <a:gd name="connsiteY752" fmla="*/ 264558 h 1011585"/>
                  <a:gd name="connsiteX753" fmla="*/ 685358 w 1489990"/>
                  <a:gd name="connsiteY753" fmla="*/ 264558 h 1011585"/>
                  <a:gd name="connsiteX754" fmla="*/ 686859 w 1489990"/>
                  <a:gd name="connsiteY754" fmla="*/ 264558 h 1011585"/>
                  <a:gd name="connsiteX755" fmla="*/ 688394 w 1489990"/>
                  <a:gd name="connsiteY755" fmla="*/ 264558 h 1011585"/>
                  <a:gd name="connsiteX756" fmla="*/ 688394 w 1489990"/>
                  <a:gd name="connsiteY756" fmla="*/ 261655 h 1011585"/>
                  <a:gd name="connsiteX757" fmla="*/ 689917 w 1489990"/>
                  <a:gd name="connsiteY757" fmla="*/ 261655 h 1011585"/>
                  <a:gd name="connsiteX758" fmla="*/ 689917 w 1489990"/>
                  <a:gd name="connsiteY758" fmla="*/ 258763 h 1011585"/>
                  <a:gd name="connsiteX759" fmla="*/ 691452 w 1489990"/>
                  <a:gd name="connsiteY759" fmla="*/ 258763 h 1011585"/>
                  <a:gd name="connsiteX760" fmla="*/ 691452 w 1489990"/>
                  <a:gd name="connsiteY760" fmla="*/ 257340 h 1011585"/>
                  <a:gd name="connsiteX761" fmla="*/ 694521 w 1489990"/>
                  <a:gd name="connsiteY761" fmla="*/ 257340 h 1011585"/>
                  <a:gd name="connsiteX762" fmla="*/ 696055 w 1489990"/>
                  <a:gd name="connsiteY762" fmla="*/ 257340 h 1011585"/>
                  <a:gd name="connsiteX763" fmla="*/ 697579 w 1489990"/>
                  <a:gd name="connsiteY763" fmla="*/ 257340 h 1011585"/>
                  <a:gd name="connsiteX764" fmla="*/ 699125 w 1489990"/>
                  <a:gd name="connsiteY764" fmla="*/ 257340 h 1011585"/>
                  <a:gd name="connsiteX765" fmla="*/ 699125 w 1489990"/>
                  <a:gd name="connsiteY765" fmla="*/ 255871 h 1011585"/>
                  <a:gd name="connsiteX766" fmla="*/ 703717 w 1489990"/>
                  <a:gd name="connsiteY766" fmla="*/ 255871 h 1011585"/>
                  <a:gd name="connsiteX767" fmla="*/ 703717 w 1489990"/>
                  <a:gd name="connsiteY767" fmla="*/ 254414 h 1011585"/>
                  <a:gd name="connsiteX768" fmla="*/ 705219 w 1489990"/>
                  <a:gd name="connsiteY768" fmla="*/ 254414 h 1011585"/>
                  <a:gd name="connsiteX769" fmla="*/ 706753 w 1489990"/>
                  <a:gd name="connsiteY769" fmla="*/ 254414 h 1011585"/>
                  <a:gd name="connsiteX770" fmla="*/ 706753 w 1489990"/>
                  <a:gd name="connsiteY770" fmla="*/ 252946 h 1011585"/>
                  <a:gd name="connsiteX771" fmla="*/ 708277 w 1489990"/>
                  <a:gd name="connsiteY771" fmla="*/ 252946 h 1011585"/>
                  <a:gd name="connsiteX772" fmla="*/ 708277 w 1489990"/>
                  <a:gd name="connsiteY772" fmla="*/ 250021 h 1011585"/>
                  <a:gd name="connsiteX773" fmla="*/ 709811 w 1489990"/>
                  <a:gd name="connsiteY773" fmla="*/ 250021 h 1011585"/>
                  <a:gd name="connsiteX774" fmla="*/ 714415 w 1489990"/>
                  <a:gd name="connsiteY774" fmla="*/ 250021 h 1011585"/>
                  <a:gd name="connsiteX775" fmla="*/ 714415 w 1489990"/>
                  <a:gd name="connsiteY775" fmla="*/ 248564 h 1011585"/>
                  <a:gd name="connsiteX776" fmla="*/ 715949 w 1489990"/>
                  <a:gd name="connsiteY776" fmla="*/ 248564 h 1011585"/>
                  <a:gd name="connsiteX777" fmla="*/ 717484 w 1489990"/>
                  <a:gd name="connsiteY777" fmla="*/ 248564 h 1011585"/>
                  <a:gd name="connsiteX778" fmla="*/ 719007 w 1489990"/>
                  <a:gd name="connsiteY778" fmla="*/ 248564 h 1011585"/>
                  <a:gd name="connsiteX779" fmla="*/ 720542 w 1489990"/>
                  <a:gd name="connsiteY779" fmla="*/ 248564 h 1011585"/>
                  <a:gd name="connsiteX780" fmla="*/ 720542 w 1489990"/>
                  <a:gd name="connsiteY780" fmla="*/ 247063 h 1011585"/>
                  <a:gd name="connsiteX781" fmla="*/ 722043 w 1489990"/>
                  <a:gd name="connsiteY781" fmla="*/ 247063 h 1011585"/>
                  <a:gd name="connsiteX782" fmla="*/ 722043 w 1489990"/>
                  <a:gd name="connsiteY782" fmla="*/ 242570 h 1011585"/>
                  <a:gd name="connsiteX783" fmla="*/ 723578 w 1489990"/>
                  <a:gd name="connsiteY783" fmla="*/ 242570 h 1011585"/>
                  <a:gd name="connsiteX784" fmla="*/ 723578 w 1489990"/>
                  <a:gd name="connsiteY784" fmla="*/ 241035 h 1011585"/>
                  <a:gd name="connsiteX785" fmla="*/ 726636 w 1489990"/>
                  <a:gd name="connsiteY785" fmla="*/ 241035 h 1011585"/>
                  <a:gd name="connsiteX786" fmla="*/ 728170 w 1489990"/>
                  <a:gd name="connsiteY786" fmla="*/ 241035 h 1011585"/>
                  <a:gd name="connsiteX787" fmla="*/ 728170 w 1489990"/>
                  <a:gd name="connsiteY787" fmla="*/ 239533 h 1011585"/>
                  <a:gd name="connsiteX788" fmla="*/ 729705 w 1489990"/>
                  <a:gd name="connsiteY788" fmla="*/ 239533 h 1011585"/>
                  <a:gd name="connsiteX789" fmla="*/ 731240 w 1489990"/>
                  <a:gd name="connsiteY789" fmla="*/ 239533 h 1011585"/>
                  <a:gd name="connsiteX790" fmla="*/ 731240 w 1489990"/>
                  <a:gd name="connsiteY790" fmla="*/ 236475 h 1011585"/>
                  <a:gd name="connsiteX791" fmla="*/ 732774 w 1489990"/>
                  <a:gd name="connsiteY791" fmla="*/ 236475 h 1011585"/>
                  <a:gd name="connsiteX792" fmla="*/ 734309 w 1489990"/>
                  <a:gd name="connsiteY792" fmla="*/ 236475 h 1011585"/>
                  <a:gd name="connsiteX793" fmla="*/ 734309 w 1489990"/>
                  <a:gd name="connsiteY793" fmla="*/ 234940 h 1011585"/>
                  <a:gd name="connsiteX794" fmla="*/ 735832 w 1489990"/>
                  <a:gd name="connsiteY794" fmla="*/ 234940 h 1011585"/>
                  <a:gd name="connsiteX795" fmla="*/ 735832 w 1489990"/>
                  <a:gd name="connsiteY795" fmla="*/ 233405 h 1011585"/>
                  <a:gd name="connsiteX796" fmla="*/ 737367 w 1489990"/>
                  <a:gd name="connsiteY796" fmla="*/ 233405 h 1011585"/>
                  <a:gd name="connsiteX797" fmla="*/ 740403 w 1489990"/>
                  <a:gd name="connsiteY797" fmla="*/ 233405 h 1011585"/>
                  <a:gd name="connsiteX798" fmla="*/ 740403 w 1489990"/>
                  <a:gd name="connsiteY798" fmla="*/ 231870 h 1011585"/>
                  <a:gd name="connsiteX799" fmla="*/ 741937 w 1489990"/>
                  <a:gd name="connsiteY799" fmla="*/ 231870 h 1011585"/>
                  <a:gd name="connsiteX800" fmla="*/ 746530 w 1489990"/>
                  <a:gd name="connsiteY800" fmla="*/ 231870 h 1011585"/>
                  <a:gd name="connsiteX801" fmla="*/ 748064 w 1489990"/>
                  <a:gd name="connsiteY801" fmla="*/ 231870 h 1011585"/>
                  <a:gd name="connsiteX802" fmla="*/ 749599 w 1489990"/>
                  <a:gd name="connsiteY802" fmla="*/ 231870 h 1011585"/>
                  <a:gd name="connsiteX803" fmla="*/ 749599 w 1489990"/>
                  <a:gd name="connsiteY803" fmla="*/ 230302 h 1011585"/>
                  <a:gd name="connsiteX804" fmla="*/ 751122 w 1489990"/>
                  <a:gd name="connsiteY804" fmla="*/ 230302 h 1011585"/>
                  <a:gd name="connsiteX805" fmla="*/ 751122 w 1489990"/>
                  <a:gd name="connsiteY805" fmla="*/ 228701 h 1011585"/>
                  <a:gd name="connsiteX806" fmla="*/ 752668 w 1489990"/>
                  <a:gd name="connsiteY806" fmla="*/ 228701 h 1011585"/>
                  <a:gd name="connsiteX807" fmla="*/ 754192 w 1489990"/>
                  <a:gd name="connsiteY807" fmla="*/ 228701 h 1011585"/>
                  <a:gd name="connsiteX808" fmla="*/ 754192 w 1489990"/>
                  <a:gd name="connsiteY808" fmla="*/ 227132 h 1011585"/>
                  <a:gd name="connsiteX809" fmla="*/ 757228 w 1489990"/>
                  <a:gd name="connsiteY809" fmla="*/ 227132 h 1011585"/>
                  <a:gd name="connsiteX810" fmla="*/ 758751 w 1489990"/>
                  <a:gd name="connsiteY810" fmla="*/ 227132 h 1011585"/>
                  <a:gd name="connsiteX811" fmla="*/ 760297 w 1489990"/>
                  <a:gd name="connsiteY811" fmla="*/ 227132 h 1011585"/>
                  <a:gd name="connsiteX812" fmla="*/ 761820 w 1489990"/>
                  <a:gd name="connsiteY812" fmla="*/ 227132 h 1011585"/>
                  <a:gd name="connsiteX813" fmla="*/ 761820 w 1489990"/>
                  <a:gd name="connsiteY813" fmla="*/ 223929 h 1011585"/>
                  <a:gd name="connsiteX814" fmla="*/ 763355 w 1489990"/>
                  <a:gd name="connsiteY814" fmla="*/ 223929 h 1011585"/>
                  <a:gd name="connsiteX815" fmla="*/ 763355 w 1489990"/>
                  <a:gd name="connsiteY815" fmla="*/ 220726 h 1011585"/>
                  <a:gd name="connsiteX816" fmla="*/ 764889 w 1489990"/>
                  <a:gd name="connsiteY816" fmla="*/ 220726 h 1011585"/>
                  <a:gd name="connsiteX817" fmla="*/ 764889 w 1489990"/>
                  <a:gd name="connsiteY817" fmla="*/ 215877 h 1011585"/>
                  <a:gd name="connsiteX818" fmla="*/ 767958 w 1489990"/>
                  <a:gd name="connsiteY818" fmla="*/ 215877 h 1011585"/>
                  <a:gd name="connsiteX819" fmla="*/ 769493 w 1489990"/>
                  <a:gd name="connsiteY819" fmla="*/ 215877 h 1011585"/>
                  <a:gd name="connsiteX820" fmla="*/ 771016 w 1489990"/>
                  <a:gd name="connsiteY820" fmla="*/ 215877 h 1011585"/>
                  <a:gd name="connsiteX821" fmla="*/ 774086 w 1489990"/>
                  <a:gd name="connsiteY821" fmla="*/ 215877 h 1011585"/>
                  <a:gd name="connsiteX822" fmla="*/ 775587 w 1489990"/>
                  <a:gd name="connsiteY822" fmla="*/ 215877 h 1011585"/>
                  <a:gd name="connsiteX823" fmla="*/ 775587 w 1489990"/>
                  <a:gd name="connsiteY823" fmla="*/ 214242 h 1011585"/>
                  <a:gd name="connsiteX824" fmla="*/ 778645 w 1489990"/>
                  <a:gd name="connsiteY824" fmla="*/ 214242 h 1011585"/>
                  <a:gd name="connsiteX825" fmla="*/ 780180 w 1489990"/>
                  <a:gd name="connsiteY825" fmla="*/ 214242 h 1011585"/>
                  <a:gd name="connsiteX826" fmla="*/ 780180 w 1489990"/>
                  <a:gd name="connsiteY826" fmla="*/ 212607 h 1011585"/>
                  <a:gd name="connsiteX827" fmla="*/ 783249 w 1489990"/>
                  <a:gd name="connsiteY827" fmla="*/ 212607 h 1011585"/>
                  <a:gd name="connsiteX828" fmla="*/ 784783 w 1489990"/>
                  <a:gd name="connsiteY828" fmla="*/ 212607 h 1011585"/>
                  <a:gd name="connsiteX829" fmla="*/ 784783 w 1489990"/>
                  <a:gd name="connsiteY829" fmla="*/ 210972 h 1011585"/>
                  <a:gd name="connsiteX830" fmla="*/ 786307 w 1489990"/>
                  <a:gd name="connsiteY830" fmla="*/ 210972 h 1011585"/>
                  <a:gd name="connsiteX831" fmla="*/ 786307 w 1489990"/>
                  <a:gd name="connsiteY831" fmla="*/ 209293 h 1011585"/>
                  <a:gd name="connsiteX832" fmla="*/ 787852 w 1489990"/>
                  <a:gd name="connsiteY832" fmla="*/ 209293 h 1011585"/>
                  <a:gd name="connsiteX833" fmla="*/ 787852 w 1489990"/>
                  <a:gd name="connsiteY833" fmla="*/ 207658 h 1011585"/>
                  <a:gd name="connsiteX834" fmla="*/ 789376 w 1489990"/>
                  <a:gd name="connsiteY834" fmla="*/ 207658 h 1011585"/>
                  <a:gd name="connsiteX835" fmla="*/ 790910 w 1489990"/>
                  <a:gd name="connsiteY835" fmla="*/ 207658 h 1011585"/>
                  <a:gd name="connsiteX836" fmla="*/ 792445 w 1489990"/>
                  <a:gd name="connsiteY836" fmla="*/ 207658 h 1011585"/>
                  <a:gd name="connsiteX837" fmla="*/ 793935 w 1489990"/>
                  <a:gd name="connsiteY837" fmla="*/ 207658 h 1011585"/>
                  <a:gd name="connsiteX838" fmla="*/ 793935 w 1489990"/>
                  <a:gd name="connsiteY838" fmla="*/ 204310 h 1011585"/>
                  <a:gd name="connsiteX839" fmla="*/ 800074 w 1489990"/>
                  <a:gd name="connsiteY839" fmla="*/ 204310 h 1011585"/>
                  <a:gd name="connsiteX840" fmla="*/ 800074 w 1489990"/>
                  <a:gd name="connsiteY840" fmla="*/ 200962 h 1011585"/>
                  <a:gd name="connsiteX841" fmla="*/ 801608 w 1489990"/>
                  <a:gd name="connsiteY841" fmla="*/ 200962 h 1011585"/>
                  <a:gd name="connsiteX842" fmla="*/ 803143 w 1489990"/>
                  <a:gd name="connsiteY842" fmla="*/ 200962 h 1011585"/>
                  <a:gd name="connsiteX843" fmla="*/ 804666 w 1489990"/>
                  <a:gd name="connsiteY843" fmla="*/ 200962 h 1011585"/>
                  <a:gd name="connsiteX844" fmla="*/ 804666 w 1489990"/>
                  <a:gd name="connsiteY844" fmla="*/ 199294 h 1011585"/>
                  <a:gd name="connsiteX845" fmla="*/ 806212 w 1489990"/>
                  <a:gd name="connsiteY845" fmla="*/ 199294 h 1011585"/>
                  <a:gd name="connsiteX846" fmla="*/ 807735 w 1489990"/>
                  <a:gd name="connsiteY846" fmla="*/ 199294 h 1011585"/>
                  <a:gd name="connsiteX847" fmla="*/ 809270 w 1489990"/>
                  <a:gd name="connsiteY847" fmla="*/ 199294 h 1011585"/>
                  <a:gd name="connsiteX848" fmla="*/ 810771 w 1489990"/>
                  <a:gd name="connsiteY848" fmla="*/ 199294 h 1011585"/>
                  <a:gd name="connsiteX849" fmla="*/ 812295 w 1489990"/>
                  <a:gd name="connsiteY849" fmla="*/ 199294 h 1011585"/>
                  <a:gd name="connsiteX850" fmla="*/ 812295 w 1489990"/>
                  <a:gd name="connsiteY850" fmla="*/ 197592 h 1011585"/>
                  <a:gd name="connsiteX851" fmla="*/ 813840 w 1489990"/>
                  <a:gd name="connsiteY851" fmla="*/ 197592 h 1011585"/>
                  <a:gd name="connsiteX852" fmla="*/ 813840 w 1489990"/>
                  <a:gd name="connsiteY852" fmla="*/ 195880 h 1011585"/>
                  <a:gd name="connsiteX853" fmla="*/ 815364 w 1489990"/>
                  <a:gd name="connsiteY853" fmla="*/ 195880 h 1011585"/>
                  <a:gd name="connsiteX854" fmla="*/ 821502 w 1489990"/>
                  <a:gd name="connsiteY854" fmla="*/ 195880 h 1011585"/>
                  <a:gd name="connsiteX855" fmla="*/ 821502 w 1489990"/>
                  <a:gd name="connsiteY855" fmla="*/ 194167 h 1011585"/>
                  <a:gd name="connsiteX856" fmla="*/ 823025 w 1489990"/>
                  <a:gd name="connsiteY856" fmla="*/ 194167 h 1011585"/>
                  <a:gd name="connsiteX857" fmla="*/ 824560 w 1489990"/>
                  <a:gd name="connsiteY857" fmla="*/ 194167 h 1011585"/>
                  <a:gd name="connsiteX858" fmla="*/ 824560 w 1489990"/>
                  <a:gd name="connsiteY858" fmla="*/ 192432 h 1011585"/>
                  <a:gd name="connsiteX859" fmla="*/ 826095 w 1489990"/>
                  <a:gd name="connsiteY859" fmla="*/ 192432 h 1011585"/>
                  <a:gd name="connsiteX860" fmla="*/ 832189 w 1489990"/>
                  <a:gd name="connsiteY860" fmla="*/ 192432 h 1011585"/>
                  <a:gd name="connsiteX861" fmla="*/ 833723 w 1489990"/>
                  <a:gd name="connsiteY861" fmla="*/ 192432 h 1011585"/>
                  <a:gd name="connsiteX862" fmla="*/ 835258 w 1489990"/>
                  <a:gd name="connsiteY862" fmla="*/ 192432 h 1011585"/>
                  <a:gd name="connsiteX863" fmla="*/ 842919 w 1489990"/>
                  <a:gd name="connsiteY863" fmla="*/ 192432 h 1011585"/>
                  <a:gd name="connsiteX864" fmla="*/ 844454 w 1489990"/>
                  <a:gd name="connsiteY864" fmla="*/ 192432 h 1011585"/>
                  <a:gd name="connsiteX865" fmla="*/ 845955 w 1489990"/>
                  <a:gd name="connsiteY865" fmla="*/ 192432 h 1011585"/>
                  <a:gd name="connsiteX866" fmla="*/ 847479 w 1489990"/>
                  <a:gd name="connsiteY866" fmla="*/ 192432 h 1011585"/>
                  <a:gd name="connsiteX867" fmla="*/ 849024 w 1489990"/>
                  <a:gd name="connsiteY867" fmla="*/ 192432 h 1011585"/>
                  <a:gd name="connsiteX868" fmla="*/ 852083 w 1489990"/>
                  <a:gd name="connsiteY868" fmla="*/ 192432 h 1011585"/>
                  <a:gd name="connsiteX869" fmla="*/ 853617 w 1489990"/>
                  <a:gd name="connsiteY869" fmla="*/ 192432 h 1011585"/>
                  <a:gd name="connsiteX870" fmla="*/ 855152 w 1489990"/>
                  <a:gd name="connsiteY870" fmla="*/ 192432 h 1011585"/>
                  <a:gd name="connsiteX871" fmla="*/ 856686 w 1489990"/>
                  <a:gd name="connsiteY871" fmla="*/ 192432 h 1011585"/>
                  <a:gd name="connsiteX872" fmla="*/ 858210 w 1489990"/>
                  <a:gd name="connsiteY872" fmla="*/ 192432 h 1011585"/>
                  <a:gd name="connsiteX873" fmla="*/ 859744 w 1489990"/>
                  <a:gd name="connsiteY873" fmla="*/ 192432 h 1011585"/>
                  <a:gd name="connsiteX874" fmla="*/ 864315 w 1489990"/>
                  <a:gd name="connsiteY874" fmla="*/ 192432 h 1011585"/>
                  <a:gd name="connsiteX875" fmla="*/ 865838 w 1489990"/>
                  <a:gd name="connsiteY875" fmla="*/ 192432 h 1011585"/>
                  <a:gd name="connsiteX876" fmla="*/ 865838 w 1489990"/>
                  <a:gd name="connsiteY876" fmla="*/ 190619 h 1011585"/>
                  <a:gd name="connsiteX877" fmla="*/ 867373 w 1489990"/>
                  <a:gd name="connsiteY877" fmla="*/ 190619 h 1011585"/>
                  <a:gd name="connsiteX878" fmla="*/ 868907 w 1489990"/>
                  <a:gd name="connsiteY878" fmla="*/ 190619 h 1011585"/>
                  <a:gd name="connsiteX879" fmla="*/ 870442 w 1489990"/>
                  <a:gd name="connsiteY879" fmla="*/ 190619 h 1011585"/>
                  <a:gd name="connsiteX880" fmla="*/ 873511 w 1489990"/>
                  <a:gd name="connsiteY880" fmla="*/ 190619 h 1011585"/>
                  <a:gd name="connsiteX881" fmla="*/ 876569 w 1489990"/>
                  <a:gd name="connsiteY881" fmla="*/ 190619 h 1011585"/>
                  <a:gd name="connsiteX882" fmla="*/ 878104 w 1489990"/>
                  <a:gd name="connsiteY882" fmla="*/ 190619 h 1011585"/>
                  <a:gd name="connsiteX883" fmla="*/ 879638 w 1489990"/>
                  <a:gd name="connsiteY883" fmla="*/ 190619 h 1011585"/>
                  <a:gd name="connsiteX884" fmla="*/ 881139 w 1489990"/>
                  <a:gd name="connsiteY884" fmla="*/ 190619 h 1011585"/>
                  <a:gd name="connsiteX885" fmla="*/ 882663 w 1489990"/>
                  <a:gd name="connsiteY885" fmla="*/ 190619 h 1011585"/>
                  <a:gd name="connsiteX886" fmla="*/ 882663 w 1489990"/>
                  <a:gd name="connsiteY886" fmla="*/ 188706 h 1011585"/>
                  <a:gd name="connsiteX887" fmla="*/ 885732 w 1489990"/>
                  <a:gd name="connsiteY887" fmla="*/ 188706 h 1011585"/>
                  <a:gd name="connsiteX888" fmla="*/ 887267 w 1489990"/>
                  <a:gd name="connsiteY888" fmla="*/ 188706 h 1011585"/>
                  <a:gd name="connsiteX889" fmla="*/ 888801 w 1489990"/>
                  <a:gd name="connsiteY889" fmla="*/ 188706 h 1011585"/>
                  <a:gd name="connsiteX890" fmla="*/ 890336 w 1489990"/>
                  <a:gd name="connsiteY890" fmla="*/ 188706 h 1011585"/>
                  <a:gd name="connsiteX891" fmla="*/ 890336 w 1489990"/>
                  <a:gd name="connsiteY891" fmla="*/ 186782 h 1011585"/>
                  <a:gd name="connsiteX892" fmla="*/ 891870 w 1489990"/>
                  <a:gd name="connsiteY892" fmla="*/ 186782 h 1011585"/>
                  <a:gd name="connsiteX893" fmla="*/ 897998 w 1489990"/>
                  <a:gd name="connsiteY893" fmla="*/ 186782 h 1011585"/>
                  <a:gd name="connsiteX894" fmla="*/ 899499 w 1489990"/>
                  <a:gd name="connsiteY894" fmla="*/ 186782 h 1011585"/>
                  <a:gd name="connsiteX895" fmla="*/ 902557 w 1489990"/>
                  <a:gd name="connsiteY895" fmla="*/ 186782 h 1011585"/>
                  <a:gd name="connsiteX896" fmla="*/ 905626 w 1489990"/>
                  <a:gd name="connsiteY896" fmla="*/ 186782 h 1011585"/>
                  <a:gd name="connsiteX897" fmla="*/ 905626 w 1489990"/>
                  <a:gd name="connsiteY897" fmla="*/ 184836 h 1011585"/>
                  <a:gd name="connsiteX898" fmla="*/ 908695 w 1489990"/>
                  <a:gd name="connsiteY898" fmla="*/ 184836 h 1011585"/>
                  <a:gd name="connsiteX899" fmla="*/ 910230 w 1489990"/>
                  <a:gd name="connsiteY899" fmla="*/ 184836 h 1011585"/>
                  <a:gd name="connsiteX900" fmla="*/ 910230 w 1489990"/>
                  <a:gd name="connsiteY900" fmla="*/ 182845 h 1011585"/>
                  <a:gd name="connsiteX901" fmla="*/ 911753 w 1489990"/>
                  <a:gd name="connsiteY901" fmla="*/ 182845 h 1011585"/>
                  <a:gd name="connsiteX902" fmla="*/ 913288 w 1489990"/>
                  <a:gd name="connsiteY902" fmla="*/ 182845 h 1011585"/>
                  <a:gd name="connsiteX903" fmla="*/ 917858 w 1489990"/>
                  <a:gd name="connsiteY903" fmla="*/ 182845 h 1011585"/>
                  <a:gd name="connsiteX904" fmla="*/ 917858 w 1489990"/>
                  <a:gd name="connsiteY904" fmla="*/ 178874 h 1011585"/>
                  <a:gd name="connsiteX905" fmla="*/ 919382 w 1489990"/>
                  <a:gd name="connsiteY905" fmla="*/ 178874 h 1011585"/>
                  <a:gd name="connsiteX906" fmla="*/ 920916 w 1489990"/>
                  <a:gd name="connsiteY906" fmla="*/ 178874 h 1011585"/>
                  <a:gd name="connsiteX907" fmla="*/ 922451 w 1489990"/>
                  <a:gd name="connsiteY907" fmla="*/ 178874 h 1011585"/>
                  <a:gd name="connsiteX908" fmla="*/ 922451 w 1489990"/>
                  <a:gd name="connsiteY908" fmla="*/ 176895 h 1011585"/>
                  <a:gd name="connsiteX909" fmla="*/ 923985 w 1489990"/>
                  <a:gd name="connsiteY909" fmla="*/ 176895 h 1011585"/>
                  <a:gd name="connsiteX910" fmla="*/ 923985 w 1489990"/>
                  <a:gd name="connsiteY910" fmla="*/ 174837 h 1011585"/>
                  <a:gd name="connsiteX911" fmla="*/ 928578 w 1489990"/>
                  <a:gd name="connsiteY911" fmla="*/ 174837 h 1011585"/>
                  <a:gd name="connsiteX912" fmla="*/ 930113 w 1489990"/>
                  <a:gd name="connsiteY912" fmla="*/ 174837 h 1011585"/>
                  <a:gd name="connsiteX913" fmla="*/ 930113 w 1489990"/>
                  <a:gd name="connsiteY913" fmla="*/ 172813 h 1011585"/>
                  <a:gd name="connsiteX914" fmla="*/ 931647 w 1489990"/>
                  <a:gd name="connsiteY914" fmla="*/ 172813 h 1011585"/>
                  <a:gd name="connsiteX915" fmla="*/ 933182 w 1489990"/>
                  <a:gd name="connsiteY915" fmla="*/ 172813 h 1011585"/>
                  <a:gd name="connsiteX916" fmla="*/ 934683 w 1489990"/>
                  <a:gd name="connsiteY916" fmla="*/ 172813 h 1011585"/>
                  <a:gd name="connsiteX917" fmla="*/ 937741 w 1489990"/>
                  <a:gd name="connsiteY917" fmla="*/ 172813 h 1011585"/>
                  <a:gd name="connsiteX918" fmla="*/ 937741 w 1489990"/>
                  <a:gd name="connsiteY918" fmla="*/ 170722 h 1011585"/>
                  <a:gd name="connsiteX919" fmla="*/ 939276 w 1489990"/>
                  <a:gd name="connsiteY919" fmla="*/ 170722 h 1011585"/>
                  <a:gd name="connsiteX920" fmla="*/ 940810 w 1489990"/>
                  <a:gd name="connsiteY920" fmla="*/ 170722 h 1011585"/>
                  <a:gd name="connsiteX921" fmla="*/ 942345 w 1489990"/>
                  <a:gd name="connsiteY921" fmla="*/ 170722 h 1011585"/>
                  <a:gd name="connsiteX922" fmla="*/ 942345 w 1489990"/>
                  <a:gd name="connsiteY922" fmla="*/ 168664 h 1011585"/>
                  <a:gd name="connsiteX923" fmla="*/ 943879 w 1489990"/>
                  <a:gd name="connsiteY923" fmla="*/ 168664 h 1011585"/>
                  <a:gd name="connsiteX924" fmla="*/ 945414 w 1489990"/>
                  <a:gd name="connsiteY924" fmla="*/ 168664 h 1011585"/>
                  <a:gd name="connsiteX925" fmla="*/ 946937 w 1489990"/>
                  <a:gd name="connsiteY925" fmla="*/ 168664 h 1011585"/>
                  <a:gd name="connsiteX926" fmla="*/ 948472 w 1489990"/>
                  <a:gd name="connsiteY926" fmla="*/ 168664 h 1011585"/>
                  <a:gd name="connsiteX927" fmla="*/ 948472 w 1489990"/>
                  <a:gd name="connsiteY927" fmla="*/ 166551 h 1011585"/>
                  <a:gd name="connsiteX928" fmla="*/ 950007 w 1489990"/>
                  <a:gd name="connsiteY928" fmla="*/ 166551 h 1011585"/>
                  <a:gd name="connsiteX929" fmla="*/ 951541 w 1489990"/>
                  <a:gd name="connsiteY929" fmla="*/ 166551 h 1011585"/>
                  <a:gd name="connsiteX930" fmla="*/ 951541 w 1489990"/>
                  <a:gd name="connsiteY930" fmla="*/ 164416 h 1011585"/>
                  <a:gd name="connsiteX931" fmla="*/ 953042 w 1489990"/>
                  <a:gd name="connsiteY931" fmla="*/ 164416 h 1011585"/>
                  <a:gd name="connsiteX932" fmla="*/ 954566 w 1489990"/>
                  <a:gd name="connsiteY932" fmla="*/ 164416 h 1011585"/>
                  <a:gd name="connsiteX933" fmla="*/ 956100 w 1489990"/>
                  <a:gd name="connsiteY933" fmla="*/ 164416 h 1011585"/>
                  <a:gd name="connsiteX934" fmla="*/ 957635 w 1489990"/>
                  <a:gd name="connsiteY934" fmla="*/ 164416 h 1011585"/>
                  <a:gd name="connsiteX935" fmla="*/ 957635 w 1489990"/>
                  <a:gd name="connsiteY935" fmla="*/ 162258 h 1011585"/>
                  <a:gd name="connsiteX936" fmla="*/ 960704 w 1489990"/>
                  <a:gd name="connsiteY936" fmla="*/ 162258 h 1011585"/>
                  <a:gd name="connsiteX937" fmla="*/ 960704 w 1489990"/>
                  <a:gd name="connsiteY937" fmla="*/ 160100 h 1011585"/>
                  <a:gd name="connsiteX938" fmla="*/ 962239 w 1489990"/>
                  <a:gd name="connsiteY938" fmla="*/ 160100 h 1011585"/>
                  <a:gd name="connsiteX939" fmla="*/ 962239 w 1489990"/>
                  <a:gd name="connsiteY939" fmla="*/ 157898 h 1011585"/>
                  <a:gd name="connsiteX940" fmla="*/ 963762 w 1489990"/>
                  <a:gd name="connsiteY940" fmla="*/ 157898 h 1011585"/>
                  <a:gd name="connsiteX941" fmla="*/ 965297 w 1489990"/>
                  <a:gd name="connsiteY941" fmla="*/ 157898 h 1011585"/>
                  <a:gd name="connsiteX942" fmla="*/ 965297 w 1489990"/>
                  <a:gd name="connsiteY942" fmla="*/ 155741 h 1011585"/>
                  <a:gd name="connsiteX943" fmla="*/ 966831 w 1489990"/>
                  <a:gd name="connsiteY943" fmla="*/ 155741 h 1011585"/>
                  <a:gd name="connsiteX944" fmla="*/ 971391 w 1489990"/>
                  <a:gd name="connsiteY944" fmla="*/ 155741 h 1011585"/>
                  <a:gd name="connsiteX945" fmla="*/ 971391 w 1489990"/>
                  <a:gd name="connsiteY945" fmla="*/ 153516 h 1011585"/>
                  <a:gd name="connsiteX946" fmla="*/ 972925 w 1489990"/>
                  <a:gd name="connsiteY946" fmla="*/ 153516 h 1011585"/>
                  <a:gd name="connsiteX947" fmla="*/ 972925 w 1489990"/>
                  <a:gd name="connsiteY947" fmla="*/ 149090 h 1011585"/>
                  <a:gd name="connsiteX948" fmla="*/ 974460 w 1489990"/>
                  <a:gd name="connsiteY948" fmla="*/ 149090 h 1011585"/>
                  <a:gd name="connsiteX949" fmla="*/ 975994 w 1489990"/>
                  <a:gd name="connsiteY949" fmla="*/ 149090 h 1011585"/>
                  <a:gd name="connsiteX950" fmla="*/ 975994 w 1489990"/>
                  <a:gd name="connsiteY950" fmla="*/ 146821 h 1011585"/>
                  <a:gd name="connsiteX951" fmla="*/ 977529 w 1489990"/>
                  <a:gd name="connsiteY951" fmla="*/ 146821 h 1011585"/>
                  <a:gd name="connsiteX952" fmla="*/ 977529 w 1489990"/>
                  <a:gd name="connsiteY952" fmla="*/ 144552 h 1011585"/>
                  <a:gd name="connsiteX953" fmla="*/ 982122 w 1489990"/>
                  <a:gd name="connsiteY953" fmla="*/ 144552 h 1011585"/>
                  <a:gd name="connsiteX954" fmla="*/ 985191 w 1489990"/>
                  <a:gd name="connsiteY954" fmla="*/ 144552 h 1011585"/>
                  <a:gd name="connsiteX955" fmla="*/ 985191 w 1489990"/>
                  <a:gd name="connsiteY955" fmla="*/ 142261 h 1011585"/>
                  <a:gd name="connsiteX956" fmla="*/ 986725 w 1489990"/>
                  <a:gd name="connsiteY956" fmla="*/ 142261 h 1011585"/>
                  <a:gd name="connsiteX957" fmla="*/ 988227 w 1489990"/>
                  <a:gd name="connsiteY957" fmla="*/ 142261 h 1011585"/>
                  <a:gd name="connsiteX958" fmla="*/ 992819 w 1489990"/>
                  <a:gd name="connsiteY958" fmla="*/ 142261 h 1011585"/>
                  <a:gd name="connsiteX959" fmla="*/ 994354 w 1489990"/>
                  <a:gd name="connsiteY959" fmla="*/ 142261 h 1011585"/>
                  <a:gd name="connsiteX960" fmla="*/ 995888 w 1489990"/>
                  <a:gd name="connsiteY960" fmla="*/ 142261 h 1011585"/>
                  <a:gd name="connsiteX961" fmla="*/ 997412 w 1489990"/>
                  <a:gd name="connsiteY961" fmla="*/ 142261 h 1011585"/>
                  <a:gd name="connsiteX962" fmla="*/ 998958 w 1489990"/>
                  <a:gd name="connsiteY962" fmla="*/ 142261 h 1011585"/>
                  <a:gd name="connsiteX963" fmla="*/ 1002016 w 1489990"/>
                  <a:gd name="connsiteY963" fmla="*/ 142261 h 1011585"/>
                  <a:gd name="connsiteX964" fmla="*/ 1005040 w 1489990"/>
                  <a:gd name="connsiteY964" fmla="*/ 142261 h 1011585"/>
                  <a:gd name="connsiteX965" fmla="*/ 1006586 w 1489990"/>
                  <a:gd name="connsiteY965" fmla="*/ 142261 h 1011585"/>
                  <a:gd name="connsiteX966" fmla="*/ 1008109 w 1489990"/>
                  <a:gd name="connsiteY966" fmla="*/ 142261 h 1011585"/>
                  <a:gd name="connsiteX967" fmla="*/ 1014248 w 1489990"/>
                  <a:gd name="connsiteY967" fmla="*/ 142261 h 1011585"/>
                  <a:gd name="connsiteX968" fmla="*/ 1015782 w 1489990"/>
                  <a:gd name="connsiteY968" fmla="*/ 142261 h 1011585"/>
                  <a:gd name="connsiteX969" fmla="*/ 1017306 w 1489990"/>
                  <a:gd name="connsiteY969" fmla="*/ 142261 h 1011585"/>
                  <a:gd name="connsiteX970" fmla="*/ 1017306 w 1489990"/>
                  <a:gd name="connsiteY970" fmla="*/ 137345 h 1011585"/>
                  <a:gd name="connsiteX971" fmla="*/ 1018840 w 1489990"/>
                  <a:gd name="connsiteY971" fmla="*/ 137345 h 1011585"/>
                  <a:gd name="connsiteX972" fmla="*/ 1020375 w 1489990"/>
                  <a:gd name="connsiteY972" fmla="*/ 137345 h 1011585"/>
                  <a:gd name="connsiteX973" fmla="*/ 1020375 w 1489990"/>
                  <a:gd name="connsiteY973" fmla="*/ 134831 h 1011585"/>
                  <a:gd name="connsiteX974" fmla="*/ 1021910 w 1489990"/>
                  <a:gd name="connsiteY974" fmla="*/ 134831 h 1011585"/>
                  <a:gd name="connsiteX975" fmla="*/ 1024934 w 1489990"/>
                  <a:gd name="connsiteY975" fmla="*/ 134831 h 1011585"/>
                  <a:gd name="connsiteX976" fmla="*/ 1024934 w 1489990"/>
                  <a:gd name="connsiteY976" fmla="*/ 132362 h 1011585"/>
                  <a:gd name="connsiteX977" fmla="*/ 1026469 w 1489990"/>
                  <a:gd name="connsiteY977" fmla="*/ 132362 h 1011585"/>
                  <a:gd name="connsiteX978" fmla="*/ 1028003 w 1489990"/>
                  <a:gd name="connsiteY978" fmla="*/ 132362 h 1011585"/>
                  <a:gd name="connsiteX979" fmla="*/ 1029538 w 1489990"/>
                  <a:gd name="connsiteY979" fmla="*/ 132362 h 1011585"/>
                  <a:gd name="connsiteX980" fmla="*/ 1031073 w 1489990"/>
                  <a:gd name="connsiteY980" fmla="*/ 132362 h 1011585"/>
                  <a:gd name="connsiteX981" fmla="*/ 1035665 w 1489990"/>
                  <a:gd name="connsiteY981" fmla="*/ 132362 h 1011585"/>
                  <a:gd name="connsiteX982" fmla="*/ 1038734 w 1489990"/>
                  <a:gd name="connsiteY982" fmla="*/ 132362 h 1011585"/>
                  <a:gd name="connsiteX983" fmla="*/ 1040269 w 1489990"/>
                  <a:gd name="connsiteY983" fmla="*/ 132362 h 1011585"/>
                  <a:gd name="connsiteX984" fmla="*/ 1040269 w 1489990"/>
                  <a:gd name="connsiteY984" fmla="*/ 129749 h 1011585"/>
                  <a:gd name="connsiteX985" fmla="*/ 1041770 w 1489990"/>
                  <a:gd name="connsiteY985" fmla="*/ 129749 h 1011585"/>
                  <a:gd name="connsiteX986" fmla="*/ 1044828 w 1489990"/>
                  <a:gd name="connsiteY986" fmla="*/ 129749 h 1011585"/>
                  <a:gd name="connsiteX987" fmla="*/ 1044828 w 1489990"/>
                  <a:gd name="connsiteY987" fmla="*/ 127102 h 1011585"/>
                  <a:gd name="connsiteX988" fmla="*/ 1046363 w 1489990"/>
                  <a:gd name="connsiteY988" fmla="*/ 127102 h 1011585"/>
                  <a:gd name="connsiteX989" fmla="*/ 1049432 w 1489990"/>
                  <a:gd name="connsiteY989" fmla="*/ 127102 h 1011585"/>
                  <a:gd name="connsiteX990" fmla="*/ 1050956 w 1489990"/>
                  <a:gd name="connsiteY990" fmla="*/ 127102 h 1011585"/>
                  <a:gd name="connsiteX991" fmla="*/ 1050956 w 1489990"/>
                  <a:gd name="connsiteY991" fmla="*/ 121774 h 1011585"/>
                  <a:gd name="connsiteX992" fmla="*/ 1052490 w 1489990"/>
                  <a:gd name="connsiteY992" fmla="*/ 121774 h 1011585"/>
                  <a:gd name="connsiteX993" fmla="*/ 1052490 w 1489990"/>
                  <a:gd name="connsiteY993" fmla="*/ 116447 h 1011585"/>
                  <a:gd name="connsiteX994" fmla="*/ 1055559 w 1489990"/>
                  <a:gd name="connsiteY994" fmla="*/ 116447 h 1011585"/>
                  <a:gd name="connsiteX995" fmla="*/ 1058584 w 1489990"/>
                  <a:gd name="connsiteY995" fmla="*/ 116447 h 1011585"/>
                  <a:gd name="connsiteX996" fmla="*/ 1060118 w 1489990"/>
                  <a:gd name="connsiteY996" fmla="*/ 116447 h 1011585"/>
                  <a:gd name="connsiteX997" fmla="*/ 1060118 w 1489990"/>
                  <a:gd name="connsiteY997" fmla="*/ 113689 h 1011585"/>
                  <a:gd name="connsiteX998" fmla="*/ 1061653 w 1489990"/>
                  <a:gd name="connsiteY998" fmla="*/ 113689 h 1011585"/>
                  <a:gd name="connsiteX999" fmla="*/ 1061653 w 1489990"/>
                  <a:gd name="connsiteY999" fmla="*/ 110964 h 1011585"/>
                  <a:gd name="connsiteX1000" fmla="*/ 1063188 w 1489990"/>
                  <a:gd name="connsiteY1000" fmla="*/ 110964 h 1011585"/>
                  <a:gd name="connsiteX1001" fmla="*/ 1067780 w 1489990"/>
                  <a:gd name="connsiteY1001" fmla="*/ 110964 h 1011585"/>
                  <a:gd name="connsiteX1002" fmla="*/ 1069315 w 1489990"/>
                  <a:gd name="connsiteY1002" fmla="*/ 110964 h 1011585"/>
                  <a:gd name="connsiteX1003" fmla="*/ 1070849 w 1489990"/>
                  <a:gd name="connsiteY1003" fmla="*/ 110964 h 1011585"/>
                  <a:gd name="connsiteX1004" fmla="*/ 1072384 w 1489990"/>
                  <a:gd name="connsiteY1004" fmla="*/ 110964 h 1011585"/>
                  <a:gd name="connsiteX1005" fmla="*/ 1073919 w 1489990"/>
                  <a:gd name="connsiteY1005" fmla="*/ 110964 h 1011585"/>
                  <a:gd name="connsiteX1006" fmla="*/ 1075453 w 1489990"/>
                  <a:gd name="connsiteY1006" fmla="*/ 110964 h 1011585"/>
                  <a:gd name="connsiteX1007" fmla="*/ 1078478 w 1489990"/>
                  <a:gd name="connsiteY1007" fmla="*/ 110964 h 1011585"/>
                  <a:gd name="connsiteX1008" fmla="*/ 1080012 w 1489990"/>
                  <a:gd name="connsiteY1008" fmla="*/ 110964 h 1011585"/>
                  <a:gd name="connsiteX1009" fmla="*/ 1081547 w 1489990"/>
                  <a:gd name="connsiteY1009" fmla="*/ 110964 h 1011585"/>
                  <a:gd name="connsiteX1010" fmla="*/ 1081547 w 1489990"/>
                  <a:gd name="connsiteY1010" fmla="*/ 108050 h 1011585"/>
                  <a:gd name="connsiteX1011" fmla="*/ 1083082 w 1489990"/>
                  <a:gd name="connsiteY1011" fmla="*/ 108050 h 1011585"/>
                  <a:gd name="connsiteX1012" fmla="*/ 1084616 w 1489990"/>
                  <a:gd name="connsiteY1012" fmla="*/ 108050 h 1011585"/>
                  <a:gd name="connsiteX1013" fmla="*/ 1087685 w 1489990"/>
                  <a:gd name="connsiteY1013" fmla="*/ 108050 h 1011585"/>
                  <a:gd name="connsiteX1014" fmla="*/ 1087685 w 1489990"/>
                  <a:gd name="connsiteY1014" fmla="*/ 102122 h 1011585"/>
                  <a:gd name="connsiteX1015" fmla="*/ 1092278 w 1489990"/>
                  <a:gd name="connsiteY1015" fmla="*/ 102122 h 1011585"/>
                  <a:gd name="connsiteX1016" fmla="*/ 1093768 w 1489990"/>
                  <a:gd name="connsiteY1016" fmla="*/ 102122 h 1011585"/>
                  <a:gd name="connsiteX1017" fmla="*/ 1095314 w 1489990"/>
                  <a:gd name="connsiteY1017" fmla="*/ 102122 h 1011585"/>
                  <a:gd name="connsiteX1018" fmla="*/ 1095314 w 1489990"/>
                  <a:gd name="connsiteY1018" fmla="*/ 96127 h 1011585"/>
                  <a:gd name="connsiteX1019" fmla="*/ 1098372 w 1489990"/>
                  <a:gd name="connsiteY1019" fmla="*/ 96127 h 1011585"/>
                  <a:gd name="connsiteX1020" fmla="*/ 1098372 w 1489990"/>
                  <a:gd name="connsiteY1020" fmla="*/ 93135 h 1011585"/>
                  <a:gd name="connsiteX1021" fmla="*/ 1101441 w 1489990"/>
                  <a:gd name="connsiteY1021" fmla="*/ 93135 h 1011585"/>
                  <a:gd name="connsiteX1022" fmla="*/ 1102976 w 1489990"/>
                  <a:gd name="connsiteY1022" fmla="*/ 93135 h 1011585"/>
                  <a:gd name="connsiteX1023" fmla="*/ 1104499 w 1489990"/>
                  <a:gd name="connsiteY1023" fmla="*/ 93135 h 1011585"/>
                  <a:gd name="connsiteX1024" fmla="*/ 1106034 w 1489990"/>
                  <a:gd name="connsiteY1024" fmla="*/ 93135 h 1011585"/>
                  <a:gd name="connsiteX1025" fmla="*/ 1110626 w 1489990"/>
                  <a:gd name="connsiteY1025" fmla="*/ 93135 h 1011585"/>
                  <a:gd name="connsiteX1026" fmla="*/ 1110626 w 1489990"/>
                  <a:gd name="connsiteY1026" fmla="*/ 89999 h 1011585"/>
                  <a:gd name="connsiteX1027" fmla="*/ 1112127 w 1489990"/>
                  <a:gd name="connsiteY1027" fmla="*/ 89999 h 1011585"/>
                  <a:gd name="connsiteX1028" fmla="*/ 1112127 w 1489990"/>
                  <a:gd name="connsiteY1028" fmla="*/ 86829 h 1011585"/>
                  <a:gd name="connsiteX1029" fmla="*/ 1113662 w 1489990"/>
                  <a:gd name="connsiteY1029" fmla="*/ 86829 h 1011585"/>
                  <a:gd name="connsiteX1030" fmla="*/ 1113662 w 1489990"/>
                  <a:gd name="connsiteY1030" fmla="*/ 83659 h 1011585"/>
                  <a:gd name="connsiteX1031" fmla="*/ 1115197 w 1489990"/>
                  <a:gd name="connsiteY1031" fmla="*/ 83659 h 1011585"/>
                  <a:gd name="connsiteX1032" fmla="*/ 1115197 w 1489990"/>
                  <a:gd name="connsiteY1032" fmla="*/ 80445 h 1011585"/>
                  <a:gd name="connsiteX1033" fmla="*/ 1116731 w 1489990"/>
                  <a:gd name="connsiteY1033" fmla="*/ 80445 h 1011585"/>
                  <a:gd name="connsiteX1034" fmla="*/ 1119800 w 1489990"/>
                  <a:gd name="connsiteY1034" fmla="*/ 80445 h 1011585"/>
                  <a:gd name="connsiteX1035" fmla="*/ 1122858 w 1489990"/>
                  <a:gd name="connsiteY1035" fmla="*/ 80445 h 1011585"/>
                  <a:gd name="connsiteX1036" fmla="*/ 1124393 w 1489990"/>
                  <a:gd name="connsiteY1036" fmla="*/ 80445 h 1011585"/>
                  <a:gd name="connsiteX1037" fmla="*/ 1125928 w 1489990"/>
                  <a:gd name="connsiteY1037" fmla="*/ 80445 h 1011585"/>
                  <a:gd name="connsiteX1038" fmla="*/ 1127462 w 1489990"/>
                  <a:gd name="connsiteY1038" fmla="*/ 80445 h 1011585"/>
                  <a:gd name="connsiteX1039" fmla="*/ 1132021 w 1489990"/>
                  <a:gd name="connsiteY1039" fmla="*/ 80445 h 1011585"/>
                  <a:gd name="connsiteX1040" fmla="*/ 1133556 w 1489990"/>
                  <a:gd name="connsiteY1040" fmla="*/ 80445 h 1011585"/>
                  <a:gd name="connsiteX1041" fmla="*/ 1135091 w 1489990"/>
                  <a:gd name="connsiteY1041" fmla="*/ 80445 h 1011585"/>
                  <a:gd name="connsiteX1042" fmla="*/ 1136625 w 1489990"/>
                  <a:gd name="connsiteY1042" fmla="*/ 80445 h 1011585"/>
                  <a:gd name="connsiteX1043" fmla="*/ 1138160 w 1489990"/>
                  <a:gd name="connsiteY1043" fmla="*/ 80445 h 1011585"/>
                  <a:gd name="connsiteX1044" fmla="*/ 1142752 w 1489990"/>
                  <a:gd name="connsiteY1044" fmla="*/ 80445 h 1011585"/>
                  <a:gd name="connsiteX1045" fmla="*/ 1144287 w 1489990"/>
                  <a:gd name="connsiteY1045" fmla="*/ 80445 h 1011585"/>
                  <a:gd name="connsiteX1046" fmla="*/ 1145822 w 1489990"/>
                  <a:gd name="connsiteY1046" fmla="*/ 80445 h 1011585"/>
                  <a:gd name="connsiteX1047" fmla="*/ 1147312 w 1489990"/>
                  <a:gd name="connsiteY1047" fmla="*/ 80445 h 1011585"/>
                  <a:gd name="connsiteX1048" fmla="*/ 1148857 w 1489990"/>
                  <a:gd name="connsiteY1048" fmla="*/ 80445 h 1011585"/>
                  <a:gd name="connsiteX1049" fmla="*/ 1153450 w 1489990"/>
                  <a:gd name="connsiteY1049" fmla="*/ 80445 h 1011585"/>
                  <a:gd name="connsiteX1050" fmla="*/ 1154985 w 1489990"/>
                  <a:gd name="connsiteY1050" fmla="*/ 80445 h 1011585"/>
                  <a:gd name="connsiteX1051" fmla="*/ 1156508 w 1489990"/>
                  <a:gd name="connsiteY1051" fmla="*/ 80445 h 1011585"/>
                  <a:gd name="connsiteX1052" fmla="*/ 1158043 w 1489990"/>
                  <a:gd name="connsiteY1052" fmla="*/ 80445 h 1011585"/>
                  <a:gd name="connsiteX1053" fmla="*/ 1159577 w 1489990"/>
                  <a:gd name="connsiteY1053" fmla="*/ 80445 h 1011585"/>
                  <a:gd name="connsiteX1054" fmla="*/ 1159577 w 1489990"/>
                  <a:gd name="connsiteY1054" fmla="*/ 76552 h 1011585"/>
                  <a:gd name="connsiteX1055" fmla="*/ 1165671 w 1489990"/>
                  <a:gd name="connsiteY1055" fmla="*/ 76552 h 1011585"/>
                  <a:gd name="connsiteX1056" fmla="*/ 1167206 w 1489990"/>
                  <a:gd name="connsiteY1056" fmla="*/ 76552 h 1011585"/>
                  <a:gd name="connsiteX1057" fmla="*/ 1168740 w 1489990"/>
                  <a:gd name="connsiteY1057" fmla="*/ 76552 h 1011585"/>
                  <a:gd name="connsiteX1058" fmla="*/ 1170275 w 1489990"/>
                  <a:gd name="connsiteY1058" fmla="*/ 76552 h 1011585"/>
                  <a:gd name="connsiteX1059" fmla="*/ 1176402 w 1489990"/>
                  <a:gd name="connsiteY1059" fmla="*/ 76552 h 1011585"/>
                  <a:gd name="connsiteX1060" fmla="*/ 1177937 w 1489990"/>
                  <a:gd name="connsiteY1060" fmla="*/ 76552 h 1011585"/>
                  <a:gd name="connsiteX1061" fmla="*/ 1179471 w 1489990"/>
                  <a:gd name="connsiteY1061" fmla="*/ 76552 h 1011585"/>
                  <a:gd name="connsiteX1062" fmla="*/ 1181006 w 1489990"/>
                  <a:gd name="connsiteY1062" fmla="*/ 76552 h 1011585"/>
                  <a:gd name="connsiteX1063" fmla="*/ 1185565 w 1489990"/>
                  <a:gd name="connsiteY1063" fmla="*/ 76552 h 1011585"/>
                  <a:gd name="connsiteX1064" fmla="*/ 1185565 w 1489990"/>
                  <a:gd name="connsiteY1064" fmla="*/ 72293 h 1011585"/>
                  <a:gd name="connsiteX1065" fmla="*/ 1187100 w 1489990"/>
                  <a:gd name="connsiteY1065" fmla="*/ 72293 h 1011585"/>
                  <a:gd name="connsiteX1066" fmla="*/ 1188634 w 1489990"/>
                  <a:gd name="connsiteY1066" fmla="*/ 72293 h 1011585"/>
                  <a:gd name="connsiteX1067" fmla="*/ 1190169 w 1489990"/>
                  <a:gd name="connsiteY1067" fmla="*/ 72293 h 1011585"/>
                  <a:gd name="connsiteX1068" fmla="*/ 1191703 w 1489990"/>
                  <a:gd name="connsiteY1068" fmla="*/ 72293 h 1011585"/>
                  <a:gd name="connsiteX1069" fmla="*/ 1196296 w 1489990"/>
                  <a:gd name="connsiteY1069" fmla="*/ 72293 h 1011585"/>
                  <a:gd name="connsiteX1070" fmla="*/ 1196296 w 1489990"/>
                  <a:gd name="connsiteY1070" fmla="*/ 63339 h 1011585"/>
                  <a:gd name="connsiteX1071" fmla="*/ 1197831 w 1489990"/>
                  <a:gd name="connsiteY1071" fmla="*/ 63339 h 1011585"/>
                  <a:gd name="connsiteX1072" fmla="*/ 1199354 w 1489990"/>
                  <a:gd name="connsiteY1072" fmla="*/ 63339 h 1011585"/>
                  <a:gd name="connsiteX1073" fmla="*/ 1200855 w 1489990"/>
                  <a:gd name="connsiteY1073" fmla="*/ 63339 h 1011585"/>
                  <a:gd name="connsiteX1074" fmla="*/ 1200855 w 1489990"/>
                  <a:gd name="connsiteY1074" fmla="*/ 58746 h 1011585"/>
                  <a:gd name="connsiteX1075" fmla="*/ 1202390 w 1489990"/>
                  <a:gd name="connsiteY1075" fmla="*/ 58746 h 1011585"/>
                  <a:gd name="connsiteX1076" fmla="*/ 1205459 w 1489990"/>
                  <a:gd name="connsiteY1076" fmla="*/ 58746 h 1011585"/>
                  <a:gd name="connsiteX1077" fmla="*/ 1205459 w 1489990"/>
                  <a:gd name="connsiteY1077" fmla="*/ 54042 h 1011585"/>
                  <a:gd name="connsiteX1078" fmla="*/ 1208528 w 1489990"/>
                  <a:gd name="connsiteY1078" fmla="*/ 54042 h 1011585"/>
                  <a:gd name="connsiteX1079" fmla="*/ 1210052 w 1489990"/>
                  <a:gd name="connsiteY1079" fmla="*/ 54042 h 1011585"/>
                  <a:gd name="connsiteX1080" fmla="*/ 1211586 w 1489990"/>
                  <a:gd name="connsiteY1080" fmla="*/ 54042 h 1011585"/>
                  <a:gd name="connsiteX1081" fmla="*/ 1213121 w 1489990"/>
                  <a:gd name="connsiteY1081" fmla="*/ 54042 h 1011585"/>
                  <a:gd name="connsiteX1082" fmla="*/ 1213121 w 1489990"/>
                  <a:gd name="connsiteY1082" fmla="*/ 49159 h 1011585"/>
                  <a:gd name="connsiteX1083" fmla="*/ 1217680 w 1489990"/>
                  <a:gd name="connsiteY1083" fmla="*/ 49159 h 1011585"/>
                  <a:gd name="connsiteX1084" fmla="*/ 1219215 w 1489990"/>
                  <a:gd name="connsiteY1084" fmla="*/ 49159 h 1011585"/>
                  <a:gd name="connsiteX1085" fmla="*/ 1220749 w 1489990"/>
                  <a:gd name="connsiteY1085" fmla="*/ 49159 h 1011585"/>
                  <a:gd name="connsiteX1086" fmla="*/ 1222284 w 1489990"/>
                  <a:gd name="connsiteY1086" fmla="*/ 49159 h 1011585"/>
                  <a:gd name="connsiteX1087" fmla="*/ 1223818 w 1489990"/>
                  <a:gd name="connsiteY1087" fmla="*/ 49159 h 1011585"/>
                  <a:gd name="connsiteX1088" fmla="*/ 1228411 w 1489990"/>
                  <a:gd name="connsiteY1088" fmla="*/ 49159 h 1011585"/>
                  <a:gd name="connsiteX1089" fmla="*/ 1229946 w 1489990"/>
                  <a:gd name="connsiteY1089" fmla="*/ 49159 h 1011585"/>
                  <a:gd name="connsiteX1090" fmla="*/ 1229946 w 1489990"/>
                  <a:gd name="connsiteY1090" fmla="*/ 44043 h 1011585"/>
                  <a:gd name="connsiteX1091" fmla="*/ 1231480 w 1489990"/>
                  <a:gd name="connsiteY1091" fmla="*/ 44043 h 1011585"/>
                  <a:gd name="connsiteX1092" fmla="*/ 1233015 w 1489990"/>
                  <a:gd name="connsiteY1092" fmla="*/ 44043 h 1011585"/>
                  <a:gd name="connsiteX1093" fmla="*/ 1234549 w 1489990"/>
                  <a:gd name="connsiteY1093" fmla="*/ 44043 h 1011585"/>
                  <a:gd name="connsiteX1094" fmla="*/ 1239109 w 1489990"/>
                  <a:gd name="connsiteY1094" fmla="*/ 44043 h 1011585"/>
                  <a:gd name="connsiteX1095" fmla="*/ 1240643 w 1489990"/>
                  <a:gd name="connsiteY1095" fmla="*/ 44043 h 1011585"/>
                  <a:gd name="connsiteX1096" fmla="*/ 1242178 w 1489990"/>
                  <a:gd name="connsiteY1096" fmla="*/ 44043 h 1011585"/>
                  <a:gd name="connsiteX1097" fmla="*/ 1243701 w 1489990"/>
                  <a:gd name="connsiteY1097" fmla="*/ 44043 h 1011585"/>
                  <a:gd name="connsiteX1098" fmla="*/ 1245236 w 1489990"/>
                  <a:gd name="connsiteY1098" fmla="*/ 44043 h 1011585"/>
                  <a:gd name="connsiteX1099" fmla="*/ 1248305 w 1489990"/>
                  <a:gd name="connsiteY1099" fmla="*/ 44043 h 1011585"/>
                  <a:gd name="connsiteX1100" fmla="*/ 1248305 w 1489990"/>
                  <a:gd name="connsiteY1100" fmla="*/ 37770 h 1011585"/>
                  <a:gd name="connsiteX1101" fmla="*/ 1251374 w 1489990"/>
                  <a:gd name="connsiteY1101" fmla="*/ 37770 h 1011585"/>
                  <a:gd name="connsiteX1102" fmla="*/ 1252875 w 1489990"/>
                  <a:gd name="connsiteY1102" fmla="*/ 37770 h 1011585"/>
                  <a:gd name="connsiteX1103" fmla="*/ 1254399 w 1489990"/>
                  <a:gd name="connsiteY1103" fmla="*/ 37770 h 1011585"/>
                  <a:gd name="connsiteX1104" fmla="*/ 1255933 w 1489990"/>
                  <a:gd name="connsiteY1104" fmla="*/ 37770 h 1011585"/>
                  <a:gd name="connsiteX1105" fmla="*/ 1260526 w 1489990"/>
                  <a:gd name="connsiteY1105" fmla="*/ 37770 h 1011585"/>
                  <a:gd name="connsiteX1106" fmla="*/ 1262072 w 1489990"/>
                  <a:gd name="connsiteY1106" fmla="*/ 37770 h 1011585"/>
                  <a:gd name="connsiteX1107" fmla="*/ 1263595 w 1489990"/>
                  <a:gd name="connsiteY1107" fmla="*/ 37770 h 1011585"/>
                  <a:gd name="connsiteX1108" fmla="*/ 1265130 w 1489990"/>
                  <a:gd name="connsiteY1108" fmla="*/ 37770 h 1011585"/>
                  <a:gd name="connsiteX1109" fmla="*/ 1266664 w 1489990"/>
                  <a:gd name="connsiteY1109" fmla="*/ 37770 h 1011585"/>
                  <a:gd name="connsiteX1110" fmla="*/ 1268199 w 1489990"/>
                  <a:gd name="connsiteY1110" fmla="*/ 37770 h 1011585"/>
                  <a:gd name="connsiteX1111" fmla="*/ 1271224 w 1489990"/>
                  <a:gd name="connsiteY1111" fmla="*/ 37770 h 1011585"/>
                  <a:gd name="connsiteX1112" fmla="*/ 1272758 w 1489990"/>
                  <a:gd name="connsiteY1112" fmla="*/ 37770 h 1011585"/>
                  <a:gd name="connsiteX1113" fmla="*/ 1274293 w 1489990"/>
                  <a:gd name="connsiteY1113" fmla="*/ 37770 h 1011585"/>
                  <a:gd name="connsiteX1114" fmla="*/ 1277362 w 1489990"/>
                  <a:gd name="connsiteY1114" fmla="*/ 37770 h 1011585"/>
                  <a:gd name="connsiteX1115" fmla="*/ 1281955 w 1489990"/>
                  <a:gd name="connsiteY1115" fmla="*/ 37770 h 1011585"/>
                  <a:gd name="connsiteX1116" fmla="*/ 1283489 w 1489990"/>
                  <a:gd name="connsiteY1116" fmla="*/ 37770 h 1011585"/>
                  <a:gd name="connsiteX1117" fmla="*/ 1285024 w 1489990"/>
                  <a:gd name="connsiteY1117" fmla="*/ 37770 h 1011585"/>
                  <a:gd name="connsiteX1118" fmla="*/ 1286558 w 1489990"/>
                  <a:gd name="connsiteY1118" fmla="*/ 37770 h 1011585"/>
                  <a:gd name="connsiteX1119" fmla="*/ 1288082 w 1489990"/>
                  <a:gd name="connsiteY1119" fmla="*/ 37770 h 1011585"/>
                  <a:gd name="connsiteX1120" fmla="*/ 1292652 w 1489990"/>
                  <a:gd name="connsiteY1120" fmla="*/ 37770 h 1011585"/>
                  <a:gd name="connsiteX1121" fmla="*/ 1294187 w 1489990"/>
                  <a:gd name="connsiteY1121" fmla="*/ 37770 h 1011585"/>
                  <a:gd name="connsiteX1122" fmla="*/ 1295721 w 1489990"/>
                  <a:gd name="connsiteY1122" fmla="*/ 37770 h 1011585"/>
                  <a:gd name="connsiteX1123" fmla="*/ 1297245 w 1489990"/>
                  <a:gd name="connsiteY1123" fmla="*/ 37770 h 1011585"/>
                  <a:gd name="connsiteX1124" fmla="*/ 1298779 w 1489990"/>
                  <a:gd name="connsiteY1124" fmla="*/ 37770 h 1011585"/>
                  <a:gd name="connsiteX1125" fmla="*/ 1303383 w 1489990"/>
                  <a:gd name="connsiteY1125" fmla="*/ 37770 h 1011585"/>
                  <a:gd name="connsiteX1126" fmla="*/ 1304918 w 1489990"/>
                  <a:gd name="connsiteY1126" fmla="*/ 37770 h 1011585"/>
                  <a:gd name="connsiteX1127" fmla="*/ 1306408 w 1489990"/>
                  <a:gd name="connsiteY1127" fmla="*/ 37770 h 1011585"/>
                  <a:gd name="connsiteX1128" fmla="*/ 1306408 w 1489990"/>
                  <a:gd name="connsiteY1128" fmla="*/ 28050 h 1011585"/>
                  <a:gd name="connsiteX1129" fmla="*/ 1309477 w 1489990"/>
                  <a:gd name="connsiteY1129" fmla="*/ 28050 h 1011585"/>
                  <a:gd name="connsiteX1130" fmla="*/ 1314070 w 1489990"/>
                  <a:gd name="connsiteY1130" fmla="*/ 28050 h 1011585"/>
                  <a:gd name="connsiteX1131" fmla="*/ 1315615 w 1489990"/>
                  <a:gd name="connsiteY1131" fmla="*/ 28050 h 1011585"/>
                  <a:gd name="connsiteX1132" fmla="*/ 1317139 w 1489990"/>
                  <a:gd name="connsiteY1132" fmla="*/ 28050 h 1011585"/>
                  <a:gd name="connsiteX1133" fmla="*/ 1318673 w 1489990"/>
                  <a:gd name="connsiteY1133" fmla="*/ 28050 h 1011585"/>
                  <a:gd name="connsiteX1134" fmla="*/ 1320208 w 1489990"/>
                  <a:gd name="connsiteY1134" fmla="*/ 28050 h 1011585"/>
                  <a:gd name="connsiteX1135" fmla="*/ 1323277 w 1489990"/>
                  <a:gd name="connsiteY1135" fmla="*/ 28050 h 1011585"/>
                  <a:gd name="connsiteX1136" fmla="*/ 1323277 w 1489990"/>
                  <a:gd name="connsiteY1136" fmla="*/ 16794 h 1011585"/>
                  <a:gd name="connsiteX1137" fmla="*/ 1324767 w 1489990"/>
                  <a:gd name="connsiteY1137" fmla="*/ 16794 h 1011585"/>
                  <a:gd name="connsiteX1138" fmla="*/ 1326302 w 1489990"/>
                  <a:gd name="connsiteY1138" fmla="*/ 16794 h 1011585"/>
                  <a:gd name="connsiteX1139" fmla="*/ 1330906 w 1489990"/>
                  <a:gd name="connsiteY1139" fmla="*/ 16794 h 1011585"/>
                  <a:gd name="connsiteX1140" fmla="*/ 1338567 w 1489990"/>
                  <a:gd name="connsiteY1140" fmla="*/ 16794 h 1011585"/>
                  <a:gd name="connsiteX1141" fmla="*/ 1340102 w 1489990"/>
                  <a:gd name="connsiteY1141" fmla="*/ 16794 h 1011585"/>
                  <a:gd name="connsiteX1142" fmla="*/ 1341603 w 1489990"/>
                  <a:gd name="connsiteY1142" fmla="*/ 16794 h 1011585"/>
                  <a:gd name="connsiteX1143" fmla="*/ 1343127 w 1489990"/>
                  <a:gd name="connsiteY1143" fmla="*/ 16794 h 1011585"/>
                  <a:gd name="connsiteX1144" fmla="*/ 1347730 w 1489990"/>
                  <a:gd name="connsiteY1144" fmla="*/ 16794 h 1011585"/>
                  <a:gd name="connsiteX1145" fmla="*/ 1349254 w 1489990"/>
                  <a:gd name="connsiteY1145" fmla="*/ 16794 h 1011585"/>
                  <a:gd name="connsiteX1146" fmla="*/ 1350788 w 1489990"/>
                  <a:gd name="connsiteY1146" fmla="*/ 16794 h 1011585"/>
                  <a:gd name="connsiteX1147" fmla="*/ 1352323 w 1489990"/>
                  <a:gd name="connsiteY1147" fmla="*/ 16794 h 1011585"/>
                  <a:gd name="connsiteX1148" fmla="*/ 1358461 w 1489990"/>
                  <a:gd name="connsiteY1148" fmla="*/ 16794 h 1011585"/>
                  <a:gd name="connsiteX1149" fmla="*/ 1359951 w 1489990"/>
                  <a:gd name="connsiteY1149" fmla="*/ 16794 h 1011585"/>
                  <a:gd name="connsiteX1150" fmla="*/ 1359951 w 1489990"/>
                  <a:gd name="connsiteY1150" fmla="*/ 0 h 1011585"/>
                  <a:gd name="connsiteX1151" fmla="*/ 1489991 w 1489990"/>
                  <a:gd name="connsiteY1151" fmla="*/ 0 h 101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Lst>
                <a:rect l="l" t="t" r="r" b="b"/>
                <a:pathLst>
                  <a:path w="1489990" h="1011585">
                    <a:moveTo>
                      <a:pt x="0" y="1011585"/>
                    </a:moveTo>
                    <a:lnTo>
                      <a:pt x="1535" y="1011585"/>
                    </a:lnTo>
                    <a:lnTo>
                      <a:pt x="1535" y="1008449"/>
                    </a:lnTo>
                    <a:lnTo>
                      <a:pt x="3069" y="1008449"/>
                    </a:lnTo>
                    <a:lnTo>
                      <a:pt x="3069" y="1005279"/>
                    </a:lnTo>
                    <a:lnTo>
                      <a:pt x="4604" y="1005279"/>
                    </a:lnTo>
                    <a:lnTo>
                      <a:pt x="4604" y="1003711"/>
                    </a:lnTo>
                    <a:lnTo>
                      <a:pt x="6127" y="1003711"/>
                    </a:lnTo>
                    <a:lnTo>
                      <a:pt x="6127" y="999774"/>
                    </a:lnTo>
                    <a:lnTo>
                      <a:pt x="7662" y="999774"/>
                    </a:lnTo>
                    <a:lnTo>
                      <a:pt x="7662" y="997405"/>
                    </a:lnTo>
                    <a:lnTo>
                      <a:pt x="9196" y="997405"/>
                    </a:lnTo>
                    <a:lnTo>
                      <a:pt x="9196" y="992700"/>
                    </a:lnTo>
                    <a:lnTo>
                      <a:pt x="10731" y="992700"/>
                    </a:lnTo>
                    <a:lnTo>
                      <a:pt x="10731" y="990331"/>
                    </a:lnTo>
                    <a:lnTo>
                      <a:pt x="12266" y="990331"/>
                    </a:lnTo>
                    <a:lnTo>
                      <a:pt x="12266" y="988763"/>
                    </a:lnTo>
                    <a:lnTo>
                      <a:pt x="13800" y="988763"/>
                    </a:lnTo>
                    <a:lnTo>
                      <a:pt x="13800" y="984025"/>
                    </a:lnTo>
                    <a:lnTo>
                      <a:pt x="15290" y="984025"/>
                    </a:lnTo>
                    <a:lnTo>
                      <a:pt x="15290" y="982457"/>
                    </a:lnTo>
                    <a:lnTo>
                      <a:pt x="16825" y="982457"/>
                    </a:lnTo>
                    <a:lnTo>
                      <a:pt x="16825" y="980088"/>
                    </a:lnTo>
                    <a:lnTo>
                      <a:pt x="18359" y="980088"/>
                    </a:lnTo>
                    <a:lnTo>
                      <a:pt x="18359" y="976952"/>
                    </a:lnTo>
                    <a:lnTo>
                      <a:pt x="19894" y="976952"/>
                    </a:lnTo>
                    <a:lnTo>
                      <a:pt x="19894" y="966708"/>
                    </a:lnTo>
                    <a:lnTo>
                      <a:pt x="21429" y="966708"/>
                    </a:lnTo>
                    <a:lnTo>
                      <a:pt x="21429" y="962771"/>
                    </a:lnTo>
                    <a:lnTo>
                      <a:pt x="22952" y="962771"/>
                    </a:lnTo>
                    <a:lnTo>
                      <a:pt x="22952" y="954897"/>
                    </a:lnTo>
                    <a:lnTo>
                      <a:pt x="24487" y="954897"/>
                    </a:lnTo>
                    <a:lnTo>
                      <a:pt x="24487" y="948591"/>
                    </a:lnTo>
                    <a:lnTo>
                      <a:pt x="26021" y="948591"/>
                    </a:lnTo>
                    <a:lnTo>
                      <a:pt x="26021" y="946989"/>
                    </a:lnTo>
                    <a:lnTo>
                      <a:pt x="27556" y="946989"/>
                    </a:lnTo>
                    <a:lnTo>
                      <a:pt x="27556" y="943052"/>
                    </a:lnTo>
                    <a:lnTo>
                      <a:pt x="29090" y="943052"/>
                    </a:lnTo>
                    <a:lnTo>
                      <a:pt x="29090" y="936746"/>
                    </a:lnTo>
                    <a:lnTo>
                      <a:pt x="30614" y="936746"/>
                    </a:lnTo>
                    <a:lnTo>
                      <a:pt x="30614" y="935178"/>
                    </a:lnTo>
                    <a:lnTo>
                      <a:pt x="32115" y="935178"/>
                    </a:lnTo>
                    <a:lnTo>
                      <a:pt x="32115" y="932809"/>
                    </a:lnTo>
                    <a:lnTo>
                      <a:pt x="33650" y="932809"/>
                    </a:lnTo>
                    <a:lnTo>
                      <a:pt x="33650" y="927303"/>
                    </a:lnTo>
                    <a:lnTo>
                      <a:pt x="35184" y="927303"/>
                    </a:lnTo>
                    <a:lnTo>
                      <a:pt x="35184" y="923366"/>
                    </a:lnTo>
                    <a:lnTo>
                      <a:pt x="36719" y="923366"/>
                    </a:lnTo>
                    <a:lnTo>
                      <a:pt x="36719" y="919395"/>
                    </a:lnTo>
                    <a:lnTo>
                      <a:pt x="38242" y="919395"/>
                    </a:lnTo>
                    <a:lnTo>
                      <a:pt x="38242" y="913089"/>
                    </a:lnTo>
                    <a:lnTo>
                      <a:pt x="39788" y="913089"/>
                    </a:lnTo>
                    <a:lnTo>
                      <a:pt x="39788" y="910720"/>
                    </a:lnTo>
                    <a:lnTo>
                      <a:pt x="41311" y="910720"/>
                    </a:lnTo>
                    <a:lnTo>
                      <a:pt x="41311" y="907584"/>
                    </a:lnTo>
                    <a:lnTo>
                      <a:pt x="42846" y="907584"/>
                    </a:lnTo>
                    <a:lnTo>
                      <a:pt x="42846" y="904414"/>
                    </a:lnTo>
                    <a:lnTo>
                      <a:pt x="44381" y="904414"/>
                    </a:lnTo>
                    <a:lnTo>
                      <a:pt x="44381" y="902846"/>
                    </a:lnTo>
                    <a:lnTo>
                      <a:pt x="45915" y="902846"/>
                    </a:lnTo>
                    <a:lnTo>
                      <a:pt x="45915" y="901278"/>
                    </a:lnTo>
                    <a:lnTo>
                      <a:pt x="47450" y="901278"/>
                    </a:lnTo>
                    <a:lnTo>
                      <a:pt x="47450" y="896540"/>
                    </a:lnTo>
                    <a:lnTo>
                      <a:pt x="48984" y="896540"/>
                    </a:lnTo>
                    <a:lnTo>
                      <a:pt x="48984" y="890200"/>
                    </a:lnTo>
                    <a:lnTo>
                      <a:pt x="50474" y="890200"/>
                    </a:lnTo>
                    <a:lnTo>
                      <a:pt x="50474" y="887831"/>
                    </a:lnTo>
                    <a:lnTo>
                      <a:pt x="52009" y="887831"/>
                    </a:lnTo>
                    <a:lnTo>
                      <a:pt x="52009" y="883093"/>
                    </a:lnTo>
                    <a:lnTo>
                      <a:pt x="53544" y="883093"/>
                    </a:lnTo>
                    <a:lnTo>
                      <a:pt x="53544" y="879957"/>
                    </a:lnTo>
                    <a:lnTo>
                      <a:pt x="55078" y="879957"/>
                    </a:lnTo>
                    <a:lnTo>
                      <a:pt x="55078" y="876787"/>
                    </a:lnTo>
                    <a:lnTo>
                      <a:pt x="56613" y="876787"/>
                    </a:lnTo>
                    <a:lnTo>
                      <a:pt x="56613" y="874418"/>
                    </a:lnTo>
                    <a:lnTo>
                      <a:pt x="58147" y="874418"/>
                    </a:lnTo>
                    <a:lnTo>
                      <a:pt x="58147" y="871249"/>
                    </a:lnTo>
                    <a:lnTo>
                      <a:pt x="59671" y="871249"/>
                    </a:lnTo>
                    <a:lnTo>
                      <a:pt x="59671" y="867311"/>
                    </a:lnTo>
                    <a:lnTo>
                      <a:pt x="61205" y="867311"/>
                    </a:lnTo>
                    <a:lnTo>
                      <a:pt x="61205" y="864931"/>
                    </a:lnTo>
                    <a:lnTo>
                      <a:pt x="62740" y="864931"/>
                    </a:lnTo>
                    <a:lnTo>
                      <a:pt x="62740" y="861762"/>
                    </a:lnTo>
                    <a:lnTo>
                      <a:pt x="65798" y="861762"/>
                    </a:lnTo>
                    <a:lnTo>
                      <a:pt x="65798" y="859393"/>
                    </a:lnTo>
                    <a:lnTo>
                      <a:pt x="67299" y="859393"/>
                    </a:lnTo>
                    <a:lnTo>
                      <a:pt x="67299" y="856223"/>
                    </a:lnTo>
                    <a:lnTo>
                      <a:pt x="68834" y="856223"/>
                    </a:lnTo>
                    <a:lnTo>
                      <a:pt x="68834" y="853854"/>
                    </a:lnTo>
                    <a:lnTo>
                      <a:pt x="71903" y="853854"/>
                    </a:lnTo>
                    <a:lnTo>
                      <a:pt x="71903" y="852286"/>
                    </a:lnTo>
                    <a:lnTo>
                      <a:pt x="73438" y="852286"/>
                    </a:lnTo>
                    <a:lnTo>
                      <a:pt x="73438" y="851485"/>
                    </a:lnTo>
                    <a:lnTo>
                      <a:pt x="74972" y="851485"/>
                    </a:lnTo>
                    <a:lnTo>
                      <a:pt x="74972" y="847548"/>
                    </a:lnTo>
                    <a:lnTo>
                      <a:pt x="76496" y="847548"/>
                    </a:lnTo>
                    <a:lnTo>
                      <a:pt x="76496" y="844378"/>
                    </a:lnTo>
                    <a:lnTo>
                      <a:pt x="78030" y="844378"/>
                    </a:lnTo>
                    <a:lnTo>
                      <a:pt x="78030" y="839640"/>
                    </a:lnTo>
                    <a:lnTo>
                      <a:pt x="79565" y="839640"/>
                    </a:lnTo>
                    <a:lnTo>
                      <a:pt x="79565" y="837271"/>
                    </a:lnTo>
                    <a:lnTo>
                      <a:pt x="81099" y="837271"/>
                    </a:lnTo>
                    <a:lnTo>
                      <a:pt x="81099" y="833334"/>
                    </a:lnTo>
                    <a:lnTo>
                      <a:pt x="82634" y="833334"/>
                    </a:lnTo>
                    <a:lnTo>
                      <a:pt x="82634" y="830164"/>
                    </a:lnTo>
                    <a:lnTo>
                      <a:pt x="84157" y="830164"/>
                    </a:lnTo>
                    <a:lnTo>
                      <a:pt x="84157" y="826227"/>
                    </a:lnTo>
                    <a:lnTo>
                      <a:pt x="85659" y="826227"/>
                    </a:lnTo>
                    <a:lnTo>
                      <a:pt x="85659" y="823825"/>
                    </a:lnTo>
                    <a:lnTo>
                      <a:pt x="87193" y="823825"/>
                    </a:lnTo>
                    <a:lnTo>
                      <a:pt x="87193" y="822256"/>
                    </a:lnTo>
                    <a:lnTo>
                      <a:pt x="88728" y="822256"/>
                    </a:lnTo>
                    <a:lnTo>
                      <a:pt x="88728" y="817518"/>
                    </a:lnTo>
                    <a:lnTo>
                      <a:pt x="90262" y="817518"/>
                    </a:lnTo>
                    <a:lnTo>
                      <a:pt x="90262" y="815150"/>
                    </a:lnTo>
                    <a:lnTo>
                      <a:pt x="91786" y="815150"/>
                    </a:lnTo>
                    <a:lnTo>
                      <a:pt x="91786" y="814349"/>
                    </a:lnTo>
                    <a:lnTo>
                      <a:pt x="93332" y="814349"/>
                    </a:lnTo>
                    <a:lnTo>
                      <a:pt x="93332" y="811980"/>
                    </a:lnTo>
                    <a:lnTo>
                      <a:pt x="94855" y="811980"/>
                    </a:lnTo>
                    <a:lnTo>
                      <a:pt x="94855" y="806441"/>
                    </a:lnTo>
                    <a:lnTo>
                      <a:pt x="96390" y="806441"/>
                    </a:lnTo>
                    <a:lnTo>
                      <a:pt x="96390" y="804072"/>
                    </a:lnTo>
                    <a:lnTo>
                      <a:pt x="97924" y="804072"/>
                    </a:lnTo>
                    <a:lnTo>
                      <a:pt x="97924" y="797766"/>
                    </a:lnTo>
                    <a:lnTo>
                      <a:pt x="99459" y="797766"/>
                    </a:lnTo>
                    <a:lnTo>
                      <a:pt x="99459" y="796164"/>
                    </a:lnTo>
                    <a:lnTo>
                      <a:pt x="100993" y="796164"/>
                    </a:lnTo>
                    <a:lnTo>
                      <a:pt x="100993" y="795364"/>
                    </a:lnTo>
                    <a:lnTo>
                      <a:pt x="102483" y="795364"/>
                    </a:lnTo>
                    <a:lnTo>
                      <a:pt x="102483" y="791426"/>
                    </a:lnTo>
                    <a:lnTo>
                      <a:pt x="104018" y="791426"/>
                    </a:lnTo>
                    <a:lnTo>
                      <a:pt x="104018" y="789057"/>
                    </a:lnTo>
                    <a:lnTo>
                      <a:pt x="105553" y="789057"/>
                    </a:lnTo>
                    <a:lnTo>
                      <a:pt x="105553" y="783519"/>
                    </a:lnTo>
                    <a:lnTo>
                      <a:pt x="107087" y="783519"/>
                    </a:lnTo>
                    <a:lnTo>
                      <a:pt x="107087" y="780338"/>
                    </a:lnTo>
                    <a:lnTo>
                      <a:pt x="108622" y="780338"/>
                    </a:lnTo>
                    <a:lnTo>
                      <a:pt x="108622" y="777980"/>
                    </a:lnTo>
                    <a:lnTo>
                      <a:pt x="110145" y="777980"/>
                    </a:lnTo>
                    <a:lnTo>
                      <a:pt x="110145" y="775567"/>
                    </a:lnTo>
                    <a:lnTo>
                      <a:pt x="111680" y="775567"/>
                    </a:lnTo>
                    <a:lnTo>
                      <a:pt x="111680" y="773998"/>
                    </a:lnTo>
                    <a:lnTo>
                      <a:pt x="113214" y="773998"/>
                    </a:lnTo>
                    <a:lnTo>
                      <a:pt x="113214" y="769260"/>
                    </a:lnTo>
                    <a:lnTo>
                      <a:pt x="114749" y="769260"/>
                    </a:lnTo>
                    <a:lnTo>
                      <a:pt x="114749" y="766091"/>
                    </a:lnTo>
                    <a:lnTo>
                      <a:pt x="116284" y="766091"/>
                    </a:lnTo>
                    <a:lnTo>
                      <a:pt x="116284" y="763722"/>
                    </a:lnTo>
                    <a:lnTo>
                      <a:pt x="117818" y="763722"/>
                    </a:lnTo>
                    <a:lnTo>
                      <a:pt x="117818" y="762921"/>
                    </a:lnTo>
                    <a:lnTo>
                      <a:pt x="119342" y="762921"/>
                    </a:lnTo>
                    <a:lnTo>
                      <a:pt x="119342" y="760552"/>
                    </a:lnTo>
                    <a:lnTo>
                      <a:pt x="120843" y="760552"/>
                    </a:lnTo>
                    <a:lnTo>
                      <a:pt x="120843" y="759751"/>
                    </a:lnTo>
                    <a:lnTo>
                      <a:pt x="122377" y="759751"/>
                    </a:lnTo>
                    <a:lnTo>
                      <a:pt x="122377" y="758950"/>
                    </a:lnTo>
                    <a:lnTo>
                      <a:pt x="123912" y="758950"/>
                    </a:lnTo>
                    <a:lnTo>
                      <a:pt x="123912" y="756581"/>
                    </a:lnTo>
                    <a:lnTo>
                      <a:pt x="125447" y="756581"/>
                    </a:lnTo>
                    <a:lnTo>
                      <a:pt x="125447" y="755781"/>
                    </a:lnTo>
                    <a:lnTo>
                      <a:pt x="126970" y="755781"/>
                    </a:lnTo>
                    <a:lnTo>
                      <a:pt x="126970" y="752611"/>
                    </a:lnTo>
                    <a:lnTo>
                      <a:pt x="128516" y="752611"/>
                    </a:lnTo>
                    <a:lnTo>
                      <a:pt x="128516" y="750242"/>
                    </a:lnTo>
                    <a:lnTo>
                      <a:pt x="130039" y="750242"/>
                    </a:lnTo>
                    <a:lnTo>
                      <a:pt x="130039" y="749441"/>
                    </a:lnTo>
                    <a:lnTo>
                      <a:pt x="131574" y="749441"/>
                    </a:lnTo>
                    <a:lnTo>
                      <a:pt x="131574" y="746271"/>
                    </a:lnTo>
                    <a:lnTo>
                      <a:pt x="133108" y="746271"/>
                    </a:lnTo>
                    <a:lnTo>
                      <a:pt x="133108" y="744703"/>
                    </a:lnTo>
                    <a:lnTo>
                      <a:pt x="136178" y="744703"/>
                    </a:lnTo>
                    <a:lnTo>
                      <a:pt x="136178" y="743902"/>
                    </a:lnTo>
                    <a:lnTo>
                      <a:pt x="137701" y="743902"/>
                    </a:lnTo>
                    <a:lnTo>
                      <a:pt x="137701" y="739164"/>
                    </a:lnTo>
                    <a:lnTo>
                      <a:pt x="139202" y="739164"/>
                    </a:lnTo>
                    <a:lnTo>
                      <a:pt x="139202" y="734393"/>
                    </a:lnTo>
                    <a:lnTo>
                      <a:pt x="140737" y="734393"/>
                    </a:lnTo>
                    <a:lnTo>
                      <a:pt x="140737" y="728854"/>
                    </a:lnTo>
                    <a:lnTo>
                      <a:pt x="142271" y="728854"/>
                    </a:lnTo>
                    <a:lnTo>
                      <a:pt x="142271" y="724072"/>
                    </a:lnTo>
                    <a:lnTo>
                      <a:pt x="143806" y="724072"/>
                    </a:lnTo>
                    <a:lnTo>
                      <a:pt x="143806" y="722504"/>
                    </a:lnTo>
                    <a:lnTo>
                      <a:pt x="145329" y="722504"/>
                    </a:lnTo>
                    <a:lnTo>
                      <a:pt x="145329" y="720135"/>
                    </a:lnTo>
                    <a:lnTo>
                      <a:pt x="146875" y="720135"/>
                    </a:lnTo>
                    <a:lnTo>
                      <a:pt x="146875" y="716932"/>
                    </a:lnTo>
                    <a:lnTo>
                      <a:pt x="148399" y="716932"/>
                    </a:lnTo>
                    <a:lnTo>
                      <a:pt x="148399" y="714563"/>
                    </a:lnTo>
                    <a:lnTo>
                      <a:pt x="149933" y="714563"/>
                    </a:lnTo>
                    <a:lnTo>
                      <a:pt x="149933" y="713762"/>
                    </a:lnTo>
                    <a:lnTo>
                      <a:pt x="151468" y="713762"/>
                    </a:lnTo>
                    <a:lnTo>
                      <a:pt x="151468" y="709024"/>
                    </a:lnTo>
                    <a:lnTo>
                      <a:pt x="153002" y="709024"/>
                    </a:lnTo>
                    <a:lnTo>
                      <a:pt x="153002" y="708223"/>
                    </a:lnTo>
                    <a:lnTo>
                      <a:pt x="154526" y="708223"/>
                    </a:lnTo>
                    <a:lnTo>
                      <a:pt x="154526" y="705053"/>
                    </a:lnTo>
                    <a:lnTo>
                      <a:pt x="156027" y="705053"/>
                    </a:lnTo>
                    <a:lnTo>
                      <a:pt x="156027" y="704253"/>
                    </a:lnTo>
                    <a:lnTo>
                      <a:pt x="157562" y="704253"/>
                    </a:lnTo>
                    <a:lnTo>
                      <a:pt x="157562" y="703485"/>
                    </a:lnTo>
                    <a:lnTo>
                      <a:pt x="159096" y="703485"/>
                    </a:lnTo>
                    <a:lnTo>
                      <a:pt x="159096" y="702684"/>
                    </a:lnTo>
                    <a:lnTo>
                      <a:pt x="160631" y="702684"/>
                    </a:lnTo>
                    <a:lnTo>
                      <a:pt x="160631" y="700315"/>
                    </a:lnTo>
                    <a:lnTo>
                      <a:pt x="162165" y="700315"/>
                    </a:lnTo>
                    <a:lnTo>
                      <a:pt x="162165" y="698714"/>
                    </a:lnTo>
                    <a:lnTo>
                      <a:pt x="163689" y="698714"/>
                    </a:lnTo>
                    <a:lnTo>
                      <a:pt x="163689" y="697112"/>
                    </a:lnTo>
                    <a:lnTo>
                      <a:pt x="165223" y="697112"/>
                    </a:lnTo>
                    <a:lnTo>
                      <a:pt x="165223" y="693175"/>
                    </a:lnTo>
                    <a:lnTo>
                      <a:pt x="166758" y="693175"/>
                    </a:lnTo>
                    <a:lnTo>
                      <a:pt x="166758" y="690762"/>
                    </a:lnTo>
                    <a:lnTo>
                      <a:pt x="168293" y="690762"/>
                    </a:lnTo>
                    <a:lnTo>
                      <a:pt x="168293" y="686791"/>
                    </a:lnTo>
                    <a:lnTo>
                      <a:pt x="169827" y="686791"/>
                    </a:lnTo>
                    <a:lnTo>
                      <a:pt x="169827" y="684422"/>
                    </a:lnTo>
                    <a:lnTo>
                      <a:pt x="171362" y="684422"/>
                    </a:lnTo>
                    <a:lnTo>
                      <a:pt x="171362" y="682020"/>
                    </a:lnTo>
                    <a:lnTo>
                      <a:pt x="172885" y="682020"/>
                    </a:lnTo>
                    <a:lnTo>
                      <a:pt x="172885" y="678850"/>
                    </a:lnTo>
                    <a:lnTo>
                      <a:pt x="174386" y="678850"/>
                    </a:lnTo>
                    <a:lnTo>
                      <a:pt x="174386" y="675680"/>
                    </a:lnTo>
                    <a:lnTo>
                      <a:pt x="175921" y="675680"/>
                    </a:lnTo>
                    <a:lnTo>
                      <a:pt x="175921" y="671710"/>
                    </a:lnTo>
                    <a:lnTo>
                      <a:pt x="177456" y="671710"/>
                    </a:lnTo>
                    <a:lnTo>
                      <a:pt x="177456" y="666938"/>
                    </a:lnTo>
                    <a:lnTo>
                      <a:pt x="178990" y="666938"/>
                    </a:lnTo>
                    <a:lnTo>
                      <a:pt x="178990" y="665337"/>
                    </a:lnTo>
                    <a:lnTo>
                      <a:pt x="182059" y="665337"/>
                    </a:lnTo>
                    <a:lnTo>
                      <a:pt x="182059" y="661355"/>
                    </a:lnTo>
                    <a:lnTo>
                      <a:pt x="183583" y="661355"/>
                    </a:lnTo>
                    <a:lnTo>
                      <a:pt x="183583" y="658986"/>
                    </a:lnTo>
                    <a:lnTo>
                      <a:pt x="185117" y="658986"/>
                    </a:lnTo>
                    <a:lnTo>
                      <a:pt x="185117" y="657385"/>
                    </a:lnTo>
                    <a:lnTo>
                      <a:pt x="186652" y="657385"/>
                    </a:lnTo>
                    <a:lnTo>
                      <a:pt x="186652" y="655817"/>
                    </a:lnTo>
                    <a:lnTo>
                      <a:pt x="188187" y="655817"/>
                    </a:lnTo>
                    <a:lnTo>
                      <a:pt x="188187" y="655016"/>
                    </a:lnTo>
                    <a:lnTo>
                      <a:pt x="189721" y="655016"/>
                    </a:lnTo>
                    <a:lnTo>
                      <a:pt x="189721" y="653414"/>
                    </a:lnTo>
                    <a:lnTo>
                      <a:pt x="191211" y="653414"/>
                    </a:lnTo>
                    <a:lnTo>
                      <a:pt x="191211" y="652613"/>
                    </a:lnTo>
                    <a:lnTo>
                      <a:pt x="192746" y="652613"/>
                    </a:lnTo>
                    <a:lnTo>
                      <a:pt x="192746" y="648643"/>
                    </a:lnTo>
                    <a:lnTo>
                      <a:pt x="194280" y="648643"/>
                    </a:lnTo>
                    <a:lnTo>
                      <a:pt x="194280" y="645473"/>
                    </a:lnTo>
                    <a:lnTo>
                      <a:pt x="195815" y="645473"/>
                    </a:lnTo>
                    <a:lnTo>
                      <a:pt x="195815" y="643872"/>
                    </a:lnTo>
                    <a:lnTo>
                      <a:pt x="197350" y="643872"/>
                    </a:lnTo>
                    <a:lnTo>
                      <a:pt x="197350" y="641503"/>
                    </a:lnTo>
                    <a:lnTo>
                      <a:pt x="198873" y="641503"/>
                    </a:lnTo>
                    <a:lnTo>
                      <a:pt x="198873" y="639134"/>
                    </a:lnTo>
                    <a:lnTo>
                      <a:pt x="200408" y="639134"/>
                    </a:lnTo>
                    <a:lnTo>
                      <a:pt x="201942" y="639134"/>
                    </a:lnTo>
                    <a:lnTo>
                      <a:pt x="201942" y="636720"/>
                    </a:lnTo>
                    <a:lnTo>
                      <a:pt x="203477" y="636720"/>
                    </a:lnTo>
                    <a:lnTo>
                      <a:pt x="203477" y="634362"/>
                    </a:lnTo>
                    <a:lnTo>
                      <a:pt x="205011" y="634362"/>
                    </a:lnTo>
                    <a:lnTo>
                      <a:pt x="205011" y="631949"/>
                    </a:lnTo>
                    <a:lnTo>
                      <a:pt x="206546" y="631949"/>
                    </a:lnTo>
                    <a:lnTo>
                      <a:pt x="206546" y="631148"/>
                    </a:lnTo>
                    <a:lnTo>
                      <a:pt x="208069" y="631148"/>
                    </a:lnTo>
                    <a:lnTo>
                      <a:pt x="208069" y="628790"/>
                    </a:lnTo>
                    <a:lnTo>
                      <a:pt x="209571" y="628790"/>
                    </a:lnTo>
                    <a:lnTo>
                      <a:pt x="209571" y="626377"/>
                    </a:lnTo>
                    <a:lnTo>
                      <a:pt x="211105" y="626377"/>
                    </a:lnTo>
                    <a:lnTo>
                      <a:pt x="211105" y="624775"/>
                    </a:lnTo>
                    <a:lnTo>
                      <a:pt x="212640" y="624775"/>
                    </a:lnTo>
                    <a:lnTo>
                      <a:pt x="212640" y="623207"/>
                    </a:lnTo>
                    <a:lnTo>
                      <a:pt x="214174" y="623207"/>
                    </a:lnTo>
                    <a:lnTo>
                      <a:pt x="214174" y="620805"/>
                    </a:lnTo>
                    <a:lnTo>
                      <a:pt x="217232" y="620805"/>
                    </a:lnTo>
                    <a:lnTo>
                      <a:pt x="217232" y="617635"/>
                    </a:lnTo>
                    <a:lnTo>
                      <a:pt x="218767" y="617635"/>
                    </a:lnTo>
                    <a:lnTo>
                      <a:pt x="218767" y="614432"/>
                    </a:lnTo>
                    <a:lnTo>
                      <a:pt x="220302" y="614432"/>
                    </a:lnTo>
                    <a:lnTo>
                      <a:pt x="220302" y="612819"/>
                    </a:lnTo>
                    <a:lnTo>
                      <a:pt x="221836" y="612819"/>
                    </a:lnTo>
                    <a:lnTo>
                      <a:pt x="221836" y="611262"/>
                    </a:lnTo>
                    <a:lnTo>
                      <a:pt x="224905" y="611262"/>
                    </a:lnTo>
                    <a:lnTo>
                      <a:pt x="224905" y="608860"/>
                    </a:lnTo>
                    <a:lnTo>
                      <a:pt x="226395" y="608860"/>
                    </a:lnTo>
                    <a:lnTo>
                      <a:pt x="226395" y="605679"/>
                    </a:lnTo>
                    <a:lnTo>
                      <a:pt x="227930" y="605679"/>
                    </a:lnTo>
                    <a:lnTo>
                      <a:pt x="227930" y="604077"/>
                    </a:lnTo>
                    <a:lnTo>
                      <a:pt x="229465" y="604077"/>
                    </a:lnTo>
                    <a:lnTo>
                      <a:pt x="229465" y="602476"/>
                    </a:lnTo>
                    <a:lnTo>
                      <a:pt x="230999" y="602476"/>
                    </a:lnTo>
                    <a:lnTo>
                      <a:pt x="230999" y="600874"/>
                    </a:lnTo>
                    <a:lnTo>
                      <a:pt x="232534" y="600874"/>
                    </a:lnTo>
                    <a:lnTo>
                      <a:pt x="232534" y="599306"/>
                    </a:lnTo>
                    <a:lnTo>
                      <a:pt x="234057" y="599306"/>
                    </a:lnTo>
                    <a:lnTo>
                      <a:pt x="234057" y="598505"/>
                    </a:lnTo>
                    <a:lnTo>
                      <a:pt x="235592" y="598505"/>
                    </a:lnTo>
                    <a:lnTo>
                      <a:pt x="235592" y="597704"/>
                    </a:lnTo>
                    <a:lnTo>
                      <a:pt x="237126" y="597704"/>
                    </a:lnTo>
                    <a:lnTo>
                      <a:pt x="237126" y="592132"/>
                    </a:lnTo>
                    <a:lnTo>
                      <a:pt x="238661" y="592132"/>
                    </a:lnTo>
                    <a:lnTo>
                      <a:pt x="238661" y="589730"/>
                    </a:lnTo>
                    <a:lnTo>
                      <a:pt x="240196" y="589730"/>
                    </a:lnTo>
                    <a:lnTo>
                      <a:pt x="240196" y="588128"/>
                    </a:lnTo>
                    <a:lnTo>
                      <a:pt x="241730" y="588128"/>
                    </a:lnTo>
                    <a:lnTo>
                      <a:pt x="241730" y="584914"/>
                    </a:lnTo>
                    <a:lnTo>
                      <a:pt x="243254" y="584914"/>
                    </a:lnTo>
                    <a:lnTo>
                      <a:pt x="243254" y="583357"/>
                    </a:lnTo>
                    <a:lnTo>
                      <a:pt x="244755" y="583357"/>
                    </a:lnTo>
                    <a:lnTo>
                      <a:pt x="244755" y="581744"/>
                    </a:lnTo>
                    <a:lnTo>
                      <a:pt x="247824" y="581744"/>
                    </a:lnTo>
                    <a:lnTo>
                      <a:pt x="247824" y="580944"/>
                    </a:lnTo>
                    <a:lnTo>
                      <a:pt x="249359" y="580944"/>
                    </a:lnTo>
                    <a:lnTo>
                      <a:pt x="249359" y="578541"/>
                    </a:lnTo>
                    <a:lnTo>
                      <a:pt x="250893" y="578541"/>
                    </a:lnTo>
                    <a:lnTo>
                      <a:pt x="250893" y="576139"/>
                    </a:lnTo>
                    <a:lnTo>
                      <a:pt x="252417" y="576139"/>
                    </a:lnTo>
                    <a:lnTo>
                      <a:pt x="252417" y="572969"/>
                    </a:lnTo>
                    <a:lnTo>
                      <a:pt x="253951" y="572969"/>
                    </a:lnTo>
                    <a:lnTo>
                      <a:pt x="253951" y="571368"/>
                    </a:lnTo>
                    <a:lnTo>
                      <a:pt x="255486" y="571368"/>
                    </a:lnTo>
                    <a:lnTo>
                      <a:pt x="255486" y="570567"/>
                    </a:lnTo>
                    <a:lnTo>
                      <a:pt x="258544" y="570567"/>
                    </a:lnTo>
                    <a:lnTo>
                      <a:pt x="258544" y="568153"/>
                    </a:lnTo>
                    <a:lnTo>
                      <a:pt x="260089" y="568153"/>
                    </a:lnTo>
                    <a:lnTo>
                      <a:pt x="260089" y="564995"/>
                    </a:lnTo>
                    <a:lnTo>
                      <a:pt x="261580" y="564995"/>
                    </a:lnTo>
                    <a:lnTo>
                      <a:pt x="261580" y="564183"/>
                    </a:lnTo>
                    <a:lnTo>
                      <a:pt x="264649" y="564183"/>
                    </a:lnTo>
                    <a:lnTo>
                      <a:pt x="264649" y="561781"/>
                    </a:lnTo>
                    <a:lnTo>
                      <a:pt x="266183" y="561781"/>
                    </a:lnTo>
                    <a:lnTo>
                      <a:pt x="266183" y="560179"/>
                    </a:lnTo>
                    <a:lnTo>
                      <a:pt x="269241" y="560179"/>
                    </a:lnTo>
                    <a:lnTo>
                      <a:pt x="269241" y="559378"/>
                    </a:lnTo>
                    <a:lnTo>
                      <a:pt x="270776" y="559378"/>
                    </a:lnTo>
                    <a:lnTo>
                      <a:pt x="270776" y="555408"/>
                    </a:lnTo>
                    <a:lnTo>
                      <a:pt x="272311" y="555408"/>
                    </a:lnTo>
                    <a:lnTo>
                      <a:pt x="272311" y="553806"/>
                    </a:lnTo>
                    <a:lnTo>
                      <a:pt x="273845" y="553806"/>
                    </a:lnTo>
                    <a:lnTo>
                      <a:pt x="273845" y="552205"/>
                    </a:lnTo>
                    <a:lnTo>
                      <a:pt x="275380" y="552205"/>
                    </a:lnTo>
                    <a:lnTo>
                      <a:pt x="275380" y="550603"/>
                    </a:lnTo>
                    <a:lnTo>
                      <a:pt x="276903" y="550603"/>
                    </a:lnTo>
                    <a:lnTo>
                      <a:pt x="276903" y="547433"/>
                    </a:lnTo>
                    <a:lnTo>
                      <a:pt x="278449" y="547433"/>
                    </a:lnTo>
                    <a:lnTo>
                      <a:pt x="278449" y="546621"/>
                    </a:lnTo>
                    <a:lnTo>
                      <a:pt x="279939" y="546621"/>
                    </a:lnTo>
                    <a:lnTo>
                      <a:pt x="279939" y="545020"/>
                    </a:lnTo>
                    <a:lnTo>
                      <a:pt x="281474" y="545020"/>
                    </a:lnTo>
                    <a:lnTo>
                      <a:pt x="281474" y="543418"/>
                    </a:lnTo>
                    <a:lnTo>
                      <a:pt x="283008" y="543418"/>
                    </a:lnTo>
                    <a:lnTo>
                      <a:pt x="283008" y="541817"/>
                    </a:lnTo>
                    <a:lnTo>
                      <a:pt x="284532" y="541817"/>
                    </a:lnTo>
                    <a:lnTo>
                      <a:pt x="284532" y="541016"/>
                    </a:lnTo>
                    <a:lnTo>
                      <a:pt x="286077" y="541016"/>
                    </a:lnTo>
                    <a:lnTo>
                      <a:pt x="286077" y="537813"/>
                    </a:lnTo>
                    <a:lnTo>
                      <a:pt x="287601" y="537813"/>
                    </a:lnTo>
                    <a:lnTo>
                      <a:pt x="289135" y="537813"/>
                    </a:lnTo>
                    <a:lnTo>
                      <a:pt x="289135" y="536211"/>
                    </a:lnTo>
                    <a:lnTo>
                      <a:pt x="290670" y="536211"/>
                    </a:lnTo>
                    <a:lnTo>
                      <a:pt x="290670" y="535410"/>
                    </a:lnTo>
                    <a:lnTo>
                      <a:pt x="292205" y="535410"/>
                    </a:lnTo>
                    <a:lnTo>
                      <a:pt x="292205" y="531362"/>
                    </a:lnTo>
                    <a:lnTo>
                      <a:pt x="293739" y="531362"/>
                    </a:lnTo>
                    <a:lnTo>
                      <a:pt x="293739" y="529760"/>
                    </a:lnTo>
                    <a:lnTo>
                      <a:pt x="295274" y="529760"/>
                    </a:lnTo>
                    <a:lnTo>
                      <a:pt x="295274" y="528159"/>
                    </a:lnTo>
                    <a:lnTo>
                      <a:pt x="296797" y="528159"/>
                    </a:lnTo>
                    <a:lnTo>
                      <a:pt x="296797" y="527325"/>
                    </a:lnTo>
                    <a:lnTo>
                      <a:pt x="298298" y="527325"/>
                    </a:lnTo>
                    <a:lnTo>
                      <a:pt x="299833" y="527325"/>
                    </a:lnTo>
                    <a:lnTo>
                      <a:pt x="301368" y="527325"/>
                    </a:lnTo>
                    <a:lnTo>
                      <a:pt x="301368" y="524889"/>
                    </a:lnTo>
                    <a:lnTo>
                      <a:pt x="302902" y="524889"/>
                    </a:lnTo>
                    <a:lnTo>
                      <a:pt x="302902" y="523243"/>
                    </a:lnTo>
                    <a:lnTo>
                      <a:pt x="304426" y="523243"/>
                    </a:lnTo>
                    <a:lnTo>
                      <a:pt x="304426" y="522420"/>
                    </a:lnTo>
                    <a:lnTo>
                      <a:pt x="305960" y="522420"/>
                    </a:lnTo>
                    <a:lnTo>
                      <a:pt x="305960" y="521575"/>
                    </a:lnTo>
                    <a:lnTo>
                      <a:pt x="307495" y="521575"/>
                    </a:lnTo>
                    <a:lnTo>
                      <a:pt x="307495" y="519940"/>
                    </a:lnTo>
                    <a:lnTo>
                      <a:pt x="309029" y="519940"/>
                    </a:lnTo>
                    <a:lnTo>
                      <a:pt x="309029" y="518294"/>
                    </a:lnTo>
                    <a:lnTo>
                      <a:pt x="310564" y="518294"/>
                    </a:lnTo>
                    <a:lnTo>
                      <a:pt x="310564" y="517460"/>
                    </a:lnTo>
                    <a:lnTo>
                      <a:pt x="312087" y="517460"/>
                    </a:lnTo>
                    <a:lnTo>
                      <a:pt x="312087" y="514123"/>
                    </a:lnTo>
                    <a:lnTo>
                      <a:pt x="313633" y="514123"/>
                    </a:lnTo>
                    <a:lnTo>
                      <a:pt x="313633" y="512455"/>
                    </a:lnTo>
                    <a:lnTo>
                      <a:pt x="315123" y="512455"/>
                    </a:lnTo>
                    <a:lnTo>
                      <a:pt x="315123" y="510775"/>
                    </a:lnTo>
                    <a:lnTo>
                      <a:pt x="316658" y="510775"/>
                    </a:lnTo>
                    <a:lnTo>
                      <a:pt x="316658" y="509941"/>
                    </a:lnTo>
                    <a:lnTo>
                      <a:pt x="318192" y="509941"/>
                    </a:lnTo>
                    <a:lnTo>
                      <a:pt x="319716" y="509941"/>
                    </a:lnTo>
                    <a:lnTo>
                      <a:pt x="319716" y="506560"/>
                    </a:lnTo>
                    <a:lnTo>
                      <a:pt x="321261" y="506560"/>
                    </a:lnTo>
                    <a:lnTo>
                      <a:pt x="321261" y="505693"/>
                    </a:lnTo>
                    <a:lnTo>
                      <a:pt x="322785" y="505693"/>
                    </a:lnTo>
                    <a:lnTo>
                      <a:pt x="322785" y="503980"/>
                    </a:lnTo>
                    <a:lnTo>
                      <a:pt x="324320" y="503980"/>
                    </a:lnTo>
                    <a:lnTo>
                      <a:pt x="325854" y="503980"/>
                    </a:lnTo>
                    <a:lnTo>
                      <a:pt x="325854" y="502278"/>
                    </a:lnTo>
                    <a:lnTo>
                      <a:pt x="327389" y="502278"/>
                    </a:lnTo>
                    <a:lnTo>
                      <a:pt x="327389" y="501399"/>
                    </a:lnTo>
                    <a:lnTo>
                      <a:pt x="328923" y="501399"/>
                    </a:lnTo>
                    <a:lnTo>
                      <a:pt x="328923" y="499664"/>
                    </a:lnTo>
                    <a:lnTo>
                      <a:pt x="330447" y="499664"/>
                    </a:lnTo>
                    <a:lnTo>
                      <a:pt x="330447" y="495371"/>
                    </a:lnTo>
                    <a:lnTo>
                      <a:pt x="331981" y="495371"/>
                    </a:lnTo>
                    <a:lnTo>
                      <a:pt x="333483" y="495371"/>
                    </a:lnTo>
                    <a:lnTo>
                      <a:pt x="335017" y="495371"/>
                    </a:lnTo>
                    <a:lnTo>
                      <a:pt x="335017" y="493603"/>
                    </a:lnTo>
                    <a:lnTo>
                      <a:pt x="336552" y="493603"/>
                    </a:lnTo>
                    <a:lnTo>
                      <a:pt x="336552" y="490989"/>
                    </a:lnTo>
                    <a:lnTo>
                      <a:pt x="338075" y="490989"/>
                    </a:lnTo>
                    <a:lnTo>
                      <a:pt x="338075" y="488376"/>
                    </a:lnTo>
                    <a:lnTo>
                      <a:pt x="339621" y="488376"/>
                    </a:lnTo>
                    <a:lnTo>
                      <a:pt x="339621" y="486630"/>
                    </a:lnTo>
                    <a:lnTo>
                      <a:pt x="341144" y="486630"/>
                    </a:lnTo>
                    <a:lnTo>
                      <a:pt x="341144" y="484850"/>
                    </a:lnTo>
                    <a:lnTo>
                      <a:pt x="342679" y="484850"/>
                    </a:lnTo>
                    <a:lnTo>
                      <a:pt x="342679" y="482236"/>
                    </a:lnTo>
                    <a:lnTo>
                      <a:pt x="344214" y="482236"/>
                    </a:lnTo>
                    <a:lnTo>
                      <a:pt x="344214" y="477810"/>
                    </a:lnTo>
                    <a:lnTo>
                      <a:pt x="345748" y="477810"/>
                    </a:lnTo>
                    <a:lnTo>
                      <a:pt x="345748" y="476041"/>
                    </a:lnTo>
                    <a:lnTo>
                      <a:pt x="347272" y="476041"/>
                    </a:lnTo>
                    <a:lnTo>
                      <a:pt x="347272" y="475129"/>
                    </a:lnTo>
                    <a:lnTo>
                      <a:pt x="348806" y="475129"/>
                    </a:lnTo>
                    <a:lnTo>
                      <a:pt x="348806" y="474262"/>
                    </a:lnTo>
                    <a:lnTo>
                      <a:pt x="350307" y="474262"/>
                    </a:lnTo>
                    <a:lnTo>
                      <a:pt x="351842" y="474262"/>
                    </a:lnTo>
                    <a:lnTo>
                      <a:pt x="351842" y="473350"/>
                    </a:lnTo>
                    <a:lnTo>
                      <a:pt x="353377" y="473350"/>
                    </a:lnTo>
                    <a:lnTo>
                      <a:pt x="353377" y="471582"/>
                    </a:lnTo>
                    <a:lnTo>
                      <a:pt x="354911" y="471582"/>
                    </a:lnTo>
                    <a:lnTo>
                      <a:pt x="354911" y="468901"/>
                    </a:lnTo>
                    <a:lnTo>
                      <a:pt x="356446" y="468901"/>
                    </a:lnTo>
                    <a:lnTo>
                      <a:pt x="356446" y="465309"/>
                    </a:lnTo>
                    <a:lnTo>
                      <a:pt x="357969" y="465309"/>
                    </a:lnTo>
                    <a:lnTo>
                      <a:pt x="357969" y="464441"/>
                    </a:lnTo>
                    <a:lnTo>
                      <a:pt x="359504" y="464441"/>
                    </a:lnTo>
                    <a:lnTo>
                      <a:pt x="359504" y="462628"/>
                    </a:lnTo>
                    <a:lnTo>
                      <a:pt x="361038" y="462628"/>
                    </a:lnTo>
                    <a:lnTo>
                      <a:pt x="361038" y="461716"/>
                    </a:lnTo>
                    <a:lnTo>
                      <a:pt x="362573" y="461716"/>
                    </a:lnTo>
                    <a:lnTo>
                      <a:pt x="362573" y="460815"/>
                    </a:lnTo>
                    <a:lnTo>
                      <a:pt x="364108" y="460815"/>
                    </a:lnTo>
                    <a:lnTo>
                      <a:pt x="364108" y="458091"/>
                    </a:lnTo>
                    <a:lnTo>
                      <a:pt x="365631" y="458091"/>
                    </a:lnTo>
                    <a:lnTo>
                      <a:pt x="365631" y="457190"/>
                    </a:lnTo>
                    <a:lnTo>
                      <a:pt x="367177" y="457190"/>
                    </a:lnTo>
                    <a:lnTo>
                      <a:pt x="367177" y="455377"/>
                    </a:lnTo>
                    <a:lnTo>
                      <a:pt x="368667" y="455377"/>
                    </a:lnTo>
                    <a:lnTo>
                      <a:pt x="370201" y="455377"/>
                    </a:lnTo>
                    <a:lnTo>
                      <a:pt x="371736" y="455377"/>
                    </a:lnTo>
                    <a:lnTo>
                      <a:pt x="373259" y="455377"/>
                    </a:lnTo>
                    <a:lnTo>
                      <a:pt x="373259" y="454431"/>
                    </a:lnTo>
                    <a:lnTo>
                      <a:pt x="374805" y="454431"/>
                    </a:lnTo>
                    <a:lnTo>
                      <a:pt x="376329" y="454431"/>
                    </a:lnTo>
                    <a:lnTo>
                      <a:pt x="376329" y="451684"/>
                    </a:lnTo>
                    <a:lnTo>
                      <a:pt x="377863" y="451684"/>
                    </a:lnTo>
                    <a:lnTo>
                      <a:pt x="377863" y="449838"/>
                    </a:lnTo>
                    <a:lnTo>
                      <a:pt x="382467" y="449838"/>
                    </a:lnTo>
                    <a:lnTo>
                      <a:pt x="382467" y="447959"/>
                    </a:lnTo>
                    <a:lnTo>
                      <a:pt x="383990" y="447959"/>
                    </a:lnTo>
                    <a:lnTo>
                      <a:pt x="385492" y="447959"/>
                    </a:lnTo>
                    <a:lnTo>
                      <a:pt x="385492" y="447047"/>
                    </a:lnTo>
                    <a:lnTo>
                      <a:pt x="387026" y="447047"/>
                    </a:lnTo>
                    <a:lnTo>
                      <a:pt x="387026" y="446112"/>
                    </a:lnTo>
                    <a:lnTo>
                      <a:pt x="388561" y="446112"/>
                    </a:lnTo>
                    <a:lnTo>
                      <a:pt x="390095" y="446112"/>
                    </a:lnTo>
                    <a:lnTo>
                      <a:pt x="390095" y="445167"/>
                    </a:lnTo>
                    <a:lnTo>
                      <a:pt x="391619" y="445167"/>
                    </a:lnTo>
                    <a:lnTo>
                      <a:pt x="391619" y="443287"/>
                    </a:lnTo>
                    <a:lnTo>
                      <a:pt x="393153" y="443287"/>
                    </a:lnTo>
                    <a:lnTo>
                      <a:pt x="393153" y="441374"/>
                    </a:lnTo>
                    <a:lnTo>
                      <a:pt x="394688" y="441374"/>
                    </a:lnTo>
                    <a:lnTo>
                      <a:pt x="394688" y="440429"/>
                    </a:lnTo>
                    <a:lnTo>
                      <a:pt x="396223" y="440429"/>
                    </a:lnTo>
                    <a:lnTo>
                      <a:pt x="396223" y="437615"/>
                    </a:lnTo>
                    <a:lnTo>
                      <a:pt x="397757" y="437615"/>
                    </a:lnTo>
                    <a:lnTo>
                      <a:pt x="397757" y="434757"/>
                    </a:lnTo>
                    <a:lnTo>
                      <a:pt x="399292" y="434757"/>
                    </a:lnTo>
                    <a:lnTo>
                      <a:pt x="400815" y="434757"/>
                    </a:lnTo>
                    <a:lnTo>
                      <a:pt x="400815" y="433811"/>
                    </a:lnTo>
                    <a:lnTo>
                      <a:pt x="405386" y="433811"/>
                    </a:lnTo>
                    <a:lnTo>
                      <a:pt x="406920" y="433811"/>
                    </a:lnTo>
                    <a:lnTo>
                      <a:pt x="406920" y="432866"/>
                    </a:lnTo>
                    <a:lnTo>
                      <a:pt x="408444" y="432866"/>
                    </a:lnTo>
                    <a:lnTo>
                      <a:pt x="408444" y="431898"/>
                    </a:lnTo>
                    <a:lnTo>
                      <a:pt x="409978" y="431898"/>
                    </a:lnTo>
                    <a:lnTo>
                      <a:pt x="409978" y="429007"/>
                    </a:lnTo>
                    <a:lnTo>
                      <a:pt x="411513" y="429007"/>
                    </a:lnTo>
                    <a:lnTo>
                      <a:pt x="414582" y="429007"/>
                    </a:lnTo>
                    <a:lnTo>
                      <a:pt x="414582" y="428028"/>
                    </a:lnTo>
                    <a:lnTo>
                      <a:pt x="416117" y="428028"/>
                    </a:lnTo>
                    <a:lnTo>
                      <a:pt x="417651" y="428028"/>
                    </a:lnTo>
                    <a:lnTo>
                      <a:pt x="417651" y="426071"/>
                    </a:lnTo>
                    <a:lnTo>
                      <a:pt x="419175" y="426071"/>
                    </a:lnTo>
                    <a:lnTo>
                      <a:pt x="419175" y="423112"/>
                    </a:lnTo>
                    <a:lnTo>
                      <a:pt x="420709" y="423112"/>
                    </a:lnTo>
                    <a:lnTo>
                      <a:pt x="422210" y="423112"/>
                    </a:lnTo>
                    <a:lnTo>
                      <a:pt x="422210" y="422133"/>
                    </a:lnTo>
                    <a:lnTo>
                      <a:pt x="423745" y="422133"/>
                    </a:lnTo>
                    <a:lnTo>
                      <a:pt x="423745" y="420187"/>
                    </a:lnTo>
                    <a:lnTo>
                      <a:pt x="425280" y="420187"/>
                    </a:lnTo>
                    <a:lnTo>
                      <a:pt x="425280" y="419175"/>
                    </a:lnTo>
                    <a:lnTo>
                      <a:pt x="426803" y="419175"/>
                    </a:lnTo>
                    <a:lnTo>
                      <a:pt x="428349" y="419175"/>
                    </a:lnTo>
                    <a:lnTo>
                      <a:pt x="428349" y="418196"/>
                    </a:lnTo>
                    <a:lnTo>
                      <a:pt x="429872" y="418196"/>
                    </a:lnTo>
                    <a:lnTo>
                      <a:pt x="429872" y="416217"/>
                    </a:lnTo>
                    <a:lnTo>
                      <a:pt x="431407" y="416217"/>
                    </a:lnTo>
                    <a:lnTo>
                      <a:pt x="431407" y="415204"/>
                    </a:lnTo>
                    <a:lnTo>
                      <a:pt x="432941" y="415204"/>
                    </a:lnTo>
                    <a:lnTo>
                      <a:pt x="432941" y="412246"/>
                    </a:lnTo>
                    <a:lnTo>
                      <a:pt x="434476" y="412246"/>
                    </a:lnTo>
                    <a:lnTo>
                      <a:pt x="434476" y="411234"/>
                    </a:lnTo>
                    <a:lnTo>
                      <a:pt x="435999" y="411234"/>
                    </a:lnTo>
                    <a:lnTo>
                      <a:pt x="437534" y="411234"/>
                    </a:lnTo>
                    <a:lnTo>
                      <a:pt x="437534" y="409243"/>
                    </a:lnTo>
                    <a:lnTo>
                      <a:pt x="439035" y="409243"/>
                    </a:lnTo>
                    <a:lnTo>
                      <a:pt x="440570" y="409243"/>
                    </a:lnTo>
                    <a:lnTo>
                      <a:pt x="440570" y="408231"/>
                    </a:lnTo>
                    <a:lnTo>
                      <a:pt x="442104" y="408231"/>
                    </a:lnTo>
                    <a:lnTo>
                      <a:pt x="442104" y="406218"/>
                    </a:lnTo>
                    <a:lnTo>
                      <a:pt x="443639" y="406218"/>
                    </a:lnTo>
                    <a:lnTo>
                      <a:pt x="443639" y="405206"/>
                    </a:lnTo>
                    <a:lnTo>
                      <a:pt x="445162" y="405206"/>
                    </a:lnTo>
                    <a:lnTo>
                      <a:pt x="445162" y="401169"/>
                    </a:lnTo>
                    <a:lnTo>
                      <a:pt x="446697" y="401169"/>
                    </a:lnTo>
                    <a:lnTo>
                      <a:pt x="448232" y="401169"/>
                    </a:lnTo>
                    <a:lnTo>
                      <a:pt x="448232" y="400156"/>
                    </a:lnTo>
                    <a:lnTo>
                      <a:pt x="449766" y="400156"/>
                    </a:lnTo>
                    <a:lnTo>
                      <a:pt x="449766" y="398099"/>
                    </a:lnTo>
                    <a:lnTo>
                      <a:pt x="451290" y="398099"/>
                    </a:lnTo>
                    <a:lnTo>
                      <a:pt x="451290" y="395029"/>
                    </a:lnTo>
                    <a:lnTo>
                      <a:pt x="452835" y="395029"/>
                    </a:lnTo>
                    <a:lnTo>
                      <a:pt x="454359" y="395029"/>
                    </a:lnTo>
                    <a:lnTo>
                      <a:pt x="454359" y="392972"/>
                    </a:lnTo>
                    <a:lnTo>
                      <a:pt x="455893" y="392972"/>
                    </a:lnTo>
                    <a:lnTo>
                      <a:pt x="455893" y="391971"/>
                    </a:lnTo>
                    <a:lnTo>
                      <a:pt x="457395" y="391971"/>
                    </a:lnTo>
                    <a:lnTo>
                      <a:pt x="457395" y="390925"/>
                    </a:lnTo>
                    <a:lnTo>
                      <a:pt x="458929" y="390925"/>
                    </a:lnTo>
                    <a:lnTo>
                      <a:pt x="458929" y="389913"/>
                    </a:lnTo>
                    <a:lnTo>
                      <a:pt x="460464" y="389913"/>
                    </a:lnTo>
                    <a:lnTo>
                      <a:pt x="460464" y="388868"/>
                    </a:lnTo>
                    <a:lnTo>
                      <a:pt x="461987" y="388868"/>
                    </a:lnTo>
                    <a:lnTo>
                      <a:pt x="463522" y="388868"/>
                    </a:lnTo>
                    <a:lnTo>
                      <a:pt x="463522" y="383707"/>
                    </a:lnTo>
                    <a:lnTo>
                      <a:pt x="466591" y="383707"/>
                    </a:lnTo>
                    <a:lnTo>
                      <a:pt x="466591" y="382662"/>
                    </a:lnTo>
                    <a:lnTo>
                      <a:pt x="468125" y="382662"/>
                    </a:lnTo>
                    <a:lnTo>
                      <a:pt x="468125" y="381616"/>
                    </a:lnTo>
                    <a:lnTo>
                      <a:pt x="469660" y="381616"/>
                    </a:lnTo>
                    <a:lnTo>
                      <a:pt x="469660" y="380571"/>
                    </a:lnTo>
                    <a:lnTo>
                      <a:pt x="471195" y="380571"/>
                    </a:lnTo>
                    <a:lnTo>
                      <a:pt x="471195" y="378480"/>
                    </a:lnTo>
                    <a:lnTo>
                      <a:pt x="472718" y="378480"/>
                    </a:lnTo>
                    <a:lnTo>
                      <a:pt x="472718" y="375343"/>
                    </a:lnTo>
                    <a:lnTo>
                      <a:pt x="474219" y="375343"/>
                    </a:lnTo>
                    <a:lnTo>
                      <a:pt x="474219" y="373252"/>
                    </a:lnTo>
                    <a:lnTo>
                      <a:pt x="475754" y="373252"/>
                    </a:lnTo>
                    <a:lnTo>
                      <a:pt x="475754" y="371162"/>
                    </a:lnTo>
                    <a:lnTo>
                      <a:pt x="477289" y="371162"/>
                    </a:lnTo>
                    <a:lnTo>
                      <a:pt x="477289" y="370116"/>
                    </a:lnTo>
                    <a:lnTo>
                      <a:pt x="478823" y="370116"/>
                    </a:lnTo>
                    <a:lnTo>
                      <a:pt x="478823" y="369071"/>
                    </a:lnTo>
                    <a:lnTo>
                      <a:pt x="480347" y="369071"/>
                    </a:lnTo>
                    <a:lnTo>
                      <a:pt x="480347" y="368036"/>
                    </a:lnTo>
                    <a:lnTo>
                      <a:pt x="481881" y="368036"/>
                    </a:lnTo>
                    <a:lnTo>
                      <a:pt x="481881" y="364867"/>
                    </a:lnTo>
                    <a:lnTo>
                      <a:pt x="483416" y="364867"/>
                    </a:lnTo>
                    <a:lnTo>
                      <a:pt x="484950" y="364867"/>
                    </a:lnTo>
                    <a:lnTo>
                      <a:pt x="484950" y="363810"/>
                    </a:lnTo>
                    <a:lnTo>
                      <a:pt x="486485" y="363810"/>
                    </a:lnTo>
                    <a:lnTo>
                      <a:pt x="486485" y="362731"/>
                    </a:lnTo>
                    <a:lnTo>
                      <a:pt x="488019" y="362731"/>
                    </a:lnTo>
                    <a:lnTo>
                      <a:pt x="489543" y="362731"/>
                    </a:lnTo>
                    <a:lnTo>
                      <a:pt x="489543" y="360607"/>
                    </a:lnTo>
                    <a:lnTo>
                      <a:pt x="491078" y="360607"/>
                    </a:lnTo>
                    <a:lnTo>
                      <a:pt x="492579" y="360607"/>
                    </a:lnTo>
                    <a:lnTo>
                      <a:pt x="492579" y="359561"/>
                    </a:lnTo>
                    <a:lnTo>
                      <a:pt x="494113" y="359561"/>
                    </a:lnTo>
                    <a:lnTo>
                      <a:pt x="494113" y="358482"/>
                    </a:lnTo>
                    <a:lnTo>
                      <a:pt x="495648" y="358482"/>
                    </a:lnTo>
                    <a:lnTo>
                      <a:pt x="495648" y="357404"/>
                    </a:lnTo>
                    <a:lnTo>
                      <a:pt x="497171" y="357404"/>
                    </a:lnTo>
                    <a:lnTo>
                      <a:pt x="498706" y="357404"/>
                    </a:lnTo>
                    <a:lnTo>
                      <a:pt x="498706" y="355246"/>
                    </a:lnTo>
                    <a:lnTo>
                      <a:pt x="500241" y="355246"/>
                    </a:lnTo>
                    <a:lnTo>
                      <a:pt x="500241" y="354167"/>
                    </a:lnTo>
                    <a:lnTo>
                      <a:pt x="501775" y="354167"/>
                    </a:lnTo>
                    <a:lnTo>
                      <a:pt x="503310" y="354167"/>
                    </a:lnTo>
                    <a:lnTo>
                      <a:pt x="504833" y="354167"/>
                    </a:lnTo>
                    <a:lnTo>
                      <a:pt x="504833" y="353077"/>
                    </a:lnTo>
                    <a:lnTo>
                      <a:pt x="506379" y="353077"/>
                    </a:lnTo>
                    <a:lnTo>
                      <a:pt x="506379" y="351998"/>
                    </a:lnTo>
                    <a:lnTo>
                      <a:pt x="507902" y="351998"/>
                    </a:lnTo>
                    <a:lnTo>
                      <a:pt x="507902" y="350920"/>
                    </a:lnTo>
                    <a:lnTo>
                      <a:pt x="510938" y="350920"/>
                    </a:lnTo>
                    <a:lnTo>
                      <a:pt x="510938" y="348729"/>
                    </a:lnTo>
                    <a:lnTo>
                      <a:pt x="512462" y="348729"/>
                    </a:lnTo>
                    <a:lnTo>
                      <a:pt x="512462" y="346538"/>
                    </a:lnTo>
                    <a:lnTo>
                      <a:pt x="514007" y="346538"/>
                    </a:lnTo>
                    <a:lnTo>
                      <a:pt x="514007" y="345448"/>
                    </a:lnTo>
                    <a:lnTo>
                      <a:pt x="515531" y="345448"/>
                    </a:lnTo>
                    <a:lnTo>
                      <a:pt x="517065" y="345448"/>
                    </a:lnTo>
                    <a:lnTo>
                      <a:pt x="517065" y="344335"/>
                    </a:lnTo>
                    <a:lnTo>
                      <a:pt x="520134" y="344335"/>
                    </a:lnTo>
                    <a:lnTo>
                      <a:pt x="520134" y="343223"/>
                    </a:lnTo>
                    <a:lnTo>
                      <a:pt x="521669" y="343223"/>
                    </a:lnTo>
                    <a:lnTo>
                      <a:pt x="523193" y="343223"/>
                    </a:lnTo>
                    <a:lnTo>
                      <a:pt x="523193" y="342111"/>
                    </a:lnTo>
                    <a:lnTo>
                      <a:pt x="524738" y="342111"/>
                    </a:lnTo>
                    <a:lnTo>
                      <a:pt x="526262" y="342111"/>
                    </a:lnTo>
                    <a:lnTo>
                      <a:pt x="526262" y="340999"/>
                    </a:lnTo>
                    <a:lnTo>
                      <a:pt x="527763" y="340999"/>
                    </a:lnTo>
                    <a:lnTo>
                      <a:pt x="530832" y="340999"/>
                    </a:lnTo>
                    <a:lnTo>
                      <a:pt x="530832" y="339875"/>
                    </a:lnTo>
                    <a:lnTo>
                      <a:pt x="532367" y="339875"/>
                    </a:lnTo>
                    <a:lnTo>
                      <a:pt x="533890" y="339875"/>
                    </a:lnTo>
                    <a:lnTo>
                      <a:pt x="535425" y="339875"/>
                    </a:lnTo>
                    <a:lnTo>
                      <a:pt x="536959" y="339875"/>
                    </a:lnTo>
                    <a:lnTo>
                      <a:pt x="536959" y="338730"/>
                    </a:lnTo>
                    <a:lnTo>
                      <a:pt x="538494" y="338730"/>
                    </a:lnTo>
                    <a:lnTo>
                      <a:pt x="540028" y="338730"/>
                    </a:lnTo>
                    <a:lnTo>
                      <a:pt x="540028" y="337573"/>
                    </a:lnTo>
                    <a:lnTo>
                      <a:pt x="543087" y="337573"/>
                    </a:lnTo>
                    <a:lnTo>
                      <a:pt x="543087" y="336428"/>
                    </a:lnTo>
                    <a:lnTo>
                      <a:pt x="544621" y="336428"/>
                    </a:lnTo>
                    <a:lnTo>
                      <a:pt x="544621" y="335315"/>
                    </a:lnTo>
                    <a:lnTo>
                      <a:pt x="546122" y="335315"/>
                    </a:lnTo>
                    <a:lnTo>
                      <a:pt x="546122" y="331834"/>
                    </a:lnTo>
                    <a:lnTo>
                      <a:pt x="547657" y="331834"/>
                    </a:lnTo>
                    <a:lnTo>
                      <a:pt x="547657" y="329532"/>
                    </a:lnTo>
                    <a:lnTo>
                      <a:pt x="549191" y="329532"/>
                    </a:lnTo>
                    <a:lnTo>
                      <a:pt x="549191" y="328375"/>
                    </a:lnTo>
                    <a:lnTo>
                      <a:pt x="553784" y="328375"/>
                    </a:lnTo>
                    <a:lnTo>
                      <a:pt x="553784" y="326051"/>
                    </a:lnTo>
                    <a:lnTo>
                      <a:pt x="555319" y="326051"/>
                    </a:lnTo>
                    <a:lnTo>
                      <a:pt x="555319" y="324861"/>
                    </a:lnTo>
                    <a:lnTo>
                      <a:pt x="556853" y="324861"/>
                    </a:lnTo>
                    <a:lnTo>
                      <a:pt x="556853" y="323715"/>
                    </a:lnTo>
                    <a:lnTo>
                      <a:pt x="558377" y="323715"/>
                    </a:lnTo>
                    <a:lnTo>
                      <a:pt x="558377" y="322525"/>
                    </a:lnTo>
                    <a:lnTo>
                      <a:pt x="559922" y="322525"/>
                    </a:lnTo>
                    <a:lnTo>
                      <a:pt x="561446" y="322525"/>
                    </a:lnTo>
                    <a:lnTo>
                      <a:pt x="561446" y="321346"/>
                    </a:lnTo>
                    <a:lnTo>
                      <a:pt x="564482" y="321346"/>
                    </a:lnTo>
                    <a:lnTo>
                      <a:pt x="564482" y="320156"/>
                    </a:lnTo>
                    <a:lnTo>
                      <a:pt x="566005" y="320156"/>
                    </a:lnTo>
                    <a:lnTo>
                      <a:pt x="566005" y="318977"/>
                    </a:lnTo>
                    <a:lnTo>
                      <a:pt x="567551" y="318977"/>
                    </a:lnTo>
                    <a:lnTo>
                      <a:pt x="567551" y="317787"/>
                    </a:lnTo>
                    <a:lnTo>
                      <a:pt x="569074" y="317787"/>
                    </a:lnTo>
                    <a:lnTo>
                      <a:pt x="569074" y="316608"/>
                    </a:lnTo>
                    <a:lnTo>
                      <a:pt x="570609" y="316608"/>
                    </a:lnTo>
                    <a:lnTo>
                      <a:pt x="575213" y="316608"/>
                    </a:lnTo>
                    <a:lnTo>
                      <a:pt x="576736" y="316608"/>
                    </a:lnTo>
                    <a:lnTo>
                      <a:pt x="576736" y="312983"/>
                    </a:lnTo>
                    <a:lnTo>
                      <a:pt x="578271" y="312983"/>
                    </a:lnTo>
                    <a:lnTo>
                      <a:pt x="578271" y="311759"/>
                    </a:lnTo>
                    <a:lnTo>
                      <a:pt x="579805" y="311759"/>
                    </a:lnTo>
                    <a:lnTo>
                      <a:pt x="579805" y="310547"/>
                    </a:lnTo>
                    <a:lnTo>
                      <a:pt x="581307" y="310547"/>
                    </a:lnTo>
                    <a:lnTo>
                      <a:pt x="582841" y="310547"/>
                    </a:lnTo>
                    <a:lnTo>
                      <a:pt x="582841" y="309324"/>
                    </a:lnTo>
                    <a:lnTo>
                      <a:pt x="584365" y="309324"/>
                    </a:lnTo>
                    <a:lnTo>
                      <a:pt x="584365" y="308111"/>
                    </a:lnTo>
                    <a:lnTo>
                      <a:pt x="585899" y="308111"/>
                    </a:lnTo>
                    <a:lnTo>
                      <a:pt x="585899" y="306888"/>
                    </a:lnTo>
                    <a:lnTo>
                      <a:pt x="587434" y="306888"/>
                    </a:lnTo>
                    <a:lnTo>
                      <a:pt x="587434" y="305664"/>
                    </a:lnTo>
                    <a:lnTo>
                      <a:pt x="588968" y="305664"/>
                    </a:lnTo>
                    <a:lnTo>
                      <a:pt x="590503" y="305664"/>
                    </a:lnTo>
                    <a:lnTo>
                      <a:pt x="590503" y="304408"/>
                    </a:lnTo>
                    <a:lnTo>
                      <a:pt x="592037" y="304408"/>
                    </a:lnTo>
                    <a:lnTo>
                      <a:pt x="592037" y="300682"/>
                    </a:lnTo>
                    <a:lnTo>
                      <a:pt x="596630" y="300682"/>
                    </a:lnTo>
                    <a:lnTo>
                      <a:pt x="596630" y="299425"/>
                    </a:lnTo>
                    <a:lnTo>
                      <a:pt x="598131" y="299425"/>
                    </a:lnTo>
                    <a:lnTo>
                      <a:pt x="599666" y="299425"/>
                    </a:lnTo>
                    <a:lnTo>
                      <a:pt x="599666" y="296923"/>
                    </a:lnTo>
                    <a:lnTo>
                      <a:pt x="601189" y="296923"/>
                    </a:lnTo>
                    <a:lnTo>
                      <a:pt x="601189" y="295666"/>
                    </a:lnTo>
                    <a:lnTo>
                      <a:pt x="602735" y="295666"/>
                    </a:lnTo>
                    <a:lnTo>
                      <a:pt x="604258" y="295666"/>
                    </a:lnTo>
                    <a:lnTo>
                      <a:pt x="604258" y="294376"/>
                    </a:lnTo>
                    <a:lnTo>
                      <a:pt x="605793" y="294376"/>
                    </a:lnTo>
                    <a:lnTo>
                      <a:pt x="605793" y="293119"/>
                    </a:lnTo>
                    <a:lnTo>
                      <a:pt x="607328" y="293119"/>
                    </a:lnTo>
                    <a:lnTo>
                      <a:pt x="607328" y="291829"/>
                    </a:lnTo>
                    <a:lnTo>
                      <a:pt x="608862" y="291829"/>
                    </a:lnTo>
                    <a:lnTo>
                      <a:pt x="610397" y="291829"/>
                    </a:lnTo>
                    <a:lnTo>
                      <a:pt x="611920" y="291829"/>
                    </a:lnTo>
                    <a:lnTo>
                      <a:pt x="613466" y="291829"/>
                    </a:lnTo>
                    <a:lnTo>
                      <a:pt x="616491" y="291829"/>
                    </a:lnTo>
                    <a:lnTo>
                      <a:pt x="616491" y="290539"/>
                    </a:lnTo>
                    <a:lnTo>
                      <a:pt x="618025" y="290539"/>
                    </a:lnTo>
                    <a:lnTo>
                      <a:pt x="619549" y="290539"/>
                    </a:lnTo>
                    <a:lnTo>
                      <a:pt x="619549" y="289260"/>
                    </a:lnTo>
                    <a:lnTo>
                      <a:pt x="621094" y="289260"/>
                    </a:lnTo>
                    <a:lnTo>
                      <a:pt x="622618" y="289260"/>
                    </a:lnTo>
                    <a:lnTo>
                      <a:pt x="624152" y="289260"/>
                    </a:lnTo>
                    <a:lnTo>
                      <a:pt x="624152" y="287936"/>
                    </a:lnTo>
                    <a:lnTo>
                      <a:pt x="627222" y="287936"/>
                    </a:lnTo>
                    <a:lnTo>
                      <a:pt x="627222" y="286601"/>
                    </a:lnTo>
                    <a:lnTo>
                      <a:pt x="628756" y="286601"/>
                    </a:lnTo>
                    <a:lnTo>
                      <a:pt x="630280" y="286601"/>
                    </a:lnTo>
                    <a:lnTo>
                      <a:pt x="631814" y="286601"/>
                    </a:lnTo>
                    <a:lnTo>
                      <a:pt x="631814" y="285278"/>
                    </a:lnTo>
                    <a:lnTo>
                      <a:pt x="633316" y="285278"/>
                    </a:lnTo>
                    <a:lnTo>
                      <a:pt x="634850" y="285278"/>
                    </a:lnTo>
                    <a:lnTo>
                      <a:pt x="636385" y="285278"/>
                    </a:lnTo>
                    <a:lnTo>
                      <a:pt x="636385" y="283921"/>
                    </a:lnTo>
                    <a:lnTo>
                      <a:pt x="637908" y="283921"/>
                    </a:lnTo>
                    <a:lnTo>
                      <a:pt x="637908" y="282597"/>
                    </a:lnTo>
                    <a:lnTo>
                      <a:pt x="639443" y="282597"/>
                    </a:lnTo>
                    <a:lnTo>
                      <a:pt x="640977" y="282597"/>
                    </a:lnTo>
                    <a:lnTo>
                      <a:pt x="642512" y="282597"/>
                    </a:lnTo>
                    <a:lnTo>
                      <a:pt x="642512" y="281241"/>
                    </a:lnTo>
                    <a:lnTo>
                      <a:pt x="644046" y="281241"/>
                    </a:lnTo>
                    <a:lnTo>
                      <a:pt x="644046" y="279884"/>
                    </a:lnTo>
                    <a:lnTo>
                      <a:pt x="645581" y="279884"/>
                    </a:lnTo>
                    <a:lnTo>
                      <a:pt x="645581" y="278527"/>
                    </a:lnTo>
                    <a:lnTo>
                      <a:pt x="647105" y="278527"/>
                    </a:lnTo>
                    <a:lnTo>
                      <a:pt x="647105" y="277125"/>
                    </a:lnTo>
                    <a:lnTo>
                      <a:pt x="650174" y="277125"/>
                    </a:lnTo>
                    <a:lnTo>
                      <a:pt x="651675" y="277125"/>
                    </a:lnTo>
                    <a:lnTo>
                      <a:pt x="653210" y="277125"/>
                    </a:lnTo>
                    <a:lnTo>
                      <a:pt x="653210" y="275769"/>
                    </a:lnTo>
                    <a:lnTo>
                      <a:pt x="654733" y="275769"/>
                    </a:lnTo>
                    <a:lnTo>
                      <a:pt x="656267" y="275769"/>
                    </a:lnTo>
                    <a:lnTo>
                      <a:pt x="657802" y="275769"/>
                    </a:lnTo>
                    <a:lnTo>
                      <a:pt x="657802" y="271620"/>
                    </a:lnTo>
                    <a:lnTo>
                      <a:pt x="660871" y="271620"/>
                    </a:lnTo>
                    <a:lnTo>
                      <a:pt x="662406" y="271620"/>
                    </a:lnTo>
                    <a:lnTo>
                      <a:pt x="662406" y="270230"/>
                    </a:lnTo>
                    <a:lnTo>
                      <a:pt x="663940" y="270230"/>
                    </a:lnTo>
                    <a:lnTo>
                      <a:pt x="665464" y="270230"/>
                    </a:lnTo>
                    <a:lnTo>
                      <a:pt x="671569" y="270230"/>
                    </a:lnTo>
                    <a:lnTo>
                      <a:pt x="671569" y="268840"/>
                    </a:lnTo>
                    <a:lnTo>
                      <a:pt x="673092" y="268840"/>
                    </a:lnTo>
                    <a:lnTo>
                      <a:pt x="674627" y="268840"/>
                    </a:lnTo>
                    <a:lnTo>
                      <a:pt x="674627" y="267405"/>
                    </a:lnTo>
                    <a:lnTo>
                      <a:pt x="676161" y="267405"/>
                    </a:lnTo>
                    <a:lnTo>
                      <a:pt x="677696" y="267405"/>
                    </a:lnTo>
                    <a:lnTo>
                      <a:pt x="680765" y="267405"/>
                    </a:lnTo>
                    <a:lnTo>
                      <a:pt x="680765" y="265981"/>
                    </a:lnTo>
                    <a:lnTo>
                      <a:pt x="683823" y="265981"/>
                    </a:lnTo>
                    <a:lnTo>
                      <a:pt x="683823" y="264558"/>
                    </a:lnTo>
                    <a:lnTo>
                      <a:pt x="685358" y="264558"/>
                    </a:lnTo>
                    <a:lnTo>
                      <a:pt x="686859" y="264558"/>
                    </a:lnTo>
                    <a:lnTo>
                      <a:pt x="688394" y="264558"/>
                    </a:lnTo>
                    <a:lnTo>
                      <a:pt x="688394" y="261655"/>
                    </a:lnTo>
                    <a:lnTo>
                      <a:pt x="689917" y="261655"/>
                    </a:lnTo>
                    <a:lnTo>
                      <a:pt x="689917" y="258763"/>
                    </a:lnTo>
                    <a:lnTo>
                      <a:pt x="691452" y="258763"/>
                    </a:lnTo>
                    <a:lnTo>
                      <a:pt x="691452" y="257340"/>
                    </a:lnTo>
                    <a:lnTo>
                      <a:pt x="694521" y="257340"/>
                    </a:lnTo>
                    <a:lnTo>
                      <a:pt x="696055" y="257340"/>
                    </a:lnTo>
                    <a:lnTo>
                      <a:pt x="697579" y="257340"/>
                    </a:lnTo>
                    <a:lnTo>
                      <a:pt x="699125" y="257340"/>
                    </a:lnTo>
                    <a:lnTo>
                      <a:pt x="699125" y="255871"/>
                    </a:lnTo>
                    <a:lnTo>
                      <a:pt x="703717" y="255871"/>
                    </a:lnTo>
                    <a:lnTo>
                      <a:pt x="703717" y="254414"/>
                    </a:lnTo>
                    <a:lnTo>
                      <a:pt x="705219" y="254414"/>
                    </a:lnTo>
                    <a:lnTo>
                      <a:pt x="706753" y="254414"/>
                    </a:lnTo>
                    <a:lnTo>
                      <a:pt x="706753" y="252946"/>
                    </a:lnTo>
                    <a:lnTo>
                      <a:pt x="708277" y="252946"/>
                    </a:lnTo>
                    <a:lnTo>
                      <a:pt x="708277" y="250021"/>
                    </a:lnTo>
                    <a:lnTo>
                      <a:pt x="709811" y="250021"/>
                    </a:lnTo>
                    <a:lnTo>
                      <a:pt x="714415" y="250021"/>
                    </a:lnTo>
                    <a:lnTo>
                      <a:pt x="714415" y="248564"/>
                    </a:lnTo>
                    <a:lnTo>
                      <a:pt x="715949" y="248564"/>
                    </a:lnTo>
                    <a:lnTo>
                      <a:pt x="717484" y="248564"/>
                    </a:lnTo>
                    <a:lnTo>
                      <a:pt x="719007" y="248564"/>
                    </a:lnTo>
                    <a:lnTo>
                      <a:pt x="720542" y="248564"/>
                    </a:lnTo>
                    <a:lnTo>
                      <a:pt x="720542" y="247063"/>
                    </a:lnTo>
                    <a:lnTo>
                      <a:pt x="722043" y="247063"/>
                    </a:lnTo>
                    <a:lnTo>
                      <a:pt x="722043" y="242570"/>
                    </a:lnTo>
                    <a:lnTo>
                      <a:pt x="723578" y="242570"/>
                    </a:lnTo>
                    <a:lnTo>
                      <a:pt x="723578" y="241035"/>
                    </a:lnTo>
                    <a:lnTo>
                      <a:pt x="726636" y="241035"/>
                    </a:lnTo>
                    <a:lnTo>
                      <a:pt x="728170" y="241035"/>
                    </a:lnTo>
                    <a:lnTo>
                      <a:pt x="728170" y="239533"/>
                    </a:lnTo>
                    <a:lnTo>
                      <a:pt x="729705" y="239533"/>
                    </a:lnTo>
                    <a:lnTo>
                      <a:pt x="731240" y="239533"/>
                    </a:lnTo>
                    <a:lnTo>
                      <a:pt x="731240" y="236475"/>
                    </a:lnTo>
                    <a:lnTo>
                      <a:pt x="732774" y="236475"/>
                    </a:lnTo>
                    <a:lnTo>
                      <a:pt x="734309" y="236475"/>
                    </a:lnTo>
                    <a:lnTo>
                      <a:pt x="734309" y="234940"/>
                    </a:lnTo>
                    <a:lnTo>
                      <a:pt x="735832" y="234940"/>
                    </a:lnTo>
                    <a:lnTo>
                      <a:pt x="735832" y="233405"/>
                    </a:lnTo>
                    <a:lnTo>
                      <a:pt x="737367" y="233405"/>
                    </a:lnTo>
                    <a:lnTo>
                      <a:pt x="740403" y="233405"/>
                    </a:lnTo>
                    <a:lnTo>
                      <a:pt x="740403" y="231870"/>
                    </a:lnTo>
                    <a:lnTo>
                      <a:pt x="741937" y="231870"/>
                    </a:lnTo>
                    <a:lnTo>
                      <a:pt x="746530" y="231870"/>
                    </a:lnTo>
                    <a:lnTo>
                      <a:pt x="748064" y="231870"/>
                    </a:lnTo>
                    <a:lnTo>
                      <a:pt x="749599" y="231870"/>
                    </a:lnTo>
                    <a:lnTo>
                      <a:pt x="749599" y="230302"/>
                    </a:lnTo>
                    <a:lnTo>
                      <a:pt x="751122" y="230302"/>
                    </a:lnTo>
                    <a:lnTo>
                      <a:pt x="751122" y="228701"/>
                    </a:lnTo>
                    <a:lnTo>
                      <a:pt x="752668" y="228701"/>
                    </a:lnTo>
                    <a:lnTo>
                      <a:pt x="754192" y="228701"/>
                    </a:lnTo>
                    <a:lnTo>
                      <a:pt x="754192" y="227132"/>
                    </a:lnTo>
                    <a:lnTo>
                      <a:pt x="757228" y="227132"/>
                    </a:lnTo>
                    <a:lnTo>
                      <a:pt x="758751" y="227132"/>
                    </a:lnTo>
                    <a:lnTo>
                      <a:pt x="760297" y="227132"/>
                    </a:lnTo>
                    <a:lnTo>
                      <a:pt x="761820" y="227132"/>
                    </a:lnTo>
                    <a:lnTo>
                      <a:pt x="761820" y="223929"/>
                    </a:lnTo>
                    <a:lnTo>
                      <a:pt x="763355" y="223929"/>
                    </a:lnTo>
                    <a:lnTo>
                      <a:pt x="763355" y="220726"/>
                    </a:lnTo>
                    <a:lnTo>
                      <a:pt x="764889" y="220726"/>
                    </a:lnTo>
                    <a:lnTo>
                      <a:pt x="764889" y="215877"/>
                    </a:lnTo>
                    <a:lnTo>
                      <a:pt x="767958" y="215877"/>
                    </a:lnTo>
                    <a:lnTo>
                      <a:pt x="769493" y="215877"/>
                    </a:lnTo>
                    <a:lnTo>
                      <a:pt x="771016" y="215877"/>
                    </a:lnTo>
                    <a:lnTo>
                      <a:pt x="774086" y="215877"/>
                    </a:lnTo>
                    <a:lnTo>
                      <a:pt x="775587" y="215877"/>
                    </a:lnTo>
                    <a:lnTo>
                      <a:pt x="775587" y="214242"/>
                    </a:lnTo>
                    <a:lnTo>
                      <a:pt x="778645" y="214242"/>
                    </a:lnTo>
                    <a:lnTo>
                      <a:pt x="780180" y="214242"/>
                    </a:lnTo>
                    <a:lnTo>
                      <a:pt x="780180" y="212607"/>
                    </a:lnTo>
                    <a:lnTo>
                      <a:pt x="783249" y="212607"/>
                    </a:lnTo>
                    <a:lnTo>
                      <a:pt x="784783" y="212607"/>
                    </a:lnTo>
                    <a:lnTo>
                      <a:pt x="784783" y="210972"/>
                    </a:lnTo>
                    <a:lnTo>
                      <a:pt x="786307" y="210972"/>
                    </a:lnTo>
                    <a:lnTo>
                      <a:pt x="786307" y="209293"/>
                    </a:lnTo>
                    <a:lnTo>
                      <a:pt x="787852" y="209293"/>
                    </a:lnTo>
                    <a:lnTo>
                      <a:pt x="787852" y="207658"/>
                    </a:lnTo>
                    <a:lnTo>
                      <a:pt x="789376" y="207658"/>
                    </a:lnTo>
                    <a:lnTo>
                      <a:pt x="790910" y="207658"/>
                    </a:lnTo>
                    <a:lnTo>
                      <a:pt x="792445" y="207658"/>
                    </a:lnTo>
                    <a:lnTo>
                      <a:pt x="793935" y="207658"/>
                    </a:lnTo>
                    <a:lnTo>
                      <a:pt x="793935" y="204310"/>
                    </a:lnTo>
                    <a:lnTo>
                      <a:pt x="800074" y="204310"/>
                    </a:lnTo>
                    <a:lnTo>
                      <a:pt x="800074" y="200962"/>
                    </a:lnTo>
                    <a:lnTo>
                      <a:pt x="801608" y="200962"/>
                    </a:lnTo>
                    <a:lnTo>
                      <a:pt x="803143" y="200962"/>
                    </a:lnTo>
                    <a:lnTo>
                      <a:pt x="804666" y="200962"/>
                    </a:lnTo>
                    <a:lnTo>
                      <a:pt x="804666" y="199294"/>
                    </a:lnTo>
                    <a:lnTo>
                      <a:pt x="806212" y="199294"/>
                    </a:lnTo>
                    <a:lnTo>
                      <a:pt x="807735" y="199294"/>
                    </a:lnTo>
                    <a:lnTo>
                      <a:pt x="809270" y="199294"/>
                    </a:lnTo>
                    <a:lnTo>
                      <a:pt x="810771" y="199294"/>
                    </a:lnTo>
                    <a:lnTo>
                      <a:pt x="812295" y="199294"/>
                    </a:lnTo>
                    <a:lnTo>
                      <a:pt x="812295" y="197592"/>
                    </a:lnTo>
                    <a:lnTo>
                      <a:pt x="813840" y="197592"/>
                    </a:lnTo>
                    <a:lnTo>
                      <a:pt x="813840" y="195880"/>
                    </a:lnTo>
                    <a:lnTo>
                      <a:pt x="815364" y="195880"/>
                    </a:lnTo>
                    <a:lnTo>
                      <a:pt x="821502" y="195880"/>
                    </a:lnTo>
                    <a:lnTo>
                      <a:pt x="821502" y="194167"/>
                    </a:lnTo>
                    <a:lnTo>
                      <a:pt x="823025" y="194167"/>
                    </a:lnTo>
                    <a:lnTo>
                      <a:pt x="824560" y="194167"/>
                    </a:lnTo>
                    <a:lnTo>
                      <a:pt x="824560" y="192432"/>
                    </a:lnTo>
                    <a:lnTo>
                      <a:pt x="826095" y="192432"/>
                    </a:lnTo>
                    <a:lnTo>
                      <a:pt x="832189" y="192432"/>
                    </a:lnTo>
                    <a:lnTo>
                      <a:pt x="833723" y="192432"/>
                    </a:lnTo>
                    <a:lnTo>
                      <a:pt x="835258" y="192432"/>
                    </a:lnTo>
                    <a:lnTo>
                      <a:pt x="842919" y="192432"/>
                    </a:lnTo>
                    <a:lnTo>
                      <a:pt x="844454" y="192432"/>
                    </a:lnTo>
                    <a:lnTo>
                      <a:pt x="845955" y="192432"/>
                    </a:lnTo>
                    <a:lnTo>
                      <a:pt x="847479" y="192432"/>
                    </a:lnTo>
                    <a:lnTo>
                      <a:pt x="849024" y="192432"/>
                    </a:lnTo>
                    <a:lnTo>
                      <a:pt x="852083" y="192432"/>
                    </a:lnTo>
                    <a:lnTo>
                      <a:pt x="853617" y="192432"/>
                    </a:lnTo>
                    <a:lnTo>
                      <a:pt x="855152" y="192432"/>
                    </a:lnTo>
                    <a:lnTo>
                      <a:pt x="856686" y="192432"/>
                    </a:lnTo>
                    <a:lnTo>
                      <a:pt x="858210" y="192432"/>
                    </a:lnTo>
                    <a:lnTo>
                      <a:pt x="859744" y="192432"/>
                    </a:lnTo>
                    <a:lnTo>
                      <a:pt x="864315" y="192432"/>
                    </a:lnTo>
                    <a:lnTo>
                      <a:pt x="865838" y="192432"/>
                    </a:lnTo>
                    <a:lnTo>
                      <a:pt x="865838" y="190619"/>
                    </a:lnTo>
                    <a:lnTo>
                      <a:pt x="867373" y="190619"/>
                    </a:lnTo>
                    <a:lnTo>
                      <a:pt x="868907" y="190619"/>
                    </a:lnTo>
                    <a:lnTo>
                      <a:pt x="870442" y="190619"/>
                    </a:lnTo>
                    <a:lnTo>
                      <a:pt x="873511" y="190619"/>
                    </a:lnTo>
                    <a:lnTo>
                      <a:pt x="876569" y="190619"/>
                    </a:lnTo>
                    <a:lnTo>
                      <a:pt x="878104" y="190619"/>
                    </a:lnTo>
                    <a:lnTo>
                      <a:pt x="879638" y="190619"/>
                    </a:lnTo>
                    <a:lnTo>
                      <a:pt x="881139" y="190619"/>
                    </a:lnTo>
                    <a:lnTo>
                      <a:pt x="882663" y="190619"/>
                    </a:lnTo>
                    <a:lnTo>
                      <a:pt x="882663" y="188706"/>
                    </a:lnTo>
                    <a:lnTo>
                      <a:pt x="885732" y="188706"/>
                    </a:lnTo>
                    <a:lnTo>
                      <a:pt x="887267" y="188706"/>
                    </a:lnTo>
                    <a:lnTo>
                      <a:pt x="888801" y="188706"/>
                    </a:lnTo>
                    <a:lnTo>
                      <a:pt x="890336" y="188706"/>
                    </a:lnTo>
                    <a:lnTo>
                      <a:pt x="890336" y="186782"/>
                    </a:lnTo>
                    <a:lnTo>
                      <a:pt x="891870" y="186782"/>
                    </a:lnTo>
                    <a:lnTo>
                      <a:pt x="897998" y="186782"/>
                    </a:lnTo>
                    <a:lnTo>
                      <a:pt x="899499" y="186782"/>
                    </a:lnTo>
                    <a:lnTo>
                      <a:pt x="902557" y="186782"/>
                    </a:lnTo>
                    <a:lnTo>
                      <a:pt x="905626" y="186782"/>
                    </a:lnTo>
                    <a:lnTo>
                      <a:pt x="905626" y="184836"/>
                    </a:lnTo>
                    <a:lnTo>
                      <a:pt x="908695" y="184836"/>
                    </a:lnTo>
                    <a:lnTo>
                      <a:pt x="910230" y="184836"/>
                    </a:lnTo>
                    <a:lnTo>
                      <a:pt x="910230" y="182845"/>
                    </a:lnTo>
                    <a:lnTo>
                      <a:pt x="911753" y="182845"/>
                    </a:lnTo>
                    <a:lnTo>
                      <a:pt x="913288" y="182845"/>
                    </a:lnTo>
                    <a:lnTo>
                      <a:pt x="917858" y="182845"/>
                    </a:lnTo>
                    <a:lnTo>
                      <a:pt x="917858" y="178874"/>
                    </a:lnTo>
                    <a:lnTo>
                      <a:pt x="919382" y="178874"/>
                    </a:lnTo>
                    <a:lnTo>
                      <a:pt x="920916" y="178874"/>
                    </a:lnTo>
                    <a:lnTo>
                      <a:pt x="922451" y="178874"/>
                    </a:lnTo>
                    <a:lnTo>
                      <a:pt x="922451" y="176895"/>
                    </a:lnTo>
                    <a:lnTo>
                      <a:pt x="923985" y="176895"/>
                    </a:lnTo>
                    <a:lnTo>
                      <a:pt x="923985" y="174837"/>
                    </a:lnTo>
                    <a:lnTo>
                      <a:pt x="928578" y="174837"/>
                    </a:lnTo>
                    <a:lnTo>
                      <a:pt x="930113" y="174837"/>
                    </a:lnTo>
                    <a:lnTo>
                      <a:pt x="930113" y="172813"/>
                    </a:lnTo>
                    <a:lnTo>
                      <a:pt x="931647" y="172813"/>
                    </a:lnTo>
                    <a:lnTo>
                      <a:pt x="933182" y="172813"/>
                    </a:lnTo>
                    <a:lnTo>
                      <a:pt x="934683" y="172813"/>
                    </a:lnTo>
                    <a:lnTo>
                      <a:pt x="937741" y="172813"/>
                    </a:lnTo>
                    <a:lnTo>
                      <a:pt x="937741" y="170722"/>
                    </a:lnTo>
                    <a:lnTo>
                      <a:pt x="939276" y="170722"/>
                    </a:lnTo>
                    <a:lnTo>
                      <a:pt x="940810" y="170722"/>
                    </a:lnTo>
                    <a:lnTo>
                      <a:pt x="942345" y="170722"/>
                    </a:lnTo>
                    <a:lnTo>
                      <a:pt x="942345" y="168664"/>
                    </a:lnTo>
                    <a:lnTo>
                      <a:pt x="943879" y="168664"/>
                    </a:lnTo>
                    <a:lnTo>
                      <a:pt x="945414" y="168664"/>
                    </a:lnTo>
                    <a:lnTo>
                      <a:pt x="946937" y="168664"/>
                    </a:lnTo>
                    <a:lnTo>
                      <a:pt x="948472" y="168664"/>
                    </a:lnTo>
                    <a:lnTo>
                      <a:pt x="948472" y="166551"/>
                    </a:lnTo>
                    <a:lnTo>
                      <a:pt x="950007" y="166551"/>
                    </a:lnTo>
                    <a:lnTo>
                      <a:pt x="951541" y="166551"/>
                    </a:lnTo>
                    <a:lnTo>
                      <a:pt x="951541" y="164416"/>
                    </a:lnTo>
                    <a:lnTo>
                      <a:pt x="953042" y="164416"/>
                    </a:lnTo>
                    <a:lnTo>
                      <a:pt x="954566" y="164416"/>
                    </a:lnTo>
                    <a:lnTo>
                      <a:pt x="956100" y="164416"/>
                    </a:lnTo>
                    <a:lnTo>
                      <a:pt x="957635" y="164416"/>
                    </a:lnTo>
                    <a:lnTo>
                      <a:pt x="957635" y="162258"/>
                    </a:lnTo>
                    <a:lnTo>
                      <a:pt x="960704" y="162258"/>
                    </a:lnTo>
                    <a:lnTo>
                      <a:pt x="960704" y="160100"/>
                    </a:lnTo>
                    <a:lnTo>
                      <a:pt x="962239" y="160100"/>
                    </a:lnTo>
                    <a:lnTo>
                      <a:pt x="962239" y="157898"/>
                    </a:lnTo>
                    <a:lnTo>
                      <a:pt x="963762" y="157898"/>
                    </a:lnTo>
                    <a:lnTo>
                      <a:pt x="965297" y="157898"/>
                    </a:lnTo>
                    <a:lnTo>
                      <a:pt x="965297" y="155741"/>
                    </a:lnTo>
                    <a:lnTo>
                      <a:pt x="966831" y="155741"/>
                    </a:lnTo>
                    <a:lnTo>
                      <a:pt x="971391" y="155741"/>
                    </a:lnTo>
                    <a:lnTo>
                      <a:pt x="971391" y="153516"/>
                    </a:lnTo>
                    <a:lnTo>
                      <a:pt x="972925" y="153516"/>
                    </a:lnTo>
                    <a:lnTo>
                      <a:pt x="972925" y="149090"/>
                    </a:lnTo>
                    <a:lnTo>
                      <a:pt x="974460" y="149090"/>
                    </a:lnTo>
                    <a:lnTo>
                      <a:pt x="975994" y="149090"/>
                    </a:lnTo>
                    <a:lnTo>
                      <a:pt x="975994" y="146821"/>
                    </a:lnTo>
                    <a:lnTo>
                      <a:pt x="977529" y="146821"/>
                    </a:lnTo>
                    <a:lnTo>
                      <a:pt x="977529" y="144552"/>
                    </a:lnTo>
                    <a:lnTo>
                      <a:pt x="982122" y="144552"/>
                    </a:lnTo>
                    <a:lnTo>
                      <a:pt x="985191" y="144552"/>
                    </a:lnTo>
                    <a:lnTo>
                      <a:pt x="985191" y="142261"/>
                    </a:lnTo>
                    <a:lnTo>
                      <a:pt x="986725" y="142261"/>
                    </a:lnTo>
                    <a:lnTo>
                      <a:pt x="988227" y="142261"/>
                    </a:lnTo>
                    <a:lnTo>
                      <a:pt x="992819" y="142261"/>
                    </a:lnTo>
                    <a:lnTo>
                      <a:pt x="994354" y="142261"/>
                    </a:lnTo>
                    <a:lnTo>
                      <a:pt x="995888" y="142261"/>
                    </a:lnTo>
                    <a:lnTo>
                      <a:pt x="997412" y="142261"/>
                    </a:lnTo>
                    <a:lnTo>
                      <a:pt x="998958" y="142261"/>
                    </a:lnTo>
                    <a:lnTo>
                      <a:pt x="1002016" y="142261"/>
                    </a:lnTo>
                    <a:lnTo>
                      <a:pt x="1005040" y="142261"/>
                    </a:lnTo>
                    <a:lnTo>
                      <a:pt x="1006586" y="142261"/>
                    </a:lnTo>
                    <a:lnTo>
                      <a:pt x="1008109" y="142261"/>
                    </a:lnTo>
                    <a:lnTo>
                      <a:pt x="1014248" y="142261"/>
                    </a:lnTo>
                    <a:lnTo>
                      <a:pt x="1015782" y="142261"/>
                    </a:lnTo>
                    <a:lnTo>
                      <a:pt x="1017306" y="142261"/>
                    </a:lnTo>
                    <a:lnTo>
                      <a:pt x="1017306" y="137345"/>
                    </a:lnTo>
                    <a:lnTo>
                      <a:pt x="1018840" y="137345"/>
                    </a:lnTo>
                    <a:lnTo>
                      <a:pt x="1020375" y="137345"/>
                    </a:lnTo>
                    <a:lnTo>
                      <a:pt x="1020375" y="134831"/>
                    </a:lnTo>
                    <a:lnTo>
                      <a:pt x="1021910" y="134831"/>
                    </a:lnTo>
                    <a:lnTo>
                      <a:pt x="1024934" y="134831"/>
                    </a:lnTo>
                    <a:lnTo>
                      <a:pt x="1024934" y="132362"/>
                    </a:lnTo>
                    <a:lnTo>
                      <a:pt x="1026469" y="132362"/>
                    </a:lnTo>
                    <a:lnTo>
                      <a:pt x="1028003" y="132362"/>
                    </a:lnTo>
                    <a:lnTo>
                      <a:pt x="1029538" y="132362"/>
                    </a:lnTo>
                    <a:lnTo>
                      <a:pt x="1031073" y="132362"/>
                    </a:lnTo>
                    <a:lnTo>
                      <a:pt x="1035665" y="132362"/>
                    </a:lnTo>
                    <a:lnTo>
                      <a:pt x="1038734" y="132362"/>
                    </a:lnTo>
                    <a:lnTo>
                      <a:pt x="1040269" y="132362"/>
                    </a:lnTo>
                    <a:lnTo>
                      <a:pt x="1040269" y="129749"/>
                    </a:lnTo>
                    <a:lnTo>
                      <a:pt x="1041770" y="129749"/>
                    </a:lnTo>
                    <a:lnTo>
                      <a:pt x="1044828" y="129749"/>
                    </a:lnTo>
                    <a:lnTo>
                      <a:pt x="1044828" y="127102"/>
                    </a:lnTo>
                    <a:lnTo>
                      <a:pt x="1046363" y="127102"/>
                    </a:lnTo>
                    <a:lnTo>
                      <a:pt x="1049432" y="127102"/>
                    </a:lnTo>
                    <a:lnTo>
                      <a:pt x="1050956" y="127102"/>
                    </a:lnTo>
                    <a:lnTo>
                      <a:pt x="1050956" y="121774"/>
                    </a:lnTo>
                    <a:lnTo>
                      <a:pt x="1052490" y="121774"/>
                    </a:lnTo>
                    <a:lnTo>
                      <a:pt x="1052490" y="116447"/>
                    </a:lnTo>
                    <a:lnTo>
                      <a:pt x="1055559" y="116447"/>
                    </a:lnTo>
                    <a:lnTo>
                      <a:pt x="1058584" y="116447"/>
                    </a:lnTo>
                    <a:lnTo>
                      <a:pt x="1060118" y="116447"/>
                    </a:lnTo>
                    <a:lnTo>
                      <a:pt x="1060118" y="113689"/>
                    </a:lnTo>
                    <a:lnTo>
                      <a:pt x="1061653" y="113689"/>
                    </a:lnTo>
                    <a:lnTo>
                      <a:pt x="1061653" y="110964"/>
                    </a:lnTo>
                    <a:lnTo>
                      <a:pt x="1063188" y="110964"/>
                    </a:lnTo>
                    <a:lnTo>
                      <a:pt x="1067780" y="110964"/>
                    </a:lnTo>
                    <a:lnTo>
                      <a:pt x="1069315" y="110964"/>
                    </a:lnTo>
                    <a:lnTo>
                      <a:pt x="1070849" y="110964"/>
                    </a:lnTo>
                    <a:lnTo>
                      <a:pt x="1072384" y="110964"/>
                    </a:lnTo>
                    <a:lnTo>
                      <a:pt x="1073919" y="110964"/>
                    </a:lnTo>
                    <a:lnTo>
                      <a:pt x="1075453" y="110964"/>
                    </a:lnTo>
                    <a:lnTo>
                      <a:pt x="1078478" y="110964"/>
                    </a:lnTo>
                    <a:lnTo>
                      <a:pt x="1080012" y="110964"/>
                    </a:lnTo>
                    <a:lnTo>
                      <a:pt x="1081547" y="110964"/>
                    </a:lnTo>
                    <a:lnTo>
                      <a:pt x="1081547" y="108050"/>
                    </a:lnTo>
                    <a:lnTo>
                      <a:pt x="1083082" y="108050"/>
                    </a:lnTo>
                    <a:lnTo>
                      <a:pt x="1084616" y="108050"/>
                    </a:lnTo>
                    <a:lnTo>
                      <a:pt x="1087685" y="108050"/>
                    </a:lnTo>
                    <a:lnTo>
                      <a:pt x="1087685" y="102122"/>
                    </a:lnTo>
                    <a:lnTo>
                      <a:pt x="1092278" y="102122"/>
                    </a:lnTo>
                    <a:lnTo>
                      <a:pt x="1093768" y="102122"/>
                    </a:lnTo>
                    <a:lnTo>
                      <a:pt x="1095314" y="102122"/>
                    </a:lnTo>
                    <a:lnTo>
                      <a:pt x="1095314" y="96127"/>
                    </a:lnTo>
                    <a:lnTo>
                      <a:pt x="1098372" y="96127"/>
                    </a:lnTo>
                    <a:lnTo>
                      <a:pt x="1098372" y="93135"/>
                    </a:lnTo>
                    <a:lnTo>
                      <a:pt x="1101441" y="93135"/>
                    </a:lnTo>
                    <a:lnTo>
                      <a:pt x="1102976" y="93135"/>
                    </a:lnTo>
                    <a:lnTo>
                      <a:pt x="1104499" y="93135"/>
                    </a:lnTo>
                    <a:lnTo>
                      <a:pt x="1106034" y="93135"/>
                    </a:lnTo>
                    <a:lnTo>
                      <a:pt x="1110626" y="93135"/>
                    </a:lnTo>
                    <a:lnTo>
                      <a:pt x="1110626" y="89999"/>
                    </a:lnTo>
                    <a:lnTo>
                      <a:pt x="1112127" y="89999"/>
                    </a:lnTo>
                    <a:lnTo>
                      <a:pt x="1112127" y="86829"/>
                    </a:lnTo>
                    <a:lnTo>
                      <a:pt x="1113662" y="86829"/>
                    </a:lnTo>
                    <a:lnTo>
                      <a:pt x="1113662" y="83659"/>
                    </a:lnTo>
                    <a:lnTo>
                      <a:pt x="1115197" y="83659"/>
                    </a:lnTo>
                    <a:lnTo>
                      <a:pt x="1115197" y="80445"/>
                    </a:lnTo>
                    <a:lnTo>
                      <a:pt x="1116731" y="80445"/>
                    </a:lnTo>
                    <a:lnTo>
                      <a:pt x="1119800" y="80445"/>
                    </a:lnTo>
                    <a:lnTo>
                      <a:pt x="1122858" y="80445"/>
                    </a:lnTo>
                    <a:lnTo>
                      <a:pt x="1124393" y="80445"/>
                    </a:lnTo>
                    <a:lnTo>
                      <a:pt x="1125928" y="80445"/>
                    </a:lnTo>
                    <a:lnTo>
                      <a:pt x="1127462" y="80445"/>
                    </a:lnTo>
                    <a:lnTo>
                      <a:pt x="1132021" y="80445"/>
                    </a:lnTo>
                    <a:lnTo>
                      <a:pt x="1133556" y="80445"/>
                    </a:lnTo>
                    <a:lnTo>
                      <a:pt x="1135091" y="80445"/>
                    </a:lnTo>
                    <a:lnTo>
                      <a:pt x="1136625" y="80445"/>
                    </a:lnTo>
                    <a:lnTo>
                      <a:pt x="1138160" y="80445"/>
                    </a:lnTo>
                    <a:lnTo>
                      <a:pt x="1142752" y="80445"/>
                    </a:lnTo>
                    <a:lnTo>
                      <a:pt x="1144287" y="80445"/>
                    </a:lnTo>
                    <a:lnTo>
                      <a:pt x="1145822" y="80445"/>
                    </a:lnTo>
                    <a:lnTo>
                      <a:pt x="1147312" y="80445"/>
                    </a:lnTo>
                    <a:lnTo>
                      <a:pt x="1148857" y="80445"/>
                    </a:lnTo>
                    <a:lnTo>
                      <a:pt x="1153450" y="80445"/>
                    </a:lnTo>
                    <a:lnTo>
                      <a:pt x="1154985" y="80445"/>
                    </a:lnTo>
                    <a:lnTo>
                      <a:pt x="1156508" y="80445"/>
                    </a:lnTo>
                    <a:lnTo>
                      <a:pt x="1158043" y="80445"/>
                    </a:lnTo>
                    <a:lnTo>
                      <a:pt x="1159577" y="80445"/>
                    </a:lnTo>
                    <a:lnTo>
                      <a:pt x="1159577" y="76552"/>
                    </a:lnTo>
                    <a:lnTo>
                      <a:pt x="1165671" y="76552"/>
                    </a:lnTo>
                    <a:lnTo>
                      <a:pt x="1167206" y="76552"/>
                    </a:lnTo>
                    <a:lnTo>
                      <a:pt x="1168740" y="76552"/>
                    </a:lnTo>
                    <a:lnTo>
                      <a:pt x="1170275" y="76552"/>
                    </a:lnTo>
                    <a:lnTo>
                      <a:pt x="1176402" y="76552"/>
                    </a:lnTo>
                    <a:lnTo>
                      <a:pt x="1177937" y="76552"/>
                    </a:lnTo>
                    <a:lnTo>
                      <a:pt x="1179471" y="76552"/>
                    </a:lnTo>
                    <a:lnTo>
                      <a:pt x="1181006" y="76552"/>
                    </a:lnTo>
                    <a:lnTo>
                      <a:pt x="1185565" y="76552"/>
                    </a:lnTo>
                    <a:lnTo>
                      <a:pt x="1185565" y="72293"/>
                    </a:lnTo>
                    <a:lnTo>
                      <a:pt x="1187100" y="72293"/>
                    </a:lnTo>
                    <a:lnTo>
                      <a:pt x="1188634" y="72293"/>
                    </a:lnTo>
                    <a:lnTo>
                      <a:pt x="1190169" y="72293"/>
                    </a:lnTo>
                    <a:lnTo>
                      <a:pt x="1191703" y="72293"/>
                    </a:lnTo>
                    <a:lnTo>
                      <a:pt x="1196296" y="72293"/>
                    </a:lnTo>
                    <a:lnTo>
                      <a:pt x="1196296" y="63339"/>
                    </a:lnTo>
                    <a:lnTo>
                      <a:pt x="1197831" y="63339"/>
                    </a:lnTo>
                    <a:lnTo>
                      <a:pt x="1199354" y="63339"/>
                    </a:lnTo>
                    <a:lnTo>
                      <a:pt x="1200855" y="63339"/>
                    </a:lnTo>
                    <a:lnTo>
                      <a:pt x="1200855" y="58746"/>
                    </a:lnTo>
                    <a:lnTo>
                      <a:pt x="1202390" y="58746"/>
                    </a:lnTo>
                    <a:lnTo>
                      <a:pt x="1205459" y="58746"/>
                    </a:lnTo>
                    <a:lnTo>
                      <a:pt x="1205459" y="54042"/>
                    </a:lnTo>
                    <a:lnTo>
                      <a:pt x="1208528" y="54042"/>
                    </a:lnTo>
                    <a:lnTo>
                      <a:pt x="1210052" y="54042"/>
                    </a:lnTo>
                    <a:lnTo>
                      <a:pt x="1211586" y="54042"/>
                    </a:lnTo>
                    <a:lnTo>
                      <a:pt x="1213121" y="54042"/>
                    </a:lnTo>
                    <a:lnTo>
                      <a:pt x="1213121" y="49159"/>
                    </a:lnTo>
                    <a:lnTo>
                      <a:pt x="1217680" y="49159"/>
                    </a:lnTo>
                    <a:lnTo>
                      <a:pt x="1219215" y="49159"/>
                    </a:lnTo>
                    <a:lnTo>
                      <a:pt x="1220749" y="49159"/>
                    </a:lnTo>
                    <a:lnTo>
                      <a:pt x="1222284" y="49159"/>
                    </a:lnTo>
                    <a:lnTo>
                      <a:pt x="1223818" y="49159"/>
                    </a:lnTo>
                    <a:lnTo>
                      <a:pt x="1228411" y="49159"/>
                    </a:lnTo>
                    <a:lnTo>
                      <a:pt x="1229946" y="49159"/>
                    </a:lnTo>
                    <a:lnTo>
                      <a:pt x="1229946" y="44043"/>
                    </a:lnTo>
                    <a:lnTo>
                      <a:pt x="1231480" y="44043"/>
                    </a:lnTo>
                    <a:lnTo>
                      <a:pt x="1233015" y="44043"/>
                    </a:lnTo>
                    <a:lnTo>
                      <a:pt x="1234549" y="44043"/>
                    </a:lnTo>
                    <a:lnTo>
                      <a:pt x="1239109" y="44043"/>
                    </a:lnTo>
                    <a:lnTo>
                      <a:pt x="1240643" y="44043"/>
                    </a:lnTo>
                    <a:lnTo>
                      <a:pt x="1242178" y="44043"/>
                    </a:lnTo>
                    <a:lnTo>
                      <a:pt x="1243701" y="44043"/>
                    </a:lnTo>
                    <a:lnTo>
                      <a:pt x="1245236" y="44043"/>
                    </a:lnTo>
                    <a:lnTo>
                      <a:pt x="1248305" y="44043"/>
                    </a:lnTo>
                    <a:lnTo>
                      <a:pt x="1248305" y="37770"/>
                    </a:lnTo>
                    <a:lnTo>
                      <a:pt x="1251374" y="37770"/>
                    </a:lnTo>
                    <a:lnTo>
                      <a:pt x="1252875" y="37770"/>
                    </a:lnTo>
                    <a:lnTo>
                      <a:pt x="1254399" y="37770"/>
                    </a:lnTo>
                    <a:lnTo>
                      <a:pt x="1255933" y="37770"/>
                    </a:lnTo>
                    <a:lnTo>
                      <a:pt x="1260526" y="37770"/>
                    </a:lnTo>
                    <a:lnTo>
                      <a:pt x="1262072" y="37770"/>
                    </a:lnTo>
                    <a:lnTo>
                      <a:pt x="1263595" y="37770"/>
                    </a:lnTo>
                    <a:lnTo>
                      <a:pt x="1265130" y="37770"/>
                    </a:lnTo>
                    <a:lnTo>
                      <a:pt x="1266664" y="37770"/>
                    </a:lnTo>
                    <a:lnTo>
                      <a:pt x="1268199" y="37770"/>
                    </a:lnTo>
                    <a:lnTo>
                      <a:pt x="1271224" y="37770"/>
                    </a:lnTo>
                    <a:lnTo>
                      <a:pt x="1272758" y="37770"/>
                    </a:lnTo>
                    <a:lnTo>
                      <a:pt x="1274293" y="37770"/>
                    </a:lnTo>
                    <a:lnTo>
                      <a:pt x="1277362" y="37770"/>
                    </a:lnTo>
                    <a:lnTo>
                      <a:pt x="1281955" y="37770"/>
                    </a:lnTo>
                    <a:lnTo>
                      <a:pt x="1283489" y="37770"/>
                    </a:lnTo>
                    <a:lnTo>
                      <a:pt x="1285024" y="37770"/>
                    </a:lnTo>
                    <a:lnTo>
                      <a:pt x="1286558" y="37770"/>
                    </a:lnTo>
                    <a:lnTo>
                      <a:pt x="1288082" y="37770"/>
                    </a:lnTo>
                    <a:lnTo>
                      <a:pt x="1292652" y="37770"/>
                    </a:lnTo>
                    <a:lnTo>
                      <a:pt x="1294187" y="37770"/>
                    </a:lnTo>
                    <a:lnTo>
                      <a:pt x="1295721" y="37770"/>
                    </a:lnTo>
                    <a:lnTo>
                      <a:pt x="1297245" y="37770"/>
                    </a:lnTo>
                    <a:lnTo>
                      <a:pt x="1298779" y="37770"/>
                    </a:lnTo>
                    <a:lnTo>
                      <a:pt x="1303383" y="37770"/>
                    </a:lnTo>
                    <a:lnTo>
                      <a:pt x="1304918" y="37770"/>
                    </a:lnTo>
                    <a:lnTo>
                      <a:pt x="1306408" y="37770"/>
                    </a:lnTo>
                    <a:lnTo>
                      <a:pt x="1306408" y="28050"/>
                    </a:lnTo>
                    <a:lnTo>
                      <a:pt x="1309477" y="28050"/>
                    </a:lnTo>
                    <a:lnTo>
                      <a:pt x="1314070" y="28050"/>
                    </a:lnTo>
                    <a:lnTo>
                      <a:pt x="1315615" y="28050"/>
                    </a:lnTo>
                    <a:lnTo>
                      <a:pt x="1317139" y="28050"/>
                    </a:lnTo>
                    <a:lnTo>
                      <a:pt x="1318673" y="28050"/>
                    </a:lnTo>
                    <a:lnTo>
                      <a:pt x="1320208" y="28050"/>
                    </a:lnTo>
                    <a:lnTo>
                      <a:pt x="1323277" y="28050"/>
                    </a:lnTo>
                    <a:lnTo>
                      <a:pt x="1323277" y="16794"/>
                    </a:lnTo>
                    <a:lnTo>
                      <a:pt x="1324767" y="16794"/>
                    </a:lnTo>
                    <a:lnTo>
                      <a:pt x="1326302" y="16794"/>
                    </a:lnTo>
                    <a:lnTo>
                      <a:pt x="1330906" y="16794"/>
                    </a:lnTo>
                    <a:lnTo>
                      <a:pt x="1338567" y="16794"/>
                    </a:lnTo>
                    <a:lnTo>
                      <a:pt x="1340102" y="16794"/>
                    </a:lnTo>
                    <a:lnTo>
                      <a:pt x="1341603" y="16794"/>
                    </a:lnTo>
                    <a:lnTo>
                      <a:pt x="1343127" y="16794"/>
                    </a:lnTo>
                    <a:lnTo>
                      <a:pt x="1347730" y="16794"/>
                    </a:lnTo>
                    <a:lnTo>
                      <a:pt x="1349254" y="16794"/>
                    </a:lnTo>
                    <a:lnTo>
                      <a:pt x="1350788" y="16794"/>
                    </a:lnTo>
                    <a:lnTo>
                      <a:pt x="1352323" y="16794"/>
                    </a:lnTo>
                    <a:lnTo>
                      <a:pt x="1358461" y="16794"/>
                    </a:lnTo>
                    <a:lnTo>
                      <a:pt x="1359951" y="16794"/>
                    </a:lnTo>
                    <a:lnTo>
                      <a:pt x="1359951" y="0"/>
                    </a:lnTo>
                    <a:lnTo>
                      <a:pt x="1489991" y="0"/>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465">
                <a:extLst>
                  <a:ext uri="{FF2B5EF4-FFF2-40B4-BE49-F238E27FC236}">
                    <a16:creationId xmlns:a16="http://schemas.microsoft.com/office/drawing/2014/main" id="{40C39270-87C6-43D6-AB2B-733F569286C1}"/>
                  </a:ext>
                </a:extLst>
              </p:cNvPr>
              <p:cNvSpPr/>
              <p:nvPr/>
            </p:nvSpPr>
            <p:spPr>
              <a:xfrm>
                <a:off x="2371905" y="2429692"/>
                <a:ext cx="5794985" cy="2425078"/>
              </a:xfrm>
              <a:custGeom>
                <a:avLst/>
                <a:gdLst>
                  <a:gd name="connsiteX0" fmla="*/ 0 w 1502222"/>
                  <a:gd name="connsiteY0" fmla="*/ 941139 h 941138"/>
                  <a:gd name="connsiteX1" fmla="*/ 1535 w 1502222"/>
                  <a:gd name="connsiteY1" fmla="*/ 941139 h 941138"/>
                  <a:gd name="connsiteX2" fmla="*/ 1535 w 1502222"/>
                  <a:gd name="connsiteY2" fmla="*/ 940338 h 941138"/>
                  <a:gd name="connsiteX3" fmla="*/ 3069 w 1502222"/>
                  <a:gd name="connsiteY3" fmla="*/ 940338 h 941138"/>
                  <a:gd name="connsiteX4" fmla="*/ 3069 w 1502222"/>
                  <a:gd name="connsiteY4" fmla="*/ 937202 h 941138"/>
                  <a:gd name="connsiteX5" fmla="*/ 4604 w 1502222"/>
                  <a:gd name="connsiteY5" fmla="*/ 937202 h 941138"/>
                  <a:gd name="connsiteX6" fmla="*/ 4604 w 1502222"/>
                  <a:gd name="connsiteY6" fmla="*/ 935634 h 941138"/>
                  <a:gd name="connsiteX7" fmla="*/ 6127 w 1502222"/>
                  <a:gd name="connsiteY7" fmla="*/ 935634 h 941138"/>
                  <a:gd name="connsiteX8" fmla="*/ 6127 w 1502222"/>
                  <a:gd name="connsiteY8" fmla="*/ 932497 h 941138"/>
                  <a:gd name="connsiteX9" fmla="*/ 7662 w 1502222"/>
                  <a:gd name="connsiteY9" fmla="*/ 932497 h 941138"/>
                  <a:gd name="connsiteX10" fmla="*/ 7662 w 1502222"/>
                  <a:gd name="connsiteY10" fmla="*/ 930128 h 941138"/>
                  <a:gd name="connsiteX11" fmla="*/ 9196 w 1502222"/>
                  <a:gd name="connsiteY11" fmla="*/ 930128 h 941138"/>
                  <a:gd name="connsiteX12" fmla="*/ 9196 w 1502222"/>
                  <a:gd name="connsiteY12" fmla="*/ 926191 h 941138"/>
                  <a:gd name="connsiteX13" fmla="*/ 10731 w 1502222"/>
                  <a:gd name="connsiteY13" fmla="*/ 926191 h 941138"/>
                  <a:gd name="connsiteX14" fmla="*/ 10731 w 1502222"/>
                  <a:gd name="connsiteY14" fmla="*/ 922254 h 941138"/>
                  <a:gd name="connsiteX15" fmla="*/ 12266 w 1502222"/>
                  <a:gd name="connsiteY15" fmla="*/ 922254 h 941138"/>
                  <a:gd name="connsiteX16" fmla="*/ 12266 w 1502222"/>
                  <a:gd name="connsiteY16" fmla="*/ 915180 h 941138"/>
                  <a:gd name="connsiteX17" fmla="*/ 13800 w 1502222"/>
                  <a:gd name="connsiteY17" fmla="*/ 915180 h 941138"/>
                  <a:gd name="connsiteX18" fmla="*/ 13800 w 1502222"/>
                  <a:gd name="connsiteY18" fmla="*/ 908874 h 941138"/>
                  <a:gd name="connsiteX19" fmla="*/ 15290 w 1502222"/>
                  <a:gd name="connsiteY19" fmla="*/ 908874 h 941138"/>
                  <a:gd name="connsiteX20" fmla="*/ 15290 w 1502222"/>
                  <a:gd name="connsiteY20" fmla="*/ 904170 h 941138"/>
                  <a:gd name="connsiteX21" fmla="*/ 16825 w 1502222"/>
                  <a:gd name="connsiteY21" fmla="*/ 904170 h 941138"/>
                  <a:gd name="connsiteX22" fmla="*/ 16825 w 1502222"/>
                  <a:gd name="connsiteY22" fmla="*/ 903369 h 941138"/>
                  <a:gd name="connsiteX23" fmla="*/ 18359 w 1502222"/>
                  <a:gd name="connsiteY23" fmla="*/ 903369 h 941138"/>
                  <a:gd name="connsiteX24" fmla="*/ 18359 w 1502222"/>
                  <a:gd name="connsiteY24" fmla="*/ 901801 h 941138"/>
                  <a:gd name="connsiteX25" fmla="*/ 19894 w 1502222"/>
                  <a:gd name="connsiteY25" fmla="*/ 901801 h 941138"/>
                  <a:gd name="connsiteX26" fmla="*/ 19894 w 1502222"/>
                  <a:gd name="connsiteY26" fmla="*/ 900232 h 941138"/>
                  <a:gd name="connsiteX27" fmla="*/ 21429 w 1502222"/>
                  <a:gd name="connsiteY27" fmla="*/ 900232 h 941138"/>
                  <a:gd name="connsiteX28" fmla="*/ 21429 w 1502222"/>
                  <a:gd name="connsiteY28" fmla="*/ 893926 h 941138"/>
                  <a:gd name="connsiteX29" fmla="*/ 22952 w 1502222"/>
                  <a:gd name="connsiteY29" fmla="*/ 893926 h 941138"/>
                  <a:gd name="connsiteX30" fmla="*/ 22952 w 1502222"/>
                  <a:gd name="connsiteY30" fmla="*/ 887653 h 941138"/>
                  <a:gd name="connsiteX31" fmla="*/ 24487 w 1502222"/>
                  <a:gd name="connsiteY31" fmla="*/ 887653 h 941138"/>
                  <a:gd name="connsiteX32" fmla="*/ 24487 w 1502222"/>
                  <a:gd name="connsiteY32" fmla="*/ 885296 h 941138"/>
                  <a:gd name="connsiteX33" fmla="*/ 26021 w 1502222"/>
                  <a:gd name="connsiteY33" fmla="*/ 885296 h 941138"/>
                  <a:gd name="connsiteX34" fmla="*/ 26021 w 1502222"/>
                  <a:gd name="connsiteY34" fmla="*/ 883716 h 941138"/>
                  <a:gd name="connsiteX35" fmla="*/ 27556 w 1502222"/>
                  <a:gd name="connsiteY35" fmla="*/ 883716 h 941138"/>
                  <a:gd name="connsiteX36" fmla="*/ 27556 w 1502222"/>
                  <a:gd name="connsiteY36" fmla="*/ 880547 h 941138"/>
                  <a:gd name="connsiteX37" fmla="*/ 29090 w 1502222"/>
                  <a:gd name="connsiteY37" fmla="*/ 880547 h 941138"/>
                  <a:gd name="connsiteX38" fmla="*/ 29090 w 1502222"/>
                  <a:gd name="connsiteY38" fmla="*/ 878211 h 941138"/>
                  <a:gd name="connsiteX39" fmla="*/ 30614 w 1502222"/>
                  <a:gd name="connsiteY39" fmla="*/ 878211 h 941138"/>
                  <a:gd name="connsiteX40" fmla="*/ 30614 w 1502222"/>
                  <a:gd name="connsiteY40" fmla="*/ 877421 h 941138"/>
                  <a:gd name="connsiteX41" fmla="*/ 32115 w 1502222"/>
                  <a:gd name="connsiteY41" fmla="*/ 877421 h 941138"/>
                  <a:gd name="connsiteX42" fmla="*/ 32115 w 1502222"/>
                  <a:gd name="connsiteY42" fmla="*/ 873484 h 941138"/>
                  <a:gd name="connsiteX43" fmla="*/ 33650 w 1502222"/>
                  <a:gd name="connsiteY43" fmla="*/ 873484 h 941138"/>
                  <a:gd name="connsiteX44" fmla="*/ 33650 w 1502222"/>
                  <a:gd name="connsiteY44" fmla="*/ 867167 h 941138"/>
                  <a:gd name="connsiteX45" fmla="*/ 35184 w 1502222"/>
                  <a:gd name="connsiteY45" fmla="*/ 867167 h 941138"/>
                  <a:gd name="connsiteX46" fmla="*/ 35184 w 1502222"/>
                  <a:gd name="connsiteY46" fmla="*/ 865599 h 941138"/>
                  <a:gd name="connsiteX47" fmla="*/ 36719 w 1502222"/>
                  <a:gd name="connsiteY47" fmla="*/ 865599 h 941138"/>
                  <a:gd name="connsiteX48" fmla="*/ 36719 w 1502222"/>
                  <a:gd name="connsiteY48" fmla="*/ 863230 h 941138"/>
                  <a:gd name="connsiteX49" fmla="*/ 38242 w 1502222"/>
                  <a:gd name="connsiteY49" fmla="*/ 863230 h 941138"/>
                  <a:gd name="connsiteX50" fmla="*/ 38242 w 1502222"/>
                  <a:gd name="connsiteY50" fmla="*/ 861661 h 941138"/>
                  <a:gd name="connsiteX51" fmla="*/ 39788 w 1502222"/>
                  <a:gd name="connsiteY51" fmla="*/ 861661 h 941138"/>
                  <a:gd name="connsiteX52" fmla="*/ 39788 w 1502222"/>
                  <a:gd name="connsiteY52" fmla="*/ 860861 h 941138"/>
                  <a:gd name="connsiteX53" fmla="*/ 41311 w 1502222"/>
                  <a:gd name="connsiteY53" fmla="*/ 860861 h 941138"/>
                  <a:gd name="connsiteX54" fmla="*/ 42846 w 1502222"/>
                  <a:gd name="connsiteY54" fmla="*/ 860861 h 941138"/>
                  <a:gd name="connsiteX55" fmla="*/ 42846 w 1502222"/>
                  <a:gd name="connsiteY55" fmla="*/ 857691 h 941138"/>
                  <a:gd name="connsiteX56" fmla="*/ 44381 w 1502222"/>
                  <a:gd name="connsiteY56" fmla="*/ 857691 h 941138"/>
                  <a:gd name="connsiteX57" fmla="*/ 44381 w 1502222"/>
                  <a:gd name="connsiteY57" fmla="*/ 855366 h 941138"/>
                  <a:gd name="connsiteX58" fmla="*/ 45915 w 1502222"/>
                  <a:gd name="connsiteY58" fmla="*/ 855366 h 941138"/>
                  <a:gd name="connsiteX59" fmla="*/ 45915 w 1502222"/>
                  <a:gd name="connsiteY59" fmla="*/ 853754 h 941138"/>
                  <a:gd name="connsiteX60" fmla="*/ 47450 w 1502222"/>
                  <a:gd name="connsiteY60" fmla="*/ 853754 h 941138"/>
                  <a:gd name="connsiteX61" fmla="*/ 47450 w 1502222"/>
                  <a:gd name="connsiteY61" fmla="*/ 849016 h 941138"/>
                  <a:gd name="connsiteX62" fmla="*/ 48984 w 1502222"/>
                  <a:gd name="connsiteY62" fmla="*/ 849016 h 941138"/>
                  <a:gd name="connsiteX63" fmla="*/ 48984 w 1502222"/>
                  <a:gd name="connsiteY63" fmla="*/ 845079 h 941138"/>
                  <a:gd name="connsiteX64" fmla="*/ 50474 w 1502222"/>
                  <a:gd name="connsiteY64" fmla="*/ 845079 h 941138"/>
                  <a:gd name="connsiteX65" fmla="*/ 50474 w 1502222"/>
                  <a:gd name="connsiteY65" fmla="*/ 841108 h 941138"/>
                  <a:gd name="connsiteX66" fmla="*/ 52009 w 1502222"/>
                  <a:gd name="connsiteY66" fmla="*/ 841108 h 941138"/>
                  <a:gd name="connsiteX67" fmla="*/ 52009 w 1502222"/>
                  <a:gd name="connsiteY67" fmla="*/ 837171 h 941138"/>
                  <a:gd name="connsiteX68" fmla="*/ 53544 w 1502222"/>
                  <a:gd name="connsiteY68" fmla="*/ 837171 h 941138"/>
                  <a:gd name="connsiteX69" fmla="*/ 53544 w 1502222"/>
                  <a:gd name="connsiteY69" fmla="*/ 834802 h 941138"/>
                  <a:gd name="connsiteX70" fmla="*/ 55078 w 1502222"/>
                  <a:gd name="connsiteY70" fmla="*/ 834802 h 941138"/>
                  <a:gd name="connsiteX71" fmla="*/ 55078 w 1502222"/>
                  <a:gd name="connsiteY71" fmla="*/ 831632 h 941138"/>
                  <a:gd name="connsiteX72" fmla="*/ 56613 w 1502222"/>
                  <a:gd name="connsiteY72" fmla="*/ 831632 h 941138"/>
                  <a:gd name="connsiteX73" fmla="*/ 56613 w 1502222"/>
                  <a:gd name="connsiteY73" fmla="*/ 827695 h 941138"/>
                  <a:gd name="connsiteX74" fmla="*/ 58147 w 1502222"/>
                  <a:gd name="connsiteY74" fmla="*/ 827695 h 941138"/>
                  <a:gd name="connsiteX75" fmla="*/ 58147 w 1502222"/>
                  <a:gd name="connsiteY75" fmla="*/ 826894 h 941138"/>
                  <a:gd name="connsiteX76" fmla="*/ 59671 w 1502222"/>
                  <a:gd name="connsiteY76" fmla="*/ 826894 h 941138"/>
                  <a:gd name="connsiteX77" fmla="*/ 59671 w 1502222"/>
                  <a:gd name="connsiteY77" fmla="*/ 826127 h 941138"/>
                  <a:gd name="connsiteX78" fmla="*/ 61205 w 1502222"/>
                  <a:gd name="connsiteY78" fmla="*/ 826127 h 941138"/>
                  <a:gd name="connsiteX79" fmla="*/ 61205 w 1502222"/>
                  <a:gd name="connsiteY79" fmla="*/ 822957 h 941138"/>
                  <a:gd name="connsiteX80" fmla="*/ 62740 w 1502222"/>
                  <a:gd name="connsiteY80" fmla="*/ 822957 h 941138"/>
                  <a:gd name="connsiteX81" fmla="*/ 62740 w 1502222"/>
                  <a:gd name="connsiteY81" fmla="*/ 820588 h 941138"/>
                  <a:gd name="connsiteX82" fmla="*/ 64275 w 1502222"/>
                  <a:gd name="connsiteY82" fmla="*/ 820588 h 941138"/>
                  <a:gd name="connsiteX83" fmla="*/ 64275 w 1502222"/>
                  <a:gd name="connsiteY83" fmla="*/ 815049 h 941138"/>
                  <a:gd name="connsiteX84" fmla="*/ 65798 w 1502222"/>
                  <a:gd name="connsiteY84" fmla="*/ 815049 h 941138"/>
                  <a:gd name="connsiteX85" fmla="*/ 65798 w 1502222"/>
                  <a:gd name="connsiteY85" fmla="*/ 811112 h 941138"/>
                  <a:gd name="connsiteX86" fmla="*/ 67299 w 1502222"/>
                  <a:gd name="connsiteY86" fmla="*/ 811112 h 941138"/>
                  <a:gd name="connsiteX87" fmla="*/ 67299 w 1502222"/>
                  <a:gd name="connsiteY87" fmla="*/ 807942 h 941138"/>
                  <a:gd name="connsiteX88" fmla="*/ 68834 w 1502222"/>
                  <a:gd name="connsiteY88" fmla="*/ 807942 h 941138"/>
                  <a:gd name="connsiteX89" fmla="*/ 68834 w 1502222"/>
                  <a:gd name="connsiteY89" fmla="*/ 803972 h 941138"/>
                  <a:gd name="connsiteX90" fmla="*/ 70368 w 1502222"/>
                  <a:gd name="connsiteY90" fmla="*/ 803972 h 941138"/>
                  <a:gd name="connsiteX91" fmla="*/ 70368 w 1502222"/>
                  <a:gd name="connsiteY91" fmla="*/ 801603 h 941138"/>
                  <a:gd name="connsiteX92" fmla="*/ 71903 w 1502222"/>
                  <a:gd name="connsiteY92" fmla="*/ 801603 h 941138"/>
                  <a:gd name="connsiteX93" fmla="*/ 71903 w 1502222"/>
                  <a:gd name="connsiteY93" fmla="*/ 798467 h 941138"/>
                  <a:gd name="connsiteX94" fmla="*/ 73438 w 1502222"/>
                  <a:gd name="connsiteY94" fmla="*/ 798467 h 941138"/>
                  <a:gd name="connsiteX95" fmla="*/ 73438 w 1502222"/>
                  <a:gd name="connsiteY95" fmla="*/ 796865 h 941138"/>
                  <a:gd name="connsiteX96" fmla="*/ 74972 w 1502222"/>
                  <a:gd name="connsiteY96" fmla="*/ 796865 h 941138"/>
                  <a:gd name="connsiteX97" fmla="*/ 74972 w 1502222"/>
                  <a:gd name="connsiteY97" fmla="*/ 796086 h 941138"/>
                  <a:gd name="connsiteX98" fmla="*/ 76496 w 1502222"/>
                  <a:gd name="connsiteY98" fmla="*/ 796086 h 941138"/>
                  <a:gd name="connsiteX99" fmla="*/ 76496 w 1502222"/>
                  <a:gd name="connsiteY99" fmla="*/ 790548 h 941138"/>
                  <a:gd name="connsiteX100" fmla="*/ 78030 w 1502222"/>
                  <a:gd name="connsiteY100" fmla="*/ 790548 h 941138"/>
                  <a:gd name="connsiteX101" fmla="*/ 78030 w 1502222"/>
                  <a:gd name="connsiteY101" fmla="*/ 788190 h 941138"/>
                  <a:gd name="connsiteX102" fmla="*/ 79565 w 1502222"/>
                  <a:gd name="connsiteY102" fmla="*/ 788190 h 941138"/>
                  <a:gd name="connsiteX103" fmla="*/ 79565 w 1502222"/>
                  <a:gd name="connsiteY103" fmla="*/ 787378 h 941138"/>
                  <a:gd name="connsiteX104" fmla="*/ 81099 w 1502222"/>
                  <a:gd name="connsiteY104" fmla="*/ 787378 h 941138"/>
                  <a:gd name="connsiteX105" fmla="*/ 81099 w 1502222"/>
                  <a:gd name="connsiteY105" fmla="*/ 782651 h 941138"/>
                  <a:gd name="connsiteX106" fmla="*/ 82634 w 1502222"/>
                  <a:gd name="connsiteY106" fmla="*/ 782651 h 941138"/>
                  <a:gd name="connsiteX107" fmla="*/ 82634 w 1502222"/>
                  <a:gd name="connsiteY107" fmla="*/ 781038 h 941138"/>
                  <a:gd name="connsiteX108" fmla="*/ 84157 w 1502222"/>
                  <a:gd name="connsiteY108" fmla="*/ 781038 h 941138"/>
                  <a:gd name="connsiteX109" fmla="*/ 84157 w 1502222"/>
                  <a:gd name="connsiteY109" fmla="*/ 779470 h 941138"/>
                  <a:gd name="connsiteX110" fmla="*/ 85659 w 1502222"/>
                  <a:gd name="connsiteY110" fmla="*/ 779470 h 941138"/>
                  <a:gd name="connsiteX111" fmla="*/ 85659 w 1502222"/>
                  <a:gd name="connsiteY111" fmla="*/ 777101 h 941138"/>
                  <a:gd name="connsiteX112" fmla="*/ 87193 w 1502222"/>
                  <a:gd name="connsiteY112" fmla="*/ 777101 h 941138"/>
                  <a:gd name="connsiteX113" fmla="*/ 87193 w 1502222"/>
                  <a:gd name="connsiteY113" fmla="*/ 772363 h 941138"/>
                  <a:gd name="connsiteX114" fmla="*/ 88728 w 1502222"/>
                  <a:gd name="connsiteY114" fmla="*/ 772363 h 941138"/>
                  <a:gd name="connsiteX115" fmla="*/ 88728 w 1502222"/>
                  <a:gd name="connsiteY115" fmla="*/ 768393 h 941138"/>
                  <a:gd name="connsiteX116" fmla="*/ 90262 w 1502222"/>
                  <a:gd name="connsiteY116" fmla="*/ 768393 h 941138"/>
                  <a:gd name="connsiteX117" fmla="*/ 90262 w 1502222"/>
                  <a:gd name="connsiteY117" fmla="*/ 764456 h 941138"/>
                  <a:gd name="connsiteX118" fmla="*/ 91786 w 1502222"/>
                  <a:gd name="connsiteY118" fmla="*/ 764456 h 941138"/>
                  <a:gd name="connsiteX119" fmla="*/ 91786 w 1502222"/>
                  <a:gd name="connsiteY119" fmla="*/ 762854 h 941138"/>
                  <a:gd name="connsiteX120" fmla="*/ 93332 w 1502222"/>
                  <a:gd name="connsiteY120" fmla="*/ 762854 h 941138"/>
                  <a:gd name="connsiteX121" fmla="*/ 93332 w 1502222"/>
                  <a:gd name="connsiteY121" fmla="*/ 760485 h 941138"/>
                  <a:gd name="connsiteX122" fmla="*/ 94855 w 1502222"/>
                  <a:gd name="connsiteY122" fmla="*/ 760485 h 941138"/>
                  <a:gd name="connsiteX123" fmla="*/ 94855 w 1502222"/>
                  <a:gd name="connsiteY123" fmla="*/ 758116 h 941138"/>
                  <a:gd name="connsiteX124" fmla="*/ 96390 w 1502222"/>
                  <a:gd name="connsiteY124" fmla="*/ 758116 h 941138"/>
                  <a:gd name="connsiteX125" fmla="*/ 96390 w 1502222"/>
                  <a:gd name="connsiteY125" fmla="*/ 755747 h 941138"/>
                  <a:gd name="connsiteX126" fmla="*/ 97924 w 1502222"/>
                  <a:gd name="connsiteY126" fmla="*/ 755747 h 941138"/>
                  <a:gd name="connsiteX127" fmla="*/ 97924 w 1502222"/>
                  <a:gd name="connsiteY127" fmla="*/ 750208 h 941138"/>
                  <a:gd name="connsiteX128" fmla="*/ 99459 w 1502222"/>
                  <a:gd name="connsiteY128" fmla="*/ 750208 h 941138"/>
                  <a:gd name="connsiteX129" fmla="*/ 99459 w 1502222"/>
                  <a:gd name="connsiteY129" fmla="*/ 745437 h 941138"/>
                  <a:gd name="connsiteX130" fmla="*/ 100993 w 1502222"/>
                  <a:gd name="connsiteY130" fmla="*/ 745437 h 941138"/>
                  <a:gd name="connsiteX131" fmla="*/ 100993 w 1502222"/>
                  <a:gd name="connsiteY131" fmla="*/ 743068 h 941138"/>
                  <a:gd name="connsiteX132" fmla="*/ 102483 w 1502222"/>
                  <a:gd name="connsiteY132" fmla="*/ 743068 h 941138"/>
                  <a:gd name="connsiteX133" fmla="*/ 102483 w 1502222"/>
                  <a:gd name="connsiteY133" fmla="*/ 741500 h 941138"/>
                  <a:gd name="connsiteX134" fmla="*/ 104018 w 1502222"/>
                  <a:gd name="connsiteY134" fmla="*/ 741500 h 941138"/>
                  <a:gd name="connsiteX135" fmla="*/ 104018 w 1502222"/>
                  <a:gd name="connsiteY135" fmla="*/ 735961 h 941138"/>
                  <a:gd name="connsiteX136" fmla="*/ 105553 w 1502222"/>
                  <a:gd name="connsiteY136" fmla="*/ 735961 h 941138"/>
                  <a:gd name="connsiteX137" fmla="*/ 105553 w 1502222"/>
                  <a:gd name="connsiteY137" fmla="*/ 734360 h 941138"/>
                  <a:gd name="connsiteX138" fmla="*/ 107087 w 1502222"/>
                  <a:gd name="connsiteY138" fmla="*/ 734360 h 941138"/>
                  <a:gd name="connsiteX139" fmla="*/ 107087 w 1502222"/>
                  <a:gd name="connsiteY139" fmla="*/ 731991 h 941138"/>
                  <a:gd name="connsiteX140" fmla="*/ 108622 w 1502222"/>
                  <a:gd name="connsiteY140" fmla="*/ 731991 h 941138"/>
                  <a:gd name="connsiteX141" fmla="*/ 108622 w 1502222"/>
                  <a:gd name="connsiteY141" fmla="*/ 727253 h 941138"/>
                  <a:gd name="connsiteX142" fmla="*/ 110145 w 1502222"/>
                  <a:gd name="connsiteY142" fmla="*/ 727253 h 941138"/>
                  <a:gd name="connsiteX143" fmla="*/ 110145 w 1502222"/>
                  <a:gd name="connsiteY143" fmla="*/ 725673 h 941138"/>
                  <a:gd name="connsiteX144" fmla="*/ 111680 w 1502222"/>
                  <a:gd name="connsiteY144" fmla="*/ 725673 h 941138"/>
                  <a:gd name="connsiteX145" fmla="*/ 111680 w 1502222"/>
                  <a:gd name="connsiteY145" fmla="*/ 720135 h 941138"/>
                  <a:gd name="connsiteX146" fmla="*/ 113214 w 1502222"/>
                  <a:gd name="connsiteY146" fmla="*/ 720135 h 941138"/>
                  <a:gd name="connsiteX147" fmla="*/ 113214 w 1502222"/>
                  <a:gd name="connsiteY147" fmla="*/ 716164 h 941138"/>
                  <a:gd name="connsiteX148" fmla="*/ 114749 w 1502222"/>
                  <a:gd name="connsiteY148" fmla="*/ 716164 h 941138"/>
                  <a:gd name="connsiteX149" fmla="*/ 114749 w 1502222"/>
                  <a:gd name="connsiteY149" fmla="*/ 713806 h 941138"/>
                  <a:gd name="connsiteX150" fmla="*/ 116284 w 1502222"/>
                  <a:gd name="connsiteY150" fmla="*/ 713806 h 941138"/>
                  <a:gd name="connsiteX151" fmla="*/ 116284 w 1502222"/>
                  <a:gd name="connsiteY151" fmla="*/ 711426 h 941138"/>
                  <a:gd name="connsiteX152" fmla="*/ 117818 w 1502222"/>
                  <a:gd name="connsiteY152" fmla="*/ 711426 h 941138"/>
                  <a:gd name="connsiteX153" fmla="*/ 117818 w 1502222"/>
                  <a:gd name="connsiteY153" fmla="*/ 710625 h 941138"/>
                  <a:gd name="connsiteX154" fmla="*/ 119342 w 1502222"/>
                  <a:gd name="connsiteY154" fmla="*/ 710625 h 941138"/>
                  <a:gd name="connsiteX155" fmla="*/ 119342 w 1502222"/>
                  <a:gd name="connsiteY155" fmla="*/ 709825 h 941138"/>
                  <a:gd name="connsiteX156" fmla="*/ 120843 w 1502222"/>
                  <a:gd name="connsiteY156" fmla="*/ 709825 h 941138"/>
                  <a:gd name="connsiteX157" fmla="*/ 120843 w 1502222"/>
                  <a:gd name="connsiteY157" fmla="*/ 707456 h 941138"/>
                  <a:gd name="connsiteX158" fmla="*/ 122377 w 1502222"/>
                  <a:gd name="connsiteY158" fmla="*/ 707456 h 941138"/>
                  <a:gd name="connsiteX159" fmla="*/ 122377 w 1502222"/>
                  <a:gd name="connsiteY159" fmla="*/ 705854 h 941138"/>
                  <a:gd name="connsiteX160" fmla="*/ 125447 w 1502222"/>
                  <a:gd name="connsiteY160" fmla="*/ 705854 h 941138"/>
                  <a:gd name="connsiteX161" fmla="*/ 125447 w 1502222"/>
                  <a:gd name="connsiteY161" fmla="*/ 701917 h 941138"/>
                  <a:gd name="connsiteX162" fmla="*/ 126970 w 1502222"/>
                  <a:gd name="connsiteY162" fmla="*/ 701917 h 941138"/>
                  <a:gd name="connsiteX163" fmla="*/ 126970 w 1502222"/>
                  <a:gd name="connsiteY163" fmla="*/ 700315 h 941138"/>
                  <a:gd name="connsiteX164" fmla="*/ 128516 w 1502222"/>
                  <a:gd name="connsiteY164" fmla="*/ 700315 h 941138"/>
                  <a:gd name="connsiteX165" fmla="*/ 128516 w 1502222"/>
                  <a:gd name="connsiteY165" fmla="*/ 697146 h 941138"/>
                  <a:gd name="connsiteX166" fmla="*/ 130039 w 1502222"/>
                  <a:gd name="connsiteY166" fmla="*/ 697146 h 941138"/>
                  <a:gd name="connsiteX167" fmla="*/ 130039 w 1502222"/>
                  <a:gd name="connsiteY167" fmla="*/ 695578 h 941138"/>
                  <a:gd name="connsiteX168" fmla="*/ 131574 w 1502222"/>
                  <a:gd name="connsiteY168" fmla="*/ 695578 h 941138"/>
                  <a:gd name="connsiteX169" fmla="*/ 131574 w 1502222"/>
                  <a:gd name="connsiteY169" fmla="*/ 691607 h 941138"/>
                  <a:gd name="connsiteX170" fmla="*/ 133108 w 1502222"/>
                  <a:gd name="connsiteY170" fmla="*/ 691607 h 941138"/>
                  <a:gd name="connsiteX171" fmla="*/ 133108 w 1502222"/>
                  <a:gd name="connsiteY171" fmla="*/ 690039 h 941138"/>
                  <a:gd name="connsiteX172" fmla="*/ 134643 w 1502222"/>
                  <a:gd name="connsiteY172" fmla="*/ 690039 h 941138"/>
                  <a:gd name="connsiteX173" fmla="*/ 134643 w 1502222"/>
                  <a:gd name="connsiteY173" fmla="*/ 686068 h 941138"/>
                  <a:gd name="connsiteX174" fmla="*/ 136178 w 1502222"/>
                  <a:gd name="connsiteY174" fmla="*/ 686068 h 941138"/>
                  <a:gd name="connsiteX175" fmla="*/ 136178 w 1502222"/>
                  <a:gd name="connsiteY175" fmla="*/ 683699 h 941138"/>
                  <a:gd name="connsiteX176" fmla="*/ 137701 w 1502222"/>
                  <a:gd name="connsiteY176" fmla="*/ 683699 h 941138"/>
                  <a:gd name="connsiteX177" fmla="*/ 137701 w 1502222"/>
                  <a:gd name="connsiteY177" fmla="*/ 681297 h 941138"/>
                  <a:gd name="connsiteX178" fmla="*/ 139202 w 1502222"/>
                  <a:gd name="connsiteY178" fmla="*/ 681297 h 941138"/>
                  <a:gd name="connsiteX179" fmla="*/ 139202 w 1502222"/>
                  <a:gd name="connsiteY179" fmla="*/ 680529 h 941138"/>
                  <a:gd name="connsiteX180" fmla="*/ 140737 w 1502222"/>
                  <a:gd name="connsiteY180" fmla="*/ 680529 h 941138"/>
                  <a:gd name="connsiteX181" fmla="*/ 140737 w 1502222"/>
                  <a:gd name="connsiteY181" fmla="*/ 679729 h 941138"/>
                  <a:gd name="connsiteX182" fmla="*/ 142271 w 1502222"/>
                  <a:gd name="connsiteY182" fmla="*/ 679729 h 941138"/>
                  <a:gd name="connsiteX183" fmla="*/ 142271 w 1502222"/>
                  <a:gd name="connsiteY183" fmla="*/ 675758 h 941138"/>
                  <a:gd name="connsiteX184" fmla="*/ 143806 w 1502222"/>
                  <a:gd name="connsiteY184" fmla="*/ 675758 h 941138"/>
                  <a:gd name="connsiteX185" fmla="*/ 143806 w 1502222"/>
                  <a:gd name="connsiteY185" fmla="*/ 673378 h 941138"/>
                  <a:gd name="connsiteX186" fmla="*/ 146875 w 1502222"/>
                  <a:gd name="connsiteY186" fmla="*/ 673378 h 941138"/>
                  <a:gd name="connsiteX187" fmla="*/ 148399 w 1502222"/>
                  <a:gd name="connsiteY187" fmla="*/ 673378 h 941138"/>
                  <a:gd name="connsiteX188" fmla="*/ 148399 w 1502222"/>
                  <a:gd name="connsiteY188" fmla="*/ 668607 h 941138"/>
                  <a:gd name="connsiteX189" fmla="*/ 149933 w 1502222"/>
                  <a:gd name="connsiteY189" fmla="*/ 668607 h 941138"/>
                  <a:gd name="connsiteX190" fmla="*/ 149933 w 1502222"/>
                  <a:gd name="connsiteY190" fmla="*/ 666238 h 941138"/>
                  <a:gd name="connsiteX191" fmla="*/ 151468 w 1502222"/>
                  <a:gd name="connsiteY191" fmla="*/ 666238 h 941138"/>
                  <a:gd name="connsiteX192" fmla="*/ 151468 w 1502222"/>
                  <a:gd name="connsiteY192" fmla="*/ 664636 h 941138"/>
                  <a:gd name="connsiteX193" fmla="*/ 154526 w 1502222"/>
                  <a:gd name="connsiteY193" fmla="*/ 664636 h 941138"/>
                  <a:gd name="connsiteX194" fmla="*/ 154526 w 1502222"/>
                  <a:gd name="connsiteY194" fmla="*/ 663068 h 941138"/>
                  <a:gd name="connsiteX195" fmla="*/ 156027 w 1502222"/>
                  <a:gd name="connsiteY195" fmla="*/ 663068 h 941138"/>
                  <a:gd name="connsiteX196" fmla="*/ 156027 w 1502222"/>
                  <a:gd name="connsiteY196" fmla="*/ 661466 h 941138"/>
                  <a:gd name="connsiteX197" fmla="*/ 157562 w 1502222"/>
                  <a:gd name="connsiteY197" fmla="*/ 661466 h 941138"/>
                  <a:gd name="connsiteX198" fmla="*/ 157562 w 1502222"/>
                  <a:gd name="connsiteY198" fmla="*/ 659898 h 941138"/>
                  <a:gd name="connsiteX199" fmla="*/ 159096 w 1502222"/>
                  <a:gd name="connsiteY199" fmla="*/ 659898 h 941138"/>
                  <a:gd name="connsiteX200" fmla="*/ 159096 w 1502222"/>
                  <a:gd name="connsiteY200" fmla="*/ 657496 h 941138"/>
                  <a:gd name="connsiteX201" fmla="*/ 160631 w 1502222"/>
                  <a:gd name="connsiteY201" fmla="*/ 657496 h 941138"/>
                  <a:gd name="connsiteX202" fmla="*/ 160631 w 1502222"/>
                  <a:gd name="connsiteY202" fmla="*/ 655928 h 941138"/>
                  <a:gd name="connsiteX203" fmla="*/ 162165 w 1502222"/>
                  <a:gd name="connsiteY203" fmla="*/ 655928 h 941138"/>
                  <a:gd name="connsiteX204" fmla="*/ 162165 w 1502222"/>
                  <a:gd name="connsiteY204" fmla="*/ 651156 h 941138"/>
                  <a:gd name="connsiteX205" fmla="*/ 163689 w 1502222"/>
                  <a:gd name="connsiteY205" fmla="*/ 651156 h 941138"/>
                  <a:gd name="connsiteX206" fmla="*/ 163689 w 1502222"/>
                  <a:gd name="connsiteY206" fmla="*/ 650356 h 941138"/>
                  <a:gd name="connsiteX207" fmla="*/ 165223 w 1502222"/>
                  <a:gd name="connsiteY207" fmla="*/ 650356 h 941138"/>
                  <a:gd name="connsiteX208" fmla="*/ 165223 w 1502222"/>
                  <a:gd name="connsiteY208" fmla="*/ 646385 h 941138"/>
                  <a:gd name="connsiteX209" fmla="*/ 166758 w 1502222"/>
                  <a:gd name="connsiteY209" fmla="*/ 646385 h 941138"/>
                  <a:gd name="connsiteX210" fmla="*/ 166758 w 1502222"/>
                  <a:gd name="connsiteY210" fmla="*/ 645584 h 941138"/>
                  <a:gd name="connsiteX211" fmla="*/ 168293 w 1502222"/>
                  <a:gd name="connsiteY211" fmla="*/ 645584 h 941138"/>
                  <a:gd name="connsiteX212" fmla="*/ 168293 w 1502222"/>
                  <a:gd name="connsiteY212" fmla="*/ 644016 h 941138"/>
                  <a:gd name="connsiteX213" fmla="*/ 169827 w 1502222"/>
                  <a:gd name="connsiteY213" fmla="*/ 644016 h 941138"/>
                  <a:gd name="connsiteX214" fmla="*/ 169827 w 1502222"/>
                  <a:gd name="connsiteY214" fmla="*/ 642415 h 941138"/>
                  <a:gd name="connsiteX215" fmla="*/ 171362 w 1502222"/>
                  <a:gd name="connsiteY215" fmla="*/ 642415 h 941138"/>
                  <a:gd name="connsiteX216" fmla="*/ 171362 w 1502222"/>
                  <a:gd name="connsiteY216" fmla="*/ 641603 h 941138"/>
                  <a:gd name="connsiteX217" fmla="*/ 172885 w 1502222"/>
                  <a:gd name="connsiteY217" fmla="*/ 641603 h 941138"/>
                  <a:gd name="connsiteX218" fmla="*/ 172885 w 1502222"/>
                  <a:gd name="connsiteY218" fmla="*/ 640034 h 941138"/>
                  <a:gd name="connsiteX219" fmla="*/ 174386 w 1502222"/>
                  <a:gd name="connsiteY219" fmla="*/ 640034 h 941138"/>
                  <a:gd name="connsiteX220" fmla="*/ 174386 w 1502222"/>
                  <a:gd name="connsiteY220" fmla="*/ 637632 h 941138"/>
                  <a:gd name="connsiteX221" fmla="*/ 175921 w 1502222"/>
                  <a:gd name="connsiteY221" fmla="*/ 637632 h 941138"/>
                  <a:gd name="connsiteX222" fmla="*/ 175921 w 1502222"/>
                  <a:gd name="connsiteY222" fmla="*/ 636876 h 941138"/>
                  <a:gd name="connsiteX223" fmla="*/ 177456 w 1502222"/>
                  <a:gd name="connsiteY223" fmla="*/ 636876 h 941138"/>
                  <a:gd name="connsiteX224" fmla="*/ 177456 w 1502222"/>
                  <a:gd name="connsiteY224" fmla="*/ 632093 h 941138"/>
                  <a:gd name="connsiteX225" fmla="*/ 178990 w 1502222"/>
                  <a:gd name="connsiteY225" fmla="*/ 632093 h 941138"/>
                  <a:gd name="connsiteX226" fmla="*/ 182059 w 1502222"/>
                  <a:gd name="connsiteY226" fmla="*/ 632093 h 941138"/>
                  <a:gd name="connsiteX227" fmla="*/ 182059 w 1502222"/>
                  <a:gd name="connsiteY227" fmla="*/ 628924 h 941138"/>
                  <a:gd name="connsiteX228" fmla="*/ 183583 w 1502222"/>
                  <a:gd name="connsiteY228" fmla="*/ 628924 h 941138"/>
                  <a:gd name="connsiteX229" fmla="*/ 183583 w 1502222"/>
                  <a:gd name="connsiteY229" fmla="*/ 627322 h 941138"/>
                  <a:gd name="connsiteX230" fmla="*/ 185117 w 1502222"/>
                  <a:gd name="connsiteY230" fmla="*/ 627322 h 941138"/>
                  <a:gd name="connsiteX231" fmla="*/ 185117 w 1502222"/>
                  <a:gd name="connsiteY231" fmla="*/ 623352 h 941138"/>
                  <a:gd name="connsiteX232" fmla="*/ 186652 w 1502222"/>
                  <a:gd name="connsiteY232" fmla="*/ 623352 h 941138"/>
                  <a:gd name="connsiteX233" fmla="*/ 186652 w 1502222"/>
                  <a:gd name="connsiteY233" fmla="*/ 622551 h 941138"/>
                  <a:gd name="connsiteX234" fmla="*/ 189721 w 1502222"/>
                  <a:gd name="connsiteY234" fmla="*/ 622551 h 941138"/>
                  <a:gd name="connsiteX235" fmla="*/ 189721 w 1502222"/>
                  <a:gd name="connsiteY235" fmla="*/ 619381 h 941138"/>
                  <a:gd name="connsiteX236" fmla="*/ 191211 w 1502222"/>
                  <a:gd name="connsiteY236" fmla="*/ 619381 h 941138"/>
                  <a:gd name="connsiteX237" fmla="*/ 191211 w 1502222"/>
                  <a:gd name="connsiteY237" fmla="*/ 618580 h 941138"/>
                  <a:gd name="connsiteX238" fmla="*/ 192746 w 1502222"/>
                  <a:gd name="connsiteY238" fmla="*/ 618580 h 941138"/>
                  <a:gd name="connsiteX239" fmla="*/ 192746 w 1502222"/>
                  <a:gd name="connsiteY239" fmla="*/ 616211 h 941138"/>
                  <a:gd name="connsiteX240" fmla="*/ 194280 w 1502222"/>
                  <a:gd name="connsiteY240" fmla="*/ 616211 h 941138"/>
                  <a:gd name="connsiteX241" fmla="*/ 194280 w 1502222"/>
                  <a:gd name="connsiteY241" fmla="*/ 614610 h 941138"/>
                  <a:gd name="connsiteX242" fmla="*/ 195815 w 1502222"/>
                  <a:gd name="connsiteY242" fmla="*/ 614610 h 941138"/>
                  <a:gd name="connsiteX243" fmla="*/ 195815 w 1502222"/>
                  <a:gd name="connsiteY243" fmla="*/ 613798 h 941138"/>
                  <a:gd name="connsiteX244" fmla="*/ 197350 w 1502222"/>
                  <a:gd name="connsiteY244" fmla="*/ 613798 h 941138"/>
                  <a:gd name="connsiteX245" fmla="*/ 197350 w 1502222"/>
                  <a:gd name="connsiteY245" fmla="*/ 612241 h 941138"/>
                  <a:gd name="connsiteX246" fmla="*/ 198873 w 1502222"/>
                  <a:gd name="connsiteY246" fmla="*/ 612241 h 941138"/>
                  <a:gd name="connsiteX247" fmla="*/ 198873 w 1502222"/>
                  <a:gd name="connsiteY247" fmla="*/ 609827 h 941138"/>
                  <a:gd name="connsiteX248" fmla="*/ 200408 w 1502222"/>
                  <a:gd name="connsiteY248" fmla="*/ 609827 h 941138"/>
                  <a:gd name="connsiteX249" fmla="*/ 200408 w 1502222"/>
                  <a:gd name="connsiteY249" fmla="*/ 608259 h 941138"/>
                  <a:gd name="connsiteX250" fmla="*/ 201942 w 1502222"/>
                  <a:gd name="connsiteY250" fmla="*/ 608259 h 941138"/>
                  <a:gd name="connsiteX251" fmla="*/ 201942 w 1502222"/>
                  <a:gd name="connsiteY251" fmla="*/ 607469 h 941138"/>
                  <a:gd name="connsiteX252" fmla="*/ 205011 w 1502222"/>
                  <a:gd name="connsiteY252" fmla="*/ 607469 h 941138"/>
                  <a:gd name="connsiteX253" fmla="*/ 205011 w 1502222"/>
                  <a:gd name="connsiteY253" fmla="*/ 605056 h 941138"/>
                  <a:gd name="connsiteX254" fmla="*/ 206546 w 1502222"/>
                  <a:gd name="connsiteY254" fmla="*/ 605056 h 941138"/>
                  <a:gd name="connsiteX255" fmla="*/ 206546 w 1502222"/>
                  <a:gd name="connsiteY255" fmla="*/ 601085 h 941138"/>
                  <a:gd name="connsiteX256" fmla="*/ 208069 w 1502222"/>
                  <a:gd name="connsiteY256" fmla="*/ 601085 h 941138"/>
                  <a:gd name="connsiteX257" fmla="*/ 209571 w 1502222"/>
                  <a:gd name="connsiteY257" fmla="*/ 601085 h 941138"/>
                  <a:gd name="connsiteX258" fmla="*/ 209571 w 1502222"/>
                  <a:gd name="connsiteY258" fmla="*/ 598683 h 941138"/>
                  <a:gd name="connsiteX259" fmla="*/ 211105 w 1502222"/>
                  <a:gd name="connsiteY259" fmla="*/ 598683 h 941138"/>
                  <a:gd name="connsiteX260" fmla="*/ 211105 w 1502222"/>
                  <a:gd name="connsiteY260" fmla="*/ 597115 h 941138"/>
                  <a:gd name="connsiteX261" fmla="*/ 212640 w 1502222"/>
                  <a:gd name="connsiteY261" fmla="*/ 597115 h 941138"/>
                  <a:gd name="connsiteX262" fmla="*/ 212640 w 1502222"/>
                  <a:gd name="connsiteY262" fmla="*/ 596314 h 941138"/>
                  <a:gd name="connsiteX263" fmla="*/ 214174 w 1502222"/>
                  <a:gd name="connsiteY263" fmla="*/ 596314 h 941138"/>
                  <a:gd name="connsiteX264" fmla="*/ 214174 w 1502222"/>
                  <a:gd name="connsiteY264" fmla="*/ 595513 h 941138"/>
                  <a:gd name="connsiteX265" fmla="*/ 215698 w 1502222"/>
                  <a:gd name="connsiteY265" fmla="*/ 595513 h 941138"/>
                  <a:gd name="connsiteX266" fmla="*/ 215698 w 1502222"/>
                  <a:gd name="connsiteY266" fmla="*/ 593912 h 941138"/>
                  <a:gd name="connsiteX267" fmla="*/ 217232 w 1502222"/>
                  <a:gd name="connsiteY267" fmla="*/ 593912 h 941138"/>
                  <a:gd name="connsiteX268" fmla="*/ 217232 w 1502222"/>
                  <a:gd name="connsiteY268" fmla="*/ 591543 h 941138"/>
                  <a:gd name="connsiteX269" fmla="*/ 218767 w 1502222"/>
                  <a:gd name="connsiteY269" fmla="*/ 591543 h 941138"/>
                  <a:gd name="connsiteX270" fmla="*/ 218767 w 1502222"/>
                  <a:gd name="connsiteY270" fmla="*/ 590742 h 941138"/>
                  <a:gd name="connsiteX271" fmla="*/ 221836 w 1502222"/>
                  <a:gd name="connsiteY271" fmla="*/ 590742 h 941138"/>
                  <a:gd name="connsiteX272" fmla="*/ 223371 w 1502222"/>
                  <a:gd name="connsiteY272" fmla="*/ 590742 h 941138"/>
                  <a:gd name="connsiteX273" fmla="*/ 223371 w 1502222"/>
                  <a:gd name="connsiteY273" fmla="*/ 589941 h 941138"/>
                  <a:gd name="connsiteX274" fmla="*/ 224905 w 1502222"/>
                  <a:gd name="connsiteY274" fmla="*/ 589941 h 941138"/>
                  <a:gd name="connsiteX275" fmla="*/ 224905 w 1502222"/>
                  <a:gd name="connsiteY275" fmla="*/ 589141 h 941138"/>
                  <a:gd name="connsiteX276" fmla="*/ 226395 w 1502222"/>
                  <a:gd name="connsiteY276" fmla="*/ 589141 h 941138"/>
                  <a:gd name="connsiteX277" fmla="*/ 226395 w 1502222"/>
                  <a:gd name="connsiteY277" fmla="*/ 586727 h 941138"/>
                  <a:gd name="connsiteX278" fmla="*/ 227930 w 1502222"/>
                  <a:gd name="connsiteY278" fmla="*/ 586727 h 941138"/>
                  <a:gd name="connsiteX279" fmla="*/ 229465 w 1502222"/>
                  <a:gd name="connsiteY279" fmla="*/ 586727 h 941138"/>
                  <a:gd name="connsiteX280" fmla="*/ 229465 w 1502222"/>
                  <a:gd name="connsiteY280" fmla="*/ 584358 h 941138"/>
                  <a:gd name="connsiteX281" fmla="*/ 230999 w 1502222"/>
                  <a:gd name="connsiteY281" fmla="*/ 584358 h 941138"/>
                  <a:gd name="connsiteX282" fmla="*/ 230999 w 1502222"/>
                  <a:gd name="connsiteY282" fmla="*/ 582756 h 941138"/>
                  <a:gd name="connsiteX283" fmla="*/ 234057 w 1502222"/>
                  <a:gd name="connsiteY283" fmla="*/ 582756 h 941138"/>
                  <a:gd name="connsiteX284" fmla="*/ 234057 w 1502222"/>
                  <a:gd name="connsiteY284" fmla="*/ 581967 h 941138"/>
                  <a:gd name="connsiteX285" fmla="*/ 235592 w 1502222"/>
                  <a:gd name="connsiteY285" fmla="*/ 581967 h 941138"/>
                  <a:gd name="connsiteX286" fmla="*/ 235592 w 1502222"/>
                  <a:gd name="connsiteY286" fmla="*/ 578753 h 941138"/>
                  <a:gd name="connsiteX287" fmla="*/ 237126 w 1502222"/>
                  <a:gd name="connsiteY287" fmla="*/ 578753 h 941138"/>
                  <a:gd name="connsiteX288" fmla="*/ 237126 w 1502222"/>
                  <a:gd name="connsiteY288" fmla="*/ 577184 h 941138"/>
                  <a:gd name="connsiteX289" fmla="*/ 238661 w 1502222"/>
                  <a:gd name="connsiteY289" fmla="*/ 577184 h 941138"/>
                  <a:gd name="connsiteX290" fmla="*/ 238661 w 1502222"/>
                  <a:gd name="connsiteY290" fmla="*/ 575583 h 941138"/>
                  <a:gd name="connsiteX291" fmla="*/ 241730 w 1502222"/>
                  <a:gd name="connsiteY291" fmla="*/ 575583 h 941138"/>
                  <a:gd name="connsiteX292" fmla="*/ 241730 w 1502222"/>
                  <a:gd name="connsiteY292" fmla="*/ 574782 h 941138"/>
                  <a:gd name="connsiteX293" fmla="*/ 243254 w 1502222"/>
                  <a:gd name="connsiteY293" fmla="*/ 574782 h 941138"/>
                  <a:gd name="connsiteX294" fmla="*/ 243254 w 1502222"/>
                  <a:gd name="connsiteY294" fmla="*/ 573981 h 941138"/>
                  <a:gd name="connsiteX295" fmla="*/ 244755 w 1502222"/>
                  <a:gd name="connsiteY295" fmla="*/ 573981 h 941138"/>
                  <a:gd name="connsiteX296" fmla="*/ 244755 w 1502222"/>
                  <a:gd name="connsiteY296" fmla="*/ 569977 h 941138"/>
                  <a:gd name="connsiteX297" fmla="*/ 246289 w 1502222"/>
                  <a:gd name="connsiteY297" fmla="*/ 569977 h 941138"/>
                  <a:gd name="connsiteX298" fmla="*/ 246289 w 1502222"/>
                  <a:gd name="connsiteY298" fmla="*/ 569210 h 941138"/>
                  <a:gd name="connsiteX299" fmla="*/ 247824 w 1502222"/>
                  <a:gd name="connsiteY299" fmla="*/ 569210 h 941138"/>
                  <a:gd name="connsiteX300" fmla="*/ 247824 w 1502222"/>
                  <a:gd name="connsiteY300" fmla="*/ 568409 h 941138"/>
                  <a:gd name="connsiteX301" fmla="*/ 249359 w 1502222"/>
                  <a:gd name="connsiteY301" fmla="*/ 568409 h 941138"/>
                  <a:gd name="connsiteX302" fmla="*/ 249359 w 1502222"/>
                  <a:gd name="connsiteY302" fmla="*/ 566808 h 941138"/>
                  <a:gd name="connsiteX303" fmla="*/ 250893 w 1502222"/>
                  <a:gd name="connsiteY303" fmla="*/ 566808 h 941138"/>
                  <a:gd name="connsiteX304" fmla="*/ 250893 w 1502222"/>
                  <a:gd name="connsiteY304" fmla="*/ 566007 h 941138"/>
                  <a:gd name="connsiteX305" fmla="*/ 252417 w 1502222"/>
                  <a:gd name="connsiteY305" fmla="*/ 566007 h 941138"/>
                  <a:gd name="connsiteX306" fmla="*/ 252417 w 1502222"/>
                  <a:gd name="connsiteY306" fmla="*/ 565206 h 941138"/>
                  <a:gd name="connsiteX307" fmla="*/ 253951 w 1502222"/>
                  <a:gd name="connsiteY307" fmla="*/ 565206 h 941138"/>
                  <a:gd name="connsiteX308" fmla="*/ 255486 w 1502222"/>
                  <a:gd name="connsiteY308" fmla="*/ 565206 h 941138"/>
                  <a:gd name="connsiteX309" fmla="*/ 255486 w 1502222"/>
                  <a:gd name="connsiteY309" fmla="*/ 563593 h 941138"/>
                  <a:gd name="connsiteX310" fmla="*/ 257020 w 1502222"/>
                  <a:gd name="connsiteY310" fmla="*/ 563593 h 941138"/>
                  <a:gd name="connsiteX311" fmla="*/ 257020 w 1502222"/>
                  <a:gd name="connsiteY311" fmla="*/ 559623 h 941138"/>
                  <a:gd name="connsiteX312" fmla="*/ 260089 w 1502222"/>
                  <a:gd name="connsiteY312" fmla="*/ 559623 h 941138"/>
                  <a:gd name="connsiteX313" fmla="*/ 260089 w 1502222"/>
                  <a:gd name="connsiteY313" fmla="*/ 558822 h 941138"/>
                  <a:gd name="connsiteX314" fmla="*/ 261580 w 1502222"/>
                  <a:gd name="connsiteY314" fmla="*/ 558822 h 941138"/>
                  <a:gd name="connsiteX315" fmla="*/ 261580 w 1502222"/>
                  <a:gd name="connsiteY315" fmla="*/ 556420 h 941138"/>
                  <a:gd name="connsiteX316" fmla="*/ 263114 w 1502222"/>
                  <a:gd name="connsiteY316" fmla="*/ 556420 h 941138"/>
                  <a:gd name="connsiteX317" fmla="*/ 263114 w 1502222"/>
                  <a:gd name="connsiteY317" fmla="*/ 553217 h 941138"/>
                  <a:gd name="connsiteX318" fmla="*/ 264649 w 1502222"/>
                  <a:gd name="connsiteY318" fmla="*/ 553217 h 941138"/>
                  <a:gd name="connsiteX319" fmla="*/ 264649 w 1502222"/>
                  <a:gd name="connsiteY319" fmla="*/ 551615 h 941138"/>
                  <a:gd name="connsiteX320" fmla="*/ 266183 w 1502222"/>
                  <a:gd name="connsiteY320" fmla="*/ 551615 h 941138"/>
                  <a:gd name="connsiteX321" fmla="*/ 266183 w 1502222"/>
                  <a:gd name="connsiteY321" fmla="*/ 550814 h 941138"/>
                  <a:gd name="connsiteX322" fmla="*/ 267718 w 1502222"/>
                  <a:gd name="connsiteY322" fmla="*/ 550814 h 941138"/>
                  <a:gd name="connsiteX323" fmla="*/ 267718 w 1502222"/>
                  <a:gd name="connsiteY323" fmla="*/ 550013 h 941138"/>
                  <a:gd name="connsiteX324" fmla="*/ 269241 w 1502222"/>
                  <a:gd name="connsiteY324" fmla="*/ 550013 h 941138"/>
                  <a:gd name="connsiteX325" fmla="*/ 269241 w 1502222"/>
                  <a:gd name="connsiteY325" fmla="*/ 549213 h 941138"/>
                  <a:gd name="connsiteX326" fmla="*/ 270776 w 1502222"/>
                  <a:gd name="connsiteY326" fmla="*/ 549213 h 941138"/>
                  <a:gd name="connsiteX327" fmla="*/ 270776 w 1502222"/>
                  <a:gd name="connsiteY327" fmla="*/ 548401 h 941138"/>
                  <a:gd name="connsiteX328" fmla="*/ 272311 w 1502222"/>
                  <a:gd name="connsiteY328" fmla="*/ 548401 h 941138"/>
                  <a:gd name="connsiteX329" fmla="*/ 272311 w 1502222"/>
                  <a:gd name="connsiteY329" fmla="*/ 545998 h 941138"/>
                  <a:gd name="connsiteX330" fmla="*/ 273845 w 1502222"/>
                  <a:gd name="connsiteY330" fmla="*/ 545998 h 941138"/>
                  <a:gd name="connsiteX331" fmla="*/ 273845 w 1502222"/>
                  <a:gd name="connsiteY331" fmla="*/ 543596 h 941138"/>
                  <a:gd name="connsiteX332" fmla="*/ 275380 w 1502222"/>
                  <a:gd name="connsiteY332" fmla="*/ 543596 h 941138"/>
                  <a:gd name="connsiteX333" fmla="*/ 275380 w 1502222"/>
                  <a:gd name="connsiteY333" fmla="*/ 542028 h 941138"/>
                  <a:gd name="connsiteX334" fmla="*/ 276903 w 1502222"/>
                  <a:gd name="connsiteY334" fmla="*/ 542028 h 941138"/>
                  <a:gd name="connsiteX335" fmla="*/ 276903 w 1502222"/>
                  <a:gd name="connsiteY335" fmla="*/ 541227 h 941138"/>
                  <a:gd name="connsiteX336" fmla="*/ 278449 w 1502222"/>
                  <a:gd name="connsiteY336" fmla="*/ 541227 h 941138"/>
                  <a:gd name="connsiteX337" fmla="*/ 278449 w 1502222"/>
                  <a:gd name="connsiteY337" fmla="*/ 540426 h 941138"/>
                  <a:gd name="connsiteX338" fmla="*/ 279939 w 1502222"/>
                  <a:gd name="connsiteY338" fmla="*/ 540426 h 941138"/>
                  <a:gd name="connsiteX339" fmla="*/ 279939 w 1502222"/>
                  <a:gd name="connsiteY339" fmla="*/ 538024 h 941138"/>
                  <a:gd name="connsiteX340" fmla="*/ 281474 w 1502222"/>
                  <a:gd name="connsiteY340" fmla="*/ 538024 h 941138"/>
                  <a:gd name="connsiteX341" fmla="*/ 281474 w 1502222"/>
                  <a:gd name="connsiteY341" fmla="*/ 536422 h 941138"/>
                  <a:gd name="connsiteX342" fmla="*/ 283008 w 1502222"/>
                  <a:gd name="connsiteY342" fmla="*/ 536422 h 941138"/>
                  <a:gd name="connsiteX343" fmla="*/ 283008 w 1502222"/>
                  <a:gd name="connsiteY343" fmla="*/ 534821 h 941138"/>
                  <a:gd name="connsiteX344" fmla="*/ 284532 w 1502222"/>
                  <a:gd name="connsiteY344" fmla="*/ 534821 h 941138"/>
                  <a:gd name="connsiteX345" fmla="*/ 284532 w 1502222"/>
                  <a:gd name="connsiteY345" fmla="*/ 534020 h 941138"/>
                  <a:gd name="connsiteX346" fmla="*/ 286077 w 1502222"/>
                  <a:gd name="connsiteY346" fmla="*/ 534020 h 941138"/>
                  <a:gd name="connsiteX347" fmla="*/ 286077 w 1502222"/>
                  <a:gd name="connsiteY347" fmla="*/ 533219 h 941138"/>
                  <a:gd name="connsiteX348" fmla="*/ 287601 w 1502222"/>
                  <a:gd name="connsiteY348" fmla="*/ 533219 h 941138"/>
                  <a:gd name="connsiteX349" fmla="*/ 287601 w 1502222"/>
                  <a:gd name="connsiteY349" fmla="*/ 529972 h 941138"/>
                  <a:gd name="connsiteX350" fmla="*/ 289135 w 1502222"/>
                  <a:gd name="connsiteY350" fmla="*/ 529972 h 941138"/>
                  <a:gd name="connsiteX351" fmla="*/ 289135 w 1502222"/>
                  <a:gd name="connsiteY351" fmla="*/ 528370 h 941138"/>
                  <a:gd name="connsiteX352" fmla="*/ 290670 w 1502222"/>
                  <a:gd name="connsiteY352" fmla="*/ 528370 h 941138"/>
                  <a:gd name="connsiteX353" fmla="*/ 290670 w 1502222"/>
                  <a:gd name="connsiteY353" fmla="*/ 524333 h 941138"/>
                  <a:gd name="connsiteX354" fmla="*/ 292205 w 1502222"/>
                  <a:gd name="connsiteY354" fmla="*/ 524333 h 941138"/>
                  <a:gd name="connsiteX355" fmla="*/ 292205 w 1502222"/>
                  <a:gd name="connsiteY355" fmla="*/ 521897 h 941138"/>
                  <a:gd name="connsiteX356" fmla="*/ 293739 w 1502222"/>
                  <a:gd name="connsiteY356" fmla="*/ 521897 h 941138"/>
                  <a:gd name="connsiteX357" fmla="*/ 293739 w 1502222"/>
                  <a:gd name="connsiteY357" fmla="*/ 520251 h 941138"/>
                  <a:gd name="connsiteX358" fmla="*/ 295274 w 1502222"/>
                  <a:gd name="connsiteY358" fmla="*/ 520251 h 941138"/>
                  <a:gd name="connsiteX359" fmla="*/ 295274 w 1502222"/>
                  <a:gd name="connsiteY359" fmla="*/ 519450 h 941138"/>
                  <a:gd name="connsiteX360" fmla="*/ 296797 w 1502222"/>
                  <a:gd name="connsiteY360" fmla="*/ 519450 h 941138"/>
                  <a:gd name="connsiteX361" fmla="*/ 296797 w 1502222"/>
                  <a:gd name="connsiteY361" fmla="*/ 517815 h 941138"/>
                  <a:gd name="connsiteX362" fmla="*/ 298298 w 1502222"/>
                  <a:gd name="connsiteY362" fmla="*/ 517815 h 941138"/>
                  <a:gd name="connsiteX363" fmla="*/ 298298 w 1502222"/>
                  <a:gd name="connsiteY363" fmla="*/ 517015 h 941138"/>
                  <a:gd name="connsiteX364" fmla="*/ 299833 w 1502222"/>
                  <a:gd name="connsiteY364" fmla="*/ 517015 h 941138"/>
                  <a:gd name="connsiteX365" fmla="*/ 299833 w 1502222"/>
                  <a:gd name="connsiteY365" fmla="*/ 516180 h 941138"/>
                  <a:gd name="connsiteX366" fmla="*/ 301368 w 1502222"/>
                  <a:gd name="connsiteY366" fmla="*/ 516180 h 941138"/>
                  <a:gd name="connsiteX367" fmla="*/ 302902 w 1502222"/>
                  <a:gd name="connsiteY367" fmla="*/ 516180 h 941138"/>
                  <a:gd name="connsiteX368" fmla="*/ 302902 w 1502222"/>
                  <a:gd name="connsiteY368" fmla="*/ 515380 h 941138"/>
                  <a:gd name="connsiteX369" fmla="*/ 304426 w 1502222"/>
                  <a:gd name="connsiteY369" fmla="*/ 515380 h 941138"/>
                  <a:gd name="connsiteX370" fmla="*/ 304426 w 1502222"/>
                  <a:gd name="connsiteY370" fmla="*/ 512866 h 941138"/>
                  <a:gd name="connsiteX371" fmla="*/ 305960 w 1502222"/>
                  <a:gd name="connsiteY371" fmla="*/ 512866 h 941138"/>
                  <a:gd name="connsiteX372" fmla="*/ 305960 w 1502222"/>
                  <a:gd name="connsiteY372" fmla="*/ 512032 h 941138"/>
                  <a:gd name="connsiteX373" fmla="*/ 307495 w 1502222"/>
                  <a:gd name="connsiteY373" fmla="*/ 512032 h 941138"/>
                  <a:gd name="connsiteX374" fmla="*/ 307495 w 1502222"/>
                  <a:gd name="connsiteY374" fmla="*/ 509563 h 941138"/>
                  <a:gd name="connsiteX375" fmla="*/ 309029 w 1502222"/>
                  <a:gd name="connsiteY375" fmla="*/ 509563 h 941138"/>
                  <a:gd name="connsiteX376" fmla="*/ 309029 w 1502222"/>
                  <a:gd name="connsiteY376" fmla="*/ 507884 h 941138"/>
                  <a:gd name="connsiteX377" fmla="*/ 310564 w 1502222"/>
                  <a:gd name="connsiteY377" fmla="*/ 507884 h 941138"/>
                  <a:gd name="connsiteX378" fmla="*/ 310564 w 1502222"/>
                  <a:gd name="connsiteY378" fmla="*/ 507049 h 941138"/>
                  <a:gd name="connsiteX379" fmla="*/ 312087 w 1502222"/>
                  <a:gd name="connsiteY379" fmla="*/ 507049 h 941138"/>
                  <a:gd name="connsiteX380" fmla="*/ 312087 w 1502222"/>
                  <a:gd name="connsiteY380" fmla="*/ 503702 h 941138"/>
                  <a:gd name="connsiteX381" fmla="*/ 313633 w 1502222"/>
                  <a:gd name="connsiteY381" fmla="*/ 503702 h 941138"/>
                  <a:gd name="connsiteX382" fmla="*/ 313633 w 1502222"/>
                  <a:gd name="connsiteY382" fmla="*/ 502834 h 941138"/>
                  <a:gd name="connsiteX383" fmla="*/ 315123 w 1502222"/>
                  <a:gd name="connsiteY383" fmla="*/ 502834 h 941138"/>
                  <a:gd name="connsiteX384" fmla="*/ 315123 w 1502222"/>
                  <a:gd name="connsiteY384" fmla="*/ 502000 h 941138"/>
                  <a:gd name="connsiteX385" fmla="*/ 316658 w 1502222"/>
                  <a:gd name="connsiteY385" fmla="*/ 502000 h 941138"/>
                  <a:gd name="connsiteX386" fmla="*/ 316658 w 1502222"/>
                  <a:gd name="connsiteY386" fmla="*/ 501155 h 941138"/>
                  <a:gd name="connsiteX387" fmla="*/ 318192 w 1502222"/>
                  <a:gd name="connsiteY387" fmla="*/ 501155 h 941138"/>
                  <a:gd name="connsiteX388" fmla="*/ 318192 w 1502222"/>
                  <a:gd name="connsiteY388" fmla="*/ 500287 h 941138"/>
                  <a:gd name="connsiteX389" fmla="*/ 319716 w 1502222"/>
                  <a:gd name="connsiteY389" fmla="*/ 500287 h 941138"/>
                  <a:gd name="connsiteX390" fmla="*/ 319716 w 1502222"/>
                  <a:gd name="connsiteY390" fmla="*/ 499453 h 941138"/>
                  <a:gd name="connsiteX391" fmla="*/ 321261 w 1502222"/>
                  <a:gd name="connsiteY391" fmla="*/ 499453 h 941138"/>
                  <a:gd name="connsiteX392" fmla="*/ 321261 w 1502222"/>
                  <a:gd name="connsiteY392" fmla="*/ 496917 h 941138"/>
                  <a:gd name="connsiteX393" fmla="*/ 322785 w 1502222"/>
                  <a:gd name="connsiteY393" fmla="*/ 496917 h 941138"/>
                  <a:gd name="connsiteX394" fmla="*/ 322785 w 1502222"/>
                  <a:gd name="connsiteY394" fmla="*/ 493469 h 941138"/>
                  <a:gd name="connsiteX395" fmla="*/ 324320 w 1502222"/>
                  <a:gd name="connsiteY395" fmla="*/ 493469 h 941138"/>
                  <a:gd name="connsiteX396" fmla="*/ 324320 w 1502222"/>
                  <a:gd name="connsiteY396" fmla="*/ 492591 h 941138"/>
                  <a:gd name="connsiteX397" fmla="*/ 327389 w 1502222"/>
                  <a:gd name="connsiteY397" fmla="*/ 492591 h 941138"/>
                  <a:gd name="connsiteX398" fmla="*/ 327389 w 1502222"/>
                  <a:gd name="connsiteY398" fmla="*/ 491723 h 941138"/>
                  <a:gd name="connsiteX399" fmla="*/ 328923 w 1502222"/>
                  <a:gd name="connsiteY399" fmla="*/ 491723 h 941138"/>
                  <a:gd name="connsiteX400" fmla="*/ 328923 w 1502222"/>
                  <a:gd name="connsiteY400" fmla="*/ 487397 h 941138"/>
                  <a:gd name="connsiteX401" fmla="*/ 330447 w 1502222"/>
                  <a:gd name="connsiteY401" fmla="*/ 487397 h 941138"/>
                  <a:gd name="connsiteX402" fmla="*/ 330447 w 1502222"/>
                  <a:gd name="connsiteY402" fmla="*/ 484783 h 941138"/>
                  <a:gd name="connsiteX403" fmla="*/ 331981 w 1502222"/>
                  <a:gd name="connsiteY403" fmla="*/ 484783 h 941138"/>
                  <a:gd name="connsiteX404" fmla="*/ 331981 w 1502222"/>
                  <a:gd name="connsiteY404" fmla="*/ 483916 h 941138"/>
                  <a:gd name="connsiteX405" fmla="*/ 333483 w 1502222"/>
                  <a:gd name="connsiteY405" fmla="*/ 483916 h 941138"/>
                  <a:gd name="connsiteX406" fmla="*/ 333483 w 1502222"/>
                  <a:gd name="connsiteY406" fmla="*/ 479567 h 941138"/>
                  <a:gd name="connsiteX407" fmla="*/ 335017 w 1502222"/>
                  <a:gd name="connsiteY407" fmla="*/ 479567 h 941138"/>
                  <a:gd name="connsiteX408" fmla="*/ 335017 w 1502222"/>
                  <a:gd name="connsiteY408" fmla="*/ 477788 h 941138"/>
                  <a:gd name="connsiteX409" fmla="*/ 338075 w 1502222"/>
                  <a:gd name="connsiteY409" fmla="*/ 477788 h 941138"/>
                  <a:gd name="connsiteX410" fmla="*/ 338075 w 1502222"/>
                  <a:gd name="connsiteY410" fmla="*/ 475174 h 941138"/>
                  <a:gd name="connsiteX411" fmla="*/ 339621 w 1502222"/>
                  <a:gd name="connsiteY411" fmla="*/ 475174 h 941138"/>
                  <a:gd name="connsiteX412" fmla="*/ 339621 w 1502222"/>
                  <a:gd name="connsiteY412" fmla="*/ 473394 h 941138"/>
                  <a:gd name="connsiteX413" fmla="*/ 341144 w 1502222"/>
                  <a:gd name="connsiteY413" fmla="*/ 473394 h 941138"/>
                  <a:gd name="connsiteX414" fmla="*/ 342679 w 1502222"/>
                  <a:gd name="connsiteY414" fmla="*/ 473394 h 941138"/>
                  <a:gd name="connsiteX415" fmla="*/ 342679 w 1502222"/>
                  <a:gd name="connsiteY415" fmla="*/ 471615 h 941138"/>
                  <a:gd name="connsiteX416" fmla="*/ 344214 w 1502222"/>
                  <a:gd name="connsiteY416" fmla="*/ 471615 h 941138"/>
                  <a:gd name="connsiteX417" fmla="*/ 344214 w 1502222"/>
                  <a:gd name="connsiteY417" fmla="*/ 469847 h 941138"/>
                  <a:gd name="connsiteX418" fmla="*/ 345748 w 1502222"/>
                  <a:gd name="connsiteY418" fmla="*/ 469847 h 941138"/>
                  <a:gd name="connsiteX419" fmla="*/ 345748 w 1502222"/>
                  <a:gd name="connsiteY419" fmla="*/ 468968 h 941138"/>
                  <a:gd name="connsiteX420" fmla="*/ 348806 w 1502222"/>
                  <a:gd name="connsiteY420" fmla="*/ 468968 h 941138"/>
                  <a:gd name="connsiteX421" fmla="*/ 348806 w 1502222"/>
                  <a:gd name="connsiteY421" fmla="*/ 468067 h 941138"/>
                  <a:gd name="connsiteX422" fmla="*/ 350307 w 1502222"/>
                  <a:gd name="connsiteY422" fmla="*/ 468067 h 941138"/>
                  <a:gd name="connsiteX423" fmla="*/ 350307 w 1502222"/>
                  <a:gd name="connsiteY423" fmla="*/ 467155 h 941138"/>
                  <a:gd name="connsiteX424" fmla="*/ 351842 w 1502222"/>
                  <a:gd name="connsiteY424" fmla="*/ 467155 h 941138"/>
                  <a:gd name="connsiteX425" fmla="*/ 353377 w 1502222"/>
                  <a:gd name="connsiteY425" fmla="*/ 467155 h 941138"/>
                  <a:gd name="connsiteX426" fmla="*/ 353377 w 1502222"/>
                  <a:gd name="connsiteY426" fmla="*/ 466287 h 941138"/>
                  <a:gd name="connsiteX427" fmla="*/ 354911 w 1502222"/>
                  <a:gd name="connsiteY427" fmla="*/ 466287 h 941138"/>
                  <a:gd name="connsiteX428" fmla="*/ 354911 w 1502222"/>
                  <a:gd name="connsiteY428" fmla="*/ 465387 h 941138"/>
                  <a:gd name="connsiteX429" fmla="*/ 356446 w 1502222"/>
                  <a:gd name="connsiteY429" fmla="*/ 465387 h 941138"/>
                  <a:gd name="connsiteX430" fmla="*/ 356446 w 1502222"/>
                  <a:gd name="connsiteY430" fmla="*/ 463574 h 941138"/>
                  <a:gd name="connsiteX431" fmla="*/ 357969 w 1502222"/>
                  <a:gd name="connsiteY431" fmla="*/ 463574 h 941138"/>
                  <a:gd name="connsiteX432" fmla="*/ 357969 w 1502222"/>
                  <a:gd name="connsiteY432" fmla="*/ 461750 h 941138"/>
                  <a:gd name="connsiteX433" fmla="*/ 359504 w 1502222"/>
                  <a:gd name="connsiteY433" fmla="*/ 461750 h 941138"/>
                  <a:gd name="connsiteX434" fmla="*/ 359504 w 1502222"/>
                  <a:gd name="connsiteY434" fmla="*/ 460849 h 941138"/>
                  <a:gd name="connsiteX435" fmla="*/ 361038 w 1502222"/>
                  <a:gd name="connsiteY435" fmla="*/ 460849 h 941138"/>
                  <a:gd name="connsiteX436" fmla="*/ 361038 w 1502222"/>
                  <a:gd name="connsiteY436" fmla="*/ 459036 h 941138"/>
                  <a:gd name="connsiteX437" fmla="*/ 362573 w 1502222"/>
                  <a:gd name="connsiteY437" fmla="*/ 459036 h 941138"/>
                  <a:gd name="connsiteX438" fmla="*/ 364108 w 1502222"/>
                  <a:gd name="connsiteY438" fmla="*/ 459036 h 941138"/>
                  <a:gd name="connsiteX439" fmla="*/ 364108 w 1502222"/>
                  <a:gd name="connsiteY439" fmla="*/ 458135 h 941138"/>
                  <a:gd name="connsiteX440" fmla="*/ 365631 w 1502222"/>
                  <a:gd name="connsiteY440" fmla="*/ 458135 h 941138"/>
                  <a:gd name="connsiteX441" fmla="*/ 365631 w 1502222"/>
                  <a:gd name="connsiteY441" fmla="*/ 454476 h 941138"/>
                  <a:gd name="connsiteX442" fmla="*/ 367177 w 1502222"/>
                  <a:gd name="connsiteY442" fmla="*/ 454476 h 941138"/>
                  <a:gd name="connsiteX443" fmla="*/ 368667 w 1502222"/>
                  <a:gd name="connsiteY443" fmla="*/ 454476 h 941138"/>
                  <a:gd name="connsiteX444" fmla="*/ 370201 w 1502222"/>
                  <a:gd name="connsiteY444" fmla="*/ 454476 h 941138"/>
                  <a:gd name="connsiteX445" fmla="*/ 370201 w 1502222"/>
                  <a:gd name="connsiteY445" fmla="*/ 453575 h 941138"/>
                  <a:gd name="connsiteX446" fmla="*/ 371736 w 1502222"/>
                  <a:gd name="connsiteY446" fmla="*/ 453575 h 941138"/>
                  <a:gd name="connsiteX447" fmla="*/ 371736 w 1502222"/>
                  <a:gd name="connsiteY447" fmla="*/ 452630 h 941138"/>
                  <a:gd name="connsiteX448" fmla="*/ 373259 w 1502222"/>
                  <a:gd name="connsiteY448" fmla="*/ 452630 h 941138"/>
                  <a:gd name="connsiteX449" fmla="*/ 373259 w 1502222"/>
                  <a:gd name="connsiteY449" fmla="*/ 449883 h 941138"/>
                  <a:gd name="connsiteX450" fmla="*/ 374805 w 1502222"/>
                  <a:gd name="connsiteY450" fmla="*/ 449883 h 941138"/>
                  <a:gd name="connsiteX451" fmla="*/ 374805 w 1502222"/>
                  <a:gd name="connsiteY451" fmla="*/ 448937 h 941138"/>
                  <a:gd name="connsiteX452" fmla="*/ 376329 w 1502222"/>
                  <a:gd name="connsiteY452" fmla="*/ 448937 h 941138"/>
                  <a:gd name="connsiteX453" fmla="*/ 376329 w 1502222"/>
                  <a:gd name="connsiteY453" fmla="*/ 447091 h 941138"/>
                  <a:gd name="connsiteX454" fmla="*/ 377863 w 1502222"/>
                  <a:gd name="connsiteY454" fmla="*/ 447091 h 941138"/>
                  <a:gd name="connsiteX455" fmla="*/ 380932 w 1502222"/>
                  <a:gd name="connsiteY455" fmla="*/ 447091 h 941138"/>
                  <a:gd name="connsiteX456" fmla="*/ 380932 w 1502222"/>
                  <a:gd name="connsiteY456" fmla="*/ 444266 h 941138"/>
                  <a:gd name="connsiteX457" fmla="*/ 382467 w 1502222"/>
                  <a:gd name="connsiteY457" fmla="*/ 444266 h 941138"/>
                  <a:gd name="connsiteX458" fmla="*/ 383990 w 1502222"/>
                  <a:gd name="connsiteY458" fmla="*/ 444266 h 941138"/>
                  <a:gd name="connsiteX459" fmla="*/ 385492 w 1502222"/>
                  <a:gd name="connsiteY459" fmla="*/ 444266 h 941138"/>
                  <a:gd name="connsiteX460" fmla="*/ 385492 w 1502222"/>
                  <a:gd name="connsiteY460" fmla="*/ 443321 h 941138"/>
                  <a:gd name="connsiteX461" fmla="*/ 387026 w 1502222"/>
                  <a:gd name="connsiteY461" fmla="*/ 443321 h 941138"/>
                  <a:gd name="connsiteX462" fmla="*/ 388561 w 1502222"/>
                  <a:gd name="connsiteY462" fmla="*/ 443321 h 941138"/>
                  <a:gd name="connsiteX463" fmla="*/ 388561 w 1502222"/>
                  <a:gd name="connsiteY463" fmla="*/ 441441 h 941138"/>
                  <a:gd name="connsiteX464" fmla="*/ 390095 w 1502222"/>
                  <a:gd name="connsiteY464" fmla="*/ 441441 h 941138"/>
                  <a:gd name="connsiteX465" fmla="*/ 390095 w 1502222"/>
                  <a:gd name="connsiteY465" fmla="*/ 440507 h 941138"/>
                  <a:gd name="connsiteX466" fmla="*/ 391619 w 1502222"/>
                  <a:gd name="connsiteY466" fmla="*/ 440507 h 941138"/>
                  <a:gd name="connsiteX467" fmla="*/ 391619 w 1502222"/>
                  <a:gd name="connsiteY467" fmla="*/ 438583 h 941138"/>
                  <a:gd name="connsiteX468" fmla="*/ 393153 w 1502222"/>
                  <a:gd name="connsiteY468" fmla="*/ 438583 h 941138"/>
                  <a:gd name="connsiteX469" fmla="*/ 393153 w 1502222"/>
                  <a:gd name="connsiteY469" fmla="*/ 437648 h 941138"/>
                  <a:gd name="connsiteX470" fmla="*/ 394688 w 1502222"/>
                  <a:gd name="connsiteY470" fmla="*/ 437648 h 941138"/>
                  <a:gd name="connsiteX471" fmla="*/ 394688 w 1502222"/>
                  <a:gd name="connsiteY471" fmla="*/ 436703 h 941138"/>
                  <a:gd name="connsiteX472" fmla="*/ 396223 w 1502222"/>
                  <a:gd name="connsiteY472" fmla="*/ 436703 h 941138"/>
                  <a:gd name="connsiteX473" fmla="*/ 397757 w 1502222"/>
                  <a:gd name="connsiteY473" fmla="*/ 436703 h 941138"/>
                  <a:gd name="connsiteX474" fmla="*/ 399292 w 1502222"/>
                  <a:gd name="connsiteY474" fmla="*/ 436703 h 941138"/>
                  <a:gd name="connsiteX475" fmla="*/ 399292 w 1502222"/>
                  <a:gd name="connsiteY475" fmla="*/ 435736 h 941138"/>
                  <a:gd name="connsiteX476" fmla="*/ 400815 w 1502222"/>
                  <a:gd name="connsiteY476" fmla="*/ 435736 h 941138"/>
                  <a:gd name="connsiteX477" fmla="*/ 400815 w 1502222"/>
                  <a:gd name="connsiteY477" fmla="*/ 432833 h 941138"/>
                  <a:gd name="connsiteX478" fmla="*/ 402350 w 1502222"/>
                  <a:gd name="connsiteY478" fmla="*/ 432833 h 941138"/>
                  <a:gd name="connsiteX479" fmla="*/ 402350 w 1502222"/>
                  <a:gd name="connsiteY479" fmla="*/ 431865 h 941138"/>
                  <a:gd name="connsiteX480" fmla="*/ 403851 w 1502222"/>
                  <a:gd name="connsiteY480" fmla="*/ 431865 h 941138"/>
                  <a:gd name="connsiteX481" fmla="*/ 405386 w 1502222"/>
                  <a:gd name="connsiteY481" fmla="*/ 431865 h 941138"/>
                  <a:gd name="connsiteX482" fmla="*/ 406920 w 1502222"/>
                  <a:gd name="connsiteY482" fmla="*/ 431865 h 941138"/>
                  <a:gd name="connsiteX483" fmla="*/ 406920 w 1502222"/>
                  <a:gd name="connsiteY483" fmla="*/ 428973 h 941138"/>
                  <a:gd name="connsiteX484" fmla="*/ 408444 w 1502222"/>
                  <a:gd name="connsiteY484" fmla="*/ 428973 h 941138"/>
                  <a:gd name="connsiteX485" fmla="*/ 408444 w 1502222"/>
                  <a:gd name="connsiteY485" fmla="*/ 427016 h 941138"/>
                  <a:gd name="connsiteX486" fmla="*/ 409978 w 1502222"/>
                  <a:gd name="connsiteY486" fmla="*/ 427016 h 941138"/>
                  <a:gd name="connsiteX487" fmla="*/ 411513 w 1502222"/>
                  <a:gd name="connsiteY487" fmla="*/ 427016 h 941138"/>
                  <a:gd name="connsiteX488" fmla="*/ 411513 w 1502222"/>
                  <a:gd name="connsiteY488" fmla="*/ 426048 h 941138"/>
                  <a:gd name="connsiteX489" fmla="*/ 413047 w 1502222"/>
                  <a:gd name="connsiteY489" fmla="*/ 426048 h 941138"/>
                  <a:gd name="connsiteX490" fmla="*/ 413047 w 1502222"/>
                  <a:gd name="connsiteY490" fmla="*/ 425070 h 941138"/>
                  <a:gd name="connsiteX491" fmla="*/ 414582 w 1502222"/>
                  <a:gd name="connsiteY491" fmla="*/ 425070 h 941138"/>
                  <a:gd name="connsiteX492" fmla="*/ 416117 w 1502222"/>
                  <a:gd name="connsiteY492" fmla="*/ 425070 h 941138"/>
                  <a:gd name="connsiteX493" fmla="*/ 416117 w 1502222"/>
                  <a:gd name="connsiteY493" fmla="*/ 424091 h 941138"/>
                  <a:gd name="connsiteX494" fmla="*/ 417651 w 1502222"/>
                  <a:gd name="connsiteY494" fmla="*/ 424091 h 941138"/>
                  <a:gd name="connsiteX495" fmla="*/ 419175 w 1502222"/>
                  <a:gd name="connsiteY495" fmla="*/ 424091 h 941138"/>
                  <a:gd name="connsiteX496" fmla="*/ 420709 w 1502222"/>
                  <a:gd name="connsiteY496" fmla="*/ 424091 h 941138"/>
                  <a:gd name="connsiteX497" fmla="*/ 420709 w 1502222"/>
                  <a:gd name="connsiteY497" fmla="*/ 423079 h 941138"/>
                  <a:gd name="connsiteX498" fmla="*/ 422210 w 1502222"/>
                  <a:gd name="connsiteY498" fmla="*/ 423079 h 941138"/>
                  <a:gd name="connsiteX499" fmla="*/ 422210 w 1502222"/>
                  <a:gd name="connsiteY499" fmla="*/ 422111 h 941138"/>
                  <a:gd name="connsiteX500" fmla="*/ 423745 w 1502222"/>
                  <a:gd name="connsiteY500" fmla="*/ 422111 h 941138"/>
                  <a:gd name="connsiteX501" fmla="*/ 423745 w 1502222"/>
                  <a:gd name="connsiteY501" fmla="*/ 421099 h 941138"/>
                  <a:gd name="connsiteX502" fmla="*/ 425280 w 1502222"/>
                  <a:gd name="connsiteY502" fmla="*/ 421099 h 941138"/>
                  <a:gd name="connsiteX503" fmla="*/ 425280 w 1502222"/>
                  <a:gd name="connsiteY503" fmla="*/ 420120 h 941138"/>
                  <a:gd name="connsiteX504" fmla="*/ 426803 w 1502222"/>
                  <a:gd name="connsiteY504" fmla="*/ 420120 h 941138"/>
                  <a:gd name="connsiteX505" fmla="*/ 428349 w 1502222"/>
                  <a:gd name="connsiteY505" fmla="*/ 420120 h 941138"/>
                  <a:gd name="connsiteX506" fmla="*/ 428349 w 1502222"/>
                  <a:gd name="connsiteY506" fmla="*/ 418096 h 941138"/>
                  <a:gd name="connsiteX507" fmla="*/ 429872 w 1502222"/>
                  <a:gd name="connsiteY507" fmla="*/ 418096 h 941138"/>
                  <a:gd name="connsiteX508" fmla="*/ 429872 w 1502222"/>
                  <a:gd name="connsiteY508" fmla="*/ 417128 h 941138"/>
                  <a:gd name="connsiteX509" fmla="*/ 431407 w 1502222"/>
                  <a:gd name="connsiteY509" fmla="*/ 417128 h 941138"/>
                  <a:gd name="connsiteX510" fmla="*/ 432941 w 1502222"/>
                  <a:gd name="connsiteY510" fmla="*/ 417128 h 941138"/>
                  <a:gd name="connsiteX511" fmla="*/ 432941 w 1502222"/>
                  <a:gd name="connsiteY511" fmla="*/ 414092 h 941138"/>
                  <a:gd name="connsiteX512" fmla="*/ 434476 w 1502222"/>
                  <a:gd name="connsiteY512" fmla="*/ 414092 h 941138"/>
                  <a:gd name="connsiteX513" fmla="*/ 434476 w 1502222"/>
                  <a:gd name="connsiteY513" fmla="*/ 412035 h 941138"/>
                  <a:gd name="connsiteX514" fmla="*/ 435999 w 1502222"/>
                  <a:gd name="connsiteY514" fmla="*/ 412035 h 941138"/>
                  <a:gd name="connsiteX515" fmla="*/ 435999 w 1502222"/>
                  <a:gd name="connsiteY515" fmla="*/ 410022 h 941138"/>
                  <a:gd name="connsiteX516" fmla="*/ 437534 w 1502222"/>
                  <a:gd name="connsiteY516" fmla="*/ 410022 h 941138"/>
                  <a:gd name="connsiteX517" fmla="*/ 437534 w 1502222"/>
                  <a:gd name="connsiteY517" fmla="*/ 407997 h 941138"/>
                  <a:gd name="connsiteX518" fmla="*/ 439035 w 1502222"/>
                  <a:gd name="connsiteY518" fmla="*/ 407997 h 941138"/>
                  <a:gd name="connsiteX519" fmla="*/ 439035 w 1502222"/>
                  <a:gd name="connsiteY519" fmla="*/ 406985 h 941138"/>
                  <a:gd name="connsiteX520" fmla="*/ 440570 w 1502222"/>
                  <a:gd name="connsiteY520" fmla="*/ 406985 h 941138"/>
                  <a:gd name="connsiteX521" fmla="*/ 440570 w 1502222"/>
                  <a:gd name="connsiteY521" fmla="*/ 404928 h 941138"/>
                  <a:gd name="connsiteX522" fmla="*/ 442104 w 1502222"/>
                  <a:gd name="connsiteY522" fmla="*/ 404928 h 941138"/>
                  <a:gd name="connsiteX523" fmla="*/ 442104 w 1502222"/>
                  <a:gd name="connsiteY523" fmla="*/ 401869 h 941138"/>
                  <a:gd name="connsiteX524" fmla="*/ 445162 w 1502222"/>
                  <a:gd name="connsiteY524" fmla="*/ 401869 h 941138"/>
                  <a:gd name="connsiteX525" fmla="*/ 445162 w 1502222"/>
                  <a:gd name="connsiteY525" fmla="*/ 400857 h 941138"/>
                  <a:gd name="connsiteX526" fmla="*/ 446697 w 1502222"/>
                  <a:gd name="connsiteY526" fmla="*/ 400857 h 941138"/>
                  <a:gd name="connsiteX527" fmla="*/ 448232 w 1502222"/>
                  <a:gd name="connsiteY527" fmla="*/ 400857 h 941138"/>
                  <a:gd name="connsiteX528" fmla="*/ 449766 w 1502222"/>
                  <a:gd name="connsiteY528" fmla="*/ 400857 h 941138"/>
                  <a:gd name="connsiteX529" fmla="*/ 451290 w 1502222"/>
                  <a:gd name="connsiteY529" fmla="*/ 400857 h 941138"/>
                  <a:gd name="connsiteX530" fmla="*/ 451290 w 1502222"/>
                  <a:gd name="connsiteY530" fmla="*/ 398766 h 941138"/>
                  <a:gd name="connsiteX531" fmla="*/ 452835 w 1502222"/>
                  <a:gd name="connsiteY531" fmla="*/ 398766 h 941138"/>
                  <a:gd name="connsiteX532" fmla="*/ 455893 w 1502222"/>
                  <a:gd name="connsiteY532" fmla="*/ 398766 h 941138"/>
                  <a:gd name="connsiteX533" fmla="*/ 455893 w 1502222"/>
                  <a:gd name="connsiteY533" fmla="*/ 397754 h 941138"/>
                  <a:gd name="connsiteX534" fmla="*/ 457395 w 1502222"/>
                  <a:gd name="connsiteY534" fmla="*/ 397754 h 941138"/>
                  <a:gd name="connsiteX535" fmla="*/ 457395 w 1502222"/>
                  <a:gd name="connsiteY535" fmla="*/ 396709 h 941138"/>
                  <a:gd name="connsiteX536" fmla="*/ 458929 w 1502222"/>
                  <a:gd name="connsiteY536" fmla="*/ 396709 h 941138"/>
                  <a:gd name="connsiteX537" fmla="*/ 458929 w 1502222"/>
                  <a:gd name="connsiteY537" fmla="*/ 394618 h 941138"/>
                  <a:gd name="connsiteX538" fmla="*/ 460464 w 1502222"/>
                  <a:gd name="connsiteY538" fmla="*/ 394618 h 941138"/>
                  <a:gd name="connsiteX539" fmla="*/ 460464 w 1502222"/>
                  <a:gd name="connsiteY539" fmla="*/ 393572 h 941138"/>
                  <a:gd name="connsiteX540" fmla="*/ 461987 w 1502222"/>
                  <a:gd name="connsiteY540" fmla="*/ 393572 h 941138"/>
                  <a:gd name="connsiteX541" fmla="*/ 461987 w 1502222"/>
                  <a:gd name="connsiteY541" fmla="*/ 391515 h 941138"/>
                  <a:gd name="connsiteX542" fmla="*/ 463522 w 1502222"/>
                  <a:gd name="connsiteY542" fmla="*/ 391515 h 941138"/>
                  <a:gd name="connsiteX543" fmla="*/ 463522 w 1502222"/>
                  <a:gd name="connsiteY543" fmla="*/ 390469 h 941138"/>
                  <a:gd name="connsiteX544" fmla="*/ 465056 w 1502222"/>
                  <a:gd name="connsiteY544" fmla="*/ 390469 h 941138"/>
                  <a:gd name="connsiteX545" fmla="*/ 465056 w 1502222"/>
                  <a:gd name="connsiteY545" fmla="*/ 389390 h 941138"/>
                  <a:gd name="connsiteX546" fmla="*/ 466591 w 1502222"/>
                  <a:gd name="connsiteY546" fmla="*/ 389390 h 941138"/>
                  <a:gd name="connsiteX547" fmla="*/ 466591 w 1502222"/>
                  <a:gd name="connsiteY547" fmla="*/ 387299 h 941138"/>
                  <a:gd name="connsiteX548" fmla="*/ 469660 w 1502222"/>
                  <a:gd name="connsiteY548" fmla="*/ 387299 h 941138"/>
                  <a:gd name="connsiteX549" fmla="*/ 469660 w 1502222"/>
                  <a:gd name="connsiteY549" fmla="*/ 386254 h 941138"/>
                  <a:gd name="connsiteX550" fmla="*/ 471195 w 1502222"/>
                  <a:gd name="connsiteY550" fmla="*/ 386254 h 941138"/>
                  <a:gd name="connsiteX551" fmla="*/ 471195 w 1502222"/>
                  <a:gd name="connsiteY551" fmla="*/ 384163 h 941138"/>
                  <a:gd name="connsiteX552" fmla="*/ 472718 w 1502222"/>
                  <a:gd name="connsiteY552" fmla="*/ 384163 h 941138"/>
                  <a:gd name="connsiteX553" fmla="*/ 472718 w 1502222"/>
                  <a:gd name="connsiteY553" fmla="*/ 383084 h 941138"/>
                  <a:gd name="connsiteX554" fmla="*/ 474219 w 1502222"/>
                  <a:gd name="connsiteY554" fmla="*/ 383084 h 941138"/>
                  <a:gd name="connsiteX555" fmla="*/ 474219 w 1502222"/>
                  <a:gd name="connsiteY555" fmla="*/ 379914 h 941138"/>
                  <a:gd name="connsiteX556" fmla="*/ 475754 w 1502222"/>
                  <a:gd name="connsiteY556" fmla="*/ 379914 h 941138"/>
                  <a:gd name="connsiteX557" fmla="*/ 475754 w 1502222"/>
                  <a:gd name="connsiteY557" fmla="*/ 378869 h 941138"/>
                  <a:gd name="connsiteX558" fmla="*/ 477289 w 1502222"/>
                  <a:gd name="connsiteY558" fmla="*/ 378869 h 941138"/>
                  <a:gd name="connsiteX559" fmla="*/ 478823 w 1502222"/>
                  <a:gd name="connsiteY559" fmla="*/ 378869 h 941138"/>
                  <a:gd name="connsiteX560" fmla="*/ 480347 w 1502222"/>
                  <a:gd name="connsiteY560" fmla="*/ 378869 h 941138"/>
                  <a:gd name="connsiteX561" fmla="*/ 481881 w 1502222"/>
                  <a:gd name="connsiteY561" fmla="*/ 378869 h 941138"/>
                  <a:gd name="connsiteX562" fmla="*/ 481881 w 1502222"/>
                  <a:gd name="connsiteY562" fmla="*/ 377824 h 941138"/>
                  <a:gd name="connsiteX563" fmla="*/ 483416 w 1502222"/>
                  <a:gd name="connsiteY563" fmla="*/ 377824 h 941138"/>
                  <a:gd name="connsiteX564" fmla="*/ 484950 w 1502222"/>
                  <a:gd name="connsiteY564" fmla="*/ 377824 h 941138"/>
                  <a:gd name="connsiteX565" fmla="*/ 484950 w 1502222"/>
                  <a:gd name="connsiteY565" fmla="*/ 375666 h 941138"/>
                  <a:gd name="connsiteX566" fmla="*/ 486485 w 1502222"/>
                  <a:gd name="connsiteY566" fmla="*/ 375666 h 941138"/>
                  <a:gd name="connsiteX567" fmla="*/ 486485 w 1502222"/>
                  <a:gd name="connsiteY567" fmla="*/ 374620 h 941138"/>
                  <a:gd name="connsiteX568" fmla="*/ 488019 w 1502222"/>
                  <a:gd name="connsiteY568" fmla="*/ 374620 h 941138"/>
                  <a:gd name="connsiteX569" fmla="*/ 488019 w 1502222"/>
                  <a:gd name="connsiteY569" fmla="*/ 372463 h 941138"/>
                  <a:gd name="connsiteX570" fmla="*/ 491078 w 1502222"/>
                  <a:gd name="connsiteY570" fmla="*/ 372463 h 941138"/>
                  <a:gd name="connsiteX571" fmla="*/ 491078 w 1502222"/>
                  <a:gd name="connsiteY571" fmla="*/ 371373 h 941138"/>
                  <a:gd name="connsiteX572" fmla="*/ 492579 w 1502222"/>
                  <a:gd name="connsiteY572" fmla="*/ 371373 h 941138"/>
                  <a:gd name="connsiteX573" fmla="*/ 494113 w 1502222"/>
                  <a:gd name="connsiteY573" fmla="*/ 371373 h 941138"/>
                  <a:gd name="connsiteX574" fmla="*/ 494113 w 1502222"/>
                  <a:gd name="connsiteY574" fmla="*/ 370294 h 941138"/>
                  <a:gd name="connsiteX575" fmla="*/ 495648 w 1502222"/>
                  <a:gd name="connsiteY575" fmla="*/ 370294 h 941138"/>
                  <a:gd name="connsiteX576" fmla="*/ 495648 w 1502222"/>
                  <a:gd name="connsiteY576" fmla="*/ 367058 h 941138"/>
                  <a:gd name="connsiteX577" fmla="*/ 497171 w 1502222"/>
                  <a:gd name="connsiteY577" fmla="*/ 367058 h 941138"/>
                  <a:gd name="connsiteX578" fmla="*/ 497171 w 1502222"/>
                  <a:gd name="connsiteY578" fmla="*/ 365979 h 941138"/>
                  <a:gd name="connsiteX579" fmla="*/ 498706 w 1502222"/>
                  <a:gd name="connsiteY579" fmla="*/ 365979 h 941138"/>
                  <a:gd name="connsiteX580" fmla="*/ 498706 w 1502222"/>
                  <a:gd name="connsiteY580" fmla="*/ 364900 h 941138"/>
                  <a:gd name="connsiteX581" fmla="*/ 500241 w 1502222"/>
                  <a:gd name="connsiteY581" fmla="*/ 364900 h 941138"/>
                  <a:gd name="connsiteX582" fmla="*/ 501775 w 1502222"/>
                  <a:gd name="connsiteY582" fmla="*/ 364900 h 941138"/>
                  <a:gd name="connsiteX583" fmla="*/ 503310 w 1502222"/>
                  <a:gd name="connsiteY583" fmla="*/ 364900 h 941138"/>
                  <a:gd name="connsiteX584" fmla="*/ 504833 w 1502222"/>
                  <a:gd name="connsiteY584" fmla="*/ 364900 h 941138"/>
                  <a:gd name="connsiteX585" fmla="*/ 506379 w 1502222"/>
                  <a:gd name="connsiteY585" fmla="*/ 364900 h 941138"/>
                  <a:gd name="connsiteX586" fmla="*/ 506379 w 1502222"/>
                  <a:gd name="connsiteY586" fmla="*/ 363821 h 941138"/>
                  <a:gd name="connsiteX587" fmla="*/ 507902 w 1502222"/>
                  <a:gd name="connsiteY587" fmla="*/ 363821 h 941138"/>
                  <a:gd name="connsiteX588" fmla="*/ 507902 w 1502222"/>
                  <a:gd name="connsiteY588" fmla="*/ 361630 h 941138"/>
                  <a:gd name="connsiteX589" fmla="*/ 510938 w 1502222"/>
                  <a:gd name="connsiteY589" fmla="*/ 361630 h 941138"/>
                  <a:gd name="connsiteX590" fmla="*/ 510938 w 1502222"/>
                  <a:gd name="connsiteY590" fmla="*/ 360507 h 941138"/>
                  <a:gd name="connsiteX591" fmla="*/ 512462 w 1502222"/>
                  <a:gd name="connsiteY591" fmla="*/ 360507 h 941138"/>
                  <a:gd name="connsiteX592" fmla="*/ 512462 w 1502222"/>
                  <a:gd name="connsiteY592" fmla="*/ 359428 h 941138"/>
                  <a:gd name="connsiteX593" fmla="*/ 514007 w 1502222"/>
                  <a:gd name="connsiteY593" fmla="*/ 359428 h 941138"/>
                  <a:gd name="connsiteX594" fmla="*/ 514007 w 1502222"/>
                  <a:gd name="connsiteY594" fmla="*/ 357237 h 941138"/>
                  <a:gd name="connsiteX595" fmla="*/ 515531 w 1502222"/>
                  <a:gd name="connsiteY595" fmla="*/ 357237 h 941138"/>
                  <a:gd name="connsiteX596" fmla="*/ 515531 w 1502222"/>
                  <a:gd name="connsiteY596" fmla="*/ 355001 h 941138"/>
                  <a:gd name="connsiteX597" fmla="*/ 517065 w 1502222"/>
                  <a:gd name="connsiteY597" fmla="*/ 355001 h 941138"/>
                  <a:gd name="connsiteX598" fmla="*/ 518600 w 1502222"/>
                  <a:gd name="connsiteY598" fmla="*/ 355001 h 941138"/>
                  <a:gd name="connsiteX599" fmla="*/ 518600 w 1502222"/>
                  <a:gd name="connsiteY599" fmla="*/ 352810 h 941138"/>
                  <a:gd name="connsiteX600" fmla="*/ 521669 w 1502222"/>
                  <a:gd name="connsiteY600" fmla="*/ 352810 h 941138"/>
                  <a:gd name="connsiteX601" fmla="*/ 523193 w 1502222"/>
                  <a:gd name="connsiteY601" fmla="*/ 352810 h 941138"/>
                  <a:gd name="connsiteX602" fmla="*/ 523193 w 1502222"/>
                  <a:gd name="connsiteY602" fmla="*/ 351687 h 941138"/>
                  <a:gd name="connsiteX603" fmla="*/ 524738 w 1502222"/>
                  <a:gd name="connsiteY603" fmla="*/ 351687 h 941138"/>
                  <a:gd name="connsiteX604" fmla="*/ 524738 w 1502222"/>
                  <a:gd name="connsiteY604" fmla="*/ 350575 h 941138"/>
                  <a:gd name="connsiteX605" fmla="*/ 526262 w 1502222"/>
                  <a:gd name="connsiteY605" fmla="*/ 350575 h 941138"/>
                  <a:gd name="connsiteX606" fmla="*/ 526262 w 1502222"/>
                  <a:gd name="connsiteY606" fmla="*/ 349463 h 941138"/>
                  <a:gd name="connsiteX607" fmla="*/ 527763 w 1502222"/>
                  <a:gd name="connsiteY607" fmla="*/ 349463 h 941138"/>
                  <a:gd name="connsiteX608" fmla="*/ 527763 w 1502222"/>
                  <a:gd name="connsiteY608" fmla="*/ 346082 h 941138"/>
                  <a:gd name="connsiteX609" fmla="*/ 529297 w 1502222"/>
                  <a:gd name="connsiteY609" fmla="*/ 346082 h 941138"/>
                  <a:gd name="connsiteX610" fmla="*/ 529297 w 1502222"/>
                  <a:gd name="connsiteY610" fmla="*/ 343813 h 941138"/>
                  <a:gd name="connsiteX611" fmla="*/ 530832 w 1502222"/>
                  <a:gd name="connsiteY611" fmla="*/ 343813 h 941138"/>
                  <a:gd name="connsiteX612" fmla="*/ 530832 w 1502222"/>
                  <a:gd name="connsiteY612" fmla="*/ 342700 h 941138"/>
                  <a:gd name="connsiteX613" fmla="*/ 532367 w 1502222"/>
                  <a:gd name="connsiteY613" fmla="*/ 342700 h 941138"/>
                  <a:gd name="connsiteX614" fmla="*/ 533890 w 1502222"/>
                  <a:gd name="connsiteY614" fmla="*/ 342700 h 941138"/>
                  <a:gd name="connsiteX615" fmla="*/ 533890 w 1502222"/>
                  <a:gd name="connsiteY615" fmla="*/ 341588 h 941138"/>
                  <a:gd name="connsiteX616" fmla="*/ 535425 w 1502222"/>
                  <a:gd name="connsiteY616" fmla="*/ 341588 h 941138"/>
                  <a:gd name="connsiteX617" fmla="*/ 536959 w 1502222"/>
                  <a:gd name="connsiteY617" fmla="*/ 341588 h 941138"/>
                  <a:gd name="connsiteX618" fmla="*/ 536959 w 1502222"/>
                  <a:gd name="connsiteY618" fmla="*/ 340443 h 941138"/>
                  <a:gd name="connsiteX619" fmla="*/ 538494 w 1502222"/>
                  <a:gd name="connsiteY619" fmla="*/ 340443 h 941138"/>
                  <a:gd name="connsiteX620" fmla="*/ 538494 w 1502222"/>
                  <a:gd name="connsiteY620" fmla="*/ 339286 h 941138"/>
                  <a:gd name="connsiteX621" fmla="*/ 540028 w 1502222"/>
                  <a:gd name="connsiteY621" fmla="*/ 339286 h 941138"/>
                  <a:gd name="connsiteX622" fmla="*/ 540028 w 1502222"/>
                  <a:gd name="connsiteY622" fmla="*/ 338174 h 941138"/>
                  <a:gd name="connsiteX623" fmla="*/ 541563 w 1502222"/>
                  <a:gd name="connsiteY623" fmla="*/ 338174 h 941138"/>
                  <a:gd name="connsiteX624" fmla="*/ 541563 w 1502222"/>
                  <a:gd name="connsiteY624" fmla="*/ 335872 h 941138"/>
                  <a:gd name="connsiteX625" fmla="*/ 543087 w 1502222"/>
                  <a:gd name="connsiteY625" fmla="*/ 335872 h 941138"/>
                  <a:gd name="connsiteX626" fmla="*/ 544621 w 1502222"/>
                  <a:gd name="connsiteY626" fmla="*/ 335872 h 941138"/>
                  <a:gd name="connsiteX627" fmla="*/ 544621 w 1502222"/>
                  <a:gd name="connsiteY627" fmla="*/ 333580 h 941138"/>
                  <a:gd name="connsiteX628" fmla="*/ 546122 w 1502222"/>
                  <a:gd name="connsiteY628" fmla="*/ 333580 h 941138"/>
                  <a:gd name="connsiteX629" fmla="*/ 547657 w 1502222"/>
                  <a:gd name="connsiteY629" fmla="*/ 333580 h 941138"/>
                  <a:gd name="connsiteX630" fmla="*/ 547657 w 1502222"/>
                  <a:gd name="connsiteY630" fmla="*/ 331278 h 941138"/>
                  <a:gd name="connsiteX631" fmla="*/ 549191 w 1502222"/>
                  <a:gd name="connsiteY631" fmla="*/ 331278 h 941138"/>
                  <a:gd name="connsiteX632" fmla="*/ 552250 w 1502222"/>
                  <a:gd name="connsiteY632" fmla="*/ 331278 h 941138"/>
                  <a:gd name="connsiteX633" fmla="*/ 552250 w 1502222"/>
                  <a:gd name="connsiteY633" fmla="*/ 328943 h 941138"/>
                  <a:gd name="connsiteX634" fmla="*/ 553784 w 1502222"/>
                  <a:gd name="connsiteY634" fmla="*/ 328943 h 941138"/>
                  <a:gd name="connsiteX635" fmla="*/ 555319 w 1502222"/>
                  <a:gd name="connsiteY635" fmla="*/ 328943 h 941138"/>
                  <a:gd name="connsiteX636" fmla="*/ 555319 w 1502222"/>
                  <a:gd name="connsiteY636" fmla="*/ 327797 h 941138"/>
                  <a:gd name="connsiteX637" fmla="*/ 556853 w 1502222"/>
                  <a:gd name="connsiteY637" fmla="*/ 327797 h 941138"/>
                  <a:gd name="connsiteX638" fmla="*/ 556853 w 1502222"/>
                  <a:gd name="connsiteY638" fmla="*/ 325428 h 941138"/>
                  <a:gd name="connsiteX639" fmla="*/ 558377 w 1502222"/>
                  <a:gd name="connsiteY639" fmla="*/ 325428 h 941138"/>
                  <a:gd name="connsiteX640" fmla="*/ 558377 w 1502222"/>
                  <a:gd name="connsiteY640" fmla="*/ 323048 h 941138"/>
                  <a:gd name="connsiteX641" fmla="*/ 559922 w 1502222"/>
                  <a:gd name="connsiteY641" fmla="*/ 323048 h 941138"/>
                  <a:gd name="connsiteX642" fmla="*/ 562947 w 1502222"/>
                  <a:gd name="connsiteY642" fmla="*/ 323048 h 941138"/>
                  <a:gd name="connsiteX643" fmla="*/ 562947 w 1502222"/>
                  <a:gd name="connsiteY643" fmla="*/ 320679 h 941138"/>
                  <a:gd name="connsiteX644" fmla="*/ 564482 w 1502222"/>
                  <a:gd name="connsiteY644" fmla="*/ 320679 h 941138"/>
                  <a:gd name="connsiteX645" fmla="*/ 566005 w 1502222"/>
                  <a:gd name="connsiteY645" fmla="*/ 320679 h 941138"/>
                  <a:gd name="connsiteX646" fmla="*/ 566005 w 1502222"/>
                  <a:gd name="connsiteY646" fmla="*/ 319500 h 941138"/>
                  <a:gd name="connsiteX647" fmla="*/ 567551 w 1502222"/>
                  <a:gd name="connsiteY647" fmla="*/ 319500 h 941138"/>
                  <a:gd name="connsiteX648" fmla="*/ 567551 w 1502222"/>
                  <a:gd name="connsiteY648" fmla="*/ 318310 h 941138"/>
                  <a:gd name="connsiteX649" fmla="*/ 569074 w 1502222"/>
                  <a:gd name="connsiteY649" fmla="*/ 318310 h 941138"/>
                  <a:gd name="connsiteX650" fmla="*/ 570609 w 1502222"/>
                  <a:gd name="connsiteY650" fmla="*/ 318310 h 941138"/>
                  <a:gd name="connsiteX651" fmla="*/ 573678 w 1502222"/>
                  <a:gd name="connsiteY651" fmla="*/ 318310 h 941138"/>
                  <a:gd name="connsiteX652" fmla="*/ 573678 w 1502222"/>
                  <a:gd name="connsiteY652" fmla="*/ 317098 h 941138"/>
                  <a:gd name="connsiteX653" fmla="*/ 575213 w 1502222"/>
                  <a:gd name="connsiteY653" fmla="*/ 317098 h 941138"/>
                  <a:gd name="connsiteX654" fmla="*/ 575213 w 1502222"/>
                  <a:gd name="connsiteY654" fmla="*/ 315874 h 941138"/>
                  <a:gd name="connsiteX655" fmla="*/ 576736 w 1502222"/>
                  <a:gd name="connsiteY655" fmla="*/ 315874 h 941138"/>
                  <a:gd name="connsiteX656" fmla="*/ 576736 w 1502222"/>
                  <a:gd name="connsiteY656" fmla="*/ 314695 h 941138"/>
                  <a:gd name="connsiteX657" fmla="*/ 578271 w 1502222"/>
                  <a:gd name="connsiteY657" fmla="*/ 314695 h 941138"/>
                  <a:gd name="connsiteX658" fmla="*/ 578271 w 1502222"/>
                  <a:gd name="connsiteY658" fmla="*/ 313472 h 941138"/>
                  <a:gd name="connsiteX659" fmla="*/ 579805 w 1502222"/>
                  <a:gd name="connsiteY659" fmla="*/ 313472 h 941138"/>
                  <a:gd name="connsiteX660" fmla="*/ 579805 w 1502222"/>
                  <a:gd name="connsiteY660" fmla="*/ 312260 h 941138"/>
                  <a:gd name="connsiteX661" fmla="*/ 581307 w 1502222"/>
                  <a:gd name="connsiteY661" fmla="*/ 312260 h 941138"/>
                  <a:gd name="connsiteX662" fmla="*/ 582841 w 1502222"/>
                  <a:gd name="connsiteY662" fmla="*/ 312260 h 941138"/>
                  <a:gd name="connsiteX663" fmla="*/ 582841 w 1502222"/>
                  <a:gd name="connsiteY663" fmla="*/ 309813 h 941138"/>
                  <a:gd name="connsiteX664" fmla="*/ 585899 w 1502222"/>
                  <a:gd name="connsiteY664" fmla="*/ 309813 h 941138"/>
                  <a:gd name="connsiteX665" fmla="*/ 585899 w 1502222"/>
                  <a:gd name="connsiteY665" fmla="*/ 307377 h 941138"/>
                  <a:gd name="connsiteX666" fmla="*/ 587434 w 1502222"/>
                  <a:gd name="connsiteY666" fmla="*/ 307377 h 941138"/>
                  <a:gd name="connsiteX667" fmla="*/ 588968 w 1502222"/>
                  <a:gd name="connsiteY667" fmla="*/ 307377 h 941138"/>
                  <a:gd name="connsiteX668" fmla="*/ 590503 w 1502222"/>
                  <a:gd name="connsiteY668" fmla="*/ 307377 h 941138"/>
                  <a:gd name="connsiteX669" fmla="*/ 592037 w 1502222"/>
                  <a:gd name="connsiteY669" fmla="*/ 307377 h 941138"/>
                  <a:gd name="connsiteX670" fmla="*/ 592037 w 1502222"/>
                  <a:gd name="connsiteY670" fmla="*/ 302428 h 941138"/>
                  <a:gd name="connsiteX671" fmla="*/ 595107 w 1502222"/>
                  <a:gd name="connsiteY671" fmla="*/ 302428 h 941138"/>
                  <a:gd name="connsiteX672" fmla="*/ 595107 w 1502222"/>
                  <a:gd name="connsiteY672" fmla="*/ 301171 h 941138"/>
                  <a:gd name="connsiteX673" fmla="*/ 596630 w 1502222"/>
                  <a:gd name="connsiteY673" fmla="*/ 301171 h 941138"/>
                  <a:gd name="connsiteX674" fmla="*/ 596630 w 1502222"/>
                  <a:gd name="connsiteY674" fmla="*/ 299914 h 941138"/>
                  <a:gd name="connsiteX675" fmla="*/ 598131 w 1502222"/>
                  <a:gd name="connsiteY675" fmla="*/ 299914 h 941138"/>
                  <a:gd name="connsiteX676" fmla="*/ 598131 w 1502222"/>
                  <a:gd name="connsiteY676" fmla="*/ 298658 h 941138"/>
                  <a:gd name="connsiteX677" fmla="*/ 599666 w 1502222"/>
                  <a:gd name="connsiteY677" fmla="*/ 298658 h 941138"/>
                  <a:gd name="connsiteX678" fmla="*/ 601189 w 1502222"/>
                  <a:gd name="connsiteY678" fmla="*/ 298658 h 941138"/>
                  <a:gd name="connsiteX679" fmla="*/ 602735 w 1502222"/>
                  <a:gd name="connsiteY679" fmla="*/ 298658 h 941138"/>
                  <a:gd name="connsiteX680" fmla="*/ 604258 w 1502222"/>
                  <a:gd name="connsiteY680" fmla="*/ 298658 h 941138"/>
                  <a:gd name="connsiteX681" fmla="*/ 604258 w 1502222"/>
                  <a:gd name="connsiteY681" fmla="*/ 297412 h 941138"/>
                  <a:gd name="connsiteX682" fmla="*/ 607328 w 1502222"/>
                  <a:gd name="connsiteY682" fmla="*/ 297412 h 941138"/>
                  <a:gd name="connsiteX683" fmla="*/ 607328 w 1502222"/>
                  <a:gd name="connsiteY683" fmla="*/ 294865 h 941138"/>
                  <a:gd name="connsiteX684" fmla="*/ 608862 w 1502222"/>
                  <a:gd name="connsiteY684" fmla="*/ 294865 h 941138"/>
                  <a:gd name="connsiteX685" fmla="*/ 610397 w 1502222"/>
                  <a:gd name="connsiteY685" fmla="*/ 294865 h 941138"/>
                  <a:gd name="connsiteX686" fmla="*/ 610397 w 1502222"/>
                  <a:gd name="connsiteY686" fmla="*/ 292329 h 941138"/>
                  <a:gd name="connsiteX687" fmla="*/ 611920 w 1502222"/>
                  <a:gd name="connsiteY687" fmla="*/ 292329 h 941138"/>
                  <a:gd name="connsiteX688" fmla="*/ 613466 w 1502222"/>
                  <a:gd name="connsiteY688" fmla="*/ 292329 h 941138"/>
                  <a:gd name="connsiteX689" fmla="*/ 616491 w 1502222"/>
                  <a:gd name="connsiteY689" fmla="*/ 292329 h 941138"/>
                  <a:gd name="connsiteX690" fmla="*/ 616491 w 1502222"/>
                  <a:gd name="connsiteY690" fmla="*/ 291028 h 941138"/>
                  <a:gd name="connsiteX691" fmla="*/ 618025 w 1502222"/>
                  <a:gd name="connsiteY691" fmla="*/ 291028 h 941138"/>
                  <a:gd name="connsiteX692" fmla="*/ 618025 w 1502222"/>
                  <a:gd name="connsiteY692" fmla="*/ 288459 h 941138"/>
                  <a:gd name="connsiteX693" fmla="*/ 619549 w 1502222"/>
                  <a:gd name="connsiteY693" fmla="*/ 288459 h 941138"/>
                  <a:gd name="connsiteX694" fmla="*/ 619549 w 1502222"/>
                  <a:gd name="connsiteY694" fmla="*/ 287135 h 941138"/>
                  <a:gd name="connsiteX695" fmla="*/ 621094 w 1502222"/>
                  <a:gd name="connsiteY695" fmla="*/ 287135 h 941138"/>
                  <a:gd name="connsiteX696" fmla="*/ 621094 w 1502222"/>
                  <a:gd name="connsiteY696" fmla="*/ 283231 h 941138"/>
                  <a:gd name="connsiteX697" fmla="*/ 622618 w 1502222"/>
                  <a:gd name="connsiteY697" fmla="*/ 283231 h 941138"/>
                  <a:gd name="connsiteX698" fmla="*/ 622618 w 1502222"/>
                  <a:gd name="connsiteY698" fmla="*/ 281941 h 941138"/>
                  <a:gd name="connsiteX699" fmla="*/ 624152 w 1502222"/>
                  <a:gd name="connsiteY699" fmla="*/ 281941 h 941138"/>
                  <a:gd name="connsiteX700" fmla="*/ 624152 w 1502222"/>
                  <a:gd name="connsiteY700" fmla="*/ 278004 h 941138"/>
                  <a:gd name="connsiteX701" fmla="*/ 627222 w 1502222"/>
                  <a:gd name="connsiteY701" fmla="*/ 278004 h 941138"/>
                  <a:gd name="connsiteX702" fmla="*/ 627222 w 1502222"/>
                  <a:gd name="connsiteY702" fmla="*/ 275357 h 941138"/>
                  <a:gd name="connsiteX703" fmla="*/ 628756 w 1502222"/>
                  <a:gd name="connsiteY703" fmla="*/ 275357 h 941138"/>
                  <a:gd name="connsiteX704" fmla="*/ 628756 w 1502222"/>
                  <a:gd name="connsiteY704" fmla="*/ 272710 h 941138"/>
                  <a:gd name="connsiteX705" fmla="*/ 630280 w 1502222"/>
                  <a:gd name="connsiteY705" fmla="*/ 272710 h 941138"/>
                  <a:gd name="connsiteX706" fmla="*/ 631814 w 1502222"/>
                  <a:gd name="connsiteY706" fmla="*/ 272710 h 941138"/>
                  <a:gd name="connsiteX707" fmla="*/ 633316 w 1502222"/>
                  <a:gd name="connsiteY707" fmla="*/ 272710 h 941138"/>
                  <a:gd name="connsiteX708" fmla="*/ 633316 w 1502222"/>
                  <a:gd name="connsiteY708" fmla="*/ 271387 h 941138"/>
                  <a:gd name="connsiteX709" fmla="*/ 634850 w 1502222"/>
                  <a:gd name="connsiteY709" fmla="*/ 271387 h 941138"/>
                  <a:gd name="connsiteX710" fmla="*/ 634850 w 1502222"/>
                  <a:gd name="connsiteY710" fmla="*/ 268728 h 941138"/>
                  <a:gd name="connsiteX711" fmla="*/ 636385 w 1502222"/>
                  <a:gd name="connsiteY711" fmla="*/ 268728 h 941138"/>
                  <a:gd name="connsiteX712" fmla="*/ 636385 w 1502222"/>
                  <a:gd name="connsiteY712" fmla="*/ 266048 h 941138"/>
                  <a:gd name="connsiteX713" fmla="*/ 637908 w 1502222"/>
                  <a:gd name="connsiteY713" fmla="*/ 266048 h 941138"/>
                  <a:gd name="connsiteX714" fmla="*/ 637908 w 1502222"/>
                  <a:gd name="connsiteY714" fmla="*/ 264736 h 941138"/>
                  <a:gd name="connsiteX715" fmla="*/ 639443 w 1502222"/>
                  <a:gd name="connsiteY715" fmla="*/ 264736 h 941138"/>
                  <a:gd name="connsiteX716" fmla="*/ 639443 w 1502222"/>
                  <a:gd name="connsiteY716" fmla="*/ 263368 h 941138"/>
                  <a:gd name="connsiteX717" fmla="*/ 640977 w 1502222"/>
                  <a:gd name="connsiteY717" fmla="*/ 263368 h 941138"/>
                  <a:gd name="connsiteX718" fmla="*/ 642512 w 1502222"/>
                  <a:gd name="connsiteY718" fmla="*/ 263368 h 941138"/>
                  <a:gd name="connsiteX719" fmla="*/ 644046 w 1502222"/>
                  <a:gd name="connsiteY719" fmla="*/ 263368 h 941138"/>
                  <a:gd name="connsiteX720" fmla="*/ 644046 w 1502222"/>
                  <a:gd name="connsiteY720" fmla="*/ 260687 h 941138"/>
                  <a:gd name="connsiteX721" fmla="*/ 645581 w 1502222"/>
                  <a:gd name="connsiteY721" fmla="*/ 260687 h 941138"/>
                  <a:gd name="connsiteX722" fmla="*/ 647105 w 1502222"/>
                  <a:gd name="connsiteY722" fmla="*/ 260687 h 941138"/>
                  <a:gd name="connsiteX723" fmla="*/ 647105 w 1502222"/>
                  <a:gd name="connsiteY723" fmla="*/ 259330 h 941138"/>
                  <a:gd name="connsiteX724" fmla="*/ 648639 w 1502222"/>
                  <a:gd name="connsiteY724" fmla="*/ 259330 h 941138"/>
                  <a:gd name="connsiteX725" fmla="*/ 648639 w 1502222"/>
                  <a:gd name="connsiteY725" fmla="*/ 257973 h 941138"/>
                  <a:gd name="connsiteX726" fmla="*/ 651675 w 1502222"/>
                  <a:gd name="connsiteY726" fmla="*/ 257973 h 941138"/>
                  <a:gd name="connsiteX727" fmla="*/ 653210 w 1502222"/>
                  <a:gd name="connsiteY727" fmla="*/ 257973 h 941138"/>
                  <a:gd name="connsiteX728" fmla="*/ 654733 w 1502222"/>
                  <a:gd name="connsiteY728" fmla="*/ 257973 h 941138"/>
                  <a:gd name="connsiteX729" fmla="*/ 654733 w 1502222"/>
                  <a:gd name="connsiteY729" fmla="*/ 256617 h 941138"/>
                  <a:gd name="connsiteX730" fmla="*/ 656267 w 1502222"/>
                  <a:gd name="connsiteY730" fmla="*/ 256617 h 941138"/>
                  <a:gd name="connsiteX731" fmla="*/ 662406 w 1502222"/>
                  <a:gd name="connsiteY731" fmla="*/ 256617 h 941138"/>
                  <a:gd name="connsiteX732" fmla="*/ 663940 w 1502222"/>
                  <a:gd name="connsiteY732" fmla="*/ 256617 h 941138"/>
                  <a:gd name="connsiteX733" fmla="*/ 665464 w 1502222"/>
                  <a:gd name="connsiteY733" fmla="*/ 256617 h 941138"/>
                  <a:gd name="connsiteX734" fmla="*/ 666999 w 1502222"/>
                  <a:gd name="connsiteY734" fmla="*/ 256617 h 941138"/>
                  <a:gd name="connsiteX735" fmla="*/ 666999 w 1502222"/>
                  <a:gd name="connsiteY735" fmla="*/ 255215 h 941138"/>
                  <a:gd name="connsiteX736" fmla="*/ 668533 w 1502222"/>
                  <a:gd name="connsiteY736" fmla="*/ 255215 h 941138"/>
                  <a:gd name="connsiteX737" fmla="*/ 670034 w 1502222"/>
                  <a:gd name="connsiteY737" fmla="*/ 255215 h 941138"/>
                  <a:gd name="connsiteX738" fmla="*/ 670034 w 1502222"/>
                  <a:gd name="connsiteY738" fmla="*/ 253825 h 941138"/>
                  <a:gd name="connsiteX739" fmla="*/ 671569 w 1502222"/>
                  <a:gd name="connsiteY739" fmla="*/ 253825 h 941138"/>
                  <a:gd name="connsiteX740" fmla="*/ 671569 w 1502222"/>
                  <a:gd name="connsiteY740" fmla="*/ 252435 h 941138"/>
                  <a:gd name="connsiteX741" fmla="*/ 673092 w 1502222"/>
                  <a:gd name="connsiteY741" fmla="*/ 252435 h 941138"/>
                  <a:gd name="connsiteX742" fmla="*/ 674627 w 1502222"/>
                  <a:gd name="connsiteY742" fmla="*/ 252435 h 941138"/>
                  <a:gd name="connsiteX743" fmla="*/ 674627 w 1502222"/>
                  <a:gd name="connsiteY743" fmla="*/ 251033 h 941138"/>
                  <a:gd name="connsiteX744" fmla="*/ 676161 w 1502222"/>
                  <a:gd name="connsiteY744" fmla="*/ 251033 h 941138"/>
                  <a:gd name="connsiteX745" fmla="*/ 677696 w 1502222"/>
                  <a:gd name="connsiteY745" fmla="*/ 251033 h 941138"/>
                  <a:gd name="connsiteX746" fmla="*/ 677696 w 1502222"/>
                  <a:gd name="connsiteY746" fmla="*/ 248208 h 941138"/>
                  <a:gd name="connsiteX747" fmla="*/ 682289 w 1502222"/>
                  <a:gd name="connsiteY747" fmla="*/ 248208 h 941138"/>
                  <a:gd name="connsiteX748" fmla="*/ 683823 w 1502222"/>
                  <a:gd name="connsiteY748" fmla="*/ 248208 h 941138"/>
                  <a:gd name="connsiteX749" fmla="*/ 685358 w 1502222"/>
                  <a:gd name="connsiteY749" fmla="*/ 248208 h 941138"/>
                  <a:gd name="connsiteX750" fmla="*/ 686859 w 1502222"/>
                  <a:gd name="connsiteY750" fmla="*/ 248208 h 941138"/>
                  <a:gd name="connsiteX751" fmla="*/ 686859 w 1502222"/>
                  <a:gd name="connsiteY751" fmla="*/ 245395 h 941138"/>
                  <a:gd name="connsiteX752" fmla="*/ 688394 w 1502222"/>
                  <a:gd name="connsiteY752" fmla="*/ 245395 h 941138"/>
                  <a:gd name="connsiteX753" fmla="*/ 688394 w 1502222"/>
                  <a:gd name="connsiteY753" fmla="*/ 243960 h 941138"/>
                  <a:gd name="connsiteX754" fmla="*/ 689917 w 1502222"/>
                  <a:gd name="connsiteY754" fmla="*/ 243960 h 941138"/>
                  <a:gd name="connsiteX755" fmla="*/ 689917 w 1502222"/>
                  <a:gd name="connsiteY755" fmla="*/ 241113 h 941138"/>
                  <a:gd name="connsiteX756" fmla="*/ 691452 w 1502222"/>
                  <a:gd name="connsiteY756" fmla="*/ 241113 h 941138"/>
                  <a:gd name="connsiteX757" fmla="*/ 692986 w 1502222"/>
                  <a:gd name="connsiteY757" fmla="*/ 241113 h 941138"/>
                  <a:gd name="connsiteX758" fmla="*/ 694521 w 1502222"/>
                  <a:gd name="connsiteY758" fmla="*/ 241113 h 941138"/>
                  <a:gd name="connsiteX759" fmla="*/ 696055 w 1502222"/>
                  <a:gd name="connsiteY759" fmla="*/ 241113 h 941138"/>
                  <a:gd name="connsiteX760" fmla="*/ 697579 w 1502222"/>
                  <a:gd name="connsiteY760" fmla="*/ 241113 h 941138"/>
                  <a:gd name="connsiteX761" fmla="*/ 699125 w 1502222"/>
                  <a:gd name="connsiteY761" fmla="*/ 241113 h 941138"/>
                  <a:gd name="connsiteX762" fmla="*/ 699125 w 1502222"/>
                  <a:gd name="connsiteY762" fmla="*/ 239678 h 941138"/>
                  <a:gd name="connsiteX763" fmla="*/ 703717 w 1502222"/>
                  <a:gd name="connsiteY763" fmla="*/ 239678 h 941138"/>
                  <a:gd name="connsiteX764" fmla="*/ 703717 w 1502222"/>
                  <a:gd name="connsiteY764" fmla="*/ 238254 h 941138"/>
                  <a:gd name="connsiteX765" fmla="*/ 705219 w 1502222"/>
                  <a:gd name="connsiteY765" fmla="*/ 238254 h 941138"/>
                  <a:gd name="connsiteX766" fmla="*/ 706753 w 1502222"/>
                  <a:gd name="connsiteY766" fmla="*/ 238254 h 941138"/>
                  <a:gd name="connsiteX767" fmla="*/ 708277 w 1502222"/>
                  <a:gd name="connsiteY767" fmla="*/ 238254 h 941138"/>
                  <a:gd name="connsiteX768" fmla="*/ 709811 w 1502222"/>
                  <a:gd name="connsiteY768" fmla="*/ 238254 h 941138"/>
                  <a:gd name="connsiteX769" fmla="*/ 712880 w 1502222"/>
                  <a:gd name="connsiteY769" fmla="*/ 238254 h 941138"/>
                  <a:gd name="connsiteX770" fmla="*/ 714415 w 1502222"/>
                  <a:gd name="connsiteY770" fmla="*/ 238254 h 941138"/>
                  <a:gd name="connsiteX771" fmla="*/ 715949 w 1502222"/>
                  <a:gd name="connsiteY771" fmla="*/ 238254 h 941138"/>
                  <a:gd name="connsiteX772" fmla="*/ 717484 w 1502222"/>
                  <a:gd name="connsiteY772" fmla="*/ 238254 h 941138"/>
                  <a:gd name="connsiteX773" fmla="*/ 719007 w 1502222"/>
                  <a:gd name="connsiteY773" fmla="*/ 238254 h 941138"/>
                  <a:gd name="connsiteX774" fmla="*/ 720542 w 1502222"/>
                  <a:gd name="connsiteY774" fmla="*/ 238254 h 941138"/>
                  <a:gd name="connsiteX775" fmla="*/ 725113 w 1502222"/>
                  <a:gd name="connsiteY775" fmla="*/ 238254 h 941138"/>
                  <a:gd name="connsiteX776" fmla="*/ 725113 w 1502222"/>
                  <a:gd name="connsiteY776" fmla="*/ 236753 h 941138"/>
                  <a:gd name="connsiteX777" fmla="*/ 726636 w 1502222"/>
                  <a:gd name="connsiteY777" fmla="*/ 236753 h 941138"/>
                  <a:gd name="connsiteX778" fmla="*/ 726636 w 1502222"/>
                  <a:gd name="connsiteY778" fmla="*/ 235251 h 941138"/>
                  <a:gd name="connsiteX779" fmla="*/ 728170 w 1502222"/>
                  <a:gd name="connsiteY779" fmla="*/ 235251 h 941138"/>
                  <a:gd name="connsiteX780" fmla="*/ 728170 w 1502222"/>
                  <a:gd name="connsiteY780" fmla="*/ 233750 h 941138"/>
                  <a:gd name="connsiteX781" fmla="*/ 729705 w 1502222"/>
                  <a:gd name="connsiteY781" fmla="*/ 233750 h 941138"/>
                  <a:gd name="connsiteX782" fmla="*/ 729705 w 1502222"/>
                  <a:gd name="connsiteY782" fmla="*/ 232260 h 941138"/>
                  <a:gd name="connsiteX783" fmla="*/ 731240 w 1502222"/>
                  <a:gd name="connsiteY783" fmla="*/ 232260 h 941138"/>
                  <a:gd name="connsiteX784" fmla="*/ 731240 w 1502222"/>
                  <a:gd name="connsiteY784" fmla="*/ 230758 h 941138"/>
                  <a:gd name="connsiteX785" fmla="*/ 732774 w 1502222"/>
                  <a:gd name="connsiteY785" fmla="*/ 230758 h 941138"/>
                  <a:gd name="connsiteX786" fmla="*/ 735832 w 1502222"/>
                  <a:gd name="connsiteY786" fmla="*/ 230758 h 941138"/>
                  <a:gd name="connsiteX787" fmla="*/ 737367 w 1502222"/>
                  <a:gd name="connsiteY787" fmla="*/ 230758 h 941138"/>
                  <a:gd name="connsiteX788" fmla="*/ 738901 w 1502222"/>
                  <a:gd name="connsiteY788" fmla="*/ 230758 h 941138"/>
                  <a:gd name="connsiteX789" fmla="*/ 740403 w 1502222"/>
                  <a:gd name="connsiteY789" fmla="*/ 230758 h 941138"/>
                  <a:gd name="connsiteX790" fmla="*/ 741937 w 1502222"/>
                  <a:gd name="connsiteY790" fmla="*/ 230758 h 941138"/>
                  <a:gd name="connsiteX791" fmla="*/ 744995 w 1502222"/>
                  <a:gd name="connsiteY791" fmla="*/ 230758 h 941138"/>
                  <a:gd name="connsiteX792" fmla="*/ 744995 w 1502222"/>
                  <a:gd name="connsiteY792" fmla="*/ 229190 h 941138"/>
                  <a:gd name="connsiteX793" fmla="*/ 746530 w 1502222"/>
                  <a:gd name="connsiteY793" fmla="*/ 229190 h 941138"/>
                  <a:gd name="connsiteX794" fmla="*/ 746530 w 1502222"/>
                  <a:gd name="connsiteY794" fmla="*/ 226120 h 941138"/>
                  <a:gd name="connsiteX795" fmla="*/ 748064 w 1502222"/>
                  <a:gd name="connsiteY795" fmla="*/ 226120 h 941138"/>
                  <a:gd name="connsiteX796" fmla="*/ 749599 w 1502222"/>
                  <a:gd name="connsiteY796" fmla="*/ 226120 h 941138"/>
                  <a:gd name="connsiteX797" fmla="*/ 749599 w 1502222"/>
                  <a:gd name="connsiteY797" fmla="*/ 224552 h 941138"/>
                  <a:gd name="connsiteX798" fmla="*/ 751122 w 1502222"/>
                  <a:gd name="connsiteY798" fmla="*/ 224552 h 941138"/>
                  <a:gd name="connsiteX799" fmla="*/ 752668 w 1502222"/>
                  <a:gd name="connsiteY799" fmla="*/ 224552 h 941138"/>
                  <a:gd name="connsiteX800" fmla="*/ 752668 w 1502222"/>
                  <a:gd name="connsiteY800" fmla="*/ 222995 h 941138"/>
                  <a:gd name="connsiteX801" fmla="*/ 754192 w 1502222"/>
                  <a:gd name="connsiteY801" fmla="*/ 222995 h 941138"/>
                  <a:gd name="connsiteX802" fmla="*/ 757228 w 1502222"/>
                  <a:gd name="connsiteY802" fmla="*/ 222995 h 941138"/>
                  <a:gd name="connsiteX803" fmla="*/ 758751 w 1502222"/>
                  <a:gd name="connsiteY803" fmla="*/ 222995 h 941138"/>
                  <a:gd name="connsiteX804" fmla="*/ 760297 w 1502222"/>
                  <a:gd name="connsiteY804" fmla="*/ 222995 h 941138"/>
                  <a:gd name="connsiteX805" fmla="*/ 761820 w 1502222"/>
                  <a:gd name="connsiteY805" fmla="*/ 222995 h 941138"/>
                  <a:gd name="connsiteX806" fmla="*/ 761820 w 1502222"/>
                  <a:gd name="connsiteY806" fmla="*/ 221427 h 941138"/>
                  <a:gd name="connsiteX807" fmla="*/ 763355 w 1502222"/>
                  <a:gd name="connsiteY807" fmla="*/ 221427 h 941138"/>
                  <a:gd name="connsiteX808" fmla="*/ 763355 w 1502222"/>
                  <a:gd name="connsiteY808" fmla="*/ 219825 h 941138"/>
                  <a:gd name="connsiteX809" fmla="*/ 766424 w 1502222"/>
                  <a:gd name="connsiteY809" fmla="*/ 219825 h 941138"/>
                  <a:gd name="connsiteX810" fmla="*/ 766424 w 1502222"/>
                  <a:gd name="connsiteY810" fmla="*/ 218246 h 941138"/>
                  <a:gd name="connsiteX811" fmla="*/ 767958 w 1502222"/>
                  <a:gd name="connsiteY811" fmla="*/ 218246 h 941138"/>
                  <a:gd name="connsiteX812" fmla="*/ 767958 w 1502222"/>
                  <a:gd name="connsiteY812" fmla="*/ 216644 h 941138"/>
                  <a:gd name="connsiteX813" fmla="*/ 769493 w 1502222"/>
                  <a:gd name="connsiteY813" fmla="*/ 216644 h 941138"/>
                  <a:gd name="connsiteX814" fmla="*/ 769493 w 1502222"/>
                  <a:gd name="connsiteY814" fmla="*/ 211906 h 941138"/>
                  <a:gd name="connsiteX815" fmla="*/ 771016 w 1502222"/>
                  <a:gd name="connsiteY815" fmla="*/ 211906 h 941138"/>
                  <a:gd name="connsiteX816" fmla="*/ 771016 w 1502222"/>
                  <a:gd name="connsiteY816" fmla="*/ 210305 h 941138"/>
                  <a:gd name="connsiteX817" fmla="*/ 772551 w 1502222"/>
                  <a:gd name="connsiteY817" fmla="*/ 210305 h 941138"/>
                  <a:gd name="connsiteX818" fmla="*/ 774086 w 1502222"/>
                  <a:gd name="connsiteY818" fmla="*/ 210305 h 941138"/>
                  <a:gd name="connsiteX819" fmla="*/ 778645 w 1502222"/>
                  <a:gd name="connsiteY819" fmla="*/ 210305 h 941138"/>
                  <a:gd name="connsiteX820" fmla="*/ 778645 w 1502222"/>
                  <a:gd name="connsiteY820" fmla="*/ 208703 h 941138"/>
                  <a:gd name="connsiteX821" fmla="*/ 780180 w 1502222"/>
                  <a:gd name="connsiteY821" fmla="*/ 208703 h 941138"/>
                  <a:gd name="connsiteX822" fmla="*/ 781714 w 1502222"/>
                  <a:gd name="connsiteY822" fmla="*/ 208703 h 941138"/>
                  <a:gd name="connsiteX823" fmla="*/ 784783 w 1502222"/>
                  <a:gd name="connsiteY823" fmla="*/ 208703 h 941138"/>
                  <a:gd name="connsiteX824" fmla="*/ 784783 w 1502222"/>
                  <a:gd name="connsiteY824" fmla="*/ 205467 h 941138"/>
                  <a:gd name="connsiteX825" fmla="*/ 786307 w 1502222"/>
                  <a:gd name="connsiteY825" fmla="*/ 205467 h 941138"/>
                  <a:gd name="connsiteX826" fmla="*/ 786307 w 1502222"/>
                  <a:gd name="connsiteY826" fmla="*/ 202219 h 941138"/>
                  <a:gd name="connsiteX827" fmla="*/ 789376 w 1502222"/>
                  <a:gd name="connsiteY827" fmla="*/ 202219 h 941138"/>
                  <a:gd name="connsiteX828" fmla="*/ 789376 w 1502222"/>
                  <a:gd name="connsiteY828" fmla="*/ 200618 h 941138"/>
                  <a:gd name="connsiteX829" fmla="*/ 790910 w 1502222"/>
                  <a:gd name="connsiteY829" fmla="*/ 200618 h 941138"/>
                  <a:gd name="connsiteX830" fmla="*/ 792445 w 1502222"/>
                  <a:gd name="connsiteY830" fmla="*/ 200618 h 941138"/>
                  <a:gd name="connsiteX831" fmla="*/ 793935 w 1502222"/>
                  <a:gd name="connsiteY831" fmla="*/ 200618 h 941138"/>
                  <a:gd name="connsiteX832" fmla="*/ 795481 w 1502222"/>
                  <a:gd name="connsiteY832" fmla="*/ 200618 h 941138"/>
                  <a:gd name="connsiteX833" fmla="*/ 797004 w 1502222"/>
                  <a:gd name="connsiteY833" fmla="*/ 200618 h 941138"/>
                  <a:gd name="connsiteX834" fmla="*/ 797004 w 1502222"/>
                  <a:gd name="connsiteY834" fmla="*/ 198983 h 941138"/>
                  <a:gd name="connsiteX835" fmla="*/ 800074 w 1502222"/>
                  <a:gd name="connsiteY835" fmla="*/ 198983 h 941138"/>
                  <a:gd name="connsiteX836" fmla="*/ 801608 w 1502222"/>
                  <a:gd name="connsiteY836" fmla="*/ 198983 h 941138"/>
                  <a:gd name="connsiteX837" fmla="*/ 803143 w 1502222"/>
                  <a:gd name="connsiteY837" fmla="*/ 198983 h 941138"/>
                  <a:gd name="connsiteX838" fmla="*/ 803143 w 1502222"/>
                  <a:gd name="connsiteY838" fmla="*/ 197314 h 941138"/>
                  <a:gd name="connsiteX839" fmla="*/ 804666 w 1502222"/>
                  <a:gd name="connsiteY839" fmla="*/ 197314 h 941138"/>
                  <a:gd name="connsiteX840" fmla="*/ 804666 w 1502222"/>
                  <a:gd name="connsiteY840" fmla="*/ 194000 h 941138"/>
                  <a:gd name="connsiteX841" fmla="*/ 806212 w 1502222"/>
                  <a:gd name="connsiteY841" fmla="*/ 194000 h 941138"/>
                  <a:gd name="connsiteX842" fmla="*/ 806212 w 1502222"/>
                  <a:gd name="connsiteY842" fmla="*/ 192332 h 941138"/>
                  <a:gd name="connsiteX843" fmla="*/ 810771 w 1502222"/>
                  <a:gd name="connsiteY843" fmla="*/ 192332 h 941138"/>
                  <a:gd name="connsiteX844" fmla="*/ 810771 w 1502222"/>
                  <a:gd name="connsiteY844" fmla="*/ 188984 h 941138"/>
                  <a:gd name="connsiteX845" fmla="*/ 812295 w 1502222"/>
                  <a:gd name="connsiteY845" fmla="*/ 188984 h 941138"/>
                  <a:gd name="connsiteX846" fmla="*/ 812295 w 1502222"/>
                  <a:gd name="connsiteY846" fmla="*/ 187316 h 941138"/>
                  <a:gd name="connsiteX847" fmla="*/ 813840 w 1502222"/>
                  <a:gd name="connsiteY847" fmla="*/ 187316 h 941138"/>
                  <a:gd name="connsiteX848" fmla="*/ 815364 w 1502222"/>
                  <a:gd name="connsiteY848" fmla="*/ 187316 h 941138"/>
                  <a:gd name="connsiteX849" fmla="*/ 816898 w 1502222"/>
                  <a:gd name="connsiteY849" fmla="*/ 187316 h 941138"/>
                  <a:gd name="connsiteX850" fmla="*/ 816898 w 1502222"/>
                  <a:gd name="connsiteY850" fmla="*/ 185603 h 941138"/>
                  <a:gd name="connsiteX851" fmla="*/ 818433 w 1502222"/>
                  <a:gd name="connsiteY851" fmla="*/ 185603 h 941138"/>
                  <a:gd name="connsiteX852" fmla="*/ 818433 w 1502222"/>
                  <a:gd name="connsiteY852" fmla="*/ 182222 h 941138"/>
                  <a:gd name="connsiteX853" fmla="*/ 823025 w 1502222"/>
                  <a:gd name="connsiteY853" fmla="*/ 182222 h 941138"/>
                  <a:gd name="connsiteX854" fmla="*/ 824560 w 1502222"/>
                  <a:gd name="connsiteY854" fmla="*/ 182222 h 941138"/>
                  <a:gd name="connsiteX855" fmla="*/ 826095 w 1502222"/>
                  <a:gd name="connsiteY855" fmla="*/ 182222 h 941138"/>
                  <a:gd name="connsiteX856" fmla="*/ 826095 w 1502222"/>
                  <a:gd name="connsiteY856" fmla="*/ 178808 h 941138"/>
                  <a:gd name="connsiteX857" fmla="*/ 827629 w 1502222"/>
                  <a:gd name="connsiteY857" fmla="*/ 178808 h 941138"/>
                  <a:gd name="connsiteX858" fmla="*/ 829130 w 1502222"/>
                  <a:gd name="connsiteY858" fmla="*/ 178808 h 941138"/>
                  <a:gd name="connsiteX859" fmla="*/ 829130 w 1502222"/>
                  <a:gd name="connsiteY859" fmla="*/ 177106 h 941138"/>
                  <a:gd name="connsiteX860" fmla="*/ 830654 w 1502222"/>
                  <a:gd name="connsiteY860" fmla="*/ 177106 h 941138"/>
                  <a:gd name="connsiteX861" fmla="*/ 830654 w 1502222"/>
                  <a:gd name="connsiteY861" fmla="*/ 175393 h 941138"/>
                  <a:gd name="connsiteX862" fmla="*/ 832189 w 1502222"/>
                  <a:gd name="connsiteY862" fmla="*/ 175393 h 941138"/>
                  <a:gd name="connsiteX863" fmla="*/ 833723 w 1502222"/>
                  <a:gd name="connsiteY863" fmla="*/ 175393 h 941138"/>
                  <a:gd name="connsiteX864" fmla="*/ 833723 w 1502222"/>
                  <a:gd name="connsiteY864" fmla="*/ 173658 h 941138"/>
                  <a:gd name="connsiteX865" fmla="*/ 835258 w 1502222"/>
                  <a:gd name="connsiteY865" fmla="*/ 173658 h 941138"/>
                  <a:gd name="connsiteX866" fmla="*/ 835258 w 1502222"/>
                  <a:gd name="connsiteY866" fmla="*/ 171945 h 941138"/>
                  <a:gd name="connsiteX867" fmla="*/ 836792 w 1502222"/>
                  <a:gd name="connsiteY867" fmla="*/ 171945 h 941138"/>
                  <a:gd name="connsiteX868" fmla="*/ 838327 w 1502222"/>
                  <a:gd name="connsiteY868" fmla="*/ 171945 h 941138"/>
                  <a:gd name="connsiteX869" fmla="*/ 839850 w 1502222"/>
                  <a:gd name="connsiteY869" fmla="*/ 171945 h 941138"/>
                  <a:gd name="connsiteX870" fmla="*/ 839850 w 1502222"/>
                  <a:gd name="connsiteY870" fmla="*/ 170166 h 941138"/>
                  <a:gd name="connsiteX871" fmla="*/ 842919 w 1502222"/>
                  <a:gd name="connsiteY871" fmla="*/ 170166 h 941138"/>
                  <a:gd name="connsiteX872" fmla="*/ 844454 w 1502222"/>
                  <a:gd name="connsiteY872" fmla="*/ 170166 h 941138"/>
                  <a:gd name="connsiteX873" fmla="*/ 845955 w 1502222"/>
                  <a:gd name="connsiteY873" fmla="*/ 170166 h 941138"/>
                  <a:gd name="connsiteX874" fmla="*/ 845955 w 1502222"/>
                  <a:gd name="connsiteY874" fmla="*/ 166651 h 941138"/>
                  <a:gd name="connsiteX875" fmla="*/ 847479 w 1502222"/>
                  <a:gd name="connsiteY875" fmla="*/ 166651 h 941138"/>
                  <a:gd name="connsiteX876" fmla="*/ 849024 w 1502222"/>
                  <a:gd name="connsiteY876" fmla="*/ 166651 h 941138"/>
                  <a:gd name="connsiteX877" fmla="*/ 849024 w 1502222"/>
                  <a:gd name="connsiteY877" fmla="*/ 164872 h 941138"/>
                  <a:gd name="connsiteX878" fmla="*/ 850548 w 1502222"/>
                  <a:gd name="connsiteY878" fmla="*/ 164872 h 941138"/>
                  <a:gd name="connsiteX879" fmla="*/ 850548 w 1502222"/>
                  <a:gd name="connsiteY879" fmla="*/ 163092 h 941138"/>
                  <a:gd name="connsiteX880" fmla="*/ 852083 w 1502222"/>
                  <a:gd name="connsiteY880" fmla="*/ 163092 h 941138"/>
                  <a:gd name="connsiteX881" fmla="*/ 852083 w 1502222"/>
                  <a:gd name="connsiteY881" fmla="*/ 161324 h 941138"/>
                  <a:gd name="connsiteX882" fmla="*/ 853617 w 1502222"/>
                  <a:gd name="connsiteY882" fmla="*/ 161324 h 941138"/>
                  <a:gd name="connsiteX883" fmla="*/ 855152 w 1502222"/>
                  <a:gd name="connsiteY883" fmla="*/ 161324 h 941138"/>
                  <a:gd name="connsiteX884" fmla="*/ 856686 w 1502222"/>
                  <a:gd name="connsiteY884" fmla="*/ 161324 h 941138"/>
                  <a:gd name="connsiteX885" fmla="*/ 856686 w 1502222"/>
                  <a:gd name="connsiteY885" fmla="*/ 159544 h 941138"/>
                  <a:gd name="connsiteX886" fmla="*/ 858210 w 1502222"/>
                  <a:gd name="connsiteY886" fmla="*/ 159544 h 941138"/>
                  <a:gd name="connsiteX887" fmla="*/ 858210 w 1502222"/>
                  <a:gd name="connsiteY887" fmla="*/ 157731 h 941138"/>
                  <a:gd name="connsiteX888" fmla="*/ 859744 w 1502222"/>
                  <a:gd name="connsiteY888" fmla="*/ 157731 h 941138"/>
                  <a:gd name="connsiteX889" fmla="*/ 859744 w 1502222"/>
                  <a:gd name="connsiteY889" fmla="*/ 155919 h 941138"/>
                  <a:gd name="connsiteX890" fmla="*/ 865838 w 1502222"/>
                  <a:gd name="connsiteY890" fmla="*/ 155919 h 941138"/>
                  <a:gd name="connsiteX891" fmla="*/ 867373 w 1502222"/>
                  <a:gd name="connsiteY891" fmla="*/ 155919 h 941138"/>
                  <a:gd name="connsiteX892" fmla="*/ 868907 w 1502222"/>
                  <a:gd name="connsiteY892" fmla="*/ 155919 h 941138"/>
                  <a:gd name="connsiteX893" fmla="*/ 870442 w 1502222"/>
                  <a:gd name="connsiteY893" fmla="*/ 155919 h 941138"/>
                  <a:gd name="connsiteX894" fmla="*/ 873511 w 1502222"/>
                  <a:gd name="connsiteY894" fmla="*/ 155919 h 941138"/>
                  <a:gd name="connsiteX895" fmla="*/ 873511 w 1502222"/>
                  <a:gd name="connsiteY895" fmla="*/ 154072 h 941138"/>
                  <a:gd name="connsiteX896" fmla="*/ 875034 w 1502222"/>
                  <a:gd name="connsiteY896" fmla="*/ 154072 h 941138"/>
                  <a:gd name="connsiteX897" fmla="*/ 876569 w 1502222"/>
                  <a:gd name="connsiteY897" fmla="*/ 154072 h 941138"/>
                  <a:gd name="connsiteX898" fmla="*/ 876569 w 1502222"/>
                  <a:gd name="connsiteY898" fmla="*/ 152226 h 941138"/>
                  <a:gd name="connsiteX899" fmla="*/ 878104 w 1502222"/>
                  <a:gd name="connsiteY899" fmla="*/ 152226 h 941138"/>
                  <a:gd name="connsiteX900" fmla="*/ 879638 w 1502222"/>
                  <a:gd name="connsiteY900" fmla="*/ 152226 h 941138"/>
                  <a:gd name="connsiteX901" fmla="*/ 879638 w 1502222"/>
                  <a:gd name="connsiteY901" fmla="*/ 150380 h 941138"/>
                  <a:gd name="connsiteX902" fmla="*/ 881139 w 1502222"/>
                  <a:gd name="connsiteY902" fmla="*/ 150380 h 941138"/>
                  <a:gd name="connsiteX903" fmla="*/ 887267 w 1502222"/>
                  <a:gd name="connsiteY903" fmla="*/ 150380 h 941138"/>
                  <a:gd name="connsiteX904" fmla="*/ 888801 w 1502222"/>
                  <a:gd name="connsiteY904" fmla="*/ 150380 h 941138"/>
                  <a:gd name="connsiteX905" fmla="*/ 890336 w 1502222"/>
                  <a:gd name="connsiteY905" fmla="*/ 150380 h 941138"/>
                  <a:gd name="connsiteX906" fmla="*/ 891870 w 1502222"/>
                  <a:gd name="connsiteY906" fmla="*/ 150380 h 941138"/>
                  <a:gd name="connsiteX907" fmla="*/ 891870 w 1502222"/>
                  <a:gd name="connsiteY907" fmla="*/ 148467 h 941138"/>
                  <a:gd name="connsiteX908" fmla="*/ 896463 w 1502222"/>
                  <a:gd name="connsiteY908" fmla="*/ 148467 h 941138"/>
                  <a:gd name="connsiteX909" fmla="*/ 896463 w 1502222"/>
                  <a:gd name="connsiteY909" fmla="*/ 146543 h 941138"/>
                  <a:gd name="connsiteX910" fmla="*/ 897998 w 1502222"/>
                  <a:gd name="connsiteY910" fmla="*/ 146543 h 941138"/>
                  <a:gd name="connsiteX911" fmla="*/ 899499 w 1502222"/>
                  <a:gd name="connsiteY911" fmla="*/ 146543 h 941138"/>
                  <a:gd name="connsiteX912" fmla="*/ 901022 w 1502222"/>
                  <a:gd name="connsiteY912" fmla="*/ 146543 h 941138"/>
                  <a:gd name="connsiteX913" fmla="*/ 902557 w 1502222"/>
                  <a:gd name="connsiteY913" fmla="*/ 146543 h 941138"/>
                  <a:gd name="connsiteX914" fmla="*/ 902557 w 1502222"/>
                  <a:gd name="connsiteY914" fmla="*/ 144563 h 941138"/>
                  <a:gd name="connsiteX915" fmla="*/ 904092 w 1502222"/>
                  <a:gd name="connsiteY915" fmla="*/ 144563 h 941138"/>
                  <a:gd name="connsiteX916" fmla="*/ 904092 w 1502222"/>
                  <a:gd name="connsiteY916" fmla="*/ 142606 h 941138"/>
                  <a:gd name="connsiteX917" fmla="*/ 907161 w 1502222"/>
                  <a:gd name="connsiteY917" fmla="*/ 142606 h 941138"/>
                  <a:gd name="connsiteX918" fmla="*/ 911753 w 1502222"/>
                  <a:gd name="connsiteY918" fmla="*/ 142606 h 941138"/>
                  <a:gd name="connsiteX919" fmla="*/ 913288 w 1502222"/>
                  <a:gd name="connsiteY919" fmla="*/ 142606 h 941138"/>
                  <a:gd name="connsiteX920" fmla="*/ 916357 w 1502222"/>
                  <a:gd name="connsiteY920" fmla="*/ 142606 h 941138"/>
                  <a:gd name="connsiteX921" fmla="*/ 916357 w 1502222"/>
                  <a:gd name="connsiteY921" fmla="*/ 140593 h 941138"/>
                  <a:gd name="connsiteX922" fmla="*/ 919382 w 1502222"/>
                  <a:gd name="connsiteY922" fmla="*/ 140593 h 941138"/>
                  <a:gd name="connsiteX923" fmla="*/ 920916 w 1502222"/>
                  <a:gd name="connsiteY923" fmla="*/ 140593 h 941138"/>
                  <a:gd name="connsiteX924" fmla="*/ 923985 w 1502222"/>
                  <a:gd name="connsiteY924" fmla="*/ 140593 h 941138"/>
                  <a:gd name="connsiteX925" fmla="*/ 925520 w 1502222"/>
                  <a:gd name="connsiteY925" fmla="*/ 140593 h 941138"/>
                  <a:gd name="connsiteX926" fmla="*/ 925520 w 1502222"/>
                  <a:gd name="connsiteY926" fmla="*/ 138568 h 941138"/>
                  <a:gd name="connsiteX927" fmla="*/ 928578 w 1502222"/>
                  <a:gd name="connsiteY927" fmla="*/ 138568 h 941138"/>
                  <a:gd name="connsiteX928" fmla="*/ 930113 w 1502222"/>
                  <a:gd name="connsiteY928" fmla="*/ 138568 h 941138"/>
                  <a:gd name="connsiteX929" fmla="*/ 931647 w 1502222"/>
                  <a:gd name="connsiteY929" fmla="*/ 138568 h 941138"/>
                  <a:gd name="connsiteX930" fmla="*/ 931647 w 1502222"/>
                  <a:gd name="connsiteY930" fmla="*/ 136511 h 941138"/>
                  <a:gd name="connsiteX931" fmla="*/ 933182 w 1502222"/>
                  <a:gd name="connsiteY931" fmla="*/ 136511 h 941138"/>
                  <a:gd name="connsiteX932" fmla="*/ 934683 w 1502222"/>
                  <a:gd name="connsiteY932" fmla="*/ 136511 h 941138"/>
                  <a:gd name="connsiteX933" fmla="*/ 934683 w 1502222"/>
                  <a:gd name="connsiteY933" fmla="*/ 134453 h 941138"/>
                  <a:gd name="connsiteX934" fmla="*/ 939276 w 1502222"/>
                  <a:gd name="connsiteY934" fmla="*/ 134453 h 941138"/>
                  <a:gd name="connsiteX935" fmla="*/ 940810 w 1502222"/>
                  <a:gd name="connsiteY935" fmla="*/ 134453 h 941138"/>
                  <a:gd name="connsiteX936" fmla="*/ 940810 w 1502222"/>
                  <a:gd name="connsiteY936" fmla="*/ 132329 h 941138"/>
                  <a:gd name="connsiteX937" fmla="*/ 942345 w 1502222"/>
                  <a:gd name="connsiteY937" fmla="*/ 132329 h 941138"/>
                  <a:gd name="connsiteX938" fmla="*/ 943879 w 1502222"/>
                  <a:gd name="connsiteY938" fmla="*/ 132329 h 941138"/>
                  <a:gd name="connsiteX939" fmla="*/ 945414 w 1502222"/>
                  <a:gd name="connsiteY939" fmla="*/ 132329 h 941138"/>
                  <a:gd name="connsiteX940" fmla="*/ 946937 w 1502222"/>
                  <a:gd name="connsiteY940" fmla="*/ 132329 h 941138"/>
                  <a:gd name="connsiteX941" fmla="*/ 946937 w 1502222"/>
                  <a:gd name="connsiteY941" fmla="*/ 130205 h 941138"/>
                  <a:gd name="connsiteX942" fmla="*/ 950007 w 1502222"/>
                  <a:gd name="connsiteY942" fmla="*/ 130205 h 941138"/>
                  <a:gd name="connsiteX943" fmla="*/ 951541 w 1502222"/>
                  <a:gd name="connsiteY943" fmla="*/ 130205 h 941138"/>
                  <a:gd name="connsiteX944" fmla="*/ 951541 w 1502222"/>
                  <a:gd name="connsiteY944" fmla="*/ 128047 h 941138"/>
                  <a:gd name="connsiteX945" fmla="*/ 953042 w 1502222"/>
                  <a:gd name="connsiteY945" fmla="*/ 128047 h 941138"/>
                  <a:gd name="connsiteX946" fmla="*/ 953042 w 1502222"/>
                  <a:gd name="connsiteY946" fmla="*/ 123765 h 941138"/>
                  <a:gd name="connsiteX947" fmla="*/ 954566 w 1502222"/>
                  <a:gd name="connsiteY947" fmla="*/ 123765 h 941138"/>
                  <a:gd name="connsiteX948" fmla="*/ 956100 w 1502222"/>
                  <a:gd name="connsiteY948" fmla="*/ 123765 h 941138"/>
                  <a:gd name="connsiteX949" fmla="*/ 959170 w 1502222"/>
                  <a:gd name="connsiteY949" fmla="*/ 123765 h 941138"/>
                  <a:gd name="connsiteX950" fmla="*/ 959170 w 1502222"/>
                  <a:gd name="connsiteY950" fmla="*/ 121563 h 941138"/>
                  <a:gd name="connsiteX951" fmla="*/ 960704 w 1502222"/>
                  <a:gd name="connsiteY951" fmla="*/ 121563 h 941138"/>
                  <a:gd name="connsiteX952" fmla="*/ 962239 w 1502222"/>
                  <a:gd name="connsiteY952" fmla="*/ 121563 h 941138"/>
                  <a:gd name="connsiteX953" fmla="*/ 963762 w 1502222"/>
                  <a:gd name="connsiteY953" fmla="*/ 121563 h 941138"/>
                  <a:gd name="connsiteX954" fmla="*/ 965297 w 1502222"/>
                  <a:gd name="connsiteY954" fmla="*/ 121563 h 941138"/>
                  <a:gd name="connsiteX955" fmla="*/ 965297 w 1502222"/>
                  <a:gd name="connsiteY955" fmla="*/ 119338 h 941138"/>
                  <a:gd name="connsiteX956" fmla="*/ 966831 w 1502222"/>
                  <a:gd name="connsiteY956" fmla="*/ 119338 h 941138"/>
                  <a:gd name="connsiteX957" fmla="*/ 972925 w 1502222"/>
                  <a:gd name="connsiteY957" fmla="*/ 119338 h 941138"/>
                  <a:gd name="connsiteX958" fmla="*/ 972925 w 1502222"/>
                  <a:gd name="connsiteY958" fmla="*/ 114879 h 941138"/>
                  <a:gd name="connsiteX959" fmla="*/ 974460 w 1502222"/>
                  <a:gd name="connsiteY959" fmla="*/ 114879 h 941138"/>
                  <a:gd name="connsiteX960" fmla="*/ 975994 w 1502222"/>
                  <a:gd name="connsiteY960" fmla="*/ 114879 h 941138"/>
                  <a:gd name="connsiteX961" fmla="*/ 975994 w 1502222"/>
                  <a:gd name="connsiteY961" fmla="*/ 112576 h 941138"/>
                  <a:gd name="connsiteX962" fmla="*/ 977529 w 1502222"/>
                  <a:gd name="connsiteY962" fmla="*/ 112576 h 941138"/>
                  <a:gd name="connsiteX963" fmla="*/ 980598 w 1502222"/>
                  <a:gd name="connsiteY963" fmla="*/ 112576 h 941138"/>
                  <a:gd name="connsiteX964" fmla="*/ 980598 w 1502222"/>
                  <a:gd name="connsiteY964" fmla="*/ 110274 h 941138"/>
                  <a:gd name="connsiteX965" fmla="*/ 982122 w 1502222"/>
                  <a:gd name="connsiteY965" fmla="*/ 110274 h 941138"/>
                  <a:gd name="connsiteX966" fmla="*/ 983656 w 1502222"/>
                  <a:gd name="connsiteY966" fmla="*/ 110274 h 941138"/>
                  <a:gd name="connsiteX967" fmla="*/ 985191 w 1502222"/>
                  <a:gd name="connsiteY967" fmla="*/ 110274 h 941138"/>
                  <a:gd name="connsiteX968" fmla="*/ 986725 w 1502222"/>
                  <a:gd name="connsiteY968" fmla="*/ 110274 h 941138"/>
                  <a:gd name="connsiteX969" fmla="*/ 988227 w 1502222"/>
                  <a:gd name="connsiteY969" fmla="*/ 110274 h 941138"/>
                  <a:gd name="connsiteX970" fmla="*/ 992819 w 1502222"/>
                  <a:gd name="connsiteY970" fmla="*/ 110274 h 941138"/>
                  <a:gd name="connsiteX971" fmla="*/ 994354 w 1502222"/>
                  <a:gd name="connsiteY971" fmla="*/ 110274 h 941138"/>
                  <a:gd name="connsiteX972" fmla="*/ 995888 w 1502222"/>
                  <a:gd name="connsiteY972" fmla="*/ 110274 h 941138"/>
                  <a:gd name="connsiteX973" fmla="*/ 997412 w 1502222"/>
                  <a:gd name="connsiteY973" fmla="*/ 110274 h 941138"/>
                  <a:gd name="connsiteX974" fmla="*/ 998958 w 1502222"/>
                  <a:gd name="connsiteY974" fmla="*/ 110274 h 941138"/>
                  <a:gd name="connsiteX975" fmla="*/ 1005040 w 1502222"/>
                  <a:gd name="connsiteY975" fmla="*/ 110274 h 941138"/>
                  <a:gd name="connsiteX976" fmla="*/ 1006586 w 1502222"/>
                  <a:gd name="connsiteY976" fmla="*/ 110274 h 941138"/>
                  <a:gd name="connsiteX977" fmla="*/ 1008109 w 1502222"/>
                  <a:gd name="connsiteY977" fmla="*/ 110274 h 941138"/>
                  <a:gd name="connsiteX978" fmla="*/ 1008109 w 1502222"/>
                  <a:gd name="connsiteY978" fmla="*/ 107905 h 941138"/>
                  <a:gd name="connsiteX979" fmla="*/ 1009644 w 1502222"/>
                  <a:gd name="connsiteY979" fmla="*/ 107905 h 941138"/>
                  <a:gd name="connsiteX980" fmla="*/ 1009644 w 1502222"/>
                  <a:gd name="connsiteY980" fmla="*/ 105503 h 941138"/>
                  <a:gd name="connsiteX981" fmla="*/ 1015782 w 1502222"/>
                  <a:gd name="connsiteY981" fmla="*/ 105503 h 941138"/>
                  <a:gd name="connsiteX982" fmla="*/ 1017306 w 1502222"/>
                  <a:gd name="connsiteY982" fmla="*/ 105503 h 941138"/>
                  <a:gd name="connsiteX983" fmla="*/ 1018840 w 1502222"/>
                  <a:gd name="connsiteY983" fmla="*/ 105503 h 941138"/>
                  <a:gd name="connsiteX984" fmla="*/ 1018840 w 1502222"/>
                  <a:gd name="connsiteY984" fmla="*/ 103100 h 941138"/>
                  <a:gd name="connsiteX985" fmla="*/ 1020375 w 1502222"/>
                  <a:gd name="connsiteY985" fmla="*/ 103100 h 941138"/>
                  <a:gd name="connsiteX986" fmla="*/ 1020375 w 1502222"/>
                  <a:gd name="connsiteY986" fmla="*/ 100665 h 941138"/>
                  <a:gd name="connsiteX987" fmla="*/ 1023411 w 1502222"/>
                  <a:gd name="connsiteY987" fmla="*/ 100665 h 941138"/>
                  <a:gd name="connsiteX988" fmla="*/ 1023411 w 1502222"/>
                  <a:gd name="connsiteY988" fmla="*/ 98185 h 941138"/>
                  <a:gd name="connsiteX989" fmla="*/ 1024934 w 1502222"/>
                  <a:gd name="connsiteY989" fmla="*/ 98185 h 941138"/>
                  <a:gd name="connsiteX990" fmla="*/ 1026469 w 1502222"/>
                  <a:gd name="connsiteY990" fmla="*/ 98185 h 941138"/>
                  <a:gd name="connsiteX991" fmla="*/ 1028003 w 1502222"/>
                  <a:gd name="connsiteY991" fmla="*/ 98185 h 941138"/>
                  <a:gd name="connsiteX992" fmla="*/ 1029538 w 1502222"/>
                  <a:gd name="connsiteY992" fmla="*/ 98185 h 941138"/>
                  <a:gd name="connsiteX993" fmla="*/ 1031073 w 1502222"/>
                  <a:gd name="connsiteY993" fmla="*/ 98185 h 941138"/>
                  <a:gd name="connsiteX994" fmla="*/ 1034142 w 1502222"/>
                  <a:gd name="connsiteY994" fmla="*/ 98185 h 941138"/>
                  <a:gd name="connsiteX995" fmla="*/ 1035665 w 1502222"/>
                  <a:gd name="connsiteY995" fmla="*/ 98185 h 941138"/>
                  <a:gd name="connsiteX996" fmla="*/ 1037200 w 1502222"/>
                  <a:gd name="connsiteY996" fmla="*/ 98185 h 941138"/>
                  <a:gd name="connsiteX997" fmla="*/ 1040269 w 1502222"/>
                  <a:gd name="connsiteY997" fmla="*/ 98185 h 941138"/>
                  <a:gd name="connsiteX998" fmla="*/ 1041770 w 1502222"/>
                  <a:gd name="connsiteY998" fmla="*/ 98185 h 941138"/>
                  <a:gd name="connsiteX999" fmla="*/ 1041770 w 1502222"/>
                  <a:gd name="connsiteY999" fmla="*/ 95615 h 941138"/>
                  <a:gd name="connsiteX1000" fmla="*/ 1046363 w 1502222"/>
                  <a:gd name="connsiteY1000" fmla="*/ 95615 h 941138"/>
                  <a:gd name="connsiteX1001" fmla="*/ 1047897 w 1502222"/>
                  <a:gd name="connsiteY1001" fmla="*/ 95615 h 941138"/>
                  <a:gd name="connsiteX1002" fmla="*/ 1047897 w 1502222"/>
                  <a:gd name="connsiteY1002" fmla="*/ 93002 h 941138"/>
                  <a:gd name="connsiteX1003" fmla="*/ 1049432 w 1502222"/>
                  <a:gd name="connsiteY1003" fmla="*/ 93002 h 941138"/>
                  <a:gd name="connsiteX1004" fmla="*/ 1050956 w 1502222"/>
                  <a:gd name="connsiteY1004" fmla="*/ 93002 h 941138"/>
                  <a:gd name="connsiteX1005" fmla="*/ 1055559 w 1502222"/>
                  <a:gd name="connsiteY1005" fmla="*/ 93002 h 941138"/>
                  <a:gd name="connsiteX1006" fmla="*/ 1057094 w 1502222"/>
                  <a:gd name="connsiteY1006" fmla="*/ 93002 h 941138"/>
                  <a:gd name="connsiteX1007" fmla="*/ 1057094 w 1502222"/>
                  <a:gd name="connsiteY1007" fmla="*/ 90344 h 941138"/>
                  <a:gd name="connsiteX1008" fmla="*/ 1058584 w 1502222"/>
                  <a:gd name="connsiteY1008" fmla="*/ 90344 h 941138"/>
                  <a:gd name="connsiteX1009" fmla="*/ 1060118 w 1502222"/>
                  <a:gd name="connsiteY1009" fmla="*/ 90344 h 941138"/>
                  <a:gd name="connsiteX1010" fmla="*/ 1061653 w 1502222"/>
                  <a:gd name="connsiteY1010" fmla="*/ 90344 h 941138"/>
                  <a:gd name="connsiteX1011" fmla="*/ 1063188 w 1502222"/>
                  <a:gd name="connsiteY1011" fmla="*/ 90344 h 941138"/>
                  <a:gd name="connsiteX1012" fmla="*/ 1064722 w 1502222"/>
                  <a:gd name="connsiteY1012" fmla="*/ 90344 h 941138"/>
                  <a:gd name="connsiteX1013" fmla="*/ 1067780 w 1502222"/>
                  <a:gd name="connsiteY1013" fmla="*/ 90344 h 941138"/>
                  <a:gd name="connsiteX1014" fmla="*/ 1069315 w 1502222"/>
                  <a:gd name="connsiteY1014" fmla="*/ 90344 h 941138"/>
                  <a:gd name="connsiteX1015" fmla="*/ 1072384 w 1502222"/>
                  <a:gd name="connsiteY1015" fmla="*/ 90344 h 941138"/>
                  <a:gd name="connsiteX1016" fmla="*/ 1073919 w 1502222"/>
                  <a:gd name="connsiteY1016" fmla="*/ 90344 h 941138"/>
                  <a:gd name="connsiteX1017" fmla="*/ 1075453 w 1502222"/>
                  <a:gd name="connsiteY1017" fmla="*/ 90344 h 941138"/>
                  <a:gd name="connsiteX1018" fmla="*/ 1075453 w 1502222"/>
                  <a:gd name="connsiteY1018" fmla="*/ 87530 h 941138"/>
                  <a:gd name="connsiteX1019" fmla="*/ 1080012 w 1502222"/>
                  <a:gd name="connsiteY1019" fmla="*/ 87530 h 941138"/>
                  <a:gd name="connsiteX1020" fmla="*/ 1081547 w 1502222"/>
                  <a:gd name="connsiteY1020" fmla="*/ 87530 h 941138"/>
                  <a:gd name="connsiteX1021" fmla="*/ 1083082 w 1502222"/>
                  <a:gd name="connsiteY1021" fmla="*/ 87530 h 941138"/>
                  <a:gd name="connsiteX1022" fmla="*/ 1089209 w 1502222"/>
                  <a:gd name="connsiteY1022" fmla="*/ 87530 h 941138"/>
                  <a:gd name="connsiteX1023" fmla="*/ 1090743 w 1502222"/>
                  <a:gd name="connsiteY1023" fmla="*/ 87530 h 941138"/>
                  <a:gd name="connsiteX1024" fmla="*/ 1092278 w 1502222"/>
                  <a:gd name="connsiteY1024" fmla="*/ 87530 h 941138"/>
                  <a:gd name="connsiteX1025" fmla="*/ 1093768 w 1502222"/>
                  <a:gd name="connsiteY1025" fmla="*/ 87530 h 941138"/>
                  <a:gd name="connsiteX1026" fmla="*/ 1093768 w 1502222"/>
                  <a:gd name="connsiteY1026" fmla="*/ 84594 h 941138"/>
                  <a:gd name="connsiteX1027" fmla="*/ 1095314 w 1502222"/>
                  <a:gd name="connsiteY1027" fmla="*/ 84594 h 941138"/>
                  <a:gd name="connsiteX1028" fmla="*/ 1096837 w 1502222"/>
                  <a:gd name="connsiteY1028" fmla="*/ 84594 h 941138"/>
                  <a:gd name="connsiteX1029" fmla="*/ 1096837 w 1502222"/>
                  <a:gd name="connsiteY1029" fmla="*/ 81635 h 941138"/>
                  <a:gd name="connsiteX1030" fmla="*/ 1098372 w 1502222"/>
                  <a:gd name="connsiteY1030" fmla="*/ 81635 h 941138"/>
                  <a:gd name="connsiteX1031" fmla="*/ 1101441 w 1502222"/>
                  <a:gd name="connsiteY1031" fmla="*/ 81635 h 941138"/>
                  <a:gd name="connsiteX1032" fmla="*/ 1101441 w 1502222"/>
                  <a:gd name="connsiteY1032" fmla="*/ 72649 h 941138"/>
                  <a:gd name="connsiteX1033" fmla="*/ 1102976 w 1502222"/>
                  <a:gd name="connsiteY1033" fmla="*/ 72649 h 941138"/>
                  <a:gd name="connsiteX1034" fmla="*/ 1104499 w 1502222"/>
                  <a:gd name="connsiteY1034" fmla="*/ 72649 h 941138"/>
                  <a:gd name="connsiteX1035" fmla="*/ 1106034 w 1502222"/>
                  <a:gd name="connsiteY1035" fmla="*/ 72649 h 941138"/>
                  <a:gd name="connsiteX1036" fmla="*/ 1109103 w 1502222"/>
                  <a:gd name="connsiteY1036" fmla="*/ 72649 h 941138"/>
                  <a:gd name="connsiteX1037" fmla="*/ 1110626 w 1502222"/>
                  <a:gd name="connsiteY1037" fmla="*/ 72649 h 941138"/>
                  <a:gd name="connsiteX1038" fmla="*/ 1112127 w 1502222"/>
                  <a:gd name="connsiteY1038" fmla="*/ 72649 h 941138"/>
                  <a:gd name="connsiteX1039" fmla="*/ 1113662 w 1502222"/>
                  <a:gd name="connsiteY1039" fmla="*/ 72649 h 941138"/>
                  <a:gd name="connsiteX1040" fmla="*/ 1113662 w 1502222"/>
                  <a:gd name="connsiteY1040" fmla="*/ 69512 h 941138"/>
                  <a:gd name="connsiteX1041" fmla="*/ 1115197 w 1502222"/>
                  <a:gd name="connsiteY1041" fmla="*/ 69512 h 941138"/>
                  <a:gd name="connsiteX1042" fmla="*/ 1116731 w 1502222"/>
                  <a:gd name="connsiteY1042" fmla="*/ 69512 h 941138"/>
                  <a:gd name="connsiteX1043" fmla="*/ 1121324 w 1502222"/>
                  <a:gd name="connsiteY1043" fmla="*/ 69512 h 941138"/>
                  <a:gd name="connsiteX1044" fmla="*/ 1121324 w 1502222"/>
                  <a:gd name="connsiteY1044" fmla="*/ 66309 h 941138"/>
                  <a:gd name="connsiteX1045" fmla="*/ 1122858 w 1502222"/>
                  <a:gd name="connsiteY1045" fmla="*/ 66309 h 941138"/>
                  <a:gd name="connsiteX1046" fmla="*/ 1124393 w 1502222"/>
                  <a:gd name="connsiteY1046" fmla="*/ 66309 h 941138"/>
                  <a:gd name="connsiteX1047" fmla="*/ 1125928 w 1502222"/>
                  <a:gd name="connsiteY1047" fmla="*/ 66309 h 941138"/>
                  <a:gd name="connsiteX1048" fmla="*/ 1127462 w 1502222"/>
                  <a:gd name="connsiteY1048" fmla="*/ 66309 h 941138"/>
                  <a:gd name="connsiteX1049" fmla="*/ 1133556 w 1502222"/>
                  <a:gd name="connsiteY1049" fmla="*/ 66309 h 941138"/>
                  <a:gd name="connsiteX1050" fmla="*/ 1135091 w 1502222"/>
                  <a:gd name="connsiteY1050" fmla="*/ 66309 h 941138"/>
                  <a:gd name="connsiteX1051" fmla="*/ 1136625 w 1502222"/>
                  <a:gd name="connsiteY1051" fmla="*/ 66309 h 941138"/>
                  <a:gd name="connsiteX1052" fmla="*/ 1138160 w 1502222"/>
                  <a:gd name="connsiteY1052" fmla="*/ 66309 h 941138"/>
                  <a:gd name="connsiteX1053" fmla="*/ 1138160 w 1502222"/>
                  <a:gd name="connsiteY1053" fmla="*/ 62895 h 941138"/>
                  <a:gd name="connsiteX1054" fmla="*/ 1142752 w 1502222"/>
                  <a:gd name="connsiteY1054" fmla="*/ 62895 h 941138"/>
                  <a:gd name="connsiteX1055" fmla="*/ 1144287 w 1502222"/>
                  <a:gd name="connsiteY1055" fmla="*/ 62895 h 941138"/>
                  <a:gd name="connsiteX1056" fmla="*/ 1145822 w 1502222"/>
                  <a:gd name="connsiteY1056" fmla="*/ 62895 h 941138"/>
                  <a:gd name="connsiteX1057" fmla="*/ 1145822 w 1502222"/>
                  <a:gd name="connsiteY1057" fmla="*/ 59413 h 941138"/>
                  <a:gd name="connsiteX1058" fmla="*/ 1147312 w 1502222"/>
                  <a:gd name="connsiteY1058" fmla="*/ 59413 h 941138"/>
                  <a:gd name="connsiteX1059" fmla="*/ 1148857 w 1502222"/>
                  <a:gd name="connsiteY1059" fmla="*/ 59413 h 941138"/>
                  <a:gd name="connsiteX1060" fmla="*/ 1150381 w 1502222"/>
                  <a:gd name="connsiteY1060" fmla="*/ 59413 h 941138"/>
                  <a:gd name="connsiteX1061" fmla="*/ 1153450 w 1502222"/>
                  <a:gd name="connsiteY1061" fmla="*/ 59413 h 941138"/>
                  <a:gd name="connsiteX1062" fmla="*/ 1153450 w 1502222"/>
                  <a:gd name="connsiteY1062" fmla="*/ 55821 h 941138"/>
                  <a:gd name="connsiteX1063" fmla="*/ 1154985 w 1502222"/>
                  <a:gd name="connsiteY1063" fmla="*/ 55821 h 941138"/>
                  <a:gd name="connsiteX1064" fmla="*/ 1156508 w 1502222"/>
                  <a:gd name="connsiteY1064" fmla="*/ 55821 h 941138"/>
                  <a:gd name="connsiteX1065" fmla="*/ 1158043 w 1502222"/>
                  <a:gd name="connsiteY1065" fmla="*/ 55821 h 941138"/>
                  <a:gd name="connsiteX1066" fmla="*/ 1159577 w 1502222"/>
                  <a:gd name="connsiteY1066" fmla="*/ 55821 h 941138"/>
                  <a:gd name="connsiteX1067" fmla="*/ 1164170 w 1502222"/>
                  <a:gd name="connsiteY1067" fmla="*/ 55821 h 941138"/>
                  <a:gd name="connsiteX1068" fmla="*/ 1165671 w 1502222"/>
                  <a:gd name="connsiteY1068" fmla="*/ 55821 h 941138"/>
                  <a:gd name="connsiteX1069" fmla="*/ 1167206 w 1502222"/>
                  <a:gd name="connsiteY1069" fmla="*/ 55821 h 941138"/>
                  <a:gd name="connsiteX1070" fmla="*/ 1168740 w 1502222"/>
                  <a:gd name="connsiteY1070" fmla="*/ 55821 h 941138"/>
                  <a:gd name="connsiteX1071" fmla="*/ 1170275 w 1502222"/>
                  <a:gd name="connsiteY1071" fmla="*/ 55821 h 941138"/>
                  <a:gd name="connsiteX1072" fmla="*/ 1176402 w 1502222"/>
                  <a:gd name="connsiteY1072" fmla="*/ 55821 h 941138"/>
                  <a:gd name="connsiteX1073" fmla="*/ 1177937 w 1502222"/>
                  <a:gd name="connsiteY1073" fmla="*/ 55821 h 941138"/>
                  <a:gd name="connsiteX1074" fmla="*/ 1179471 w 1502222"/>
                  <a:gd name="connsiteY1074" fmla="*/ 55821 h 941138"/>
                  <a:gd name="connsiteX1075" fmla="*/ 1181006 w 1502222"/>
                  <a:gd name="connsiteY1075" fmla="*/ 55821 h 941138"/>
                  <a:gd name="connsiteX1076" fmla="*/ 1184030 w 1502222"/>
                  <a:gd name="connsiteY1076" fmla="*/ 55821 h 941138"/>
                  <a:gd name="connsiteX1077" fmla="*/ 1184030 w 1502222"/>
                  <a:gd name="connsiteY1077" fmla="*/ 51784 h 941138"/>
                  <a:gd name="connsiteX1078" fmla="*/ 1187100 w 1502222"/>
                  <a:gd name="connsiteY1078" fmla="*/ 51784 h 941138"/>
                  <a:gd name="connsiteX1079" fmla="*/ 1188634 w 1502222"/>
                  <a:gd name="connsiteY1079" fmla="*/ 51784 h 941138"/>
                  <a:gd name="connsiteX1080" fmla="*/ 1190169 w 1502222"/>
                  <a:gd name="connsiteY1080" fmla="*/ 51784 h 941138"/>
                  <a:gd name="connsiteX1081" fmla="*/ 1191703 w 1502222"/>
                  <a:gd name="connsiteY1081" fmla="*/ 51784 h 941138"/>
                  <a:gd name="connsiteX1082" fmla="*/ 1196296 w 1502222"/>
                  <a:gd name="connsiteY1082" fmla="*/ 51784 h 941138"/>
                  <a:gd name="connsiteX1083" fmla="*/ 1197831 w 1502222"/>
                  <a:gd name="connsiteY1083" fmla="*/ 51784 h 941138"/>
                  <a:gd name="connsiteX1084" fmla="*/ 1199354 w 1502222"/>
                  <a:gd name="connsiteY1084" fmla="*/ 51784 h 941138"/>
                  <a:gd name="connsiteX1085" fmla="*/ 1200855 w 1502222"/>
                  <a:gd name="connsiteY1085" fmla="*/ 51784 h 941138"/>
                  <a:gd name="connsiteX1086" fmla="*/ 1200855 w 1502222"/>
                  <a:gd name="connsiteY1086" fmla="*/ 47357 h 941138"/>
                  <a:gd name="connsiteX1087" fmla="*/ 1202390 w 1502222"/>
                  <a:gd name="connsiteY1087" fmla="*/ 47357 h 941138"/>
                  <a:gd name="connsiteX1088" fmla="*/ 1206994 w 1502222"/>
                  <a:gd name="connsiteY1088" fmla="*/ 47357 h 941138"/>
                  <a:gd name="connsiteX1089" fmla="*/ 1208528 w 1502222"/>
                  <a:gd name="connsiteY1089" fmla="*/ 47357 h 941138"/>
                  <a:gd name="connsiteX1090" fmla="*/ 1210052 w 1502222"/>
                  <a:gd name="connsiteY1090" fmla="*/ 47357 h 941138"/>
                  <a:gd name="connsiteX1091" fmla="*/ 1211586 w 1502222"/>
                  <a:gd name="connsiteY1091" fmla="*/ 47357 h 941138"/>
                  <a:gd name="connsiteX1092" fmla="*/ 1217680 w 1502222"/>
                  <a:gd name="connsiteY1092" fmla="*/ 47357 h 941138"/>
                  <a:gd name="connsiteX1093" fmla="*/ 1219215 w 1502222"/>
                  <a:gd name="connsiteY1093" fmla="*/ 47357 h 941138"/>
                  <a:gd name="connsiteX1094" fmla="*/ 1220749 w 1502222"/>
                  <a:gd name="connsiteY1094" fmla="*/ 47357 h 941138"/>
                  <a:gd name="connsiteX1095" fmla="*/ 1222284 w 1502222"/>
                  <a:gd name="connsiteY1095" fmla="*/ 47357 h 941138"/>
                  <a:gd name="connsiteX1096" fmla="*/ 1223818 w 1502222"/>
                  <a:gd name="connsiteY1096" fmla="*/ 47357 h 941138"/>
                  <a:gd name="connsiteX1097" fmla="*/ 1225342 w 1502222"/>
                  <a:gd name="connsiteY1097" fmla="*/ 47357 h 941138"/>
                  <a:gd name="connsiteX1098" fmla="*/ 1225342 w 1502222"/>
                  <a:gd name="connsiteY1098" fmla="*/ 42508 h 941138"/>
                  <a:gd name="connsiteX1099" fmla="*/ 1228411 w 1502222"/>
                  <a:gd name="connsiteY1099" fmla="*/ 42508 h 941138"/>
                  <a:gd name="connsiteX1100" fmla="*/ 1231480 w 1502222"/>
                  <a:gd name="connsiteY1100" fmla="*/ 42508 h 941138"/>
                  <a:gd name="connsiteX1101" fmla="*/ 1233015 w 1502222"/>
                  <a:gd name="connsiteY1101" fmla="*/ 42508 h 941138"/>
                  <a:gd name="connsiteX1102" fmla="*/ 1234549 w 1502222"/>
                  <a:gd name="connsiteY1102" fmla="*/ 42508 h 941138"/>
                  <a:gd name="connsiteX1103" fmla="*/ 1239109 w 1502222"/>
                  <a:gd name="connsiteY1103" fmla="*/ 42508 h 941138"/>
                  <a:gd name="connsiteX1104" fmla="*/ 1242178 w 1502222"/>
                  <a:gd name="connsiteY1104" fmla="*/ 42508 h 941138"/>
                  <a:gd name="connsiteX1105" fmla="*/ 1243701 w 1502222"/>
                  <a:gd name="connsiteY1105" fmla="*/ 42508 h 941138"/>
                  <a:gd name="connsiteX1106" fmla="*/ 1243701 w 1502222"/>
                  <a:gd name="connsiteY1106" fmla="*/ 37214 h 941138"/>
                  <a:gd name="connsiteX1107" fmla="*/ 1245236 w 1502222"/>
                  <a:gd name="connsiteY1107" fmla="*/ 37214 h 941138"/>
                  <a:gd name="connsiteX1108" fmla="*/ 1249840 w 1502222"/>
                  <a:gd name="connsiteY1108" fmla="*/ 37214 h 941138"/>
                  <a:gd name="connsiteX1109" fmla="*/ 1251374 w 1502222"/>
                  <a:gd name="connsiteY1109" fmla="*/ 37214 h 941138"/>
                  <a:gd name="connsiteX1110" fmla="*/ 1252875 w 1502222"/>
                  <a:gd name="connsiteY1110" fmla="*/ 37214 h 941138"/>
                  <a:gd name="connsiteX1111" fmla="*/ 1255933 w 1502222"/>
                  <a:gd name="connsiteY1111" fmla="*/ 37214 h 941138"/>
                  <a:gd name="connsiteX1112" fmla="*/ 1260526 w 1502222"/>
                  <a:gd name="connsiteY1112" fmla="*/ 37214 h 941138"/>
                  <a:gd name="connsiteX1113" fmla="*/ 1260526 w 1502222"/>
                  <a:gd name="connsiteY1113" fmla="*/ 31364 h 941138"/>
                  <a:gd name="connsiteX1114" fmla="*/ 1262072 w 1502222"/>
                  <a:gd name="connsiteY1114" fmla="*/ 31364 h 941138"/>
                  <a:gd name="connsiteX1115" fmla="*/ 1263595 w 1502222"/>
                  <a:gd name="connsiteY1115" fmla="*/ 31364 h 941138"/>
                  <a:gd name="connsiteX1116" fmla="*/ 1263595 w 1502222"/>
                  <a:gd name="connsiteY1116" fmla="*/ 25302 h 941138"/>
                  <a:gd name="connsiteX1117" fmla="*/ 1265130 w 1502222"/>
                  <a:gd name="connsiteY1117" fmla="*/ 25302 h 941138"/>
                  <a:gd name="connsiteX1118" fmla="*/ 1266664 w 1502222"/>
                  <a:gd name="connsiteY1118" fmla="*/ 25302 h 941138"/>
                  <a:gd name="connsiteX1119" fmla="*/ 1271224 w 1502222"/>
                  <a:gd name="connsiteY1119" fmla="*/ 25302 h 941138"/>
                  <a:gd name="connsiteX1120" fmla="*/ 1272758 w 1502222"/>
                  <a:gd name="connsiteY1120" fmla="*/ 25302 h 941138"/>
                  <a:gd name="connsiteX1121" fmla="*/ 1274293 w 1502222"/>
                  <a:gd name="connsiteY1121" fmla="*/ 25302 h 941138"/>
                  <a:gd name="connsiteX1122" fmla="*/ 1274293 w 1502222"/>
                  <a:gd name="connsiteY1122" fmla="*/ 18640 h 941138"/>
                  <a:gd name="connsiteX1123" fmla="*/ 1275827 w 1502222"/>
                  <a:gd name="connsiteY1123" fmla="*/ 18640 h 941138"/>
                  <a:gd name="connsiteX1124" fmla="*/ 1277362 w 1502222"/>
                  <a:gd name="connsiteY1124" fmla="*/ 18640 h 941138"/>
                  <a:gd name="connsiteX1125" fmla="*/ 1283489 w 1502222"/>
                  <a:gd name="connsiteY1125" fmla="*/ 18640 h 941138"/>
                  <a:gd name="connsiteX1126" fmla="*/ 1285024 w 1502222"/>
                  <a:gd name="connsiteY1126" fmla="*/ 18640 h 941138"/>
                  <a:gd name="connsiteX1127" fmla="*/ 1286558 w 1502222"/>
                  <a:gd name="connsiteY1127" fmla="*/ 18640 h 941138"/>
                  <a:gd name="connsiteX1128" fmla="*/ 1288082 w 1502222"/>
                  <a:gd name="connsiteY1128" fmla="*/ 18640 h 941138"/>
                  <a:gd name="connsiteX1129" fmla="*/ 1292652 w 1502222"/>
                  <a:gd name="connsiteY1129" fmla="*/ 18640 h 941138"/>
                  <a:gd name="connsiteX1130" fmla="*/ 1294187 w 1502222"/>
                  <a:gd name="connsiteY1130" fmla="*/ 18640 h 941138"/>
                  <a:gd name="connsiteX1131" fmla="*/ 1295721 w 1502222"/>
                  <a:gd name="connsiteY1131" fmla="*/ 18640 h 941138"/>
                  <a:gd name="connsiteX1132" fmla="*/ 1297245 w 1502222"/>
                  <a:gd name="connsiteY1132" fmla="*/ 18640 h 941138"/>
                  <a:gd name="connsiteX1133" fmla="*/ 1298779 w 1502222"/>
                  <a:gd name="connsiteY1133" fmla="*/ 18640 h 941138"/>
                  <a:gd name="connsiteX1134" fmla="*/ 1303383 w 1502222"/>
                  <a:gd name="connsiteY1134" fmla="*/ 18640 h 941138"/>
                  <a:gd name="connsiteX1135" fmla="*/ 1304918 w 1502222"/>
                  <a:gd name="connsiteY1135" fmla="*/ 18640 h 941138"/>
                  <a:gd name="connsiteX1136" fmla="*/ 1306408 w 1502222"/>
                  <a:gd name="connsiteY1136" fmla="*/ 18640 h 941138"/>
                  <a:gd name="connsiteX1137" fmla="*/ 1307942 w 1502222"/>
                  <a:gd name="connsiteY1137" fmla="*/ 18640 h 941138"/>
                  <a:gd name="connsiteX1138" fmla="*/ 1309477 w 1502222"/>
                  <a:gd name="connsiteY1138" fmla="*/ 18640 h 941138"/>
                  <a:gd name="connsiteX1139" fmla="*/ 1315615 w 1502222"/>
                  <a:gd name="connsiteY1139" fmla="*/ 18640 h 941138"/>
                  <a:gd name="connsiteX1140" fmla="*/ 1317139 w 1502222"/>
                  <a:gd name="connsiteY1140" fmla="*/ 18640 h 941138"/>
                  <a:gd name="connsiteX1141" fmla="*/ 1318673 w 1502222"/>
                  <a:gd name="connsiteY1141" fmla="*/ 18640 h 941138"/>
                  <a:gd name="connsiteX1142" fmla="*/ 1320208 w 1502222"/>
                  <a:gd name="connsiteY1142" fmla="*/ 18640 h 941138"/>
                  <a:gd name="connsiteX1143" fmla="*/ 1324767 w 1502222"/>
                  <a:gd name="connsiteY1143" fmla="*/ 18640 h 941138"/>
                  <a:gd name="connsiteX1144" fmla="*/ 1326302 w 1502222"/>
                  <a:gd name="connsiteY1144" fmla="*/ 18640 h 941138"/>
                  <a:gd name="connsiteX1145" fmla="*/ 1327836 w 1502222"/>
                  <a:gd name="connsiteY1145" fmla="*/ 18640 h 941138"/>
                  <a:gd name="connsiteX1146" fmla="*/ 1329371 w 1502222"/>
                  <a:gd name="connsiteY1146" fmla="*/ 18640 h 941138"/>
                  <a:gd name="connsiteX1147" fmla="*/ 1330906 w 1502222"/>
                  <a:gd name="connsiteY1147" fmla="*/ 18640 h 941138"/>
                  <a:gd name="connsiteX1148" fmla="*/ 1335498 w 1502222"/>
                  <a:gd name="connsiteY1148" fmla="*/ 18640 h 941138"/>
                  <a:gd name="connsiteX1149" fmla="*/ 1337033 w 1502222"/>
                  <a:gd name="connsiteY1149" fmla="*/ 18640 h 941138"/>
                  <a:gd name="connsiteX1150" fmla="*/ 1340102 w 1502222"/>
                  <a:gd name="connsiteY1150" fmla="*/ 18640 h 941138"/>
                  <a:gd name="connsiteX1151" fmla="*/ 1341603 w 1502222"/>
                  <a:gd name="connsiteY1151" fmla="*/ 18640 h 941138"/>
                  <a:gd name="connsiteX1152" fmla="*/ 1347730 w 1502222"/>
                  <a:gd name="connsiteY1152" fmla="*/ 18640 h 941138"/>
                  <a:gd name="connsiteX1153" fmla="*/ 1349254 w 1502222"/>
                  <a:gd name="connsiteY1153" fmla="*/ 18640 h 941138"/>
                  <a:gd name="connsiteX1154" fmla="*/ 1350788 w 1502222"/>
                  <a:gd name="connsiteY1154" fmla="*/ 18640 h 941138"/>
                  <a:gd name="connsiteX1155" fmla="*/ 1352323 w 1502222"/>
                  <a:gd name="connsiteY1155" fmla="*/ 18640 h 941138"/>
                  <a:gd name="connsiteX1156" fmla="*/ 1358461 w 1502222"/>
                  <a:gd name="connsiteY1156" fmla="*/ 18640 h 941138"/>
                  <a:gd name="connsiteX1157" fmla="*/ 1359951 w 1502222"/>
                  <a:gd name="connsiteY1157" fmla="*/ 18640 h 941138"/>
                  <a:gd name="connsiteX1158" fmla="*/ 1361486 w 1502222"/>
                  <a:gd name="connsiteY1158" fmla="*/ 18640 h 941138"/>
                  <a:gd name="connsiteX1159" fmla="*/ 1363021 w 1502222"/>
                  <a:gd name="connsiteY1159" fmla="*/ 18640 h 941138"/>
                  <a:gd name="connsiteX1160" fmla="*/ 1367613 w 1502222"/>
                  <a:gd name="connsiteY1160" fmla="*/ 18640 h 941138"/>
                  <a:gd name="connsiteX1161" fmla="*/ 1370682 w 1502222"/>
                  <a:gd name="connsiteY1161" fmla="*/ 18640 h 941138"/>
                  <a:gd name="connsiteX1162" fmla="*/ 1372217 w 1502222"/>
                  <a:gd name="connsiteY1162" fmla="*/ 18640 h 941138"/>
                  <a:gd name="connsiteX1163" fmla="*/ 1373752 w 1502222"/>
                  <a:gd name="connsiteY1163" fmla="*/ 18640 h 941138"/>
                  <a:gd name="connsiteX1164" fmla="*/ 1375286 w 1502222"/>
                  <a:gd name="connsiteY1164" fmla="*/ 18640 h 941138"/>
                  <a:gd name="connsiteX1165" fmla="*/ 1375286 w 1502222"/>
                  <a:gd name="connsiteY1165" fmla="*/ 0 h 941138"/>
                  <a:gd name="connsiteX1166" fmla="*/ 1502223 w 1502222"/>
                  <a:gd name="connsiteY1166" fmla="*/ 0 h 941138"/>
                  <a:gd name="connsiteX0" fmla="*/ 0 w 1494864"/>
                  <a:gd name="connsiteY0" fmla="*/ 941139 h 941139"/>
                  <a:gd name="connsiteX1" fmla="*/ 1535 w 1494864"/>
                  <a:gd name="connsiteY1" fmla="*/ 941139 h 941139"/>
                  <a:gd name="connsiteX2" fmla="*/ 1535 w 1494864"/>
                  <a:gd name="connsiteY2" fmla="*/ 940338 h 941139"/>
                  <a:gd name="connsiteX3" fmla="*/ 3069 w 1494864"/>
                  <a:gd name="connsiteY3" fmla="*/ 940338 h 941139"/>
                  <a:gd name="connsiteX4" fmla="*/ 3069 w 1494864"/>
                  <a:gd name="connsiteY4" fmla="*/ 937202 h 941139"/>
                  <a:gd name="connsiteX5" fmla="*/ 4604 w 1494864"/>
                  <a:gd name="connsiteY5" fmla="*/ 937202 h 941139"/>
                  <a:gd name="connsiteX6" fmla="*/ 4604 w 1494864"/>
                  <a:gd name="connsiteY6" fmla="*/ 935634 h 941139"/>
                  <a:gd name="connsiteX7" fmla="*/ 6127 w 1494864"/>
                  <a:gd name="connsiteY7" fmla="*/ 935634 h 941139"/>
                  <a:gd name="connsiteX8" fmla="*/ 6127 w 1494864"/>
                  <a:gd name="connsiteY8" fmla="*/ 932497 h 941139"/>
                  <a:gd name="connsiteX9" fmla="*/ 7662 w 1494864"/>
                  <a:gd name="connsiteY9" fmla="*/ 932497 h 941139"/>
                  <a:gd name="connsiteX10" fmla="*/ 7662 w 1494864"/>
                  <a:gd name="connsiteY10" fmla="*/ 930128 h 941139"/>
                  <a:gd name="connsiteX11" fmla="*/ 9196 w 1494864"/>
                  <a:gd name="connsiteY11" fmla="*/ 930128 h 941139"/>
                  <a:gd name="connsiteX12" fmla="*/ 9196 w 1494864"/>
                  <a:gd name="connsiteY12" fmla="*/ 926191 h 941139"/>
                  <a:gd name="connsiteX13" fmla="*/ 10731 w 1494864"/>
                  <a:gd name="connsiteY13" fmla="*/ 926191 h 941139"/>
                  <a:gd name="connsiteX14" fmla="*/ 10731 w 1494864"/>
                  <a:gd name="connsiteY14" fmla="*/ 922254 h 941139"/>
                  <a:gd name="connsiteX15" fmla="*/ 12266 w 1494864"/>
                  <a:gd name="connsiteY15" fmla="*/ 922254 h 941139"/>
                  <a:gd name="connsiteX16" fmla="*/ 12266 w 1494864"/>
                  <a:gd name="connsiteY16" fmla="*/ 915180 h 941139"/>
                  <a:gd name="connsiteX17" fmla="*/ 13800 w 1494864"/>
                  <a:gd name="connsiteY17" fmla="*/ 915180 h 941139"/>
                  <a:gd name="connsiteX18" fmla="*/ 13800 w 1494864"/>
                  <a:gd name="connsiteY18" fmla="*/ 908874 h 941139"/>
                  <a:gd name="connsiteX19" fmla="*/ 15290 w 1494864"/>
                  <a:gd name="connsiteY19" fmla="*/ 908874 h 941139"/>
                  <a:gd name="connsiteX20" fmla="*/ 15290 w 1494864"/>
                  <a:gd name="connsiteY20" fmla="*/ 904170 h 941139"/>
                  <a:gd name="connsiteX21" fmla="*/ 16825 w 1494864"/>
                  <a:gd name="connsiteY21" fmla="*/ 904170 h 941139"/>
                  <a:gd name="connsiteX22" fmla="*/ 16825 w 1494864"/>
                  <a:gd name="connsiteY22" fmla="*/ 903369 h 941139"/>
                  <a:gd name="connsiteX23" fmla="*/ 18359 w 1494864"/>
                  <a:gd name="connsiteY23" fmla="*/ 903369 h 941139"/>
                  <a:gd name="connsiteX24" fmla="*/ 18359 w 1494864"/>
                  <a:gd name="connsiteY24" fmla="*/ 901801 h 941139"/>
                  <a:gd name="connsiteX25" fmla="*/ 19894 w 1494864"/>
                  <a:gd name="connsiteY25" fmla="*/ 901801 h 941139"/>
                  <a:gd name="connsiteX26" fmla="*/ 19894 w 1494864"/>
                  <a:gd name="connsiteY26" fmla="*/ 900232 h 941139"/>
                  <a:gd name="connsiteX27" fmla="*/ 21429 w 1494864"/>
                  <a:gd name="connsiteY27" fmla="*/ 900232 h 941139"/>
                  <a:gd name="connsiteX28" fmla="*/ 21429 w 1494864"/>
                  <a:gd name="connsiteY28" fmla="*/ 893926 h 941139"/>
                  <a:gd name="connsiteX29" fmla="*/ 22952 w 1494864"/>
                  <a:gd name="connsiteY29" fmla="*/ 893926 h 941139"/>
                  <a:gd name="connsiteX30" fmla="*/ 22952 w 1494864"/>
                  <a:gd name="connsiteY30" fmla="*/ 887653 h 941139"/>
                  <a:gd name="connsiteX31" fmla="*/ 24487 w 1494864"/>
                  <a:gd name="connsiteY31" fmla="*/ 887653 h 941139"/>
                  <a:gd name="connsiteX32" fmla="*/ 24487 w 1494864"/>
                  <a:gd name="connsiteY32" fmla="*/ 885296 h 941139"/>
                  <a:gd name="connsiteX33" fmla="*/ 26021 w 1494864"/>
                  <a:gd name="connsiteY33" fmla="*/ 885296 h 941139"/>
                  <a:gd name="connsiteX34" fmla="*/ 26021 w 1494864"/>
                  <a:gd name="connsiteY34" fmla="*/ 883716 h 941139"/>
                  <a:gd name="connsiteX35" fmla="*/ 27556 w 1494864"/>
                  <a:gd name="connsiteY35" fmla="*/ 883716 h 941139"/>
                  <a:gd name="connsiteX36" fmla="*/ 27556 w 1494864"/>
                  <a:gd name="connsiteY36" fmla="*/ 880547 h 941139"/>
                  <a:gd name="connsiteX37" fmla="*/ 29090 w 1494864"/>
                  <a:gd name="connsiteY37" fmla="*/ 880547 h 941139"/>
                  <a:gd name="connsiteX38" fmla="*/ 29090 w 1494864"/>
                  <a:gd name="connsiteY38" fmla="*/ 878211 h 941139"/>
                  <a:gd name="connsiteX39" fmla="*/ 30614 w 1494864"/>
                  <a:gd name="connsiteY39" fmla="*/ 878211 h 941139"/>
                  <a:gd name="connsiteX40" fmla="*/ 30614 w 1494864"/>
                  <a:gd name="connsiteY40" fmla="*/ 877421 h 941139"/>
                  <a:gd name="connsiteX41" fmla="*/ 32115 w 1494864"/>
                  <a:gd name="connsiteY41" fmla="*/ 877421 h 941139"/>
                  <a:gd name="connsiteX42" fmla="*/ 32115 w 1494864"/>
                  <a:gd name="connsiteY42" fmla="*/ 873484 h 941139"/>
                  <a:gd name="connsiteX43" fmla="*/ 33650 w 1494864"/>
                  <a:gd name="connsiteY43" fmla="*/ 873484 h 941139"/>
                  <a:gd name="connsiteX44" fmla="*/ 33650 w 1494864"/>
                  <a:gd name="connsiteY44" fmla="*/ 867167 h 941139"/>
                  <a:gd name="connsiteX45" fmla="*/ 35184 w 1494864"/>
                  <a:gd name="connsiteY45" fmla="*/ 867167 h 941139"/>
                  <a:gd name="connsiteX46" fmla="*/ 35184 w 1494864"/>
                  <a:gd name="connsiteY46" fmla="*/ 865599 h 941139"/>
                  <a:gd name="connsiteX47" fmla="*/ 36719 w 1494864"/>
                  <a:gd name="connsiteY47" fmla="*/ 865599 h 941139"/>
                  <a:gd name="connsiteX48" fmla="*/ 36719 w 1494864"/>
                  <a:gd name="connsiteY48" fmla="*/ 863230 h 941139"/>
                  <a:gd name="connsiteX49" fmla="*/ 38242 w 1494864"/>
                  <a:gd name="connsiteY49" fmla="*/ 863230 h 941139"/>
                  <a:gd name="connsiteX50" fmla="*/ 38242 w 1494864"/>
                  <a:gd name="connsiteY50" fmla="*/ 861661 h 941139"/>
                  <a:gd name="connsiteX51" fmla="*/ 39788 w 1494864"/>
                  <a:gd name="connsiteY51" fmla="*/ 861661 h 941139"/>
                  <a:gd name="connsiteX52" fmla="*/ 39788 w 1494864"/>
                  <a:gd name="connsiteY52" fmla="*/ 860861 h 941139"/>
                  <a:gd name="connsiteX53" fmla="*/ 41311 w 1494864"/>
                  <a:gd name="connsiteY53" fmla="*/ 860861 h 941139"/>
                  <a:gd name="connsiteX54" fmla="*/ 42846 w 1494864"/>
                  <a:gd name="connsiteY54" fmla="*/ 860861 h 941139"/>
                  <a:gd name="connsiteX55" fmla="*/ 42846 w 1494864"/>
                  <a:gd name="connsiteY55" fmla="*/ 857691 h 941139"/>
                  <a:gd name="connsiteX56" fmla="*/ 44381 w 1494864"/>
                  <a:gd name="connsiteY56" fmla="*/ 857691 h 941139"/>
                  <a:gd name="connsiteX57" fmla="*/ 44381 w 1494864"/>
                  <a:gd name="connsiteY57" fmla="*/ 855366 h 941139"/>
                  <a:gd name="connsiteX58" fmla="*/ 45915 w 1494864"/>
                  <a:gd name="connsiteY58" fmla="*/ 855366 h 941139"/>
                  <a:gd name="connsiteX59" fmla="*/ 45915 w 1494864"/>
                  <a:gd name="connsiteY59" fmla="*/ 853754 h 941139"/>
                  <a:gd name="connsiteX60" fmla="*/ 47450 w 1494864"/>
                  <a:gd name="connsiteY60" fmla="*/ 853754 h 941139"/>
                  <a:gd name="connsiteX61" fmla="*/ 47450 w 1494864"/>
                  <a:gd name="connsiteY61" fmla="*/ 849016 h 941139"/>
                  <a:gd name="connsiteX62" fmla="*/ 48984 w 1494864"/>
                  <a:gd name="connsiteY62" fmla="*/ 849016 h 941139"/>
                  <a:gd name="connsiteX63" fmla="*/ 48984 w 1494864"/>
                  <a:gd name="connsiteY63" fmla="*/ 845079 h 941139"/>
                  <a:gd name="connsiteX64" fmla="*/ 50474 w 1494864"/>
                  <a:gd name="connsiteY64" fmla="*/ 845079 h 941139"/>
                  <a:gd name="connsiteX65" fmla="*/ 50474 w 1494864"/>
                  <a:gd name="connsiteY65" fmla="*/ 841108 h 941139"/>
                  <a:gd name="connsiteX66" fmla="*/ 52009 w 1494864"/>
                  <a:gd name="connsiteY66" fmla="*/ 841108 h 941139"/>
                  <a:gd name="connsiteX67" fmla="*/ 52009 w 1494864"/>
                  <a:gd name="connsiteY67" fmla="*/ 837171 h 941139"/>
                  <a:gd name="connsiteX68" fmla="*/ 53544 w 1494864"/>
                  <a:gd name="connsiteY68" fmla="*/ 837171 h 941139"/>
                  <a:gd name="connsiteX69" fmla="*/ 53544 w 1494864"/>
                  <a:gd name="connsiteY69" fmla="*/ 834802 h 941139"/>
                  <a:gd name="connsiteX70" fmla="*/ 55078 w 1494864"/>
                  <a:gd name="connsiteY70" fmla="*/ 834802 h 941139"/>
                  <a:gd name="connsiteX71" fmla="*/ 55078 w 1494864"/>
                  <a:gd name="connsiteY71" fmla="*/ 831632 h 941139"/>
                  <a:gd name="connsiteX72" fmla="*/ 56613 w 1494864"/>
                  <a:gd name="connsiteY72" fmla="*/ 831632 h 941139"/>
                  <a:gd name="connsiteX73" fmla="*/ 56613 w 1494864"/>
                  <a:gd name="connsiteY73" fmla="*/ 827695 h 941139"/>
                  <a:gd name="connsiteX74" fmla="*/ 58147 w 1494864"/>
                  <a:gd name="connsiteY74" fmla="*/ 827695 h 941139"/>
                  <a:gd name="connsiteX75" fmla="*/ 58147 w 1494864"/>
                  <a:gd name="connsiteY75" fmla="*/ 826894 h 941139"/>
                  <a:gd name="connsiteX76" fmla="*/ 59671 w 1494864"/>
                  <a:gd name="connsiteY76" fmla="*/ 826894 h 941139"/>
                  <a:gd name="connsiteX77" fmla="*/ 59671 w 1494864"/>
                  <a:gd name="connsiteY77" fmla="*/ 826127 h 941139"/>
                  <a:gd name="connsiteX78" fmla="*/ 61205 w 1494864"/>
                  <a:gd name="connsiteY78" fmla="*/ 826127 h 941139"/>
                  <a:gd name="connsiteX79" fmla="*/ 61205 w 1494864"/>
                  <a:gd name="connsiteY79" fmla="*/ 822957 h 941139"/>
                  <a:gd name="connsiteX80" fmla="*/ 62740 w 1494864"/>
                  <a:gd name="connsiteY80" fmla="*/ 822957 h 941139"/>
                  <a:gd name="connsiteX81" fmla="*/ 62740 w 1494864"/>
                  <a:gd name="connsiteY81" fmla="*/ 820588 h 941139"/>
                  <a:gd name="connsiteX82" fmla="*/ 64275 w 1494864"/>
                  <a:gd name="connsiteY82" fmla="*/ 820588 h 941139"/>
                  <a:gd name="connsiteX83" fmla="*/ 64275 w 1494864"/>
                  <a:gd name="connsiteY83" fmla="*/ 815049 h 941139"/>
                  <a:gd name="connsiteX84" fmla="*/ 65798 w 1494864"/>
                  <a:gd name="connsiteY84" fmla="*/ 815049 h 941139"/>
                  <a:gd name="connsiteX85" fmla="*/ 65798 w 1494864"/>
                  <a:gd name="connsiteY85" fmla="*/ 811112 h 941139"/>
                  <a:gd name="connsiteX86" fmla="*/ 67299 w 1494864"/>
                  <a:gd name="connsiteY86" fmla="*/ 811112 h 941139"/>
                  <a:gd name="connsiteX87" fmla="*/ 67299 w 1494864"/>
                  <a:gd name="connsiteY87" fmla="*/ 807942 h 941139"/>
                  <a:gd name="connsiteX88" fmla="*/ 68834 w 1494864"/>
                  <a:gd name="connsiteY88" fmla="*/ 807942 h 941139"/>
                  <a:gd name="connsiteX89" fmla="*/ 68834 w 1494864"/>
                  <a:gd name="connsiteY89" fmla="*/ 803972 h 941139"/>
                  <a:gd name="connsiteX90" fmla="*/ 70368 w 1494864"/>
                  <a:gd name="connsiteY90" fmla="*/ 803972 h 941139"/>
                  <a:gd name="connsiteX91" fmla="*/ 70368 w 1494864"/>
                  <a:gd name="connsiteY91" fmla="*/ 801603 h 941139"/>
                  <a:gd name="connsiteX92" fmla="*/ 71903 w 1494864"/>
                  <a:gd name="connsiteY92" fmla="*/ 801603 h 941139"/>
                  <a:gd name="connsiteX93" fmla="*/ 71903 w 1494864"/>
                  <a:gd name="connsiteY93" fmla="*/ 798467 h 941139"/>
                  <a:gd name="connsiteX94" fmla="*/ 73438 w 1494864"/>
                  <a:gd name="connsiteY94" fmla="*/ 798467 h 941139"/>
                  <a:gd name="connsiteX95" fmla="*/ 73438 w 1494864"/>
                  <a:gd name="connsiteY95" fmla="*/ 796865 h 941139"/>
                  <a:gd name="connsiteX96" fmla="*/ 74972 w 1494864"/>
                  <a:gd name="connsiteY96" fmla="*/ 796865 h 941139"/>
                  <a:gd name="connsiteX97" fmla="*/ 74972 w 1494864"/>
                  <a:gd name="connsiteY97" fmla="*/ 796086 h 941139"/>
                  <a:gd name="connsiteX98" fmla="*/ 76496 w 1494864"/>
                  <a:gd name="connsiteY98" fmla="*/ 796086 h 941139"/>
                  <a:gd name="connsiteX99" fmla="*/ 76496 w 1494864"/>
                  <a:gd name="connsiteY99" fmla="*/ 790548 h 941139"/>
                  <a:gd name="connsiteX100" fmla="*/ 78030 w 1494864"/>
                  <a:gd name="connsiteY100" fmla="*/ 790548 h 941139"/>
                  <a:gd name="connsiteX101" fmla="*/ 78030 w 1494864"/>
                  <a:gd name="connsiteY101" fmla="*/ 788190 h 941139"/>
                  <a:gd name="connsiteX102" fmla="*/ 79565 w 1494864"/>
                  <a:gd name="connsiteY102" fmla="*/ 788190 h 941139"/>
                  <a:gd name="connsiteX103" fmla="*/ 79565 w 1494864"/>
                  <a:gd name="connsiteY103" fmla="*/ 787378 h 941139"/>
                  <a:gd name="connsiteX104" fmla="*/ 81099 w 1494864"/>
                  <a:gd name="connsiteY104" fmla="*/ 787378 h 941139"/>
                  <a:gd name="connsiteX105" fmla="*/ 81099 w 1494864"/>
                  <a:gd name="connsiteY105" fmla="*/ 782651 h 941139"/>
                  <a:gd name="connsiteX106" fmla="*/ 82634 w 1494864"/>
                  <a:gd name="connsiteY106" fmla="*/ 782651 h 941139"/>
                  <a:gd name="connsiteX107" fmla="*/ 82634 w 1494864"/>
                  <a:gd name="connsiteY107" fmla="*/ 781038 h 941139"/>
                  <a:gd name="connsiteX108" fmla="*/ 84157 w 1494864"/>
                  <a:gd name="connsiteY108" fmla="*/ 781038 h 941139"/>
                  <a:gd name="connsiteX109" fmla="*/ 84157 w 1494864"/>
                  <a:gd name="connsiteY109" fmla="*/ 779470 h 941139"/>
                  <a:gd name="connsiteX110" fmla="*/ 85659 w 1494864"/>
                  <a:gd name="connsiteY110" fmla="*/ 779470 h 941139"/>
                  <a:gd name="connsiteX111" fmla="*/ 85659 w 1494864"/>
                  <a:gd name="connsiteY111" fmla="*/ 777101 h 941139"/>
                  <a:gd name="connsiteX112" fmla="*/ 87193 w 1494864"/>
                  <a:gd name="connsiteY112" fmla="*/ 777101 h 941139"/>
                  <a:gd name="connsiteX113" fmla="*/ 87193 w 1494864"/>
                  <a:gd name="connsiteY113" fmla="*/ 772363 h 941139"/>
                  <a:gd name="connsiteX114" fmla="*/ 88728 w 1494864"/>
                  <a:gd name="connsiteY114" fmla="*/ 772363 h 941139"/>
                  <a:gd name="connsiteX115" fmla="*/ 88728 w 1494864"/>
                  <a:gd name="connsiteY115" fmla="*/ 768393 h 941139"/>
                  <a:gd name="connsiteX116" fmla="*/ 90262 w 1494864"/>
                  <a:gd name="connsiteY116" fmla="*/ 768393 h 941139"/>
                  <a:gd name="connsiteX117" fmla="*/ 90262 w 1494864"/>
                  <a:gd name="connsiteY117" fmla="*/ 764456 h 941139"/>
                  <a:gd name="connsiteX118" fmla="*/ 91786 w 1494864"/>
                  <a:gd name="connsiteY118" fmla="*/ 764456 h 941139"/>
                  <a:gd name="connsiteX119" fmla="*/ 91786 w 1494864"/>
                  <a:gd name="connsiteY119" fmla="*/ 762854 h 941139"/>
                  <a:gd name="connsiteX120" fmla="*/ 93332 w 1494864"/>
                  <a:gd name="connsiteY120" fmla="*/ 762854 h 941139"/>
                  <a:gd name="connsiteX121" fmla="*/ 93332 w 1494864"/>
                  <a:gd name="connsiteY121" fmla="*/ 760485 h 941139"/>
                  <a:gd name="connsiteX122" fmla="*/ 94855 w 1494864"/>
                  <a:gd name="connsiteY122" fmla="*/ 760485 h 941139"/>
                  <a:gd name="connsiteX123" fmla="*/ 94855 w 1494864"/>
                  <a:gd name="connsiteY123" fmla="*/ 758116 h 941139"/>
                  <a:gd name="connsiteX124" fmla="*/ 96390 w 1494864"/>
                  <a:gd name="connsiteY124" fmla="*/ 758116 h 941139"/>
                  <a:gd name="connsiteX125" fmla="*/ 96390 w 1494864"/>
                  <a:gd name="connsiteY125" fmla="*/ 755747 h 941139"/>
                  <a:gd name="connsiteX126" fmla="*/ 97924 w 1494864"/>
                  <a:gd name="connsiteY126" fmla="*/ 755747 h 941139"/>
                  <a:gd name="connsiteX127" fmla="*/ 97924 w 1494864"/>
                  <a:gd name="connsiteY127" fmla="*/ 750208 h 941139"/>
                  <a:gd name="connsiteX128" fmla="*/ 99459 w 1494864"/>
                  <a:gd name="connsiteY128" fmla="*/ 750208 h 941139"/>
                  <a:gd name="connsiteX129" fmla="*/ 99459 w 1494864"/>
                  <a:gd name="connsiteY129" fmla="*/ 745437 h 941139"/>
                  <a:gd name="connsiteX130" fmla="*/ 100993 w 1494864"/>
                  <a:gd name="connsiteY130" fmla="*/ 745437 h 941139"/>
                  <a:gd name="connsiteX131" fmla="*/ 100993 w 1494864"/>
                  <a:gd name="connsiteY131" fmla="*/ 743068 h 941139"/>
                  <a:gd name="connsiteX132" fmla="*/ 102483 w 1494864"/>
                  <a:gd name="connsiteY132" fmla="*/ 743068 h 941139"/>
                  <a:gd name="connsiteX133" fmla="*/ 102483 w 1494864"/>
                  <a:gd name="connsiteY133" fmla="*/ 741500 h 941139"/>
                  <a:gd name="connsiteX134" fmla="*/ 104018 w 1494864"/>
                  <a:gd name="connsiteY134" fmla="*/ 741500 h 941139"/>
                  <a:gd name="connsiteX135" fmla="*/ 104018 w 1494864"/>
                  <a:gd name="connsiteY135" fmla="*/ 735961 h 941139"/>
                  <a:gd name="connsiteX136" fmla="*/ 105553 w 1494864"/>
                  <a:gd name="connsiteY136" fmla="*/ 735961 h 941139"/>
                  <a:gd name="connsiteX137" fmla="*/ 105553 w 1494864"/>
                  <a:gd name="connsiteY137" fmla="*/ 734360 h 941139"/>
                  <a:gd name="connsiteX138" fmla="*/ 107087 w 1494864"/>
                  <a:gd name="connsiteY138" fmla="*/ 734360 h 941139"/>
                  <a:gd name="connsiteX139" fmla="*/ 107087 w 1494864"/>
                  <a:gd name="connsiteY139" fmla="*/ 731991 h 941139"/>
                  <a:gd name="connsiteX140" fmla="*/ 108622 w 1494864"/>
                  <a:gd name="connsiteY140" fmla="*/ 731991 h 941139"/>
                  <a:gd name="connsiteX141" fmla="*/ 108622 w 1494864"/>
                  <a:gd name="connsiteY141" fmla="*/ 727253 h 941139"/>
                  <a:gd name="connsiteX142" fmla="*/ 110145 w 1494864"/>
                  <a:gd name="connsiteY142" fmla="*/ 727253 h 941139"/>
                  <a:gd name="connsiteX143" fmla="*/ 110145 w 1494864"/>
                  <a:gd name="connsiteY143" fmla="*/ 725673 h 941139"/>
                  <a:gd name="connsiteX144" fmla="*/ 111680 w 1494864"/>
                  <a:gd name="connsiteY144" fmla="*/ 725673 h 941139"/>
                  <a:gd name="connsiteX145" fmla="*/ 111680 w 1494864"/>
                  <a:gd name="connsiteY145" fmla="*/ 720135 h 941139"/>
                  <a:gd name="connsiteX146" fmla="*/ 113214 w 1494864"/>
                  <a:gd name="connsiteY146" fmla="*/ 720135 h 941139"/>
                  <a:gd name="connsiteX147" fmla="*/ 113214 w 1494864"/>
                  <a:gd name="connsiteY147" fmla="*/ 716164 h 941139"/>
                  <a:gd name="connsiteX148" fmla="*/ 114749 w 1494864"/>
                  <a:gd name="connsiteY148" fmla="*/ 716164 h 941139"/>
                  <a:gd name="connsiteX149" fmla="*/ 114749 w 1494864"/>
                  <a:gd name="connsiteY149" fmla="*/ 713806 h 941139"/>
                  <a:gd name="connsiteX150" fmla="*/ 116284 w 1494864"/>
                  <a:gd name="connsiteY150" fmla="*/ 713806 h 941139"/>
                  <a:gd name="connsiteX151" fmla="*/ 116284 w 1494864"/>
                  <a:gd name="connsiteY151" fmla="*/ 711426 h 941139"/>
                  <a:gd name="connsiteX152" fmla="*/ 117818 w 1494864"/>
                  <a:gd name="connsiteY152" fmla="*/ 711426 h 941139"/>
                  <a:gd name="connsiteX153" fmla="*/ 117818 w 1494864"/>
                  <a:gd name="connsiteY153" fmla="*/ 710625 h 941139"/>
                  <a:gd name="connsiteX154" fmla="*/ 119342 w 1494864"/>
                  <a:gd name="connsiteY154" fmla="*/ 710625 h 941139"/>
                  <a:gd name="connsiteX155" fmla="*/ 119342 w 1494864"/>
                  <a:gd name="connsiteY155" fmla="*/ 709825 h 941139"/>
                  <a:gd name="connsiteX156" fmla="*/ 120843 w 1494864"/>
                  <a:gd name="connsiteY156" fmla="*/ 709825 h 941139"/>
                  <a:gd name="connsiteX157" fmla="*/ 120843 w 1494864"/>
                  <a:gd name="connsiteY157" fmla="*/ 707456 h 941139"/>
                  <a:gd name="connsiteX158" fmla="*/ 122377 w 1494864"/>
                  <a:gd name="connsiteY158" fmla="*/ 707456 h 941139"/>
                  <a:gd name="connsiteX159" fmla="*/ 122377 w 1494864"/>
                  <a:gd name="connsiteY159" fmla="*/ 705854 h 941139"/>
                  <a:gd name="connsiteX160" fmla="*/ 125447 w 1494864"/>
                  <a:gd name="connsiteY160" fmla="*/ 705854 h 941139"/>
                  <a:gd name="connsiteX161" fmla="*/ 125447 w 1494864"/>
                  <a:gd name="connsiteY161" fmla="*/ 701917 h 941139"/>
                  <a:gd name="connsiteX162" fmla="*/ 126970 w 1494864"/>
                  <a:gd name="connsiteY162" fmla="*/ 701917 h 941139"/>
                  <a:gd name="connsiteX163" fmla="*/ 126970 w 1494864"/>
                  <a:gd name="connsiteY163" fmla="*/ 700315 h 941139"/>
                  <a:gd name="connsiteX164" fmla="*/ 128516 w 1494864"/>
                  <a:gd name="connsiteY164" fmla="*/ 700315 h 941139"/>
                  <a:gd name="connsiteX165" fmla="*/ 128516 w 1494864"/>
                  <a:gd name="connsiteY165" fmla="*/ 697146 h 941139"/>
                  <a:gd name="connsiteX166" fmla="*/ 130039 w 1494864"/>
                  <a:gd name="connsiteY166" fmla="*/ 697146 h 941139"/>
                  <a:gd name="connsiteX167" fmla="*/ 130039 w 1494864"/>
                  <a:gd name="connsiteY167" fmla="*/ 695578 h 941139"/>
                  <a:gd name="connsiteX168" fmla="*/ 131574 w 1494864"/>
                  <a:gd name="connsiteY168" fmla="*/ 695578 h 941139"/>
                  <a:gd name="connsiteX169" fmla="*/ 131574 w 1494864"/>
                  <a:gd name="connsiteY169" fmla="*/ 691607 h 941139"/>
                  <a:gd name="connsiteX170" fmla="*/ 133108 w 1494864"/>
                  <a:gd name="connsiteY170" fmla="*/ 691607 h 941139"/>
                  <a:gd name="connsiteX171" fmla="*/ 133108 w 1494864"/>
                  <a:gd name="connsiteY171" fmla="*/ 690039 h 941139"/>
                  <a:gd name="connsiteX172" fmla="*/ 134643 w 1494864"/>
                  <a:gd name="connsiteY172" fmla="*/ 690039 h 941139"/>
                  <a:gd name="connsiteX173" fmla="*/ 134643 w 1494864"/>
                  <a:gd name="connsiteY173" fmla="*/ 686068 h 941139"/>
                  <a:gd name="connsiteX174" fmla="*/ 136178 w 1494864"/>
                  <a:gd name="connsiteY174" fmla="*/ 686068 h 941139"/>
                  <a:gd name="connsiteX175" fmla="*/ 136178 w 1494864"/>
                  <a:gd name="connsiteY175" fmla="*/ 683699 h 941139"/>
                  <a:gd name="connsiteX176" fmla="*/ 137701 w 1494864"/>
                  <a:gd name="connsiteY176" fmla="*/ 683699 h 941139"/>
                  <a:gd name="connsiteX177" fmla="*/ 137701 w 1494864"/>
                  <a:gd name="connsiteY177" fmla="*/ 681297 h 941139"/>
                  <a:gd name="connsiteX178" fmla="*/ 139202 w 1494864"/>
                  <a:gd name="connsiteY178" fmla="*/ 681297 h 941139"/>
                  <a:gd name="connsiteX179" fmla="*/ 139202 w 1494864"/>
                  <a:gd name="connsiteY179" fmla="*/ 680529 h 941139"/>
                  <a:gd name="connsiteX180" fmla="*/ 140737 w 1494864"/>
                  <a:gd name="connsiteY180" fmla="*/ 680529 h 941139"/>
                  <a:gd name="connsiteX181" fmla="*/ 140737 w 1494864"/>
                  <a:gd name="connsiteY181" fmla="*/ 679729 h 941139"/>
                  <a:gd name="connsiteX182" fmla="*/ 142271 w 1494864"/>
                  <a:gd name="connsiteY182" fmla="*/ 679729 h 941139"/>
                  <a:gd name="connsiteX183" fmla="*/ 142271 w 1494864"/>
                  <a:gd name="connsiteY183" fmla="*/ 675758 h 941139"/>
                  <a:gd name="connsiteX184" fmla="*/ 143806 w 1494864"/>
                  <a:gd name="connsiteY184" fmla="*/ 675758 h 941139"/>
                  <a:gd name="connsiteX185" fmla="*/ 143806 w 1494864"/>
                  <a:gd name="connsiteY185" fmla="*/ 673378 h 941139"/>
                  <a:gd name="connsiteX186" fmla="*/ 146875 w 1494864"/>
                  <a:gd name="connsiteY186" fmla="*/ 673378 h 941139"/>
                  <a:gd name="connsiteX187" fmla="*/ 148399 w 1494864"/>
                  <a:gd name="connsiteY187" fmla="*/ 673378 h 941139"/>
                  <a:gd name="connsiteX188" fmla="*/ 148399 w 1494864"/>
                  <a:gd name="connsiteY188" fmla="*/ 668607 h 941139"/>
                  <a:gd name="connsiteX189" fmla="*/ 149933 w 1494864"/>
                  <a:gd name="connsiteY189" fmla="*/ 668607 h 941139"/>
                  <a:gd name="connsiteX190" fmla="*/ 149933 w 1494864"/>
                  <a:gd name="connsiteY190" fmla="*/ 666238 h 941139"/>
                  <a:gd name="connsiteX191" fmla="*/ 151468 w 1494864"/>
                  <a:gd name="connsiteY191" fmla="*/ 666238 h 941139"/>
                  <a:gd name="connsiteX192" fmla="*/ 151468 w 1494864"/>
                  <a:gd name="connsiteY192" fmla="*/ 664636 h 941139"/>
                  <a:gd name="connsiteX193" fmla="*/ 154526 w 1494864"/>
                  <a:gd name="connsiteY193" fmla="*/ 664636 h 941139"/>
                  <a:gd name="connsiteX194" fmla="*/ 154526 w 1494864"/>
                  <a:gd name="connsiteY194" fmla="*/ 663068 h 941139"/>
                  <a:gd name="connsiteX195" fmla="*/ 156027 w 1494864"/>
                  <a:gd name="connsiteY195" fmla="*/ 663068 h 941139"/>
                  <a:gd name="connsiteX196" fmla="*/ 156027 w 1494864"/>
                  <a:gd name="connsiteY196" fmla="*/ 661466 h 941139"/>
                  <a:gd name="connsiteX197" fmla="*/ 157562 w 1494864"/>
                  <a:gd name="connsiteY197" fmla="*/ 661466 h 941139"/>
                  <a:gd name="connsiteX198" fmla="*/ 157562 w 1494864"/>
                  <a:gd name="connsiteY198" fmla="*/ 659898 h 941139"/>
                  <a:gd name="connsiteX199" fmla="*/ 159096 w 1494864"/>
                  <a:gd name="connsiteY199" fmla="*/ 659898 h 941139"/>
                  <a:gd name="connsiteX200" fmla="*/ 159096 w 1494864"/>
                  <a:gd name="connsiteY200" fmla="*/ 657496 h 941139"/>
                  <a:gd name="connsiteX201" fmla="*/ 160631 w 1494864"/>
                  <a:gd name="connsiteY201" fmla="*/ 657496 h 941139"/>
                  <a:gd name="connsiteX202" fmla="*/ 160631 w 1494864"/>
                  <a:gd name="connsiteY202" fmla="*/ 655928 h 941139"/>
                  <a:gd name="connsiteX203" fmla="*/ 162165 w 1494864"/>
                  <a:gd name="connsiteY203" fmla="*/ 655928 h 941139"/>
                  <a:gd name="connsiteX204" fmla="*/ 162165 w 1494864"/>
                  <a:gd name="connsiteY204" fmla="*/ 651156 h 941139"/>
                  <a:gd name="connsiteX205" fmla="*/ 163689 w 1494864"/>
                  <a:gd name="connsiteY205" fmla="*/ 651156 h 941139"/>
                  <a:gd name="connsiteX206" fmla="*/ 163689 w 1494864"/>
                  <a:gd name="connsiteY206" fmla="*/ 650356 h 941139"/>
                  <a:gd name="connsiteX207" fmla="*/ 165223 w 1494864"/>
                  <a:gd name="connsiteY207" fmla="*/ 650356 h 941139"/>
                  <a:gd name="connsiteX208" fmla="*/ 165223 w 1494864"/>
                  <a:gd name="connsiteY208" fmla="*/ 646385 h 941139"/>
                  <a:gd name="connsiteX209" fmla="*/ 166758 w 1494864"/>
                  <a:gd name="connsiteY209" fmla="*/ 646385 h 941139"/>
                  <a:gd name="connsiteX210" fmla="*/ 166758 w 1494864"/>
                  <a:gd name="connsiteY210" fmla="*/ 645584 h 941139"/>
                  <a:gd name="connsiteX211" fmla="*/ 168293 w 1494864"/>
                  <a:gd name="connsiteY211" fmla="*/ 645584 h 941139"/>
                  <a:gd name="connsiteX212" fmla="*/ 168293 w 1494864"/>
                  <a:gd name="connsiteY212" fmla="*/ 644016 h 941139"/>
                  <a:gd name="connsiteX213" fmla="*/ 169827 w 1494864"/>
                  <a:gd name="connsiteY213" fmla="*/ 644016 h 941139"/>
                  <a:gd name="connsiteX214" fmla="*/ 169827 w 1494864"/>
                  <a:gd name="connsiteY214" fmla="*/ 642415 h 941139"/>
                  <a:gd name="connsiteX215" fmla="*/ 171362 w 1494864"/>
                  <a:gd name="connsiteY215" fmla="*/ 642415 h 941139"/>
                  <a:gd name="connsiteX216" fmla="*/ 171362 w 1494864"/>
                  <a:gd name="connsiteY216" fmla="*/ 641603 h 941139"/>
                  <a:gd name="connsiteX217" fmla="*/ 172885 w 1494864"/>
                  <a:gd name="connsiteY217" fmla="*/ 641603 h 941139"/>
                  <a:gd name="connsiteX218" fmla="*/ 172885 w 1494864"/>
                  <a:gd name="connsiteY218" fmla="*/ 640034 h 941139"/>
                  <a:gd name="connsiteX219" fmla="*/ 174386 w 1494864"/>
                  <a:gd name="connsiteY219" fmla="*/ 640034 h 941139"/>
                  <a:gd name="connsiteX220" fmla="*/ 174386 w 1494864"/>
                  <a:gd name="connsiteY220" fmla="*/ 637632 h 941139"/>
                  <a:gd name="connsiteX221" fmla="*/ 175921 w 1494864"/>
                  <a:gd name="connsiteY221" fmla="*/ 637632 h 941139"/>
                  <a:gd name="connsiteX222" fmla="*/ 175921 w 1494864"/>
                  <a:gd name="connsiteY222" fmla="*/ 636876 h 941139"/>
                  <a:gd name="connsiteX223" fmla="*/ 177456 w 1494864"/>
                  <a:gd name="connsiteY223" fmla="*/ 636876 h 941139"/>
                  <a:gd name="connsiteX224" fmla="*/ 177456 w 1494864"/>
                  <a:gd name="connsiteY224" fmla="*/ 632093 h 941139"/>
                  <a:gd name="connsiteX225" fmla="*/ 178990 w 1494864"/>
                  <a:gd name="connsiteY225" fmla="*/ 632093 h 941139"/>
                  <a:gd name="connsiteX226" fmla="*/ 182059 w 1494864"/>
                  <a:gd name="connsiteY226" fmla="*/ 632093 h 941139"/>
                  <a:gd name="connsiteX227" fmla="*/ 182059 w 1494864"/>
                  <a:gd name="connsiteY227" fmla="*/ 628924 h 941139"/>
                  <a:gd name="connsiteX228" fmla="*/ 183583 w 1494864"/>
                  <a:gd name="connsiteY228" fmla="*/ 628924 h 941139"/>
                  <a:gd name="connsiteX229" fmla="*/ 183583 w 1494864"/>
                  <a:gd name="connsiteY229" fmla="*/ 627322 h 941139"/>
                  <a:gd name="connsiteX230" fmla="*/ 185117 w 1494864"/>
                  <a:gd name="connsiteY230" fmla="*/ 627322 h 941139"/>
                  <a:gd name="connsiteX231" fmla="*/ 185117 w 1494864"/>
                  <a:gd name="connsiteY231" fmla="*/ 623352 h 941139"/>
                  <a:gd name="connsiteX232" fmla="*/ 186652 w 1494864"/>
                  <a:gd name="connsiteY232" fmla="*/ 623352 h 941139"/>
                  <a:gd name="connsiteX233" fmla="*/ 186652 w 1494864"/>
                  <a:gd name="connsiteY233" fmla="*/ 622551 h 941139"/>
                  <a:gd name="connsiteX234" fmla="*/ 189721 w 1494864"/>
                  <a:gd name="connsiteY234" fmla="*/ 622551 h 941139"/>
                  <a:gd name="connsiteX235" fmla="*/ 189721 w 1494864"/>
                  <a:gd name="connsiteY235" fmla="*/ 619381 h 941139"/>
                  <a:gd name="connsiteX236" fmla="*/ 191211 w 1494864"/>
                  <a:gd name="connsiteY236" fmla="*/ 619381 h 941139"/>
                  <a:gd name="connsiteX237" fmla="*/ 191211 w 1494864"/>
                  <a:gd name="connsiteY237" fmla="*/ 618580 h 941139"/>
                  <a:gd name="connsiteX238" fmla="*/ 192746 w 1494864"/>
                  <a:gd name="connsiteY238" fmla="*/ 618580 h 941139"/>
                  <a:gd name="connsiteX239" fmla="*/ 192746 w 1494864"/>
                  <a:gd name="connsiteY239" fmla="*/ 616211 h 941139"/>
                  <a:gd name="connsiteX240" fmla="*/ 194280 w 1494864"/>
                  <a:gd name="connsiteY240" fmla="*/ 616211 h 941139"/>
                  <a:gd name="connsiteX241" fmla="*/ 194280 w 1494864"/>
                  <a:gd name="connsiteY241" fmla="*/ 614610 h 941139"/>
                  <a:gd name="connsiteX242" fmla="*/ 195815 w 1494864"/>
                  <a:gd name="connsiteY242" fmla="*/ 614610 h 941139"/>
                  <a:gd name="connsiteX243" fmla="*/ 195815 w 1494864"/>
                  <a:gd name="connsiteY243" fmla="*/ 613798 h 941139"/>
                  <a:gd name="connsiteX244" fmla="*/ 197350 w 1494864"/>
                  <a:gd name="connsiteY244" fmla="*/ 613798 h 941139"/>
                  <a:gd name="connsiteX245" fmla="*/ 197350 w 1494864"/>
                  <a:gd name="connsiteY245" fmla="*/ 612241 h 941139"/>
                  <a:gd name="connsiteX246" fmla="*/ 198873 w 1494864"/>
                  <a:gd name="connsiteY246" fmla="*/ 612241 h 941139"/>
                  <a:gd name="connsiteX247" fmla="*/ 198873 w 1494864"/>
                  <a:gd name="connsiteY247" fmla="*/ 609827 h 941139"/>
                  <a:gd name="connsiteX248" fmla="*/ 200408 w 1494864"/>
                  <a:gd name="connsiteY248" fmla="*/ 609827 h 941139"/>
                  <a:gd name="connsiteX249" fmla="*/ 200408 w 1494864"/>
                  <a:gd name="connsiteY249" fmla="*/ 608259 h 941139"/>
                  <a:gd name="connsiteX250" fmla="*/ 201942 w 1494864"/>
                  <a:gd name="connsiteY250" fmla="*/ 608259 h 941139"/>
                  <a:gd name="connsiteX251" fmla="*/ 201942 w 1494864"/>
                  <a:gd name="connsiteY251" fmla="*/ 607469 h 941139"/>
                  <a:gd name="connsiteX252" fmla="*/ 205011 w 1494864"/>
                  <a:gd name="connsiteY252" fmla="*/ 607469 h 941139"/>
                  <a:gd name="connsiteX253" fmla="*/ 205011 w 1494864"/>
                  <a:gd name="connsiteY253" fmla="*/ 605056 h 941139"/>
                  <a:gd name="connsiteX254" fmla="*/ 206546 w 1494864"/>
                  <a:gd name="connsiteY254" fmla="*/ 605056 h 941139"/>
                  <a:gd name="connsiteX255" fmla="*/ 206546 w 1494864"/>
                  <a:gd name="connsiteY255" fmla="*/ 601085 h 941139"/>
                  <a:gd name="connsiteX256" fmla="*/ 208069 w 1494864"/>
                  <a:gd name="connsiteY256" fmla="*/ 601085 h 941139"/>
                  <a:gd name="connsiteX257" fmla="*/ 209571 w 1494864"/>
                  <a:gd name="connsiteY257" fmla="*/ 601085 h 941139"/>
                  <a:gd name="connsiteX258" fmla="*/ 209571 w 1494864"/>
                  <a:gd name="connsiteY258" fmla="*/ 598683 h 941139"/>
                  <a:gd name="connsiteX259" fmla="*/ 211105 w 1494864"/>
                  <a:gd name="connsiteY259" fmla="*/ 598683 h 941139"/>
                  <a:gd name="connsiteX260" fmla="*/ 211105 w 1494864"/>
                  <a:gd name="connsiteY260" fmla="*/ 597115 h 941139"/>
                  <a:gd name="connsiteX261" fmla="*/ 212640 w 1494864"/>
                  <a:gd name="connsiteY261" fmla="*/ 597115 h 941139"/>
                  <a:gd name="connsiteX262" fmla="*/ 212640 w 1494864"/>
                  <a:gd name="connsiteY262" fmla="*/ 596314 h 941139"/>
                  <a:gd name="connsiteX263" fmla="*/ 214174 w 1494864"/>
                  <a:gd name="connsiteY263" fmla="*/ 596314 h 941139"/>
                  <a:gd name="connsiteX264" fmla="*/ 214174 w 1494864"/>
                  <a:gd name="connsiteY264" fmla="*/ 595513 h 941139"/>
                  <a:gd name="connsiteX265" fmla="*/ 215698 w 1494864"/>
                  <a:gd name="connsiteY265" fmla="*/ 595513 h 941139"/>
                  <a:gd name="connsiteX266" fmla="*/ 215698 w 1494864"/>
                  <a:gd name="connsiteY266" fmla="*/ 593912 h 941139"/>
                  <a:gd name="connsiteX267" fmla="*/ 217232 w 1494864"/>
                  <a:gd name="connsiteY267" fmla="*/ 593912 h 941139"/>
                  <a:gd name="connsiteX268" fmla="*/ 217232 w 1494864"/>
                  <a:gd name="connsiteY268" fmla="*/ 591543 h 941139"/>
                  <a:gd name="connsiteX269" fmla="*/ 218767 w 1494864"/>
                  <a:gd name="connsiteY269" fmla="*/ 591543 h 941139"/>
                  <a:gd name="connsiteX270" fmla="*/ 218767 w 1494864"/>
                  <a:gd name="connsiteY270" fmla="*/ 590742 h 941139"/>
                  <a:gd name="connsiteX271" fmla="*/ 221836 w 1494864"/>
                  <a:gd name="connsiteY271" fmla="*/ 590742 h 941139"/>
                  <a:gd name="connsiteX272" fmla="*/ 223371 w 1494864"/>
                  <a:gd name="connsiteY272" fmla="*/ 590742 h 941139"/>
                  <a:gd name="connsiteX273" fmla="*/ 223371 w 1494864"/>
                  <a:gd name="connsiteY273" fmla="*/ 589941 h 941139"/>
                  <a:gd name="connsiteX274" fmla="*/ 224905 w 1494864"/>
                  <a:gd name="connsiteY274" fmla="*/ 589941 h 941139"/>
                  <a:gd name="connsiteX275" fmla="*/ 224905 w 1494864"/>
                  <a:gd name="connsiteY275" fmla="*/ 589141 h 941139"/>
                  <a:gd name="connsiteX276" fmla="*/ 226395 w 1494864"/>
                  <a:gd name="connsiteY276" fmla="*/ 589141 h 941139"/>
                  <a:gd name="connsiteX277" fmla="*/ 226395 w 1494864"/>
                  <a:gd name="connsiteY277" fmla="*/ 586727 h 941139"/>
                  <a:gd name="connsiteX278" fmla="*/ 227930 w 1494864"/>
                  <a:gd name="connsiteY278" fmla="*/ 586727 h 941139"/>
                  <a:gd name="connsiteX279" fmla="*/ 229465 w 1494864"/>
                  <a:gd name="connsiteY279" fmla="*/ 586727 h 941139"/>
                  <a:gd name="connsiteX280" fmla="*/ 229465 w 1494864"/>
                  <a:gd name="connsiteY280" fmla="*/ 584358 h 941139"/>
                  <a:gd name="connsiteX281" fmla="*/ 230999 w 1494864"/>
                  <a:gd name="connsiteY281" fmla="*/ 584358 h 941139"/>
                  <a:gd name="connsiteX282" fmla="*/ 230999 w 1494864"/>
                  <a:gd name="connsiteY282" fmla="*/ 582756 h 941139"/>
                  <a:gd name="connsiteX283" fmla="*/ 234057 w 1494864"/>
                  <a:gd name="connsiteY283" fmla="*/ 582756 h 941139"/>
                  <a:gd name="connsiteX284" fmla="*/ 234057 w 1494864"/>
                  <a:gd name="connsiteY284" fmla="*/ 581967 h 941139"/>
                  <a:gd name="connsiteX285" fmla="*/ 235592 w 1494864"/>
                  <a:gd name="connsiteY285" fmla="*/ 581967 h 941139"/>
                  <a:gd name="connsiteX286" fmla="*/ 235592 w 1494864"/>
                  <a:gd name="connsiteY286" fmla="*/ 578753 h 941139"/>
                  <a:gd name="connsiteX287" fmla="*/ 237126 w 1494864"/>
                  <a:gd name="connsiteY287" fmla="*/ 578753 h 941139"/>
                  <a:gd name="connsiteX288" fmla="*/ 237126 w 1494864"/>
                  <a:gd name="connsiteY288" fmla="*/ 577184 h 941139"/>
                  <a:gd name="connsiteX289" fmla="*/ 238661 w 1494864"/>
                  <a:gd name="connsiteY289" fmla="*/ 577184 h 941139"/>
                  <a:gd name="connsiteX290" fmla="*/ 238661 w 1494864"/>
                  <a:gd name="connsiteY290" fmla="*/ 575583 h 941139"/>
                  <a:gd name="connsiteX291" fmla="*/ 241730 w 1494864"/>
                  <a:gd name="connsiteY291" fmla="*/ 575583 h 941139"/>
                  <a:gd name="connsiteX292" fmla="*/ 241730 w 1494864"/>
                  <a:gd name="connsiteY292" fmla="*/ 574782 h 941139"/>
                  <a:gd name="connsiteX293" fmla="*/ 243254 w 1494864"/>
                  <a:gd name="connsiteY293" fmla="*/ 574782 h 941139"/>
                  <a:gd name="connsiteX294" fmla="*/ 243254 w 1494864"/>
                  <a:gd name="connsiteY294" fmla="*/ 573981 h 941139"/>
                  <a:gd name="connsiteX295" fmla="*/ 244755 w 1494864"/>
                  <a:gd name="connsiteY295" fmla="*/ 573981 h 941139"/>
                  <a:gd name="connsiteX296" fmla="*/ 244755 w 1494864"/>
                  <a:gd name="connsiteY296" fmla="*/ 569977 h 941139"/>
                  <a:gd name="connsiteX297" fmla="*/ 246289 w 1494864"/>
                  <a:gd name="connsiteY297" fmla="*/ 569977 h 941139"/>
                  <a:gd name="connsiteX298" fmla="*/ 246289 w 1494864"/>
                  <a:gd name="connsiteY298" fmla="*/ 569210 h 941139"/>
                  <a:gd name="connsiteX299" fmla="*/ 247824 w 1494864"/>
                  <a:gd name="connsiteY299" fmla="*/ 569210 h 941139"/>
                  <a:gd name="connsiteX300" fmla="*/ 247824 w 1494864"/>
                  <a:gd name="connsiteY300" fmla="*/ 568409 h 941139"/>
                  <a:gd name="connsiteX301" fmla="*/ 249359 w 1494864"/>
                  <a:gd name="connsiteY301" fmla="*/ 568409 h 941139"/>
                  <a:gd name="connsiteX302" fmla="*/ 249359 w 1494864"/>
                  <a:gd name="connsiteY302" fmla="*/ 566808 h 941139"/>
                  <a:gd name="connsiteX303" fmla="*/ 250893 w 1494864"/>
                  <a:gd name="connsiteY303" fmla="*/ 566808 h 941139"/>
                  <a:gd name="connsiteX304" fmla="*/ 250893 w 1494864"/>
                  <a:gd name="connsiteY304" fmla="*/ 566007 h 941139"/>
                  <a:gd name="connsiteX305" fmla="*/ 252417 w 1494864"/>
                  <a:gd name="connsiteY305" fmla="*/ 566007 h 941139"/>
                  <a:gd name="connsiteX306" fmla="*/ 252417 w 1494864"/>
                  <a:gd name="connsiteY306" fmla="*/ 565206 h 941139"/>
                  <a:gd name="connsiteX307" fmla="*/ 253951 w 1494864"/>
                  <a:gd name="connsiteY307" fmla="*/ 565206 h 941139"/>
                  <a:gd name="connsiteX308" fmla="*/ 255486 w 1494864"/>
                  <a:gd name="connsiteY308" fmla="*/ 565206 h 941139"/>
                  <a:gd name="connsiteX309" fmla="*/ 255486 w 1494864"/>
                  <a:gd name="connsiteY309" fmla="*/ 563593 h 941139"/>
                  <a:gd name="connsiteX310" fmla="*/ 257020 w 1494864"/>
                  <a:gd name="connsiteY310" fmla="*/ 563593 h 941139"/>
                  <a:gd name="connsiteX311" fmla="*/ 257020 w 1494864"/>
                  <a:gd name="connsiteY311" fmla="*/ 559623 h 941139"/>
                  <a:gd name="connsiteX312" fmla="*/ 260089 w 1494864"/>
                  <a:gd name="connsiteY312" fmla="*/ 559623 h 941139"/>
                  <a:gd name="connsiteX313" fmla="*/ 260089 w 1494864"/>
                  <a:gd name="connsiteY313" fmla="*/ 558822 h 941139"/>
                  <a:gd name="connsiteX314" fmla="*/ 261580 w 1494864"/>
                  <a:gd name="connsiteY314" fmla="*/ 558822 h 941139"/>
                  <a:gd name="connsiteX315" fmla="*/ 261580 w 1494864"/>
                  <a:gd name="connsiteY315" fmla="*/ 556420 h 941139"/>
                  <a:gd name="connsiteX316" fmla="*/ 263114 w 1494864"/>
                  <a:gd name="connsiteY316" fmla="*/ 556420 h 941139"/>
                  <a:gd name="connsiteX317" fmla="*/ 263114 w 1494864"/>
                  <a:gd name="connsiteY317" fmla="*/ 553217 h 941139"/>
                  <a:gd name="connsiteX318" fmla="*/ 264649 w 1494864"/>
                  <a:gd name="connsiteY318" fmla="*/ 553217 h 941139"/>
                  <a:gd name="connsiteX319" fmla="*/ 264649 w 1494864"/>
                  <a:gd name="connsiteY319" fmla="*/ 551615 h 941139"/>
                  <a:gd name="connsiteX320" fmla="*/ 266183 w 1494864"/>
                  <a:gd name="connsiteY320" fmla="*/ 551615 h 941139"/>
                  <a:gd name="connsiteX321" fmla="*/ 266183 w 1494864"/>
                  <a:gd name="connsiteY321" fmla="*/ 550814 h 941139"/>
                  <a:gd name="connsiteX322" fmla="*/ 267718 w 1494864"/>
                  <a:gd name="connsiteY322" fmla="*/ 550814 h 941139"/>
                  <a:gd name="connsiteX323" fmla="*/ 267718 w 1494864"/>
                  <a:gd name="connsiteY323" fmla="*/ 550013 h 941139"/>
                  <a:gd name="connsiteX324" fmla="*/ 269241 w 1494864"/>
                  <a:gd name="connsiteY324" fmla="*/ 550013 h 941139"/>
                  <a:gd name="connsiteX325" fmla="*/ 269241 w 1494864"/>
                  <a:gd name="connsiteY325" fmla="*/ 549213 h 941139"/>
                  <a:gd name="connsiteX326" fmla="*/ 270776 w 1494864"/>
                  <a:gd name="connsiteY326" fmla="*/ 549213 h 941139"/>
                  <a:gd name="connsiteX327" fmla="*/ 270776 w 1494864"/>
                  <a:gd name="connsiteY327" fmla="*/ 548401 h 941139"/>
                  <a:gd name="connsiteX328" fmla="*/ 272311 w 1494864"/>
                  <a:gd name="connsiteY328" fmla="*/ 548401 h 941139"/>
                  <a:gd name="connsiteX329" fmla="*/ 272311 w 1494864"/>
                  <a:gd name="connsiteY329" fmla="*/ 545998 h 941139"/>
                  <a:gd name="connsiteX330" fmla="*/ 273845 w 1494864"/>
                  <a:gd name="connsiteY330" fmla="*/ 545998 h 941139"/>
                  <a:gd name="connsiteX331" fmla="*/ 273845 w 1494864"/>
                  <a:gd name="connsiteY331" fmla="*/ 543596 h 941139"/>
                  <a:gd name="connsiteX332" fmla="*/ 275380 w 1494864"/>
                  <a:gd name="connsiteY332" fmla="*/ 543596 h 941139"/>
                  <a:gd name="connsiteX333" fmla="*/ 275380 w 1494864"/>
                  <a:gd name="connsiteY333" fmla="*/ 542028 h 941139"/>
                  <a:gd name="connsiteX334" fmla="*/ 276903 w 1494864"/>
                  <a:gd name="connsiteY334" fmla="*/ 542028 h 941139"/>
                  <a:gd name="connsiteX335" fmla="*/ 276903 w 1494864"/>
                  <a:gd name="connsiteY335" fmla="*/ 541227 h 941139"/>
                  <a:gd name="connsiteX336" fmla="*/ 278449 w 1494864"/>
                  <a:gd name="connsiteY336" fmla="*/ 541227 h 941139"/>
                  <a:gd name="connsiteX337" fmla="*/ 278449 w 1494864"/>
                  <a:gd name="connsiteY337" fmla="*/ 540426 h 941139"/>
                  <a:gd name="connsiteX338" fmla="*/ 279939 w 1494864"/>
                  <a:gd name="connsiteY338" fmla="*/ 540426 h 941139"/>
                  <a:gd name="connsiteX339" fmla="*/ 279939 w 1494864"/>
                  <a:gd name="connsiteY339" fmla="*/ 538024 h 941139"/>
                  <a:gd name="connsiteX340" fmla="*/ 281474 w 1494864"/>
                  <a:gd name="connsiteY340" fmla="*/ 538024 h 941139"/>
                  <a:gd name="connsiteX341" fmla="*/ 281474 w 1494864"/>
                  <a:gd name="connsiteY341" fmla="*/ 536422 h 941139"/>
                  <a:gd name="connsiteX342" fmla="*/ 283008 w 1494864"/>
                  <a:gd name="connsiteY342" fmla="*/ 536422 h 941139"/>
                  <a:gd name="connsiteX343" fmla="*/ 283008 w 1494864"/>
                  <a:gd name="connsiteY343" fmla="*/ 534821 h 941139"/>
                  <a:gd name="connsiteX344" fmla="*/ 284532 w 1494864"/>
                  <a:gd name="connsiteY344" fmla="*/ 534821 h 941139"/>
                  <a:gd name="connsiteX345" fmla="*/ 284532 w 1494864"/>
                  <a:gd name="connsiteY345" fmla="*/ 534020 h 941139"/>
                  <a:gd name="connsiteX346" fmla="*/ 286077 w 1494864"/>
                  <a:gd name="connsiteY346" fmla="*/ 534020 h 941139"/>
                  <a:gd name="connsiteX347" fmla="*/ 286077 w 1494864"/>
                  <a:gd name="connsiteY347" fmla="*/ 533219 h 941139"/>
                  <a:gd name="connsiteX348" fmla="*/ 287601 w 1494864"/>
                  <a:gd name="connsiteY348" fmla="*/ 533219 h 941139"/>
                  <a:gd name="connsiteX349" fmla="*/ 287601 w 1494864"/>
                  <a:gd name="connsiteY349" fmla="*/ 529972 h 941139"/>
                  <a:gd name="connsiteX350" fmla="*/ 289135 w 1494864"/>
                  <a:gd name="connsiteY350" fmla="*/ 529972 h 941139"/>
                  <a:gd name="connsiteX351" fmla="*/ 289135 w 1494864"/>
                  <a:gd name="connsiteY351" fmla="*/ 528370 h 941139"/>
                  <a:gd name="connsiteX352" fmla="*/ 290670 w 1494864"/>
                  <a:gd name="connsiteY352" fmla="*/ 528370 h 941139"/>
                  <a:gd name="connsiteX353" fmla="*/ 290670 w 1494864"/>
                  <a:gd name="connsiteY353" fmla="*/ 524333 h 941139"/>
                  <a:gd name="connsiteX354" fmla="*/ 292205 w 1494864"/>
                  <a:gd name="connsiteY354" fmla="*/ 524333 h 941139"/>
                  <a:gd name="connsiteX355" fmla="*/ 292205 w 1494864"/>
                  <a:gd name="connsiteY355" fmla="*/ 521897 h 941139"/>
                  <a:gd name="connsiteX356" fmla="*/ 293739 w 1494864"/>
                  <a:gd name="connsiteY356" fmla="*/ 521897 h 941139"/>
                  <a:gd name="connsiteX357" fmla="*/ 293739 w 1494864"/>
                  <a:gd name="connsiteY357" fmla="*/ 520251 h 941139"/>
                  <a:gd name="connsiteX358" fmla="*/ 295274 w 1494864"/>
                  <a:gd name="connsiteY358" fmla="*/ 520251 h 941139"/>
                  <a:gd name="connsiteX359" fmla="*/ 295274 w 1494864"/>
                  <a:gd name="connsiteY359" fmla="*/ 519450 h 941139"/>
                  <a:gd name="connsiteX360" fmla="*/ 296797 w 1494864"/>
                  <a:gd name="connsiteY360" fmla="*/ 519450 h 941139"/>
                  <a:gd name="connsiteX361" fmla="*/ 296797 w 1494864"/>
                  <a:gd name="connsiteY361" fmla="*/ 517815 h 941139"/>
                  <a:gd name="connsiteX362" fmla="*/ 298298 w 1494864"/>
                  <a:gd name="connsiteY362" fmla="*/ 517815 h 941139"/>
                  <a:gd name="connsiteX363" fmla="*/ 298298 w 1494864"/>
                  <a:gd name="connsiteY363" fmla="*/ 517015 h 941139"/>
                  <a:gd name="connsiteX364" fmla="*/ 299833 w 1494864"/>
                  <a:gd name="connsiteY364" fmla="*/ 517015 h 941139"/>
                  <a:gd name="connsiteX365" fmla="*/ 299833 w 1494864"/>
                  <a:gd name="connsiteY365" fmla="*/ 516180 h 941139"/>
                  <a:gd name="connsiteX366" fmla="*/ 301368 w 1494864"/>
                  <a:gd name="connsiteY366" fmla="*/ 516180 h 941139"/>
                  <a:gd name="connsiteX367" fmla="*/ 302902 w 1494864"/>
                  <a:gd name="connsiteY367" fmla="*/ 516180 h 941139"/>
                  <a:gd name="connsiteX368" fmla="*/ 302902 w 1494864"/>
                  <a:gd name="connsiteY368" fmla="*/ 515380 h 941139"/>
                  <a:gd name="connsiteX369" fmla="*/ 304426 w 1494864"/>
                  <a:gd name="connsiteY369" fmla="*/ 515380 h 941139"/>
                  <a:gd name="connsiteX370" fmla="*/ 304426 w 1494864"/>
                  <a:gd name="connsiteY370" fmla="*/ 512866 h 941139"/>
                  <a:gd name="connsiteX371" fmla="*/ 305960 w 1494864"/>
                  <a:gd name="connsiteY371" fmla="*/ 512866 h 941139"/>
                  <a:gd name="connsiteX372" fmla="*/ 305960 w 1494864"/>
                  <a:gd name="connsiteY372" fmla="*/ 512032 h 941139"/>
                  <a:gd name="connsiteX373" fmla="*/ 307495 w 1494864"/>
                  <a:gd name="connsiteY373" fmla="*/ 512032 h 941139"/>
                  <a:gd name="connsiteX374" fmla="*/ 307495 w 1494864"/>
                  <a:gd name="connsiteY374" fmla="*/ 509563 h 941139"/>
                  <a:gd name="connsiteX375" fmla="*/ 309029 w 1494864"/>
                  <a:gd name="connsiteY375" fmla="*/ 509563 h 941139"/>
                  <a:gd name="connsiteX376" fmla="*/ 309029 w 1494864"/>
                  <a:gd name="connsiteY376" fmla="*/ 507884 h 941139"/>
                  <a:gd name="connsiteX377" fmla="*/ 310564 w 1494864"/>
                  <a:gd name="connsiteY377" fmla="*/ 507884 h 941139"/>
                  <a:gd name="connsiteX378" fmla="*/ 310564 w 1494864"/>
                  <a:gd name="connsiteY378" fmla="*/ 507049 h 941139"/>
                  <a:gd name="connsiteX379" fmla="*/ 312087 w 1494864"/>
                  <a:gd name="connsiteY379" fmla="*/ 507049 h 941139"/>
                  <a:gd name="connsiteX380" fmla="*/ 312087 w 1494864"/>
                  <a:gd name="connsiteY380" fmla="*/ 503702 h 941139"/>
                  <a:gd name="connsiteX381" fmla="*/ 313633 w 1494864"/>
                  <a:gd name="connsiteY381" fmla="*/ 503702 h 941139"/>
                  <a:gd name="connsiteX382" fmla="*/ 313633 w 1494864"/>
                  <a:gd name="connsiteY382" fmla="*/ 502834 h 941139"/>
                  <a:gd name="connsiteX383" fmla="*/ 315123 w 1494864"/>
                  <a:gd name="connsiteY383" fmla="*/ 502834 h 941139"/>
                  <a:gd name="connsiteX384" fmla="*/ 315123 w 1494864"/>
                  <a:gd name="connsiteY384" fmla="*/ 502000 h 941139"/>
                  <a:gd name="connsiteX385" fmla="*/ 316658 w 1494864"/>
                  <a:gd name="connsiteY385" fmla="*/ 502000 h 941139"/>
                  <a:gd name="connsiteX386" fmla="*/ 316658 w 1494864"/>
                  <a:gd name="connsiteY386" fmla="*/ 501155 h 941139"/>
                  <a:gd name="connsiteX387" fmla="*/ 318192 w 1494864"/>
                  <a:gd name="connsiteY387" fmla="*/ 501155 h 941139"/>
                  <a:gd name="connsiteX388" fmla="*/ 318192 w 1494864"/>
                  <a:gd name="connsiteY388" fmla="*/ 500287 h 941139"/>
                  <a:gd name="connsiteX389" fmla="*/ 319716 w 1494864"/>
                  <a:gd name="connsiteY389" fmla="*/ 500287 h 941139"/>
                  <a:gd name="connsiteX390" fmla="*/ 319716 w 1494864"/>
                  <a:gd name="connsiteY390" fmla="*/ 499453 h 941139"/>
                  <a:gd name="connsiteX391" fmla="*/ 321261 w 1494864"/>
                  <a:gd name="connsiteY391" fmla="*/ 499453 h 941139"/>
                  <a:gd name="connsiteX392" fmla="*/ 321261 w 1494864"/>
                  <a:gd name="connsiteY392" fmla="*/ 496917 h 941139"/>
                  <a:gd name="connsiteX393" fmla="*/ 322785 w 1494864"/>
                  <a:gd name="connsiteY393" fmla="*/ 496917 h 941139"/>
                  <a:gd name="connsiteX394" fmla="*/ 322785 w 1494864"/>
                  <a:gd name="connsiteY394" fmla="*/ 493469 h 941139"/>
                  <a:gd name="connsiteX395" fmla="*/ 324320 w 1494864"/>
                  <a:gd name="connsiteY395" fmla="*/ 493469 h 941139"/>
                  <a:gd name="connsiteX396" fmla="*/ 324320 w 1494864"/>
                  <a:gd name="connsiteY396" fmla="*/ 492591 h 941139"/>
                  <a:gd name="connsiteX397" fmla="*/ 327389 w 1494864"/>
                  <a:gd name="connsiteY397" fmla="*/ 492591 h 941139"/>
                  <a:gd name="connsiteX398" fmla="*/ 327389 w 1494864"/>
                  <a:gd name="connsiteY398" fmla="*/ 491723 h 941139"/>
                  <a:gd name="connsiteX399" fmla="*/ 328923 w 1494864"/>
                  <a:gd name="connsiteY399" fmla="*/ 491723 h 941139"/>
                  <a:gd name="connsiteX400" fmla="*/ 328923 w 1494864"/>
                  <a:gd name="connsiteY400" fmla="*/ 487397 h 941139"/>
                  <a:gd name="connsiteX401" fmla="*/ 330447 w 1494864"/>
                  <a:gd name="connsiteY401" fmla="*/ 487397 h 941139"/>
                  <a:gd name="connsiteX402" fmla="*/ 330447 w 1494864"/>
                  <a:gd name="connsiteY402" fmla="*/ 484783 h 941139"/>
                  <a:gd name="connsiteX403" fmla="*/ 331981 w 1494864"/>
                  <a:gd name="connsiteY403" fmla="*/ 484783 h 941139"/>
                  <a:gd name="connsiteX404" fmla="*/ 331981 w 1494864"/>
                  <a:gd name="connsiteY404" fmla="*/ 483916 h 941139"/>
                  <a:gd name="connsiteX405" fmla="*/ 333483 w 1494864"/>
                  <a:gd name="connsiteY405" fmla="*/ 483916 h 941139"/>
                  <a:gd name="connsiteX406" fmla="*/ 333483 w 1494864"/>
                  <a:gd name="connsiteY406" fmla="*/ 479567 h 941139"/>
                  <a:gd name="connsiteX407" fmla="*/ 335017 w 1494864"/>
                  <a:gd name="connsiteY407" fmla="*/ 479567 h 941139"/>
                  <a:gd name="connsiteX408" fmla="*/ 335017 w 1494864"/>
                  <a:gd name="connsiteY408" fmla="*/ 477788 h 941139"/>
                  <a:gd name="connsiteX409" fmla="*/ 338075 w 1494864"/>
                  <a:gd name="connsiteY409" fmla="*/ 477788 h 941139"/>
                  <a:gd name="connsiteX410" fmla="*/ 338075 w 1494864"/>
                  <a:gd name="connsiteY410" fmla="*/ 475174 h 941139"/>
                  <a:gd name="connsiteX411" fmla="*/ 339621 w 1494864"/>
                  <a:gd name="connsiteY411" fmla="*/ 475174 h 941139"/>
                  <a:gd name="connsiteX412" fmla="*/ 339621 w 1494864"/>
                  <a:gd name="connsiteY412" fmla="*/ 473394 h 941139"/>
                  <a:gd name="connsiteX413" fmla="*/ 341144 w 1494864"/>
                  <a:gd name="connsiteY413" fmla="*/ 473394 h 941139"/>
                  <a:gd name="connsiteX414" fmla="*/ 342679 w 1494864"/>
                  <a:gd name="connsiteY414" fmla="*/ 473394 h 941139"/>
                  <a:gd name="connsiteX415" fmla="*/ 342679 w 1494864"/>
                  <a:gd name="connsiteY415" fmla="*/ 471615 h 941139"/>
                  <a:gd name="connsiteX416" fmla="*/ 344214 w 1494864"/>
                  <a:gd name="connsiteY416" fmla="*/ 471615 h 941139"/>
                  <a:gd name="connsiteX417" fmla="*/ 344214 w 1494864"/>
                  <a:gd name="connsiteY417" fmla="*/ 469847 h 941139"/>
                  <a:gd name="connsiteX418" fmla="*/ 345748 w 1494864"/>
                  <a:gd name="connsiteY418" fmla="*/ 469847 h 941139"/>
                  <a:gd name="connsiteX419" fmla="*/ 345748 w 1494864"/>
                  <a:gd name="connsiteY419" fmla="*/ 468968 h 941139"/>
                  <a:gd name="connsiteX420" fmla="*/ 348806 w 1494864"/>
                  <a:gd name="connsiteY420" fmla="*/ 468968 h 941139"/>
                  <a:gd name="connsiteX421" fmla="*/ 348806 w 1494864"/>
                  <a:gd name="connsiteY421" fmla="*/ 468067 h 941139"/>
                  <a:gd name="connsiteX422" fmla="*/ 350307 w 1494864"/>
                  <a:gd name="connsiteY422" fmla="*/ 468067 h 941139"/>
                  <a:gd name="connsiteX423" fmla="*/ 350307 w 1494864"/>
                  <a:gd name="connsiteY423" fmla="*/ 467155 h 941139"/>
                  <a:gd name="connsiteX424" fmla="*/ 351842 w 1494864"/>
                  <a:gd name="connsiteY424" fmla="*/ 467155 h 941139"/>
                  <a:gd name="connsiteX425" fmla="*/ 353377 w 1494864"/>
                  <a:gd name="connsiteY425" fmla="*/ 467155 h 941139"/>
                  <a:gd name="connsiteX426" fmla="*/ 353377 w 1494864"/>
                  <a:gd name="connsiteY426" fmla="*/ 466287 h 941139"/>
                  <a:gd name="connsiteX427" fmla="*/ 354911 w 1494864"/>
                  <a:gd name="connsiteY427" fmla="*/ 466287 h 941139"/>
                  <a:gd name="connsiteX428" fmla="*/ 354911 w 1494864"/>
                  <a:gd name="connsiteY428" fmla="*/ 465387 h 941139"/>
                  <a:gd name="connsiteX429" fmla="*/ 356446 w 1494864"/>
                  <a:gd name="connsiteY429" fmla="*/ 465387 h 941139"/>
                  <a:gd name="connsiteX430" fmla="*/ 356446 w 1494864"/>
                  <a:gd name="connsiteY430" fmla="*/ 463574 h 941139"/>
                  <a:gd name="connsiteX431" fmla="*/ 357969 w 1494864"/>
                  <a:gd name="connsiteY431" fmla="*/ 463574 h 941139"/>
                  <a:gd name="connsiteX432" fmla="*/ 357969 w 1494864"/>
                  <a:gd name="connsiteY432" fmla="*/ 461750 h 941139"/>
                  <a:gd name="connsiteX433" fmla="*/ 359504 w 1494864"/>
                  <a:gd name="connsiteY433" fmla="*/ 461750 h 941139"/>
                  <a:gd name="connsiteX434" fmla="*/ 359504 w 1494864"/>
                  <a:gd name="connsiteY434" fmla="*/ 460849 h 941139"/>
                  <a:gd name="connsiteX435" fmla="*/ 361038 w 1494864"/>
                  <a:gd name="connsiteY435" fmla="*/ 460849 h 941139"/>
                  <a:gd name="connsiteX436" fmla="*/ 361038 w 1494864"/>
                  <a:gd name="connsiteY436" fmla="*/ 459036 h 941139"/>
                  <a:gd name="connsiteX437" fmla="*/ 362573 w 1494864"/>
                  <a:gd name="connsiteY437" fmla="*/ 459036 h 941139"/>
                  <a:gd name="connsiteX438" fmla="*/ 364108 w 1494864"/>
                  <a:gd name="connsiteY438" fmla="*/ 459036 h 941139"/>
                  <a:gd name="connsiteX439" fmla="*/ 364108 w 1494864"/>
                  <a:gd name="connsiteY439" fmla="*/ 458135 h 941139"/>
                  <a:gd name="connsiteX440" fmla="*/ 365631 w 1494864"/>
                  <a:gd name="connsiteY440" fmla="*/ 458135 h 941139"/>
                  <a:gd name="connsiteX441" fmla="*/ 365631 w 1494864"/>
                  <a:gd name="connsiteY441" fmla="*/ 454476 h 941139"/>
                  <a:gd name="connsiteX442" fmla="*/ 367177 w 1494864"/>
                  <a:gd name="connsiteY442" fmla="*/ 454476 h 941139"/>
                  <a:gd name="connsiteX443" fmla="*/ 368667 w 1494864"/>
                  <a:gd name="connsiteY443" fmla="*/ 454476 h 941139"/>
                  <a:gd name="connsiteX444" fmla="*/ 370201 w 1494864"/>
                  <a:gd name="connsiteY444" fmla="*/ 454476 h 941139"/>
                  <a:gd name="connsiteX445" fmla="*/ 370201 w 1494864"/>
                  <a:gd name="connsiteY445" fmla="*/ 453575 h 941139"/>
                  <a:gd name="connsiteX446" fmla="*/ 371736 w 1494864"/>
                  <a:gd name="connsiteY446" fmla="*/ 453575 h 941139"/>
                  <a:gd name="connsiteX447" fmla="*/ 371736 w 1494864"/>
                  <a:gd name="connsiteY447" fmla="*/ 452630 h 941139"/>
                  <a:gd name="connsiteX448" fmla="*/ 373259 w 1494864"/>
                  <a:gd name="connsiteY448" fmla="*/ 452630 h 941139"/>
                  <a:gd name="connsiteX449" fmla="*/ 373259 w 1494864"/>
                  <a:gd name="connsiteY449" fmla="*/ 449883 h 941139"/>
                  <a:gd name="connsiteX450" fmla="*/ 374805 w 1494864"/>
                  <a:gd name="connsiteY450" fmla="*/ 449883 h 941139"/>
                  <a:gd name="connsiteX451" fmla="*/ 374805 w 1494864"/>
                  <a:gd name="connsiteY451" fmla="*/ 448937 h 941139"/>
                  <a:gd name="connsiteX452" fmla="*/ 376329 w 1494864"/>
                  <a:gd name="connsiteY452" fmla="*/ 448937 h 941139"/>
                  <a:gd name="connsiteX453" fmla="*/ 376329 w 1494864"/>
                  <a:gd name="connsiteY453" fmla="*/ 447091 h 941139"/>
                  <a:gd name="connsiteX454" fmla="*/ 377863 w 1494864"/>
                  <a:gd name="connsiteY454" fmla="*/ 447091 h 941139"/>
                  <a:gd name="connsiteX455" fmla="*/ 380932 w 1494864"/>
                  <a:gd name="connsiteY455" fmla="*/ 447091 h 941139"/>
                  <a:gd name="connsiteX456" fmla="*/ 380932 w 1494864"/>
                  <a:gd name="connsiteY456" fmla="*/ 444266 h 941139"/>
                  <a:gd name="connsiteX457" fmla="*/ 382467 w 1494864"/>
                  <a:gd name="connsiteY457" fmla="*/ 444266 h 941139"/>
                  <a:gd name="connsiteX458" fmla="*/ 383990 w 1494864"/>
                  <a:gd name="connsiteY458" fmla="*/ 444266 h 941139"/>
                  <a:gd name="connsiteX459" fmla="*/ 385492 w 1494864"/>
                  <a:gd name="connsiteY459" fmla="*/ 444266 h 941139"/>
                  <a:gd name="connsiteX460" fmla="*/ 385492 w 1494864"/>
                  <a:gd name="connsiteY460" fmla="*/ 443321 h 941139"/>
                  <a:gd name="connsiteX461" fmla="*/ 387026 w 1494864"/>
                  <a:gd name="connsiteY461" fmla="*/ 443321 h 941139"/>
                  <a:gd name="connsiteX462" fmla="*/ 388561 w 1494864"/>
                  <a:gd name="connsiteY462" fmla="*/ 443321 h 941139"/>
                  <a:gd name="connsiteX463" fmla="*/ 388561 w 1494864"/>
                  <a:gd name="connsiteY463" fmla="*/ 441441 h 941139"/>
                  <a:gd name="connsiteX464" fmla="*/ 390095 w 1494864"/>
                  <a:gd name="connsiteY464" fmla="*/ 441441 h 941139"/>
                  <a:gd name="connsiteX465" fmla="*/ 390095 w 1494864"/>
                  <a:gd name="connsiteY465" fmla="*/ 440507 h 941139"/>
                  <a:gd name="connsiteX466" fmla="*/ 391619 w 1494864"/>
                  <a:gd name="connsiteY466" fmla="*/ 440507 h 941139"/>
                  <a:gd name="connsiteX467" fmla="*/ 391619 w 1494864"/>
                  <a:gd name="connsiteY467" fmla="*/ 438583 h 941139"/>
                  <a:gd name="connsiteX468" fmla="*/ 393153 w 1494864"/>
                  <a:gd name="connsiteY468" fmla="*/ 438583 h 941139"/>
                  <a:gd name="connsiteX469" fmla="*/ 393153 w 1494864"/>
                  <a:gd name="connsiteY469" fmla="*/ 437648 h 941139"/>
                  <a:gd name="connsiteX470" fmla="*/ 394688 w 1494864"/>
                  <a:gd name="connsiteY470" fmla="*/ 437648 h 941139"/>
                  <a:gd name="connsiteX471" fmla="*/ 394688 w 1494864"/>
                  <a:gd name="connsiteY471" fmla="*/ 436703 h 941139"/>
                  <a:gd name="connsiteX472" fmla="*/ 396223 w 1494864"/>
                  <a:gd name="connsiteY472" fmla="*/ 436703 h 941139"/>
                  <a:gd name="connsiteX473" fmla="*/ 397757 w 1494864"/>
                  <a:gd name="connsiteY473" fmla="*/ 436703 h 941139"/>
                  <a:gd name="connsiteX474" fmla="*/ 399292 w 1494864"/>
                  <a:gd name="connsiteY474" fmla="*/ 436703 h 941139"/>
                  <a:gd name="connsiteX475" fmla="*/ 399292 w 1494864"/>
                  <a:gd name="connsiteY475" fmla="*/ 435736 h 941139"/>
                  <a:gd name="connsiteX476" fmla="*/ 400815 w 1494864"/>
                  <a:gd name="connsiteY476" fmla="*/ 435736 h 941139"/>
                  <a:gd name="connsiteX477" fmla="*/ 400815 w 1494864"/>
                  <a:gd name="connsiteY477" fmla="*/ 432833 h 941139"/>
                  <a:gd name="connsiteX478" fmla="*/ 402350 w 1494864"/>
                  <a:gd name="connsiteY478" fmla="*/ 432833 h 941139"/>
                  <a:gd name="connsiteX479" fmla="*/ 402350 w 1494864"/>
                  <a:gd name="connsiteY479" fmla="*/ 431865 h 941139"/>
                  <a:gd name="connsiteX480" fmla="*/ 403851 w 1494864"/>
                  <a:gd name="connsiteY480" fmla="*/ 431865 h 941139"/>
                  <a:gd name="connsiteX481" fmla="*/ 405386 w 1494864"/>
                  <a:gd name="connsiteY481" fmla="*/ 431865 h 941139"/>
                  <a:gd name="connsiteX482" fmla="*/ 406920 w 1494864"/>
                  <a:gd name="connsiteY482" fmla="*/ 431865 h 941139"/>
                  <a:gd name="connsiteX483" fmla="*/ 406920 w 1494864"/>
                  <a:gd name="connsiteY483" fmla="*/ 428973 h 941139"/>
                  <a:gd name="connsiteX484" fmla="*/ 408444 w 1494864"/>
                  <a:gd name="connsiteY484" fmla="*/ 428973 h 941139"/>
                  <a:gd name="connsiteX485" fmla="*/ 408444 w 1494864"/>
                  <a:gd name="connsiteY485" fmla="*/ 427016 h 941139"/>
                  <a:gd name="connsiteX486" fmla="*/ 409978 w 1494864"/>
                  <a:gd name="connsiteY486" fmla="*/ 427016 h 941139"/>
                  <a:gd name="connsiteX487" fmla="*/ 411513 w 1494864"/>
                  <a:gd name="connsiteY487" fmla="*/ 427016 h 941139"/>
                  <a:gd name="connsiteX488" fmla="*/ 411513 w 1494864"/>
                  <a:gd name="connsiteY488" fmla="*/ 426048 h 941139"/>
                  <a:gd name="connsiteX489" fmla="*/ 413047 w 1494864"/>
                  <a:gd name="connsiteY489" fmla="*/ 426048 h 941139"/>
                  <a:gd name="connsiteX490" fmla="*/ 413047 w 1494864"/>
                  <a:gd name="connsiteY490" fmla="*/ 425070 h 941139"/>
                  <a:gd name="connsiteX491" fmla="*/ 414582 w 1494864"/>
                  <a:gd name="connsiteY491" fmla="*/ 425070 h 941139"/>
                  <a:gd name="connsiteX492" fmla="*/ 416117 w 1494864"/>
                  <a:gd name="connsiteY492" fmla="*/ 425070 h 941139"/>
                  <a:gd name="connsiteX493" fmla="*/ 416117 w 1494864"/>
                  <a:gd name="connsiteY493" fmla="*/ 424091 h 941139"/>
                  <a:gd name="connsiteX494" fmla="*/ 417651 w 1494864"/>
                  <a:gd name="connsiteY494" fmla="*/ 424091 h 941139"/>
                  <a:gd name="connsiteX495" fmla="*/ 419175 w 1494864"/>
                  <a:gd name="connsiteY495" fmla="*/ 424091 h 941139"/>
                  <a:gd name="connsiteX496" fmla="*/ 420709 w 1494864"/>
                  <a:gd name="connsiteY496" fmla="*/ 424091 h 941139"/>
                  <a:gd name="connsiteX497" fmla="*/ 420709 w 1494864"/>
                  <a:gd name="connsiteY497" fmla="*/ 423079 h 941139"/>
                  <a:gd name="connsiteX498" fmla="*/ 422210 w 1494864"/>
                  <a:gd name="connsiteY498" fmla="*/ 423079 h 941139"/>
                  <a:gd name="connsiteX499" fmla="*/ 422210 w 1494864"/>
                  <a:gd name="connsiteY499" fmla="*/ 422111 h 941139"/>
                  <a:gd name="connsiteX500" fmla="*/ 423745 w 1494864"/>
                  <a:gd name="connsiteY500" fmla="*/ 422111 h 941139"/>
                  <a:gd name="connsiteX501" fmla="*/ 423745 w 1494864"/>
                  <a:gd name="connsiteY501" fmla="*/ 421099 h 941139"/>
                  <a:gd name="connsiteX502" fmla="*/ 425280 w 1494864"/>
                  <a:gd name="connsiteY502" fmla="*/ 421099 h 941139"/>
                  <a:gd name="connsiteX503" fmla="*/ 425280 w 1494864"/>
                  <a:gd name="connsiteY503" fmla="*/ 420120 h 941139"/>
                  <a:gd name="connsiteX504" fmla="*/ 426803 w 1494864"/>
                  <a:gd name="connsiteY504" fmla="*/ 420120 h 941139"/>
                  <a:gd name="connsiteX505" fmla="*/ 428349 w 1494864"/>
                  <a:gd name="connsiteY505" fmla="*/ 420120 h 941139"/>
                  <a:gd name="connsiteX506" fmla="*/ 428349 w 1494864"/>
                  <a:gd name="connsiteY506" fmla="*/ 418096 h 941139"/>
                  <a:gd name="connsiteX507" fmla="*/ 429872 w 1494864"/>
                  <a:gd name="connsiteY507" fmla="*/ 418096 h 941139"/>
                  <a:gd name="connsiteX508" fmla="*/ 429872 w 1494864"/>
                  <a:gd name="connsiteY508" fmla="*/ 417128 h 941139"/>
                  <a:gd name="connsiteX509" fmla="*/ 431407 w 1494864"/>
                  <a:gd name="connsiteY509" fmla="*/ 417128 h 941139"/>
                  <a:gd name="connsiteX510" fmla="*/ 432941 w 1494864"/>
                  <a:gd name="connsiteY510" fmla="*/ 417128 h 941139"/>
                  <a:gd name="connsiteX511" fmla="*/ 432941 w 1494864"/>
                  <a:gd name="connsiteY511" fmla="*/ 414092 h 941139"/>
                  <a:gd name="connsiteX512" fmla="*/ 434476 w 1494864"/>
                  <a:gd name="connsiteY512" fmla="*/ 414092 h 941139"/>
                  <a:gd name="connsiteX513" fmla="*/ 434476 w 1494864"/>
                  <a:gd name="connsiteY513" fmla="*/ 412035 h 941139"/>
                  <a:gd name="connsiteX514" fmla="*/ 435999 w 1494864"/>
                  <a:gd name="connsiteY514" fmla="*/ 412035 h 941139"/>
                  <a:gd name="connsiteX515" fmla="*/ 435999 w 1494864"/>
                  <a:gd name="connsiteY515" fmla="*/ 410022 h 941139"/>
                  <a:gd name="connsiteX516" fmla="*/ 437534 w 1494864"/>
                  <a:gd name="connsiteY516" fmla="*/ 410022 h 941139"/>
                  <a:gd name="connsiteX517" fmla="*/ 437534 w 1494864"/>
                  <a:gd name="connsiteY517" fmla="*/ 407997 h 941139"/>
                  <a:gd name="connsiteX518" fmla="*/ 439035 w 1494864"/>
                  <a:gd name="connsiteY518" fmla="*/ 407997 h 941139"/>
                  <a:gd name="connsiteX519" fmla="*/ 439035 w 1494864"/>
                  <a:gd name="connsiteY519" fmla="*/ 406985 h 941139"/>
                  <a:gd name="connsiteX520" fmla="*/ 440570 w 1494864"/>
                  <a:gd name="connsiteY520" fmla="*/ 406985 h 941139"/>
                  <a:gd name="connsiteX521" fmla="*/ 440570 w 1494864"/>
                  <a:gd name="connsiteY521" fmla="*/ 404928 h 941139"/>
                  <a:gd name="connsiteX522" fmla="*/ 442104 w 1494864"/>
                  <a:gd name="connsiteY522" fmla="*/ 404928 h 941139"/>
                  <a:gd name="connsiteX523" fmla="*/ 442104 w 1494864"/>
                  <a:gd name="connsiteY523" fmla="*/ 401869 h 941139"/>
                  <a:gd name="connsiteX524" fmla="*/ 445162 w 1494864"/>
                  <a:gd name="connsiteY524" fmla="*/ 401869 h 941139"/>
                  <a:gd name="connsiteX525" fmla="*/ 445162 w 1494864"/>
                  <a:gd name="connsiteY525" fmla="*/ 400857 h 941139"/>
                  <a:gd name="connsiteX526" fmla="*/ 446697 w 1494864"/>
                  <a:gd name="connsiteY526" fmla="*/ 400857 h 941139"/>
                  <a:gd name="connsiteX527" fmla="*/ 448232 w 1494864"/>
                  <a:gd name="connsiteY527" fmla="*/ 400857 h 941139"/>
                  <a:gd name="connsiteX528" fmla="*/ 449766 w 1494864"/>
                  <a:gd name="connsiteY528" fmla="*/ 400857 h 941139"/>
                  <a:gd name="connsiteX529" fmla="*/ 451290 w 1494864"/>
                  <a:gd name="connsiteY529" fmla="*/ 400857 h 941139"/>
                  <a:gd name="connsiteX530" fmla="*/ 451290 w 1494864"/>
                  <a:gd name="connsiteY530" fmla="*/ 398766 h 941139"/>
                  <a:gd name="connsiteX531" fmla="*/ 452835 w 1494864"/>
                  <a:gd name="connsiteY531" fmla="*/ 398766 h 941139"/>
                  <a:gd name="connsiteX532" fmla="*/ 455893 w 1494864"/>
                  <a:gd name="connsiteY532" fmla="*/ 398766 h 941139"/>
                  <a:gd name="connsiteX533" fmla="*/ 455893 w 1494864"/>
                  <a:gd name="connsiteY533" fmla="*/ 397754 h 941139"/>
                  <a:gd name="connsiteX534" fmla="*/ 457395 w 1494864"/>
                  <a:gd name="connsiteY534" fmla="*/ 397754 h 941139"/>
                  <a:gd name="connsiteX535" fmla="*/ 457395 w 1494864"/>
                  <a:gd name="connsiteY535" fmla="*/ 396709 h 941139"/>
                  <a:gd name="connsiteX536" fmla="*/ 458929 w 1494864"/>
                  <a:gd name="connsiteY536" fmla="*/ 396709 h 941139"/>
                  <a:gd name="connsiteX537" fmla="*/ 458929 w 1494864"/>
                  <a:gd name="connsiteY537" fmla="*/ 394618 h 941139"/>
                  <a:gd name="connsiteX538" fmla="*/ 460464 w 1494864"/>
                  <a:gd name="connsiteY538" fmla="*/ 394618 h 941139"/>
                  <a:gd name="connsiteX539" fmla="*/ 460464 w 1494864"/>
                  <a:gd name="connsiteY539" fmla="*/ 393572 h 941139"/>
                  <a:gd name="connsiteX540" fmla="*/ 461987 w 1494864"/>
                  <a:gd name="connsiteY540" fmla="*/ 393572 h 941139"/>
                  <a:gd name="connsiteX541" fmla="*/ 461987 w 1494864"/>
                  <a:gd name="connsiteY541" fmla="*/ 391515 h 941139"/>
                  <a:gd name="connsiteX542" fmla="*/ 463522 w 1494864"/>
                  <a:gd name="connsiteY542" fmla="*/ 391515 h 941139"/>
                  <a:gd name="connsiteX543" fmla="*/ 463522 w 1494864"/>
                  <a:gd name="connsiteY543" fmla="*/ 390469 h 941139"/>
                  <a:gd name="connsiteX544" fmla="*/ 465056 w 1494864"/>
                  <a:gd name="connsiteY544" fmla="*/ 390469 h 941139"/>
                  <a:gd name="connsiteX545" fmla="*/ 465056 w 1494864"/>
                  <a:gd name="connsiteY545" fmla="*/ 389390 h 941139"/>
                  <a:gd name="connsiteX546" fmla="*/ 466591 w 1494864"/>
                  <a:gd name="connsiteY546" fmla="*/ 389390 h 941139"/>
                  <a:gd name="connsiteX547" fmla="*/ 466591 w 1494864"/>
                  <a:gd name="connsiteY547" fmla="*/ 387299 h 941139"/>
                  <a:gd name="connsiteX548" fmla="*/ 469660 w 1494864"/>
                  <a:gd name="connsiteY548" fmla="*/ 387299 h 941139"/>
                  <a:gd name="connsiteX549" fmla="*/ 469660 w 1494864"/>
                  <a:gd name="connsiteY549" fmla="*/ 386254 h 941139"/>
                  <a:gd name="connsiteX550" fmla="*/ 471195 w 1494864"/>
                  <a:gd name="connsiteY550" fmla="*/ 386254 h 941139"/>
                  <a:gd name="connsiteX551" fmla="*/ 471195 w 1494864"/>
                  <a:gd name="connsiteY551" fmla="*/ 384163 h 941139"/>
                  <a:gd name="connsiteX552" fmla="*/ 472718 w 1494864"/>
                  <a:gd name="connsiteY552" fmla="*/ 384163 h 941139"/>
                  <a:gd name="connsiteX553" fmla="*/ 472718 w 1494864"/>
                  <a:gd name="connsiteY553" fmla="*/ 383084 h 941139"/>
                  <a:gd name="connsiteX554" fmla="*/ 474219 w 1494864"/>
                  <a:gd name="connsiteY554" fmla="*/ 383084 h 941139"/>
                  <a:gd name="connsiteX555" fmla="*/ 474219 w 1494864"/>
                  <a:gd name="connsiteY555" fmla="*/ 379914 h 941139"/>
                  <a:gd name="connsiteX556" fmla="*/ 475754 w 1494864"/>
                  <a:gd name="connsiteY556" fmla="*/ 379914 h 941139"/>
                  <a:gd name="connsiteX557" fmla="*/ 475754 w 1494864"/>
                  <a:gd name="connsiteY557" fmla="*/ 378869 h 941139"/>
                  <a:gd name="connsiteX558" fmla="*/ 477289 w 1494864"/>
                  <a:gd name="connsiteY558" fmla="*/ 378869 h 941139"/>
                  <a:gd name="connsiteX559" fmla="*/ 478823 w 1494864"/>
                  <a:gd name="connsiteY559" fmla="*/ 378869 h 941139"/>
                  <a:gd name="connsiteX560" fmla="*/ 480347 w 1494864"/>
                  <a:gd name="connsiteY560" fmla="*/ 378869 h 941139"/>
                  <a:gd name="connsiteX561" fmla="*/ 481881 w 1494864"/>
                  <a:gd name="connsiteY561" fmla="*/ 378869 h 941139"/>
                  <a:gd name="connsiteX562" fmla="*/ 481881 w 1494864"/>
                  <a:gd name="connsiteY562" fmla="*/ 377824 h 941139"/>
                  <a:gd name="connsiteX563" fmla="*/ 483416 w 1494864"/>
                  <a:gd name="connsiteY563" fmla="*/ 377824 h 941139"/>
                  <a:gd name="connsiteX564" fmla="*/ 484950 w 1494864"/>
                  <a:gd name="connsiteY564" fmla="*/ 377824 h 941139"/>
                  <a:gd name="connsiteX565" fmla="*/ 484950 w 1494864"/>
                  <a:gd name="connsiteY565" fmla="*/ 375666 h 941139"/>
                  <a:gd name="connsiteX566" fmla="*/ 486485 w 1494864"/>
                  <a:gd name="connsiteY566" fmla="*/ 375666 h 941139"/>
                  <a:gd name="connsiteX567" fmla="*/ 486485 w 1494864"/>
                  <a:gd name="connsiteY567" fmla="*/ 374620 h 941139"/>
                  <a:gd name="connsiteX568" fmla="*/ 488019 w 1494864"/>
                  <a:gd name="connsiteY568" fmla="*/ 374620 h 941139"/>
                  <a:gd name="connsiteX569" fmla="*/ 488019 w 1494864"/>
                  <a:gd name="connsiteY569" fmla="*/ 372463 h 941139"/>
                  <a:gd name="connsiteX570" fmla="*/ 491078 w 1494864"/>
                  <a:gd name="connsiteY570" fmla="*/ 372463 h 941139"/>
                  <a:gd name="connsiteX571" fmla="*/ 491078 w 1494864"/>
                  <a:gd name="connsiteY571" fmla="*/ 371373 h 941139"/>
                  <a:gd name="connsiteX572" fmla="*/ 492579 w 1494864"/>
                  <a:gd name="connsiteY572" fmla="*/ 371373 h 941139"/>
                  <a:gd name="connsiteX573" fmla="*/ 494113 w 1494864"/>
                  <a:gd name="connsiteY573" fmla="*/ 371373 h 941139"/>
                  <a:gd name="connsiteX574" fmla="*/ 494113 w 1494864"/>
                  <a:gd name="connsiteY574" fmla="*/ 370294 h 941139"/>
                  <a:gd name="connsiteX575" fmla="*/ 495648 w 1494864"/>
                  <a:gd name="connsiteY575" fmla="*/ 370294 h 941139"/>
                  <a:gd name="connsiteX576" fmla="*/ 495648 w 1494864"/>
                  <a:gd name="connsiteY576" fmla="*/ 367058 h 941139"/>
                  <a:gd name="connsiteX577" fmla="*/ 497171 w 1494864"/>
                  <a:gd name="connsiteY577" fmla="*/ 367058 h 941139"/>
                  <a:gd name="connsiteX578" fmla="*/ 497171 w 1494864"/>
                  <a:gd name="connsiteY578" fmla="*/ 365979 h 941139"/>
                  <a:gd name="connsiteX579" fmla="*/ 498706 w 1494864"/>
                  <a:gd name="connsiteY579" fmla="*/ 365979 h 941139"/>
                  <a:gd name="connsiteX580" fmla="*/ 498706 w 1494864"/>
                  <a:gd name="connsiteY580" fmla="*/ 364900 h 941139"/>
                  <a:gd name="connsiteX581" fmla="*/ 500241 w 1494864"/>
                  <a:gd name="connsiteY581" fmla="*/ 364900 h 941139"/>
                  <a:gd name="connsiteX582" fmla="*/ 501775 w 1494864"/>
                  <a:gd name="connsiteY582" fmla="*/ 364900 h 941139"/>
                  <a:gd name="connsiteX583" fmla="*/ 503310 w 1494864"/>
                  <a:gd name="connsiteY583" fmla="*/ 364900 h 941139"/>
                  <a:gd name="connsiteX584" fmla="*/ 504833 w 1494864"/>
                  <a:gd name="connsiteY584" fmla="*/ 364900 h 941139"/>
                  <a:gd name="connsiteX585" fmla="*/ 506379 w 1494864"/>
                  <a:gd name="connsiteY585" fmla="*/ 364900 h 941139"/>
                  <a:gd name="connsiteX586" fmla="*/ 506379 w 1494864"/>
                  <a:gd name="connsiteY586" fmla="*/ 363821 h 941139"/>
                  <a:gd name="connsiteX587" fmla="*/ 507902 w 1494864"/>
                  <a:gd name="connsiteY587" fmla="*/ 363821 h 941139"/>
                  <a:gd name="connsiteX588" fmla="*/ 507902 w 1494864"/>
                  <a:gd name="connsiteY588" fmla="*/ 361630 h 941139"/>
                  <a:gd name="connsiteX589" fmla="*/ 510938 w 1494864"/>
                  <a:gd name="connsiteY589" fmla="*/ 361630 h 941139"/>
                  <a:gd name="connsiteX590" fmla="*/ 510938 w 1494864"/>
                  <a:gd name="connsiteY590" fmla="*/ 360507 h 941139"/>
                  <a:gd name="connsiteX591" fmla="*/ 512462 w 1494864"/>
                  <a:gd name="connsiteY591" fmla="*/ 360507 h 941139"/>
                  <a:gd name="connsiteX592" fmla="*/ 512462 w 1494864"/>
                  <a:gd name="connsiteY592" fmla="*/ 359428 h 941139"/>
                  <a:gd name="connsiteX593" fmla="*/ 514007 w 1494864"/>
                  <a:gd name="connsiteY593" fmla="*/ 359428 h 941139"/>
                  <a:gd name="connsiteX594" fmla="*/ 514007 w 1494864"/>
                  <a:gd name="connsiteY594" fmla="*/ 357237 h 941139"/>
                  <a:gd name="connsiteX595" fmla="*/ 515531 w 1494864"/>
                  <a:gd name="connsiteY595" fmla="*/ 357237 h 941139"/>
                  <a:gd name="connsiteX596" fmla="*/ 515531 w 1494864"/>
                  <a:gd name="connsiteY596" fmla="*/ 355001 h 941139"/>
                  <a:gd name="connsiteX597" fmla="*/ 517065 w 1494864"/>
                  <a:gd name="connsiteY597" fmla="*/ 355001 h 941139"/>
                  <a:gd name="connsiteX598" fmla="*/ 518600 w 1494864"/>
                  <a:gd name="connsiteY598" fmla="*/ 355001 h 941139"/>
                  <a:gd name="connsiteX599" fmla="*/ 518600 w 1494864"/>
                  <a:gd name="connsiteY599" fmla="*/ 352810 h 941139"/>
                  <a:gd name="connsiteX600" fmla="*/ 521669 w 1494864"/>
                  <a:gd name="connsiteY600" fmla="*/ 352810 h 941139"/>
                  <a:gd name="connsiteX601" fmla="*/ 523193 w 1494864"/>
                  <a:gd name="connsiteY601" fmla="*/ 352810 h 941139"/>
                  <a:gd name="connsiteX602" fmla="*/ 523193 w 1494864"/>
                  <a:gd name="connsiteY602" fmla="*/ 351687 h 941139"/>
                  <a:gd name="connsiteX603" fmla="*/ 524738 w 1494864"/>
                  <a:gd name="connsiteY603" fmla="*/ 351687 h 941139"/>
                  <a:gd name="connsiteX604" fmla="*/ 524738 w 1494864"/>
                  <a:gd name="connsiteY604" fmla="*/ 350575 h 941139"/>
                  <a:gd name="connsiteX605" fmla="*/ 526262 w 1494864"/>
                  <a:gd name="connsiteY605" fmla="*/ 350575 h 941139"/>
                  <a:gd name="connsiteX606" fmla="*/ 526262 w 1494864"/>
                  <a:gd name="connsiteY606" fmla="*/ 349463 h 941139"/>
                  <a:gd name="connsiteX607" fmla="*/ 527763 w 1494864"/>
                  <a:gd name="connsiteY607" fmla="*/ 349463 h 941139"/>
                  <a:gd name="connsiteX608" fmla="*/ 527763 w 1494864"/>
                  <a:gd name="connsiteY608" fmla="*/ 346082 h 941139"/>
                  <a:gd name="connsiteX609" fmla="*/ 529297 w 1494864"/>
                  <a:gd name="connsiteY609" fmla="*/ 346082 h 941139"/>
                  <a:gd name="connsiteX610" fmla="*/ 529297 w 1494864"/>
                  <a:gd name="connsiteY610" fmla="*/ 343813 h 941139"/>
                  <a:gd name="connsiteX611" fmla="*/ 530832 w 1494864"/>
                  <a:gd name="connsiteY611" fmla="*/ 343813 h 941139"/>
                  <a:gd name="connsiteX612" fmla="*/ 530832 w 1494864"/>
                  <a:gd name="connsiteY612" fmla="*/ 342700 h 941139"/>
                  <a:gd name="connsiteX613" fmla="*/ 532367 w 1494864"/>
                  <a:gd name="connsiteY613" fmla="*/ 342700 h 941139"/>
                  <a:gd name="connsiteX614" fmla="*/ 533890 w 1494864"/>
                  <a:gd name="connsiteY614" fmla="*/ 342700 h 941139"/>
                  <a:gd name="connsiteX615" fmla="*/ 533890 w 1494864"/>
                  <a:gd name="connsiteY615" fmla="*/ 341588 h 941139"/>
                  <a:gd name="connsiteX616" fmla="*/ 535425 w 1494864"/>
                  <a:gd name="connsiteY616" fmla="*/ 341588 h 941139"/>
                  <a:gd name="connsiteX617" fmla="*/ 536959 w 1494864"/>
                  <a:gd name="connsiteY617" fmla="*/ 341588 h 941139"/>
                  <a:gd name="connsiteX618" fmla="*/ 536959 w 1494864"/>
                  <a:gd name="connsiteY618" fmla="*/ 340443 h 941139"/>
                  <a:gd name="connsiteX619" fmla="*/ 538494 w 1494864"/>
                  <a:gd name="connsiteY619" fmla="*/ 340443 h 941139"/>
                  <a:gd name="connsiteX620" fmla="*/ 538494 w 1494864"/>
                  <a:gd name="connsiteY620" fmla="*/ 339286 h 941139"/>
                  <a:gd name="connsiteX621" fmla="*/ 540028 w 1494864"/>
                  <a:gd name="connsiteY621" fmla="*/ 339286 h 941139"/>
                  <a:gd name="connsiteX622" fmla="*/ 540028 w 1494864"/>
                  <a:gd name="connsiteY622" fmla="*/ 338174 h 941139"/>
                  <a:gd name="connsiteX623" fmla="*/ 541563 w 1494864"/>
                  <a:gd name="connsiteY623" fmla="*/ 338174 h 941139"/>
                  <a:gd name="connsiteX624" fmla="*/ 541563 w 1494864"/>
                  <a:gd name="connsiteY624" fmla="*/ 335872 h 941139"/>
                  <a:gd name="connsiteX625" fmla="*/ 543087 w 1494864"/>
                  <a:gd name="connsiteY625" fmla="*/ 335872 h 941139"/>
                  <a:gd name="connsiteX626" fmla="*/ 544621 w 1494864"/>
                  <a:gd name="connsiteY626" fmla="*/ 335872 h 941139"/>
                  <a:gd name="connsiteX627" fmla="*/ 544621 w 1494864"/>
                  <a:gd name="connsiteY627" fmla="*/ 333580 h 941139"/>
                  <a:gd name="connsiteX628" fmla="*/ 546122 w 1494864"/>
                  <a:gd name="connsiteY628" fmla="*/ 333580 h 941139"/>
                  <a:gd name="connsiteX629" fmla="*/ 547657 w 1494864"/>
                  <a:gd name="connsiteY629" fmla="*/ 333580 h 941139"/>
                  <a:gd name="connsiteX630" fmla="*/ 547657 w 1494864"/>
                  <a:gd name="connsiteY630" fmla="*/ 331278 h 941139"/>
                  <a:gd name="connsiteX631" fmla="*/ 549191 w 1494864"/>
                  <a:gd name="connsiteY631" fmla="*/ 331278 h 941139"/>
                  <a:gd name="connsiteX632" fmla="*/ 552250 w 1494864"/>
                  <a:gd name="connsiteY632" fmla="*/ 331278 h 941139"/>
                  <a:gd name="connsiteX633" fmla="*/ 552250 w 1494864"/>
                  <a:gd name="connsiteY633" fmla="*/ 328943 h 941139"/>
                  <a:gd name="connsiteX634" fmla="*/ 553784 w 1494864"/>
                  <a:gd name="connsiteY634" fmla="*/ 328943 h 941139"/>
                  <a:gd name="connsiteX635" fmla="*/ 555319 w 1494864"/>
                  <a:gd name="connsiteY635" fmla="*/ 328943 h 941139"/>
                  <a:gd name="connsiteX636" fmla="*/ 555319 w 1494864"/>
                  <a:gd name="connsiteY636" fmla="*/ 327797 h 941139"/>
                  <a:gd name="connsiteX637" fmla="*/ 556853 w 1494864"/>
                  <a:gd name="connsiteY637" fmla="*/ 327797 h 941139"/>
                  <a:gd name="connsiteX638" fmla="*/ 556853 w 1494864"/>
                  <a:gd name="connsiteY638" fmla="*/ 325428 h 941139"/>
                  <a:gd name="connsiteX639" fmla="*/ 558377 w 1494864"/>
                  <a:gd name="connsiteY639" fmla="*/ 325428 h 941139"/>
                  <a:gd name="connsiteX640" fmla="*/ 558377 w 1494864"/>
                  <a:gd name="connsiteY640" fmla="*/ 323048 h 941139"/>
                  <a:gd name="connsiteX641" fmla="*/ 559922 w 1494864"/>
                  <a:gd name="connsiteY641" fmla="*/ 323048 h 941139"/>
                  <a:gd name="connsiteX642" fmla="*/ 562947 w 1494864"/>
                  <a:gd name="connsiteY642" fmla="*/ 323048 h 941139"/>
                  <a:gd name="connsiteX643" fmla="*/ 562947 w 1494864"/>
                  <a:gd name="connsiteY643" fmla="*/ 320679 h 941139"/>
                  <a:gd name="connsiteX644" fmla="*/ 564482 w 1494864"/>
                  <a:gd name="connsiteY644" fmla="*/ 320679 h 941139"/>
                  <a:gd name="connsiteX645" fmla="*/ 566005 w 1494864"/>
                  <a:gd name="connsiteY645" fmla="*/ 320679 h 941139"/>
                  <a:gd name="connsiteX646" fmla="*/ 566005 w 1494864"/>
                  <a:gd name="connsiteY646" fmla="*/ 319500 h 941139"/>
                  <a:gd name="connsiteX647" fmla="*/ 567551 w 1494864"/>
                  <a:gd name="connsiteY647" fmla="*/ 319500 h 941139"/>
                  <a:gd name="connsiteX648" fmla="*/ 567551 w 1494864"/>
                  <a:gd name="connsiteY648" fmla="*/ 318310 h 941139"/>
                  <a:gd name="connsiteX649" fmla="*/ 569074 w 1494864"/>
                  <a:gd name="connsiteY649" fmla="*/ 318310 h 941139"/>
                  <a:gd name="connsiteX650" fmla="*/ 570609 w 1494864"/>
                  <a:gd name="connsiteY650" fmla="*/ 318310 h 941139"/>
                  <a:gd name="connsiteX651" fmla="*/ 573678 w 1494864"/>
                  <a:gd name="connsiteY651" fmla="*/ 318310 h 941139"/>
                  <a:gd name="connsiteX652" fmla="*/ 573678 w 1494864"/>
                  <a:gd name="connsiteY652" fmla="*/ 317098 h 941139"/>
                  <a:gd name="connsiteX653" fmla="*/ 575213 w 1494864"/>
                  <a:gd name="connsiteY653" fmla="*/ 317098 h 941139"/>
                  <a:gd name="connsiteX654" fmla="*/ 575213 w 1494864"/>
                  <a:gd name="connsiteY654" fmla="*/ 315874 h 941139"/>
                  <a:gd name="connsiteX655" fmla="*/ 576736 w 1494864"/>
                  <a:gd name="connsiteY655" fmla="*/ 315874 h 941139"/>
                  <a:gd name="connsiteX656" fmla="*/ 576736 w 1494864"/>
                  <a:gd name="connsiteY656" fmla="*/ 314695 h 941139"/>
                  <a:gd name="connsiteX657" fmla="*/ 578271 w 1494864"/>
                  <a:gd name="connsiteY657" fmla="*/ 314695 h 941139"/>
                  <a:gd name="connsiteX658" fmla="*/ 578271 w 1494864"/>
                  <a:gd name="connsiteY658" fmla="*/ 313472 h 941139"/>
                  <a:gd name="connsiteX659" fmla="*/ 579805 w 1494864"/>
                  <a:gd name="connsiteY659" fmla="*/ 313472 h 941139"/>
                  <a:gd name="connsiteX660" fmla="*/ 579805 w 1494864"/>
                  <a:gd name="connsiteY660" fmla="*/ 312260 h 941139"/>
                  <a:gd name="connsiteX661" fmla="*/ 581307 w 1494864"/>
                  <a:gd name="connsiteY661" fmla="*/ 312260 h 941139"/>
                  <a:gd name="connsiteX662" fmla="*/ 582841 w 1494864"/>
                  <a:gd name="connsiteY662" fmla="*/ 312260 h 941139"/>
                  <a:gd name="connsiteX663" fmla="*/ 582841 w 1494864"/>
                  <a:gd name="connsiteY663" fmla="*/ 309813 h 941139"/>
                  <a:gd name="connsiteX664" fmla="*/ 585899 w 1494864"/>
                  <a:gd name="connsiteY664" fmla="*/ 309813 h 941139"/>
                  <a:gd name="connsiteX665" fmla="*/ 585899 w 1494864"/>
                  <a:gd name="connsiteY665" fmla="*/ 307377 h 941139"/>
                  <a:gd name="connsiteX666" fmla="*/ 587434 w 1494864"/>
                  <a:gd name="connsiteY666" fmla="*/ 307377 h 941139"/>
                  <a:gd name="connsiteX667" fmla="*/ 588968 w 1494864"/>
                  <a:gd name="connsiteY667" fmla="*/ 307377 h 941139"/>
                  <a:gd name="connsiteX668" fmla="*/ 590503 w 1494864"/>
                  <a:gd name="connsiteY668" fmla="*/ 307377 h 941139"/>
                  <a:gd name="connsiteX669" fmla="*/ 592037 w 1494864"/>
                  <a:gd name="connsiteY669" fmla="*/ 307377 h 941139"/>
                  <a:gd name="connsiteX670" fmla="*/ 592037 w 1494864"/>
                  <a:gd name="connsiteY670" fmla="*/ 302428 h 941139"/>
                  <a:gd name="connsiteX671" fmla="*/ 595107 w 1494864"/>
                  <a:gd name="connsiteY671" fmla="*/ 302428 h 941139"/>
                  <a:gd name="connsiteX672" fmla="*/ 595107 w 1494864"/>
                  <a:gd name="connsiteY672" fmla="*/ 301171 h 941139"/>
                  <a:gd name="connsiteX673" fmla="*/ 596630 w 1494864"/>
                  <a:gd name="connsiteY673" fmla="*/ 301171 h 941139"/>
                  <a:gd name="connsiteX674" fmla="*/ 596630 w 1494864"/>
                  <a:gd name="connsiteY674" fmla="*/ 299914 h 941139"/>
                  <a:gd name="connsiteX675" fmla="*/ 598131 w 1494864"/>
                  <a:gd name="connsiteY675" fmla="*/ 299914 h 941139"/>
                  <a:gd name="connsiteX676" fmla="*/ 598131 w 1494864"/>
                  <a:gd name="connsiteY676" fmla="*/ 298658 h 941139"/>
                  <a:gd name="connsiteX677" fmla="*/ 599666 w 1494864"/>
                  <a:gd name="connsiteY677" fmla="*/ 298658 h 941139"/>
                  <a:gd name="connsiteX678" fmla="*/ 601189 w 1494864"/>
                  <a:gd name="connsiteY678" fmla="*/ 298658 h 941139"/>
                  <a:gd name="connsiteX679" fmla="*/ 602735 w 1494864"/>
                  <a:gd name="connsiteY679" fmla="*/ 298658 h 941139"/>
                  <a:gd name="connsiteX680" fmla="*/ 604258 w 1494864"/>
                  <a:gd name="connsiteY680" fmla="*/ 298658 h 941139"/>
                  <a:gd name="connsiteX681" fmla="*/ 604258 w 1494864"/>
                  <a:gd name="connsiteY681" fmla="*/ 297412 h 941139"/>
                  <a:gd name="connsiteX682" fmla="*/ 607328 w 1494864"/>
                  <a:gd name="connsiteY682" fmla="*/ 297412 h 941139"/>
                  <a:gd name="connsiteX683" fmla="*/ 607328 w 1494864"/>
                  <a:gd name="connsiteY683" fmla="*/ 294865 h 941139"/>
                  <a:gd name="connsiteX684" fmla="*/ 608862 w 1494864"/>
                  <a:gd name="connsiteY684" fmla="*/ 294865 h 941139"/>
                  <a:gd name="connsiteX685" fmla="*/ 610397 w 1494864"/>
                  <a:gd name="connsiteY685" fmla="*/ 294865 h 941139"/>
                  <a:gd name="connsiteX686" fmla="*/ 610397 w 1494864"/>
                  <a:gd name="connsiteY686" fmla="*/ 292329 h 941139"/>
                  <a:gd name="connsiteX687" fmla="*/ 611920 w 1494864"/>
                  <a:gd name="connsiteY687" fmla="*/ 292329 h 941139"/>
                  <a:gd name="connsiteX688" fmla="*/ 613466 w 1494864"/>
                  <a:gd name="connsiteY688" fmla="*/ 292329 h 941139"/>
                  <a:gd name="connsiteX689" fmla="*/ 616491 w 1494864"/>
                  <a:gd name="connsiteY689" fmla="*/ 292329 h 941139"/>
                  <a:gd name="connsiteX690" fmla="*/ 616491 w 1494864"/>
                  <a:gd name="connsiteY690" fmla="*/ 291028 h 941139"/>
                  <a:gd name="connsiteX691" fmla="*/ 618025 w 1494864"/>
                  <a:gd name="connsiteY691" fmla="*/ 291028 h 941139"/>
                  <a:gd name="connsiteX692" fmla="*/ 618025 w 1494864"/>
                  <a:gd name="connsiteY692" fmla="*/ 288459 h 941139"/>
                  <a:gd name="connsiteX693" fmla="*/ 619549 w 1494864"/>
                  <a:gd name="connsiteY693" fmla="*/ 288459 h 941139"/>
                  <a:gd name="connsiteX694" fmla="*/ 619549 w 1494864"/>
                  <a:gd name="connsiteY694" fmla="*/ 287135 h 941139"/>
                  <a:gd name="connsiteX695" fmla="*/ 621094 w 1494864"/>
                  <a:gd name="connsiteY695" fmla="*/ 287135 h 941139"/>
                  <a:gd name="connsiteX696" fmla="*/ 621094 w 1494864"/>
                  <a:gd name="connsiteY696" fmla="*/ 283231 h 941139"/>
                  <a:gd name="connsiteX697" fmla="*/ 622618 w 1494864"/>
                  <a:gd name="connsiteY697" fmla="*/ 283231 h 941139"/>
                  <a:gd name="connsiteX698" fmla="*/ 622618 w 1494864"/>
                  <a:gd name="connsiteY698" fmla="*/ 281941 h 941139"/>
                  <a:gd name="connsiteX699" fmla="*/ 624152 w 1494864"/>
                  <a:gd name="connsiteY699" fmla="*/ 281941 h 941139"/>
                  <a:gd name="connsiteX700" fmla="*/ 624152 w 1494864"/>
                  <a:gd name="connsiteY700" fmla="*/ 278004 h 941139"/>
                  <a:gd name="connsiteX701" fmla="*/ 627222 w 1494864"/>
                  <a:gd name="connsiteY701" fmla="*/ 278004 h 941139"/>
                  <a:gd name="connsiteX702" fmla="*/ 627222 w 1494864"/>
                  <a:gd name="connsiteY702" fmla="*/ 275357 h 941139"/>
                  <a:gd name="connsiteX703" fmla="*/ 628756 w 1494864"/>
                  <a:gd name="connsiteY703" fmla="*/ 275357 h 941139"/>
                  <a:gd name="connsiteX704" fmla="*/ 628756 w 1494864"/>
                  <a:gd name="connsiteY704" fmla="*/ 272710 h 941139"/>
                  <a:gd name="connsiteX705" fmla="*/ 630280 w 1494864"/>
                  <a:gd name="connsiteY705" fmla="*/ 272710 h 941139"/>
                  <a:gd name="connsiteX706" fmla="*/ 631814 w 1494864"/>
                  <a:gd name="connsiteY706" fmla="*/ 272710 h 941139"/>
                  <a:gd name="connsiteX707" fmla="*/ 633316 w 1494864"/>
                  <a:gd name="connsiteY707" fmla="*/ 272710 h 941139"/>
                  <a:gd name="connsiteX708" fmla="*/ 633316 w 1494864"/>
                  <a:gd name="connsiteY708" fmla="*/ 271387 h 941139"/>
                  <a:gd name="connsiteX709" fmla="*/ 634850 w 1494864"/>
                  <a:gd name="connsiteY709" fmla="*/ 271387 h 941139"/>
                  <a:gd name="connsiteX710" fmla="*/ 634850 w 1494864"/>
                  <a:gd name="connsiteY710" fmla="*/ 268728 h 941139"/>
                  <a:gd name="connsiteX711" fmla="*/ 636385 w 1494864"/>
                  <a:gd name="connsiteY711" fmla="*/ 268728 h 941139"/>
                  <a:gd name="connsiteX712" fmla="*/ 636385 w 1494864"/>
                  <a:gd name="connsiteY712" fmla="*/ 266048 h 941139"/>
                  <a:gd name="connsiteX713" fmla="*/ 637908 w 1494864"/>
                  <a:gd name="connsiteY713" fmla="*/ 266048 h 941139"/>
                  <a:gd name="connsiteX714" fmla="*/ 637908 w 1494864"/>
                  <a:gd name="connsiteY714" fmla="*/ 264736 h 941139"/>
                  <a:gd name="connsiteX715" fmla="*/ 639443 w 1494864"/>
                  <a:gd name="connsiteY715" fmla="*/ 264736 h 941139"/>
                  <a:gd name="connsiteX716" fmla="*/ 639443 w 1494864"/>
                  <a:gd name="connsiteY716" fmla="*/ 263368 h 941139"/>
                  <a:gd name="connsiteX717" fmla="*/ 640977 w 1494864"/>
                  <a:gd name="connsiteY717" fmla="*/ 263368 h 941139"/>
                  <a:gd name="connsiteX718" fmla="*/ 642512 w 1494864"/>
                  <a:gd name="connsiteY718" fmla="*/ 263368 h 941139"/>
                  <a:gd name="connsiteX719" fmla="*/ 644046 w 1494864"/>
                  <a:gd name="connsiteY719" fmla="*/ 263368 h 941139"/>
                  <a:gd name="connsiteX720" fmla="*/ 644046 w 1494864"/>
                  <a:gd name="connsiteY720" fmla="*/ 260687 h 941139"/>
                  <a:gd name="connsiteX721" fmla="*/ 645581 w 1494864"/>
                  <a:gd name="connsiteY721" fmla="*/ 260687 h 941139"/>
                  <a:gd name="connsiteX722" fmla="*/ 647105 w 1494864"/>
                  <a:gd name="connsiteY722" fmla="*/ 260687 h 941139"/>
                  <a:gd name="connsiteX723" fmla="*/ 647105 w 1494864"/>
                  <a:gd name="connsiteY723" fmla="*/ 259330 h 941139"/>
                  <a:gd name="connsiteX724" fmla="*/ 648639 w 1494864"/>
                  <a:gd name="connsiteY724" fmla="*/ 259330 h 941139"/>
                  <a:gd name="connsiteX725" fmla="*/ 648639 w 1494864"/>
                  <a:gd name="connsiteY725" fmla="*/ 257973 h 941139"/>
                  <a:gd name="connsiteX726" fmla="*/ 651675 w 1494864"/>
                  <a:gd name="connsiteY726" fmla="*/ 257973 h 941139"/>
                  <a:gd name="connsiteX727" fmla="*/ 653210 w 1494864"/>
                  <a:gd name="connsiteY727" fmla="*/ 257973 h 941139"/>
                  <a:gd name="connsiteX728" fmla="*/ 654733 w 1494864"/>
                  <a:gd name="connsiteY728" fmla="*/ 257973 h 941139"/>
                  <a:gd name="connsiteX729" fmla="*/ 654733 w 1494864"/>
                  <a:gd name="connsiteY729" fmla="*/ 256617 h 941139"/>
                  <a:gd name="connsiteX730" fmla="*/ 656267 w 1494864"/>
                  <a:gd name="connsiteY730" fmla="*/ 256617 h 941139"/>
                  <a:gd name="connsiteX731" fmla="*/ 662406 w 1494864"/>
                  <a:gd name="connsiteY731" fmla="*/ 256617 h 941139"/>
                  <a:gd name="connsiteX732" fmla="*/ 663940 w 1494864"/>
                  <a:gd name="connsiteY732" fmla="*/ 256617 h 941139"/>
                  <a:gd name="connsiteX733" fmla="*/ 665464 w 1494864"/>
                  <a:gd name="connsiteY733" fmla="*/ 256617 h 941139"/>
                  <a:gd name="connsiteX734" fmla="*/ 666999 w 1494864"/>
                  <a:gd name="connsiteY734" fmla="*/ 256617 h 941139"/>
                  <a:gd name="connsiteX735" fmla="*/ 666999 w 1494864"/>
                  <a:gd name="connsiteY735" fmla="*/ 255215 h 941139"/>
                  <a:gd name="connsiteX736" fmla="*/ 668533 w 1494864"/>
                  <a:gd name="connsiteY736" fmla="*/ 255215 h 941139"/>
                  <a:gd name="connsiteX737" fmla="*/ 670034 w 1494864"/>
                  <a:gd name="connsiteY737" fmla="*/ 255215 h 941139"/>
                  <a:gd name="connsiteX738" fmla="*/ 670034 w 1494864"/>
                  <a:gd name="connsiteY738" fmla="*/ 253825 h 941139"/>
                  <a:gd name="connsiteX739" fmla="*/ 671569 w 1494864"/>
                  <a:gd name="connsiteY739" fmla="*/ 253825 h 941139"/>
                  <a:gd name="connsiteX740" fmla="*/ 671569 w 1494864"/>
                  <a:gd name="connsiteY740" fmla="*/ 252435 h 941139"/>
                  <a:gd name="connsiteX741" fmla="*/ 673092 w 1494864"/>
                  <a:gd name="connsiteY741" fmla="*/ 252435 h 941139"/>
                  <a:gd name="connsiteX742" fmla="*/ 674627 w 1494864"/>
                  <a:gd name="connsiteY742" fmla="*/ 252435 h 941139"/>
                  <a:gd name="connsiteX743" fmla="*/ 674627 w 1494864"/>
                  <a:gd name="connsiteY743" fmla="*/ 251033 h 941139"/>
                  <a:gd name="connsiteX744" fmla="*/ 676161 w 1494864"/>
                  <a:gd name="connsiteY744" fmla="*/ 251033 h 941139"/>
                  <a:gd name="connsiteX745" fmla="*/ 677696 w 1494864"/>
                  <a:gd name="connsiteY745" fmla="*/ 251033 h 941139"/>
                  <a:gd name="connsiteX746" fmla="*/ 677696 w 1494864"/>
                  <a:gd name="connsiteY746" fmla="*/ 248208 h 941139"/>
                  <a:gd name="connsiteX747" fmla="*/ 682289 w 1494864"/>
                  <a:gd name="connsiteY747" fmla="*/ 248208 h 941139"/>
                  <a:gd name="connsiteX748" fmla="*/ 683823 w 1494864"/>
                  <a:gd name="connsiteY748" fmla="*/ 248208 h 941139"/>
                  <a:gd name="connsiteX749" fmla="*/ 685358 w 1494864"/>
                  <a:gd name="connsiteY749" fmla="*/ 248208 h 941139"/>
                  <a:gd name="connsiteX750" fmla="*/ 686859 w 1494864"/>
                  <a:gd name="connsiteY750" fmla="*/ 248208 h 941139"/>
                  <a:gd name="connsiteX751" fmla="*/ 686859 w 1494864"/>
                  <a:gd name="connsiteY751" fmla="*/ 245395 h 941139"/>
                  <a:gd name="connsiteX752" fmla="*/ 688394 w 1494864"/>
                  <a:gd name="connsiteY752" fmla="*/ 245395 h 941139"/>
                  <a:gd name="connsiteX753" fmla="*/ 688394 w 1494864"/>
                  <a:gd name="connsiteY753" fmla="*/ 243960 h 941139"/>
                  <a:gd name="connsiteX754" fmla="*/ 689917 w 1494864"/>
                  <a:gd name="connsiteY754" fmla="*/ 243960 h 941139"/>
                  <a:gd name="connsiteX755" fmla="*/ 689917 w 1494864"/>
                  <a:gd name="connsiteY755" fmla="*/ 241113 h 941139"/>
                  <a:gd name="connsiteX756" fmla="*/ 691452 w 1494864"/>
                  <a:gd name="connsiteY756" fmla="*/ 241113 h 941139"/>
                  <a:gd name="connsiteX757" fmla="*/ 692986 w 1494864"/>
                  <a:gd name="connsiteY757" fmla="*/ 241113 h 941139"/>
                  <a:gd name="connsiteX758" fmla="*/ 694521 w 1494864"/>
                  <a:gd name="connsiteY758" fmla="*/ 241113 h 941139"/>
                  <a:gd name="connsiteX759" fmla="*/ 696055 w 1494864"/>
                  <a:gd name="connsiteY759" fmla="*/ 241113 h 941139"/>
                  <a:gd name="connsiteX760" fmla="*/ 697579 w 1494864"/>
                  <a:gd name="connsiteY760" fmla="*/ 241113 h 941139"/>
                  <a:gd name="connsiteX761" fmla="*/ 699125 w 1494864"/>
                  <a:gd name="connsiteY761" fmla="*/ 241113 h 941139"/>
                  <a:gd name="connsiteX762" fmla="*/ 699125 w 1494864"/>
                  <a:gd name="connsiteY762" fmla="*/ 239678 h 941139"/>
                  <a:gd name="connsiteX763" fmla="*/ 703717 w 1494864"/>
                  <a:gd name="connsiteY763" fmla="*/ 239678 h 941139"/>
                  <a:gd name="connsiteX764" fmla="*/ 703717 w 1494864"/>
                  <a:gd name="connsiteY764" fmla="*/ 238254 h 941139"/>
                  <a:gd name="connsiteX765" fmla="*/ 705219 w 1494864"/>
                  <a:gd name="connsiteY765" fmla="*/ 238254 h 941139"/>
                  <a:gd name="connsiteX766" fmla="*/ 706753 w 1494864"/>
                  <a:gd name="connsiteY766" fmla="*/ 238254 h 941139"/>
                  <a:gd name="connsiteX767" fmla="*/ 708277 w 1494864"/>
                  <a:gd name="connsiteY767" fmla="*/ 238254 h 941139"/>
                  <a:gd name="connsiteX768" fmla="*/ 709811 w 1494864"/>
                  <a:gd name="connsiteY768" fmla="*/ 238254 h 941139"/>
                  <a:gd name="connsiteX769" fmla="*/ 712880 w 1494864"/>
                  <a:gd name="connsiteY769" fmla="*/ 238254 h 941139"/>
                  <a:gd name="connsiteX770" fmla="*/ 714415 w 1494864"/>
                  <a:gd name="connsiteY770" fmla="*/ 238254 h 941139"/>
                  <a:gd name="connsiteX771" fmla="*/ 715949 w 1494864"/>
                  <a:gd name="connsiteY771" fmla="*/ 238254 h 941139"/>
                  <a:gd name="connsiteX772" fmla="*/ 717484 w 1494864"/>
                  <a:gd name="connsiteY772" fmla="*/ 238254 h 941139"/>
                  <a:gd name="connsiteX773" fmla="*/ 719007 w 1494864"/>
                  <a:gd name="connsiteY773" fmla="*/ 238254 h 941139"/>
                  <a:gd name="connsiteX774" fmla="*/ 720542 w 1494864"/>
                  <a:gd name="connsiteY774" fmla="*/ 238254 h 941139"/>
                  <a:gd name="connsiteX775" fmla="*/ 725113 w 1494864"/>
                  <a:gd name="connsiteY775" fmla="*/ 238254 h 941139"/>
                  <a:gd name="connsiteX776" fmla="*/ 725113 w 1494864"/>
                  <a:gd name="connsiteY776" fmla="*/ 236753 h 941139"/>
                  <a:gd name="connsiteX777" fmla="*/ 726636 w 1494864"/>
                  <a:gd name="connsiteY777" fmla="*/ 236753 h 941139"/>
                  <a:gd name="connsiteX778" fmla="*/ 726636 w 1494864"/>
                  <a:gd name="connsiteY778" fmla="*/ 235251 h 941139"/>
                  <a:gd name="connsiteX779" fmla="*/ 728170 w 1494864"/>
                  <a:gd name="connsiteY779" fmla="*/ 235251 h 941139"/>
                  <a:gd name="connsiteX780" fmla="*/ 728170 w 1494864"/>
                  <a:gd name="connsiteY780" fmla="*/ 233750 h 941139"/>
                  <a:gd name="connsiteX781" fmla="*/ 729705 w 1494864"/>
                  <a:gd name="connsiteY781" fmla="*/ 233750 h 941139"/>
                  <a:gd name="connsiteX782" fmla="*/ 729705 w 1494864"/>
                  <a:gd name="connsiteY782" fmla="*/ 232260 h 941139"/>
                  <a:gd name="connsiteX783" fmla="*/ 731240 w 1494864"/>
                  <a:gd name="connsiteY783" fmla="*/ 232260 h 941139"/>
                  <a:gd name="connsiteX784" fmla="*/ 731240 w 1494864"/>
                  <a:gd name="connsiteY784" fmla="*/ 230758 h 941139"/>
                  <a:gd name="connsiteX785" fmla="*/ 732774 w 1494864"/>
                  <a:gd name="connsiteY785" fmla="*/ 230758 h 941139"/>
                  <a:gd name="connsiteX786" fmla="*/ 735832 w 1494864"/>
                  <a:gd name="connsiteY786" fmla="*/ 230758 h 941139"/>
                  <a:gd name="connsiteX787" fmla="*/ 737367 w 1494864"/>
                  <a:gd name="connsiteY787" fmla="*/ 230758 h 941139"/>
                  <a:gd name="connsiteX788" fmla="*/ 738901 w 1494864"/>
                  <a:gd name="connsiteY788" fmla="*/ 230758 h 941139"/>
                  <a:gd name="connsiteX789" fmla="*/ 740403 w 1494864"/>
                  <a:gd name="connsiteY789" fmla="*/ 230758 h 941139"/>
                  <a:gd name="connsiteX790" fmla="*/ 741937 w 1494864"/>
                  <a:gd name="connsiteY790" fmla="*/ 230758 h 941139"/>
                  <a:gd name="connsiteX791" fmla="*/ 744995 w 1494864"/>
                  <a:gd name="connsiteY791" fmla="*/ 230758 h 941139"/>
                  <a:gd name="connsiteX792" fmla="*/ 744995 w 1494864"/>
                  <a:gd name="connsiteY792" fmla="*/ 229190 h 941139"/>
                  <a:gd name="connsiteX793" fmla="*/ 746530 w 1494864"/>
                  <a:gd name="connsiteY793" fmla="*/ 229190 h 941139"/>
                  <a:gd name="connsiteX794" fmla="*/ 746530 w 1494864"/>
                  <a:gd name="connsiteY794" fmla="*/ 226120 h 941139"/>
                  <a:gd name="connsiteX795" fmla="*/ 748064 w 1494864"/>
                  <a:gd name="connsiteY795" fmla="*/ 226120 h 941139"/>
                  <a:gd name="connsiteX796" fmla="*/ 749599 w 1494864"/>
                  <a:gd name="connsiteY796" fmla="*/ 226120 h 941139"/>
                  <a:gd name="connsiteX797" fmla="*/ 749599 w 1494864"/>
                  <a:gd name="connsiteY797" fmla="*/ 224552 h 941139"/>
                  <a:gd name="connsiteX798" fmla="*/ 751122 w 1494864"/>
                  <a:gd name="connsiteY798" fmla="*/ 224552 h 941139"/>
                  <a:gd name="connsiteX799" fmla="*/ 752668 w 1494864"/>
                  <a:gd name="connsiteY799" fmla="*/ 224552 h 941139"/>
                  <a:gd name="connsiteX800" fmla="*/ 752668 w 1494864"/>
                  <a:gd name="connsiteY800" fmla="*/ 222995 h 941139"/>
                  <a:gd name="connsiteX801" fmla="*/ 754192 w 1494864"/>
                  <a:gd name="connsiteY801" fmla="*/ 222995 h 941139"/>
                  <a:gd name="connsiteX802" fmla="*/ 757228 w 1494864"/>
                  <a:gd name="connsiteY802" fmla="*/ 222995 h 941139"/>
                  <a:gd name="connsiteX803" fmla="*/ 758751 w 1494864"/>
                  <a:gd name="connsiteY803" fmla="*/ 222995 h 941139"/>
                  <a:gd name="connsiteX804" fmla="*/ 760297 w 1494864"/>
                  <a:gd name="connsiteY804" fmla="*/ 222995 h 941139"/>
                  <a:gd name="connsiteX805" fmla="*/ 761820 w 1494864"/>
                  <a:gd name="connsiteY805" fmla="*/ 222995 h 941139"/>
                  <a:gd name="connsiteX806" fmla="*/ 761820 w 1494864"/>
                  <a:gd name="connsiteY806" fmla="*/ 221427 h 941139"/>
                  <a:gd name="connsiteX807" fmla="*/ 763355 w 1494864"/>
                  <a:gd name="connsiteY807" fmla="*/ 221427 h 941139"/>
                  <a:gd name="connsiteX808" fmla="*/ 763355 w 1494864"/>
                  <a:gd name="connsiteY808" fmla="*/ 219825 h 941139"/>
                  <a:gd name="connsiteX809" fmla="*/ 766424 w 1494864"/>
                  <a:gd name="connsiteY809" fmla="*/ 219825 h 941139"/>
                  <a:gd name="connsiteX810" fmla="*/ 766424 w 1494864"/>
                  <a:gd name="connsiteY810" fmla="*/ 218246 h 941139"/>
                  <a:gd name="connsiteX811" fmla="*/ 767958 w 1494864"/>
                  <a:gd name="connsiteY811" fmla="*/ 218246 h 941139"/>
                  <a:gd name="connsiteX812" fmla="*/ 767958 w 1494864"/>
                  <a:gd name="connsiteY812" fmla="*/ 216644 h 941139"/>
                  <a:gd name="connsiteX813" fmla="*/ 769493 w 1494864"/>
                  <a:gd name="connsiteY813" fmla="*/ 216644 h 941139"/>
                  <a:gd name="connsiteX814" fmla="*/ 769493 w 1494864"/>
                  <a:gd name="connsiteY814" fmla="*/ 211906 h 941139"/>
                  <a:gd name="connsiteX815" fmla="*/ 771016 w 1494864"/>
                  <a:gd name="connsiteY815" fmla="*/ 211906 h 941139"/>
                  <a:gd name="connsiteX816" fmla="*/ 771016 w 1494864"/>
                  <a:gd name="connsiteY816" fmla="*/ 210305 h 941139"/>
                  <a:gd name="connsiteX817" fmla="*/ 772551 w 1494864"/>
                  <a:gd name="connsiteY817" fmla="*/ 210305 h 941139"/>
                  <a:gd name="connsiteX818" fmla="*/ 774086 w 1494864"/>
                  <a:gd name="connsiteY818" fmla="*/ 210305 h 941139"/>
                  <a:gd name="connsiteX819" fmla="*/ 778645 w 1494864"/>
                  <a:gd name="connsiteY819" fmla="*/ 210305 h 941139"/>
                  <a:gd name="connsiteX820" fmla="*/ 778645 w 1494864"/>
                  <a:gd name="connsiteY820" fmla="*/ 208703 h 941139"/>
                  <a:gd name="connsiteX821" fmla="*/ 780180 w 1494864"/>
                  <a:gd name="connsiteY821" fmla="*/ 208703 h 941139"/>
                  <a:gd name="connsiteX822" fmla="*/ 781714 w 1494864"/>
                  <a:gd name="connsiteY822" fmla="*/ 208703 h 941139"/>
                  <a:gd name="connsiteX823" fmla="*/ 784783 w 1494864"/>
                  <a:gd name="connsiteY823" fmla="*/ 208703 h 941139"/>
                  <a:gd name="connsiteX824" fmla="*/ 784783 w 1494864"/>
                  <a:gd name="connsiteY824" fmla="*/ 205467 h 941139"/>
                  <a:gd name="connsiteX825" fmla="*/ 786307 w 1494864"/>
                  <a:gd name="connsiteY825" fmla="*/ 205467 h 941139"/>
                  <a:gd name="connsiteX826" fmla="*/ 786307 w 1494864"/>
                  <a:gd name="connsiteY826" fmla="*/ 202219 h 941139"/>
                  <a:gd name="connsiteX827" fmla="*/ 789376 w 1494864"/>
                  <a:gd name="connsiteY827" fmla="*/ 202219 h 941139"/>
                  <a:gd name="connsiteX828" fmla="*/ 789376 w 1494864"/>
                  <a:gd name="connsiteY828" fmla="*/ 200618 h 941139"/>
                  <a:gd name="connsiteX829" fmla="*/ 790910 w 1494864"/>
                  <a:gd name="connsiteY829" fmla="*/ 200618 h 941139"/>
                  <a:gd name="connsiteX830" fmla="*/ 792445 w 1494864"/>
                  <a:gd name="connsiteY830" fmla="*/ 200618 h 941139"/>
                  <a:gd name="connsiteX831" fmla="*/ 793935 w 1494864"/>
                  <a:gd name="connsiteY831" fmla="*/ 200618 h 941139"/>
                  <a:gd name="connsiteX832" fmla="*/ 795481 w 1494864"/>
                  <a:gd name="connsiteY832" fmla="*/ 200618 h 941139"/>
                  <a:gd name="connsiteX833" fmla="*/ 797004 w 1494864"/>
                  <a:gd name="connsiteY833" fmla="*/ 200618 h 941139"/>
                  <a:gd name="connsiteX834" fmla="*/ 797004 w 1494864"/>
                  <a:gd name="connsiteY834" fmla="*/ 198983 h 941139"/>
                  <a:gd name="connsiteX835" fmla="*/ 800074 w 1494864"/>
                  <a:gd name="connsiteY835" fmla="*/ 198983 h 941139"/>
                  <a:gd name="connsiteX836" fmla="*/ 801608 w 1494864"/>
                  <a:gd name="connsiteY836" fmla="*/ 198983 h 941139"/>
                  <a:gd name="connsiteX837" fmla="*/ 803143 w 1494864"/>
                  <a:gd name="connsiteY837" fmla="*/ 198983 h 941139"/>
                  <a:gd name="connsiteX838" fmla="*/ 803143 w 1494864"/>
                  <a:gd name="connsiteY838" fmla="*/ 197314 h 941139"/>
                  <a:gd name="connsiteX839" fmla="*/ 804666 w 1494864"/>
                  <a:gd name="connsiteY839" fmla="*/ 197314 h 941139"/>
                  <a:gd name="connsiteX840" fmla="*/ 804666 w 1494864"/>
                  <a:gd name="connsiteY840" fmla="*/ 194000 h 941139"/>
                  <a:gd name="connsiteX841" fmla="*/ 806212 w 1494864"/>
                  <a:gd name="connsiteY841" fmla="*/ 194000 h 941139"/>
                  <a:gd name="connsiteX842" fmla="*/ 806212 w 1494864"/>
                  <a:gd name="connsiteY842" fmla="*/ 192332 h 941139"/>
                  <a:gd name="connsiteX843" fmla="*/ 810771 w 1494864"/>
                  <a:gd name="connsiteY843" fmla="*/ 192332 h 941139"/>
                  <a:gd name="connsiteX844" fmla="*/ 810771 w 1494864"/>
                  <a:gd name="connsiteY844" fmla="*/ 188984 h 941139"/>
                  <a:gd name="connsiteX845" fmla="*/ 812295 w 1494864"/>
                  <a:gd name="connsiteY845" fmla="*/ 188984 h 941139"/>
                  <a:gd name="connsiteX846" fmla="*/ 812295 w 1494864"/>
                  <a:gd name="connsiteY846" fmla="*/ 187316 h 941139"/>
                  <a:gd name="connsiteX847" fmla="*/ 813840 w 1494864"/>
                  <a:gd name="connsiteY847" fmla="*/ 187316 h 941139"/>
                  <a:gd name="connsiteX848" fmla="*/ 815364 w 1494864"/>
                  <a:gd name="connsiteY848" fmla="*/ 187316 h 941139"/>
                  <a:gd name="connsiteX849" fmla="*/ 816898 w 1494864"/>
                  <a:gd name="connsiteY849" fmla="*/ 187316 h 941139"/>
                  <a:gd name="connsiteX850" fmla="*/ 816898 w 1494864"/>
                  <a:gd name="connsiteY850" fmla="*/ 185603 h 941139"/>
                  <a:gd name="connsiteX851" fmla="*/ 818433 w 1494864"/>
                  <a:gd name="connsiteY851" fmla="*/ 185603 h 941139"/>
                  <a:gd name="connsiteX852" fmla="*/ 818433 w 1494864"/>
                  <a:gd name="connsiteY852" fmla="*/ 182222 h 941139"/>
                  <a:gd name="connsiteX853" fmla="*/ 823025 w 1494864"/>
                  <a:gd name="connsiteY853" fmla="*/ 182222 h 941139"/>
                  <a:gd name="connsiteX854" fmla="*/ 824560 w 1494864"/>
                  <a:gd name="connsiteY854" fmla="*/ 182222 h 941139"/>
                  <a:gd name="connsiteX855" fmla="*/ 826095 w 1494864"/>
                  <a:gd name="connsiteY855" fmla="*/ 182222 h 941139"/>
                  <a:gd name="connsiteX856" fmla="*/ 826095 w 1494864"/>
                  <a:gd name="connsiteY856" fmla="*/ 178808 h 941139"/>
                  <a:gd name="connsiteX857" fmla="*/ 827629 w 1494864"/>
                  <a:gd name="connsiteY857" fmla="*/ 178808 h 941139"/>
                  <a:gd name="connsiteX858" fmla="*/ 829130 w 1494864"/>
                  <a:gd name="connsiteY858" fmla="*/ 178808 h 941139"/>
                  <a:gd name="connsiteX859" fmla="*/ 829130 w 1494864"/>
                  <a:gd name="connsiteY859" fmla="*/ 177106 h 941139"/>
                  <a:gd name="connsiteX860" fmla="*/ 830654 w 1494864"/>
                  <a:gd name="connsiteY860" fmla="*/ 177106 h 941139"/>
                  <a:gd name="connsiteX861" fmla="*/ 830654 w 1494864"/>
                  <a:gd name="connsiteY861" fmla="*/ 175393 h 941139"/>
                  <a:gd name="connsiteX862" fmla="*/ 832189 w 1494864"/>
                  <a:gd name="connsiteY862" fmla="*/ 175393 h 941139"/>
                  <a:gd name="connsiteX863" fmla="*/ 833723 w 1494864"/>
                  <a:gd name="connsiteY863" fmla="*/ 175393 h 941139"/>
                  <a:gd name="connsiteX864" fmla="*/ 833723 w 1494864"/>
                  <a:gd name="connsiteY864" fmla="*/ 173658 h 941139"/>
                  <a:gd name="connsiteX865" fmla="*/ 835258 w 1494864"/>
                  <a:gd name="connsiteY865" fmla="*/ 173658 h 941139"/>
                  <a:gd name="connsiteX866" fmla="*/ 835258 w 1494864"/>
                  <a:gd name="connsiteY866" fmla="*/ 171945 h 941139"/>
                  <a:gd name="connsiteX867" fmla="*/ 836792 w 1494864"/>
                  <a:gd name="connsiteY867" fmla="*/ 171945 h 941139"/>
                  <a:gd name="connsiteX868" fmla="*/ 838327 w 1494864"/>
                  <a:gd name="connsiteY868" fmla="*/ 171945 h 941139"/>
                  <a:gd name="connsiteX869" fmla="*/ 839850 w 1494864"/>
                  <a:gd name="connsiteY869" fmla="*/ 171945 h 941139"/>
                  <a:gd name="connsiteX870" fmla="*/ 839850 w 1494864"/>
                  <a:gd name="connsiteY870" fmla="*/ 170166 h 941139"/>
                  <a:gd name="connsiteX871" fmla="*/ 842919 w 1494864"/>
                  <a:gd name="connsiteY871" fmla="*/ 170166 h 941139"/>
                  <a:gd name="connsiteX872" fmla="*/ 844454 w 1494864"/>
                  <a:gd name="connsiteY872" fmla="*/ 170166 h 941139"/>
                  <a:gd name="connsiteX873" fmla="*/ 845955 w 1494864"/>
                  <a:gd name="connsiteY873" fmla="*/ 170166 h 941139"/>
                  <a:gd name="connsiteX874" fmla="*/ 845955 w 1494864"/>
                  <a:gd name="connsiteY874" fmla="*/ 166651 h 941139"/>
                  <a:gd name="connsiteX875" fmla="*/ 847479 w 1494864"/>
                  <a:gd name="connsiteY875" fmla="*/ 166651 h 941139"/>
                  <a:gd name="connsiteX876" fmla="*/ 849024 w 1494864"/>
                  <a:gd name="connsiteY876" fmla="*/ 166651 h 941139"/>
                  <a:gd name="connsiteX877" fmla="*/ 849024 w 1494864"/>
                  <a:gd name="connsiteY877" fmla="*/ 164872 h 941139"/>
                  <a:gd name="connsiteX878" fmla="*/ 850548 w 1494864"/>
                  <a:gd name="connsiteY878" fmla="*/ 164872 h 941139"/>
                  <a:gd name="connsiteX879" fmla="*/ 850548 w 1494864"/>
                  <a:gd name="connsiteY879" fmla="*/ 163092 h 941139"/>
                  <a:gd name="connsiteX880" fmla="*/ 852083 w 1494864"/>
                  <a:gd name="connsiteY880" fmla="*/ 163092 h 941139"/>
                  <a:gd name="connsiteX881" fmla="*/ 852083 w 1494864"/>
                  <a:gd name="connsiteY881" fmla="*/ 161324 h 941139"/>
                  <a:gd name="connsiteX882" fmla="*/ 853617 w 1494864"/>
                  <a:gd name="connsiteY882" fmla="*/ 161324 h 941139"/>
                  <a:gd name="connsiteX883" fmla="*/ 855152 w 1494864"/>
                  <a:gd name="connsiteY883" fmla="*/ 161324 h 941139"/>
                  <a:gd name="connsiteX884" fmla="*/ 856686 w 1494864"/>
                  <a:gd name="connsiteY884" fmla="*/ 161324 h 941139"/>
                  <a:gd name="connsiteX885" fmla="*/ 856686 w 1494864"/>
                  <a:gd name="connsiteY885" fmla="*/ 159544 h 941139"/>
                  <a:gd name="connsiteX886" fmla="*/ 858210 w 1494864"/>
                  <a:gd name="connsiteY886" fmla="*/ 159544 h 941139"/>
                  <a:gd name="connsiteX887" fmla="*/ 858210 w 1494864"/>
                  <a:gd name="connsiteY887" fmla="*/ 157731 h 941139"/>
                  <a:gd name="connsiteX888" fmla="*/ 859744 w 1494864"/>
                  <a:gd name="connsiteY888" fmla="*/ 157731 h 941139"/>
                  <a:gd name="connsiteX889" fmla="*/ 859744 w 1494864"/>
                  <a:gd name="connsiteY889" fmla="*/ 155919 h 941139"/>
                  <a:gd name="connsiteX890" fmla="*/ 865838 w 1494864"/>
                  <a:gd name="connsiteY890" fmla="*/ 155919 h 941139"/>
                  <a:gd name="connsiteX891" fmla="*/ 867373 w 1494864"/>
                  <a:gd name="connsiteY891" fmla="*/ 155919 h 941139"/>
                  <a:gd name="connsiteX892" fmla="*/ 868907 w 1494864"/>
                  <a:gd name="connsiteY892" fmla="*/ 155919 h 941139"/>
                  <a:gd name="connsiteX893" fmla="*/ 870442 w 1494864"/>
                  <a:gd name="connsiteY893" fmla="*/ 155919 h 941139"/>
                  <a:gd name="connsiteX894" fmla="*/ 873511 w 1494864"/>
                  <a:gd name="connsiteY894" fmla="*/ 155919 h 941139"/>
                  <a:gd name="connsiteX895" fmla="*/ 873511 w 1494864"/>
                  <a:gd name="connsiteY895" fmla="*/ 154072 h 941139"/>
                  <a:gd name="connsiteX896" fmla="*/ 875034 w 1494864"/>
                  <a:gd name="connsiteY896" fmla="*/ 154072 h 941139"/>
                  <a:gd name="connsiteX897" fmla="*/ 876569 w 1494864"/>
                  <a:gd name="connsiteY897" fmla="*/ 154072 h 941139"/>
                  <a:gd name="connsiteX898" fmla="*/ 876569 w 1494864"/>
                  <a:gd name="connsiteY898" fmla="*/ 152226 h 941139"/>
                  <a:gd name="connsiteX899" fmla="*/ 878104 w 1494864"/>
                  <a:gd name="connsiteY899" fmla="*/ 152226 h 941139"/>
                  <a:gd name="connsiteX900" fmla="*/ 879638 w 1494864"/>
                  <a:gd name="connsiteY900" fmla="*/ 152226 h 941139"/>
                  <a:gd name="connsiteX901" fmla="*/ 879638 w 1494864"/>
                  <a:gd name="connsiteY901" fmla="*/ 150380 h 941139"/>
                  <a:gd name="connsiteX902" fmla="*/ 881139 w 1494864"/>
                  <a:gd name="connsiteY902" fmla="*/ 150380 h 941139"/>
                  <a:gd name="connsiteX903" fmla="*/ 887267 w 1494864"/>
                  <a:gd name="connsiteY903" fmla="*/ 150380 h 941139"/>
                  <a:gd name="connsiteX904" fmla="*/ 888801 w 1494864"/>
                  <a:gd name="connsiteY904" fmla="*/ 150380 h 941139"/>
                  <a:gd name="connsiteX905" fmla="*/ 890336 w 1494864"/>
                  <a:gd name="connsiteY905" fmla="*/ 150380 h 941139"/>
                  <a:gd name="connsiteX906" fmla="*/ 891870 w 1494864"/>
                  <a:gd name="connsiteY906" fmla="*/ 150380 h 941139"/>
                  <a:gd name="connsiteX907" fmla="*/ 891870 w 1494864"/>
                  <a:gd name="connsiteY907" fmla="*/ 148467 h 941139"/>
                  <a:gd name="connsiteX908" fmla="*/ 896463 w 1494864"/>
                  <a:gd name="connsiteY908" fmla="*/ 148467 h 941139"/>
                  <a:gd name="connsiteX909" fmla="*/ 896463 w 1494864"/>
                  <a:gd name="connsiteY909" fmla="*/ 146543 h 941139"/>
                  <a:gd name="connsiteX910" fmla="*/ 897998 w 1494864"/>
                  <a:gd name="connsiteY910" fmla="*/ 146543 h 941139"/>
                  <a:gd name="connsiteX911" fmla="*/ 899499 w 1494864"/>
                  <a:gd name="connsiteY911" fmla="*/ 146543 h 941139"/>
                  <a:gd name="connsiteX912" fmla="*/ 901022 w 1494864"/>
                  <a:gd name="connsiteY912" fmla="*/ 146543 h 941139"/>
                  <a:gd name="connsiteX913" fmla="*/ 902557 w 1494864"/>
                  <a:gd name="connsiteY913" fmla="*/ 146543 h 941139"/>
                  <a:gd name="connsiteX914" fmla="*/ 902557 w 1494864"/>
                  <a:gd name="connsiteY914" fmla="*/ 144563 h 941139"/>
                  <a:gd name="connsiteX915" fmla="*/ 904092 w 1494864"/>
                  <a:gd name="connsiteY915" fmla="*/ 144563 h 941139"/>
                  <a:gd name="connsiteX916" fmla="*/ 904092 w 1494864"/>
                  <a:gd name="connsiteY916" fmla="*/ 142606 h 941139"/>
                  <a:gd name="connsiteX917" fmla="*/ 907161 w 1494864"/>
                  <a:gd name="connsiteY917" fmla="*/ 142606 h 941139"/>
                  <a:gd name="connsiteX918" fmla="*/ 911753 w 1494864"/>
                  <a:gd name="connsiteY918" fmla="*/ 142606 h 941139"/>
                  <a:gd name="connsiteX919" fmla="*/ 913288 w 1494864"/>
                  <a:gd name="connsiteY919" fmla="*/ 142606 h 941139"/>
                  <a:gd name="connsiteX920" fmla="*/ 916357 w 1494864"/>
                  <a:gd name="connsiteY920" fmla="*/ 142606 h 941139"/>
                  <a:gd name="connsiteX921" fmla="*/ 916357 w 1494864"/>
                  <a:gd name="connsiteY921" fmla="*/ 140593 h 941139"/>
                  <a:gd name="connsiteX922" fmla="*/ 919382 w 1494864"/>
                  <a:gd name="connsiteY922" fmla="*/ 140593 h 941139"/>
                  <a:gd name="connsiteX923" fmla="*/ 920916 w 1494864"/>
                  <a:gd name="connsiteY923" fmla="*/ 140593 h 941139"/>
                  <a:gd name="connsiteX924" fmla="*/ 923985 w 1494864"/>
                  <a:gd name="connsiteY924" fmla="*/ 140593 h 941139"/>
                  <a:gd name="connsiteX925" fmla="*/ 925520 w 1494864"/>
                  <a:gd name="connsiteY925" fmla="*/ 140593 h 941139"/>
                  <a:gd name="connsiteX926" fmla="*/ 925520 w 1494864"/>
                  <a:gd name="connsiteY926" fmla="*/ 138568 h 941139"/>
                  <a:gd name="connsiteX927" fmla="*/ 928578 w 1494864"/>
                  <a:gd name="connsiteY927" fmla="*/ 138568 h 941139"/>
                  <a:gd name="connsiteX928" fmla="*/ 930113 w 1494864"/>
                  <a:gd name="connsiteY928" fmla="*/ 138568 h 941139"/>
                  <a:gd name="connsiteX929" fmla="*/ 931647 w 1494864"/>
                  <a:gd name="connsiteY929" fmla="*/ 138568 h 941139"/>
                  <a:gd name="connsiteX930" fmla="*/ 931647 w 1494864"/>
                  <a:gd name="connsiteY930" fmla="*/ 136511 h 941139"/>
                  <a:gd name="connsiteX931" fmla="*/ 933182 w 1494864"/>
                  <a:gd name="connsiteY931" fmla="*/ 136511 h 941139"/>
                  <a:gd name="connsiteX932" fmla="*/ 934683 w 1494864"/>
                  <a:gd name="connsiteY932" fmla="*/ 136511 h 941139"/>
                  <a:gd name="connsiteX933" fmla="*/ 934683 w 1494864"/>
                  <a:gd name="connsiteY933" fmla="*/ 134453 h 941139"/>
                  <a:gd name="connsiteX934" fmla="*/ 939276 w 1494864"/>
                  <a:gd name="connsiteY934" fmla="*/ 134453 h 941139"/>
                  <a:gd name="connsiteX935" fmla="*/ 940810 w 1494864"/>
                  <a:gd name="connsiteY935" fmla="*/ 134453 h 941139"/>
                  <a:gd name="connsiteX936" fmla="*/ 940810 w 1494864"/>
                  <a:gd name="connsiteY936" fmla="*/ 132329 h 941139"/>
                  <a:gd name="connsiteX937" fmla="*/ 942345 w 1494864"/>
                  <a:gd name="connsiteY937" fmla="*/ 132329 h 941139"/>
                  <a:gd name="connsiteX938" fmla="*/ 943879 w 1494864"/>
                  <a:gd name="connsiteY938" fmla="*/ 132329 h 941139"/>
                  <a:gd name="connsiteX939" fmla="*/ 945414 w 1494864"/>
                  <a:gd name="connsiteY939" fmla="*/ 132329 h 941139"/>
                  <a:gd name="connsiteX940" fmla="*/ 946937 w 1494864"/>
                  <a:gd name="connsiteY940" fmla="*/ 132329 h 941139"/>
                  <a:gd name="connsiteX941" fmla="*/ 946937 w 1494864"/>
                  <a:gd name="connsiteY941" fmla="*/ 130205 h 941139"/>
                  <a:gd name="connsiteX942" fmla="*/ 950007 w 1494864"/>
                  <a:gd name="connsiteY942" fmla="*/ 130205 h 941139"/>
                  <a:gd name="connsiteX943" fmla="*/ 951541 w 1494864"/>
                  <a:gd name="connsiteY943" fmla="*/ 130205 h 941139"/>
                  <a:gd name="connsiteX944" fmla="*/ 951541 w 1494864"/>
                  <a:gd name="connsiteY944" fmla="*/ 128047 h 941139"/>
                  <a:gd name="connsiteX945" fmla="*/ 953042 w 1494864"/>
                  <a:gd name="connsiteY945" fmla="*/ 128047 h 941139"/>
                  <a:gd name="connsiteX946" fmla="*/ 953042 w 1494864"/>
                  <a:gd name="connsiteY946" fmla="*/ 123765 h 941139"/>
                  <a:gd name="connsiteX947" fmla="*/ 954566 w 1494864"/>
                  <a:gd name="connsiteY947" fmla="*/ 123765 h 941139"/>
                  <a:gd name="connsiteX948" fmla="*/ 956100 w 1494864"/>
                  <a:gd name="connsiteY948" fmla="*/ 123765 h 941139"/>
                  <a:gd name="connsiteX949" fmla="*/ 959170 w 1494864"/>
                  <a:gd name="connsiteY949" fmla="*/ 123765 h 941139"/>
                  <a:gd name="connsiteX950" fmla="*/ 959170 w 1494864"/>
                  <a:gd name="connsiteY950" fmla="*/ 121563 h 941139"/>
                  <a:gd name="connsiteX951" fmla="*/ 960704 w 1494864"/>
                  <a:gd name="connsiteY951" fmla="*/ 121563 h 941139"/>
                  <a:gd name="connsiteX952" fmla="*/ 962239 w 1494864"/>
                  <a:gd name="connsiteY952" fmla="*/ 121563 h 941139"/>
                  <a:gd name="connsiteX953" fmla="*/ 963762 w 1494864"/>
                  <a:gd name="connsiteY953" fmla="*/ 121563 h 941139"/>
                  <a:gd name="connsiteX954" fmla="*/ 965297 w 1494864"/>
                  <a:gd name="connsiteY954" fmla="*/ 121563 h 941139"/>
                  <a:gd name="connsiteX955" fmla="*/ 965297 w 1494864"/>
                  <a:gd name="connsiteY955" fmla="*/ 119338 h 941139"/>
                  <a:gd name="connsiteX956" fmla="*/ 966831 w 1494864"/>
                  <a:gd name="connsiteY956" fmla="*/ 119338 h 941139"/>
                  <a:gd name="connsiteX957" fmla="*/ 972925 w 1494864"/>
                  <a:gd name="connsiteY957" fmla="*/ 119338 h 941139"/>
                  <a:gd name="connsiteX958" fmla="*/ 972925 w 1494864"/>
                  <a:gd name="connsiteY958" fmla="*/ 114879 h 941139"/>
                  <a:gd name="connsiteX959" fmla="*/ 974460 w 1494864"/>
                  <a:gd name="connsiteY959" fmla="*/ 114879 h 941139"/>
                  <a:gd name="connsiteX960" fmla="*/ 975994 w 1494864"/>
                  <a:gd name="connsiteY960" fmla="*/ 114879 h 941139"/>
                  <a:gd name="connsiteX961" fmla="*/ 975994 w 1494864"/>
                  <a:gd name="connsiteY961" fmla="*/ 112576 h 941139"/>
                  <a:gd name="connsiteX962" fmla="*/ 977529 w 1494864"/>
                  <a:gd name="connsiteY962" fmla="*/ 112576 h 941139"/>
                  <a:gd name="connsiteX963" fmla="*/ 980598 w 1494864"/>
                  <a:gd name="connsiteY963" fmla="*/ 112576 h 941139"/>
                  <a:gd name="connsiteX964" fmla="*/ 980598 w 1494864"/>
                  <a:gd name="connsiteY964" fmla="*/ 110274 h 941139"/>
                  <a:gd name="connsiteX965" fmla="*/ 982122 w 1494864"/>
                  <a:gd name="connsiteY965" fmla="*/ 110274 h 941139"/>
                  <a:gd name="connsiteX966" fmla="*/ 983656 w 1494864"/>
                  <a:gd name="connsiteY966" fmla="*/ 110274 h 941139"/>
                  <a:gd name="connsiteX967" fmla="*/ 985191 w 1494864"/>
                  <a:gd name="connsiteY967" fmla="*/ 110274 h 941139"/>
                  <a:gd name="connsiteX968" fmla="*/ 986725 w 1494864"/>
                  <a:gd name="connsiteY968" fmla="*/ 110274 h 941139"/>
                  <a:gd name="connsiteX969" fmla="*/ 988227 w 1494864"/>
                  <a:gd name="connsiteY969" fmla="*/ 110274 h 941139"/>
                  <a:gd name="connsiteX970" fmla="*/ 992819 w 1494864"/>
                  <a:gd name="connsiteY970" fmla="*/ 110274 h 941139"/>
                  <a:gd name="connsiteX971" fmla="*/ 994354 w 1494864"/>
                  <a:gd name="connsiteY971" fmla="*/ 110274 h 941139"/>
                  <a:gd name="connsiteX972" fmla="*/ 995888 w 1494864"/>
                  <a:gd name="connsiteY972" fmla="*/ 110274 h 941139"/>
                  <a:gd name="connsiteX973" fmla="*/ 997412 w 1494864"/>
                  <a:gd name="connsiteY973" fmla="*/ 110274 h 941139"/>
                  <a:gd name="connsiteX974" fmla="*/ 998958 w 1494864"/>
                  <a:gd name="connsiteY974" fmla="*/ 110274 h 941139"/>
                  <a:gd name="connsiteX975" fmla="*/ 1005040 w 1494864"/>
                  <a:gd name="connsiteY975" fmla="*/ 110274 h 941139"/>
                  <a:gd name="connsiteX976" fmla="*/ 1006586 w 1494864"/>
                  <a:gd name="connsiteY976" fmla="*/ 110274 h 941139"/>
                  <a:gd name="connsiteX977" fmla="*/ 1008109 w 1494864"/>
                  <a:gd name="connsiteY977" fmla="*/ 110274 h 941139"/>
                  <a:gd name="connsiteX978" fmla="*/ 1008109 w 1494864"/>
                  <a:gd name="connsiteY978" fmla="*/ 107905 h 941139"/>
                  <a:gd name="connsiteX979" fmla="*/ 1009644 w 1494864"/>
                  <a:gd name="connsiteY979" fmla="*/ 107905 h 941139"/>
                  <a:gd name="connsiteX980" fmla="*/ 1009644 w 1494864"/>
                  <a:gd name="connsiteY980" fmla="*/ 105503 h 941139"/>
                  <a:gd name="connsiteX981" fmla="*/ 1015782 w 1494864"/>
                  <a:gd name="connsiteY981" fmla="*/ 105503 h 941139"/>
                  <a:gd name="connsiteX982" fmla="*/ 1017306 w 1494864"/>
                  <a:gd name="connsiteY982" fmla="*/ 105503 h 941139"/>
                  <a:gd name="connsiteX983" fmla="*/ 1018840 w 1494864"/>
                  <a:gd name="connsiteY983" fmla="*/ 105503 h 941139"/>
                  <a:gd name="connsiteX984" fmla="*/ 1018840 w 1494864"/>
                  <a:gd name="connsiteY984" fmla="*/ 103100 h 941139"/>
                  <a:gd name="connsiteX985" fmla="*/ 1020375 w 1494864"/>
                  <a:gd name="connsiteY985" fmla="*/ 103100 h 941139"/>
                  <a:gd name="connsiteX986" fmla="*/ 1020375 w 1494864"/>
                  <a:gd name="connsiteY986" fmla="*/ 100665 h 941139"/>
                  <a:gd name="connsiteX987" fmla="*/ 1023411 w 1494864"/>
                  <a:gd name="connsiteY987" fmla="*/ 100665 h 941139"/>
                  <a:gd name="connsiteX988" fmla="*/ 1023411 w 1494864"/>
                  <a:gd name="connsiteY988" fmla="*/ 98185 h 941139"/>
                  <a:gd name="connsiteX989" fmla="*/ 1024934 w 1494864"/>
                  <a:gd name="connsiteY989" fmla="*/ 98185 h 941139"/>
                  <a:gd name="connsiteX990" fmla="*/ 1026469 w 1494864"/>
                  <a:gd name="connsiteY990" fmla="*/ 98185 h 941139"/>
                  <a:gd name="connsiteX991" fmla="*/ 1028003 w 1494864"/>
                  <a:gd name="connsiteY991" fmla="*/ 98185 h 941139"/>
                  <a:gd name="connsiteX992" fmla="*/ 1029538 w 1494864"/>
                  <a:gd name="connsiteY992" fmla="*/ 98185 h 941139"/>
                  <a:gd name="connsiteX993" fmla="*/ 1031073 w 1494864"/>
                  <a:gd name="connsiteY993" fmla="*/ 98185 h 941139"/>
                  <a:gd name="connsiteX994" fmla="*/ 1034142 w 1494864"/>
                  <a:gd name="connsiteY994" fmla="*/ 98185 h 941139"/>
                  <a:gd name="connsiteX995" fmla="*/ 1035665 w 1494864"/>
                  <a:gd name="connsiteY995" fmla="*/ 98185 h 941139"/>
                  <a:gd name="connsiteX996" fmla="*/ 1037200 w 1494864"/>
                  <a:gd name="connsiteY996" fmla="*/ 98185 h 941139"/>
                  <a:gd name="connsiteX997" fmla="*/ 1040269 w 1494864"/>
                  <a:gd name="connsiteY997" fmla="*/ 98185 h 941139"/>
                  <a:gd name="connsiteX998" fmla="*/ 1041770 w 1494864"/>
                  <a:gd name="connsiteY998" fmla="*/ 98185 h 941139"/>
                  <a:gd name="connsiteX999" fmla="*/ 1041770 w 1494864"/>
                  <a:gd name="connsiteY999" fmla="*/ 95615 h 941139"/>
                  <a:gd name="connsiteX1000" fmla="*/ 1046363 w 1494864"/>
                  <a:gd name="connsiteY1000" fmla="*/ 95615 h 941139"/>
                  <a:gd name="connsiteX1001" fmla="*/ 1047897 w 1494864"/>
                  <a:gd name="connsiteY1001" fmla="*/ 95615 h 941139"/>
                  <a:gd name="connsiteX1002" fmla="*/ 1047897 w 1494864"/>
                  <a:gd name="connsiteY1002" fmla="*/ 93002 h 941139"/>
                  <a:gd name="connsiteX1003" fmla="*/ 1049432 w 1494864"/>
                  <a:gd name="connsiteY1003" fmla="*/ 93002 h 941139"/>
                  <a:gd name="connsiteX1004" fmla="*/ 1050956 w 1494864"/>
                  <a:gd name="connsiteY1004" fmla="*/ 93002 h 941139"/>
                  <a:gd name="connsiteX1005" fmla="*/ 1055559 w 1494864"/>
                  <a:gd name="connsiteY1005" fmla="*/ 93002 h 941139"/>
                  <a:gd name="connsiteX1006" fmla="*/ 1057094 w 1494864"/>
                  <a:gd name="connsiteY1006" fmla="*/ 93002 h 941139"/>
                  <a:gd name="connsiteX1007" fmla="*/ 1057094 w 1494864"/>
                  <a:gd name="connsiteY1007" fmla="*/ 90344 h 941139"/>
                  <a:gd name="connsiteX1008" fmla="*/ 1058584 w 1494864"/>
                  <a:gd name="connsiteY1008" fmla="*/ 90344 h 941139"/>
                  <a:gd name="connsiteX1009" fmla="*/ 1060118 w 1494864"/>
                  <a:gd name="connsiteY1009" fmla="*/ 90344 h 941139"/>
                  <a:gd name="connsiteX1010" fmla="*/ 1061653 w 1494864"/>
                  <a:gd name="connsiteY1010" fmla="*/ 90344 h 941139"/>
                  <a:gd name="connsiteX1011" fmla="*/ 1063188 w 1494864"/>
                  <a:gd name="connsiteY1011" fmla="*/ 90344 h 941139"/>
                  <a:gd name="connsiteX1012" fmla="*/ 1064722 w 1494864"/>
                  <a:gd name="connsiteY1012" fmla="*/ 90344 h 941139"/>
                  <a:gd name="connsiteX1013" fmla="*/ 1067780 w 1494864"/>
                  <a:gd name="connsiteY1013" fmla="*/ 90344 h 941139"/>
                  <a:gd name="connsiteX1014" fmla="*/ 1069315 w 1494864"/>
                  <a:gd name="connsiteY1014" fmla="*/ 90344 h 941139"/>
                  <a:gd name="connsiteX1015" fmla="*/ 1072384 w 1494864"/>
                  <a:gd name="connsiteY1015" fmla="*/ 90344 h 941139"/>
                  <a:gd name="connsiteX1016" fmla="*/ 1073919 w 1494864"/>
                  <a:gd name="connsiteY1016" fmla="*/ 90344 h 941139"/>
                  <a:gd name="connsiteX1017" fmla="*/ 1075453 w 1494864"/>
                  <a:gd name="connsiteY1017" fmla="*/ 90344 h 941139"/>
                  <a:gd name="connsiteX1018" fmla="*/ 1075453 w 1494864"/>
                  <a:gd name="connsiteY1018" fmla="*/ 87530 h 941139"/>
                  <a:gd name="connsiteX1019" fmla="*/ 1080012 w 1494864"/>
                  <a:gd name="connsiteY1019" fmla="*/ 87530 h 941139"/>
                  <a:gd name="connsiteX1020" fmla="*/ 1081547 w 1494864"/>
                  <a:gd name="connsiteY1020" fmla="*/ 87530 h 941139"/>
                  <a:gd name="connsiteX1021" fmla="*/ 1083082 w 1494864"/>
                  <a:gd name="connsiteY1021" fmla="*/ 87530 h 941139"/>
                  <a:gd name="connsiteX1022" fmla="*/ 1089209 w 1494864"/>
                  <a:gd name="connsiteY1022" fmla="*/ 87530 h 941139"/>
                  <a:gd name="connsiteX1023" fmla="*/ 1090743 w 1494864"/>
                  <a:gd name="connsiteY1023" fmla="*/ 87530 h 941139"/>
                  <a:gd name="connsiteX1024" fmla="*/ 1092278 w 1494864"/>
                  <a:gd name="connsiteY1024" fmla="*/ 87530 h 941139"/>
                  <a:gd name="connsiteX1025" fmla="*/ 1093768 w 1494864"/>
                  <a:gd name="connsiteY1025" fmla="*/ 87530 h 941139"/>
                  <a:gd name="connsiteX1026" fmla="*/ 1093768 w 1494864"/>
                  <a:gd name="connsiteY1026" fmla="*/ 84594 h 941139"/>
                  <a:gd name="connsiteX1027" fmla="*/ 1095314 w 1494864"/>
                  <a:gd name="connsiteY1027" fmla="*/ 84594 h 941139"/>
                  <a:gd name="connsiteX1028" fmla="*/ 1096837 w 1494864"/>
                  <a:gd name="connsiteY1028" fmla="*/ 84594 h 941139"/>
                  <a:gd name="connsiteX1029" fmla="*/ 1096837 w 1494864"/>
                  <a:gd name="connsiteY1029" fmla="*/ 81635 h 941139"/>
                  <a:gd name="connsiteX1030" fmla="*/ 1098372 w 1494864"/>
                  <a:gd name="connsiteY1030" fmla="*/ 81635 h 941139"/>
                  <a:gd name="connsiteX1031" fmla="*/ 1101441 w 1494864"/>
                  <a:gd name="connsiteY1031" fmla="*/ 81635 h 941139"/>
                  <a:gd name="connsiteX1032" fmla="*/ 1101441 w 1494864"/>
                  <a:gd name="connsiteY1032" fmla="*/ 72649 h 941139"/>
                  <a:gd name="connsiteX1033" fmla="*/ 1102976 w 1494864"/>
                  <a:gd name="connsiteY1033" fmla="*/ 72649 h 941139"/>
                  <a:gd name="connsiteX1034" fmla="*/ 1104499 w 1494864"/>
                  <a:gd name="connsiteY1034" fmla="*/ 72649 h 941139"/>
                  <a:gd name="connsiteX1035" fmla="*/ 1106034 w 1494864"/>
                  <a:gd name="connsiteY1035" fmla="*/ 72649 h 941139"/>
                  <a:gd name="connsiteX1036" fmla="*/ 1109103 w 1494864"/>
                  <a:gd name="connsiteY1036" fmla="*/ 72649 h 941139"/>
                  <a:gd name="connsiteX1037" fmla="*/ 1110626 w 1494864"/>
                  <a:gd name="connsiteY1037" fmla="*/ 72649 h 941139"/>
                  <a:gd name="connsiteX1038" fmla="*/ 1112127 w 1494864"/>
                  <a:gd name="connsiteY1038" fmla="*/ 72649 h 941139"/>
                  <a:gd name="connsiteX1039" fmla="*/ 1113662 w 1494864"/>
                  <a:gd name="connsiteY1039" fmla="*/ 72649 h 941139"/>
                  <a:gd name="connsiteX1040" fmla="*/ 1113662 w 1494864"/>
                  <a:gd name="connsiteY1040" fmla="*/ 69512 h 941139"/>
                  <a:gd name="connsiteX1041" fmla="*/ 1115197 w 1494864"/>
                  <a:gd name="connsiteY1041" fmla="*/ 69512 h 941139"/>
                  <a:gd name="connsiteX1042" fmla="*/ 1116731 w 1494864"/>
                  <a:gd name="connsiteY1042" fmla="*/ 69512 h 941139"/>
                  <a:gd name="connsiteX1043" fmla="*/ 1121324 w 1494864"/>
                  <a:gd name="connsiteY1043" fmla="*/ 69512 h 941139"/>
                  <a:gd name="connsiteX1044" fmla="*/ 1121324 w 1494864"/>
                  <a:gd name="connsiteY1044" fmla="*/ 66309 h 941139"/>
                  <a:gd name="connsiteX1045" fmla="*/ 1122858 w 1494864"/>
                  <a:gd name="connsiteY1045" fmla="*/ 66309 h 941139"/>
                  <a:gd name="connsiteX1046" fmla="*/ 1124393 w 1494864"/>
                  <a:gd name="connsiteY1046" fmla="*/ 66309 h 941139"/>
                  <a:gd name="connsiteX1047" fmla="*/ 1125928 w 1494864"/>
                  <a:gd name="connsiteY1047" fmla="*/ 66309 h 941139"/>
                  <a:gd name="connsiteX1048" fmla="*/ 1127462 w 1494864"/>
                  <a:gd name="connsiteY1048" fmla="*/ 66309 h 941139"/>
                  <a:gd name="connsiteX1049" fmla="*/ 1133556 w 1494864"/>
                  <a:gd name="connsiteY1049" fmla="*/ 66309 h 941139"/>
                  <a:gd name="connsiteX1050" fmla="*/ 1135091 w 1494864"/>
                  <a:gd name="connsiteY1050" fmla="*/ 66309 h 941139"/>
                  <a:gd name="connsiteX1051" fmla="*/ 1136625 w 1494864"/>
                  <a:gd name="connsiteY1051" fmla="*/ 66309 h 941139"/>
                  <a:gd name="connsiteX1052" fmla="*/ 1138160 w 1494864"/>
                  <a:gd name="connsiteY1052" fmla="*/ 66309 h 941139"/>
                  <a:gd name="connsiteX1053" fmla="*/ 1138160 w 1494864"/>
                  <a:gd name="connsiteY1053" fmla="*/ 62895 h 941139"/>
                  <a:gd name="connsiteX1054" fmla="*/ 1142752 w 1494864"/>
                  <a:gd name="connsiteY1054" fmla="*/ 62895 h 941139"/>
                  <a:gd name="connsiteX1055" fmla="*/ 1144287 w 1494864"/>
                  <a:gd name="connsiteY1055" fmla="*/ 62895 h 941139"/>
                  <a:gd name="connsiteX1056" fmla="*/ 1145822 w 1494864"/>
                  <a:gd name="connsiteY1056" fmla="*/ 62895 h 941139"/>
                  <a:gd name="connsiteX1057" fmla="*/ 1145822 w 1494864"/>
                  <a:gd name="connsiteY1057" fmla="*/ 59413 h 941139"/>
                  <a:gd name="connsiteX1058" fmla="*/ 1147312 w 1494864"/>
                  <a:gd name="connsiteY1058" fmla="*/ 59413 h 941139"/>
                  <a:gd name="connsiteX1059" fmla="*/ 1148857 w 1494864"/>
                  <a:gd name="connsiteY1059" fmla="*/ 59413 h 941139"/>
                  <a:gd name="connsiteX1060" fmla="*/ 1150381 w 1494864"/>
                  <a:gd name="connsiteY1060" fmla="*/ 59413 h 941139"/>
                  <a:gd name="connsiteX1061" fmla="*/ 1153450 w 1494864"/>
                  <a:gd name="connsiteY1061" fmla="*/ 59413 h 941139"/>
                  <a:gd name="connsiteX1062" fmla="*/ 1153450 w 1494864"/>
                  <a:gd name="connsiteY1062" fmla="*/ 55821 h 941139"/>
                  <a:gd name="connsiteX1063" fmla="*/ 1154985 w 1494864"/>
                  <a:gd name="connsiteY1063" fmla="*/ 55821 h 941139"/>
                  <a:gd name="connsiteX1064" fmla="*/ 1156508 w 1494864"/>
                  <a:gd name="connsiteY1064" fmla="*/ 55821 h 941139"/>
                  <a:gd name="connsiteX1065" fmla="*/ 1158043 w 1494864"/>
                  <a:gd name="connsiteY1065" fmla="*/ 55821 h 941139"/>
                  <a:gd name="connsiteX1066" fmla="*/ 1159577 w 1494864"/>
                  <a:gd name="connsiteY1066" fmla="*/ 55821 h 941139"/>
                  <a:gd name="connsiteX1067" fmla="*/ 1164170 w 1494864"/>
                  <a:gd name="connsiteY1067" fmla="*/ 55821 h 941139"/>
                  <a:gd name="connsiteX1068" fmla="*/ 1165671 w 1494864"/>
                  <a:gd name="connsiteY1068" fmla="*/ 55821 h 941139"/>
                  <a:gd name="connsiteX1069" fmla="*/ 1167206 w 1494864"/>
                  <a:gd name="connsiteY1069" fmla="*/ 55821 h 941139"/>
                  <a:gd name="connsiteX1070" fmla="*/ 1168740 w 1494864"/>
                  <a:gd name="connsiteY1070" fmla="*/ 55821 h 941139"/>
                  <a:gd name="connsiteX1071" fmla="*/ 1170275 w 1494864"/>
                  <a:gd name="connsiteY1071" fmla="*/ 55821 h 941139"/>
                  <a:gd name="connsiteX1072" fmla="*/ 1176402 w 1494864"/>
                  <a:gd name="connsiteY1072" fmla="*/ 55821 h 941139"/>
                  <a:gd name="connsiteX1073" fmla="*/ 1177937 w 1494864"/>
                  <a:gd name="connsiteY1073" fmla="*/ 55821 h 941139"/>
                  <a:gd name="connsiteX1074" fmla="*/ 1179471 w 1494864"/>
                  <a:gd name="connsiteY1074" fmla="*/ 55821 h 941139"/>
                  <a:gd name="connsiteX1075" fmla="*/ 1181006 w 1494864"/>
                  <a:gd name="connsiteY1075" fmla="*/ 55821 h 941139"/>
                  <a:gd name="connsiteX1076" fmla="*/ 1184030 w 1494864"/>
                  <a:gd name="connsiteY1076" fmla="*/ 55821 h 941139"/>
                  <a:gd name="connsiteX1077" fmla="*/ 1184030 w 1494864"/>
                  <a:gd name="connsiteY1077" fmla="*/ 51784 h 941139"/>
                  <a:gd name="connsiteX1078" fmla="*/ 1187100 w 1494864"/>
                  <a:gd name="connsiteY1078" fmla="*/ 51784 h 941139"/>
                  <a:gd name="connsiteX1079" fmla="*/ 1188634 w 1494864"/>
                  <a:gd name="connsiteY1079" fmla="*/ 51784 h 941139"/>
                  <a:gd name="connsiteX1080" fmla="*/ 1190169 w 1494864"/>
                  <a:gd name="connsiteY1080" fmla="*/ 51784 h 941139"/>
                  <a:gd name="connsiteX1081" fmla="*/ 1191703 w 1494864"/>
                  <a:gd name="connsiteY1081" fmla="*/ 51784 h 941139"/>
                  <a:gd name="connsiteX1082" fmla="*/ 1196296 w 1494864"/>
                  <a:gd name="connsiteY1082" fmla="*/ 51784 h 941139"/>
                  <a:gd name="connsiteX1083" fmla="*/ 1197831 w 1494864"/>
                  <a:gd name="connsiteY1083" fmla="*/ 51784 h 941139"/>
                  <a:gd name="connsiteX1084" fmla="*/ 1199354 w 1494864"/>
                  <a:gd name="connsiteY1084" fmla="*/ 51784 h 941139"/>
                  <a:gd name="connsiteX1085" fmla="*/ 1200855 w 1494864"/>
                  <a:gd name="connsiteY1085" fmla="*/ 51784 h 941139"/>
                  <a:gd name="connsiteX1086" fmla="*/ 1200855 w 1494864"/>
                  <a:gd name="connsiteY1086" fmla="*/ 47357 h 941139"/>
                  <a:gd name="connsiteX1087" fmla="*/ 1202390 w 1494864"/>
                  <a:gd name="connsiteY1087" fmla="*/ 47357 h 941139"/>
                  <a:gd name="connsiteX1088" fmla="*/ 1206994 w 1494864"/>
                  <a:gd name="connsiteY1088" fmla="*/ 47357 h 941139"/>
                  <a:gd name="connsiteX1089" fmla="*/ 1208528 w 1494864"/>
                  <a:gd name="connsiteY1089" fmla="*/ 47357 h 941139"/>
                  <a:gd name="connsiteX1090" fmla="*/ 1210052 w 1494864"/>
                  <a:gd name="connsiteY1090" fmla="*/ 47357 h 941139"/>
                  <a:gd name="connsiteX1091" fmla="*/ 1211586 w 1494864"/>
                  <a:gd name="connsiteY1091" fmla="*/ 47357 h 941139"/>
                  <a:gd name="connsiteX1092" fmla="*/ 1217680 w 1494864"/>
                  <a:gd name="connsiteY1092" fmla="*/ 47357 h 941139"/>
                  <a:gd name="connsiteX1093" fmla="*/ 1219215 w 1494864"/>
                  <a:gd name="connsiteY1093" fmla="*/ 47357 h 941139"/>
                  <a:gd name="connsiteX1094" fmla="*/ 1220749 w 1494864"/>
                  <a:gd name="connsiteY1094" fmla="*/ 47357 h 941139"/>
                  <a:gd name="connsiteX1095" fmla="*/ 1222284 w 1494864"/>
                  <a:gd name="connsiteY1095" fmla="*/ 47357 h 941139"/>
                  <a:gd name="connsiteX1096" fmla="*/ 1223818 w 1494864"/>
                  <a:gd name="connsiteY1096" fmla="*/ 47357 h 941139"/>
                  <a:gd name="connsiteX1097" fmla="*/ 1225342 w 1494864"/>
                  <a:gd name="connsiteY1097" fmla="*/ 47357 h 941139"/>
                  <a:gd name="connsiteX1098" fmla="*/ 1225342 w 1494864"/>
                  <a:gd name="connsiteY1098" fmla="*/ 42508 h 941139"/>
                  <a:gd name="connsiteX1099" fmla="*/ 1228411 w 1494864"/>
                  <a:gd name="connsiteY1099" fmla="*/ 42508 h 941139"/>
                  <a:gd name="connsiteX1100" fmla="*/ 1231480 w 1494864"/>
                  <a:gd name="connsiteY1100" fmla="*/ 42508 h 941139"/>
                  <a:gd name="connsiteX1101" fmla="*/ 1233015 w 1494864"/>
                  <a:gd name="connsiteY1101" fmla="*/ 42508 h 941139"/>
                  <a:gd name="connsiteX1102" fmla="*/ 1234549 w 1494864"/>
                  <a:gd name="connsiteY1102" fmla="*/ 42508 h 941139"/>
                  <a:gd name="connsiteX1103" fmla="*/ 1239109 w 1494864"/>
                  <a:gd name="connsiteY1103" fmla="*/ 42508 h 941139"/>
                  <a:gd name="connsiteX1104" fmla="*/ 1242178 w 1494864"/>
                  <a:gd name="connsiteY1104" fmla="*/ 42508 h 941139"/>
                  <a:gd name="connsiteX1105" fmla="*/ 1243701 w 1494864"/>
                  <a:gd name="connsiteY1105" fmla="*/ 42508 h 941139"/>
                  <a:gd name="connsiteX1106" fmla="*/ 1243701 w 1494864"/>
                  <a:gd name="connsiteY1106" fmla="*/ 37214 h 941139"/>
                  <a:gd name="connsiteX1107" fmla="*/ 1245236 w 1494864"/>
                  <a:gd name="connsiteY1107" fmla="*/ 37214 h 941139"/>
                  <a:gd name="connsiteX1108" fmla="*/ 1249840 w 1494864"/>
                  <a:gd name="connsiteY1108" fmla="*/ 37214 h 941139"/>
                  <a:gd name="connsiteX1109" fmla="*/ 1251374 w 1494864"/>
                  <a:gd name="connsiteY1109" fmla="*/ 37214 h 941139"/>
                  <a:gd name="connsiteX1110" fmla="*/ 1252875 w 1494864"/>
                  <a:gd name="connsiteY1110" fmla="*/ 37214 h 941139"/>
                  <a:gd name="connsiteX1111" fmla="*/ 1255933 w 1494864"/>
                  <a:gd name="connsiteY1111" fmla="*/ 37214 h 941139"/>
                  <a:gd name="connsiteX1112" fmla="*/ 1260526 w 1494864"/>
                  <a:gd name="connsiteY1112" fmla="*/ 37214 h 941139"/>
                  <a:gd name="connsiteX1113" fmla="*/ 1260526 w 1494864"/>
                  <a:gd name="connsiteY1113" fmla="*/ 31364 h 941139"/>
                  <a:gd name="connsiteX1114" fmla="*/ 1262072 w 1494864"/>
                  <a:gd name="connsiteY1114" fmla="*/ 31364 h 941139"/>
                  <a:gd name="connsiteX1115" fmla="*/ 1263595 w 1494864"/>
                  <a:gd name="connsiteY1115" fmla="*/ 31364 h 941139"/>
                  <a:gd name="connsiteX1116" fmla="*/ 1263595 w 1494864"/>
                  <a:gd name="connsiteY1116" fmla="*/ 25302 h 941139"/>
                  <a:gd name="connsiteX1117" fmla="*/ 1265130 w 1494864"/>
                  <a:gd name="connsiteY1117" fmla="*/ 25302 h 941139"/>
                  <a:gd name="connsiteX1118" fmla="*/ 1266664 w 1494864"/>
                  <a:gd name="connsiteY1118" fmla="*/ 25302 h 941139"/>
                  <a:gd name="connsiteX1119" fmla="*/ 1271224 w 1494864"/>
                  <a:gd name="connsiteY1119" fmla="*/ 25302 h 941139"/>
                  <a:gd name="connsiteX1120" fmla="*/ 1272758 w 1494864"/>
                  <a:gd name="connsiteY1120" fmla="*/ 25302 h 941139"/>
                  <a:gd name="connsiteX1121" fmla="*/ 1274293 w 1494864"/>
                  <a:gd name="connsiteY1121" fmla="*/ 25302 h 941139"/>
                  <a:gd name="connsiteX1122" fmla="*/ 1274293 w 1494864"/>
                  <a:gd name="connsiteY1122" fmla="*/ 18640 h 941139"/>
                  <a:gd name="connsiteX1123" fmla="*/ 1275827 w 1494864"/>
                  <a:gd name="connsiteY1123" fmla="*/ 18640 h 941139"/>
                  <a:gd name="connsiteX1124" fmla="*/ 1277362 w 1494864"/>
                  <a:gd name="connsiteY1124" fmla="*/ 18640 h 941139"/>
                  <a:gd name="connsiteX1125" fmla="*/ 1283489 w 1494864"/>
                  <a:gd name="connsiteY1125" fmla="*/ 18640 h 941139"/>
                  <a:gd name="connsiteX1126" fmla="*/ 1285024 w 1494864"/>
                  <a:gd name="connsiteY1126" fmla="*/ 18640 h 941139"/>
                  <a:gd name="connsiteX1127" fmla="*/ 1286558 w 1494864"/>
                  <a:gd name="connsiteY1127" fmla="*/ 18640 h 941139"/>
                  <a:gd name="connsiteX1128" fmla="*/ 1288082 w 1494864"/>
                  <a:gd name="connsiteY1128" fmla="*/ 18640 h 941139"/>
                  <a:gd name="connsiteX1129" fmla="*/ 1292652 w 1494864"/>
                  <a:gd name="connsiteY1129" fmla="*/ 18640 h 941139"/>
                  <a:gd name="connsiteX1130" fmla="*/ 1294187 w 1494864"/>
                  <a:gd name="connsiteY1130" fmla="*/ 18640 h 941139"/>
                  <a:gd name="connsiteX1131" fmla="*/ 1295721 w 1494864"/>
                  <a:gd name="connsiteY1131" fmla="*/ 18640 h 941139"/>
                  <a:gd name="connsiteX1132" fmla="*/ 1297245 w 1494864"/>
                  <a:gd name="connsiteY1132" fmla="*/ 18640 h 941139"/>
                  <a:gd name="connsiteX1133" fmla="*/ 1298779 w 1494864"/>
                  <a:gd name="connsiteY1133" fmla="*/ 18640 h 941139"/>
                  <a:gd name="connsiteX1134" fmla="*/ 1303383 w 1494864"/>
                  <a:gd name="connsiteY1134" fmla="*/ 18640 h 941139"/>
                  <a:gd name="connsiteX1135" fmla="*/ 1304918 w 1494864"/>
                  <a:gd name="connsiteY1135" fmla="*/ 18640 h 941139"/>
                  <a:gd name="connsiteX1136" fmla="*/ 1306408 w 1494864"/>
                  <a:gd name="connsiteY1136" fmla="*/ 18640 h 941139"/>
                  <a:gd name="connsiteX1137" fmla="*/ 1307942 w 1494864"/>
                  <a:gd name="connsiteY1137" fmla="*/ 18640 h 941139"/>
                  <a:gd name="connsiteX1138" fmla="*/ 1309477 w 1494864"/>
                  <a:gd name="connsiteY1138" fmla="*/ 18640 h 941139"/>
                  <a:gd name="connsiteX1139" fmla="*/ 1315615 w 1494864"/>
                  <a:gd name="connsiteY1139" fmla="*/ 18640 h 941139"/>
                  <a:gd name="connsiteX1140" fmla="*/ 1317139 w 1494864"/>
                  <a:gd name="connsiteY1140" fmla="*/ 18640 h 941139"/>
                  <a:gd name="connsiteX1141" fmla="*/ 1318673 w 1494864"/>
                  <a:gd name="connsiteY1141" fmla="*/ 18640 h 941139"/>
                  <a:gd name="connsiteX1142" fmla="*/ 1320208 w 1494864"/>
                  <a:gd name="connsiteY1142" fmla="*/ 18640 h 941139"/>
                  <a:gd name="connsiteX1143" fmla="*/ 1324767 w 1494864"/>
                  <a:gd name="connsiteY1143" fmla="*/ 18640 h 941139"/>
                  <a:gd name="connsiteX1144" fmla="*/ 1326302 w 1494864"/>
                  <a:gd name="connsiteY1144" fmla="*/ 18640 h 941139"/>
                  <a:gd name="connsiteX1145" fmla="*/ 1327836 w 1494864"/>
                  <a:gd name="connsiteY1145" fmla="*/ 18640 h 941139"/>
                  <a:gd name="connsiteX1146" fmla="*/ 1329371 w 1494864"/>
                  <a:gd name="connsiteY1146" fmla="*/ 18640 h 941139"/>
                  <a:gd name="connsiteX1147" fmla="*/ 1330906 w 1494864"/>
                  <a:gd name="connsiteY1147" fmla="*/ 18640 h 941139"/>
                  <a:gd name="connsiteX1148" fmla="*/ 1335498 w 1494864"/>
                  <a:gd name="connsiteY1148" fmla="*/ 18640 h 941139"/>
                  <a:gd name="connsiteX1149" fmla="*/ 1337033 w 1494864"/>
                  <a:gd name="connsiteY1149" fmla="*/ 18640 h 941139"/>
                  <a:gd name="connsiteX1150" fmla="*/ 1340102 w 1494864"/>
                  <a:gd name="connsiteY1150" fmla="*/ 18640 h 941139"/>
                  <a:gd name="connsiteX1151" fmla="*/ 1341603 w 1494864"/>
                  <a:gd name="connsiteY1151" fmla="*/ 18640 h 941139"/>
                  <a:gd name="connsiteX1152" fmla="*/ 1347730 w 1494864"/>
                  <a:gd name="connsiteY1152" fmla="*/ 18640 h 941139"/>
                  <a:gd name="connsiteX1153" fmla="*/ 1349254 w 1494864"/>
                  <a:gd name="connsiteY1153" fmla="*/ 18640 h 941139"/>
                  <a:gd name="connsiteX1154" fmla="*/ 1350788 w 1494864"/>
                  <a:gd name="connsiteY1154" fmla="*/ 18640 h 941139"/>
                  <a:gd name="connsiteX1155" fmla="*/ 1352323 w 1494864"/>
                  <a:gd name="connsiteY1155" fmla="*/ 18640 h 941139"/>
                  <a:gd name="connsiteX1156" fmla="*/ 1358461 w 1494864"/>
                  <a:gd name="connsiteY1156" fmla="*/ 18640 h 941139"/>
                  <a:gd name="connsiteX1157" fmla="*/ 1359951 w 1494864"/>
                  <a:gd name="connsiteY1157" fmla="*/ 18640 h 941139"/>
                  <a:gd name="connsiteX1158" fmla="*/ 1361486 w 1494864"/>
                  <a:gd name="connsiteY1158" fmla="*/ 18640 h 941139"/>
                  <a:gd name="connsiteX1159" fmla="*/ 1363021 w 1494864"/>
                  <a:gd name="connsiteY1159" fmla="*/ 18640 h 941139"/>
                  <a:gd name="connsiteX1160" fmla="*/ 1367613 w 1494864"/>
                  <a:gd name="connsiteY1160" fmla="*/ 18640 h 941139"/>
                  <a:gd name="connsiteX1161" fmla="*/ 1370682 w 1494864"/>
                  <a:gd name="connsiteY1161" fmla="*/ 18640 h 941139"/>
                  <a:gd name="connsiteX1162" fmla="*/ 1372217 w 1494864"/>
                  <a:gd name="connsiteY1162" fmla="*/ 18640 h 941139"/>
                  <a:gd name="connsiteX1163" fmla="*/ 1373752 w 1494864"/>
                  <a:gd name="connsiteY1163" fmla="*/ 18640 h 941139"/>
                  <a:gd name="connsiteX1164" fmla="*/ 1375286 w 1494864"/>
                  <a:gd name="connsiteY1164" fmla="*/ 18640 h 941139"/>
                  <a:gd name="connsiteX1165" fmla="*/ 1375286 w 1494864"/>
                  <a:gd name="connsiteY1165" fmla="*/ 0 h 941139"/>
                  <a:gd name="connsiteX1166" fmla="*/ 1494864 w 1494864"/>
                  <a:gd name="connsiteY1166" fmla="*/ 1848 h 941139"/>
                  <a:gd name="connsiteX0" fmla="*/ 0 w 1494864"/>
                  <a:gd name="connsiteY0" fmla="*/ 941139 h 941139"/>
                  <a:gd name="connsiteX1" fmla="*/ 1535 w 1494864"/>
                  <a:gd name="connsiteY1" fmla="*/ 941139 h 941139"/>
                  <a:gd name="connsiteX2" fmla="*/ 1535 w 1494864"/>
                  <a:gd name="connsiteY2" fmla="*/ 940338 h 941139"/>
                  <a:gd name="connsiteX3" fmla="*/ 3069 w 1494864"/>
                  <a:gd name="connsiteY3" fmla="*/ 940338 h 941139"/>
                  <a:gd name="connsiteX4" fmla="*/ 3069 w 1494864"/>
                  <a:gd name="connsiteY4" fmla="*/ 937202 h 941139"/>
                  <a:gd name="connsiteX5" fmla="*/ 4604 w 1494864"/>
                  <a:gd name="connsiteY5" fmla="*/ 937202 h 941139"/>
                  <a:gd name="connsiteX6" fmla="*/ 4604 w 1494864"/>
                  <a:gd name="connsiteY6" fmla="*/ 935634 h 941139"/>
                  <a:gd name="connsiteX7" fmla="*/ 6127 w 1494864"/>
                  <a:gd name="connsiteY7" fmla="*/ 935634 h 941139"/>
                  <a:gd name="connsiteX8" fmla="*/ 6127 w 1494864"/>
                  <a:gd name="connsiteY8" fmla="*/ 932497 h 941139"/>
                  <a:gd name="connsiteX9" fmla="*/ 7662 w 1494864"/>
                  <a:gd name="connsiteY9" fmla="*/ 932497 h 941139"/>
                  <a:gd name="connsiteX10" fmla="*/ 7662 w 1494864"/>
                  <a:gd name="connsiteY10" fmla="*/ 930128 h 941139"/>
                  <a:gd name="connsiteX11" fmla="*/ 9196 w 1494864"/>
                  <a:gd name="connsiteY11" fmla="*/ 930128 h 941139"/>
                  <a:gd name="connsiteX12" fmla="*/ 9196 w 1494864"/>
                  <a:gd name="connsiteY12" fmla="*/ 926191 h 941139"/>
                  <a:gd name="connsiteX13" fmla="*/ 10731 w 1494864"/>
                  <a:gd name="connsiteY13" fmla="*/ 926191 h 941139"/>
                  <a:gd name="connsiteX14" fmla="*/ 10731 w 1494864"/>
                  <a:gd name="connsiteY14" fmla="*/ 922254 h 941139"/>
                  <a:gd name="connsiteX15" fmla="*/ 12266 w 1494864"/>
                  <a:gd name="connsiteY15" fmla="*/ 922254 h 941139"/>
                  <a:gd name="connsiteX16" fmla="*/ 12266 w 1494864"/>
                  <a:gd name="connsiteY16" fmla="*/ 915180 h 941139"/>
                  <a:gd name="connsiteX17" fmla="*/ 13800 w 1494864"/>
                  <a:gd name="connsiteY17" fmla="*/ 915180 h 941139"/>
                  <a:gd name="connsiteX18" fmla="*/ 13800 w 1494864"/>
                  <a:gd name="connsiteY18" fmla="*/ 908874 h 941139"/>
                  <a:gd name="connsiteX19" fmla="*/ 15290 w 1494864"/>
                  <a:gd name="connsiteY19" fmla="*/ 908874 h 941139"/>
                  <a:gd name="connsiteX20" fmla="*/ 15290 w 1494864"/>
                  <a:gd name="connsiteY20" fmla="*/ 904170 h 941139"/>
                  <a:gd name="connsiteX21" fmla="*/ 16825 w 1494864"/>
                  <a:gd name="connsiteY21" fmla="*/ 904170 h 941139"/>
                  <a:gd name="connsiteX22" fmla="*/ 16825 w 1494864"/>
                  <a:gd name="connsiteY22" fmla="*/ 903369 h 941139"/>
                  <a:gd name="connsiteX23" fmla="*/ 18359 w 1494864"/>
                  <a:gd name="connsiteY23" fmla="*/ 903369 h 941139"/>
                  <a:gd name="connsiteX24" fmla="*/ 18359 w 1494864"/>
                  <a:gd name="connsiteY24" fmla="*/ 901801 h 941139"/>
                  <a:gd name="connsiteX25" fmla="*/ 19894 w 1494864"/>
                  <a:gd name="connsiteY25" fmla="*/ 901801 h 941139"/>
                  <a:gd name="connsiteX26" fmla="*/ 19894 w 1494864"/>
                  <a:gd name="connsiteY26" fmla="*/ 900232 h 941139"/>
                  <a:gd name="connsiteX27" fmla="*/ 21429 w 1494864"/>
                  <a:gd name="connsiteY27" fmla="*/ 900232 h 941139"/>
                  <a:gd name="connsiteX28" fmla="*/ 21429 w 1494864"/>
                  <a:gd name="connsiteY28" fmla="*/ 893926 h 941139"/>
                  <a:gd name="connsiteX29" fmla="*/ 22952 w 1494864"/>
                  <a:gd name="connsiteY29" fmla="*/ 893926 h 941139"/>
                  <a:gd name="connsiteX30" fmla="*/ 22952 w 1494864"/>
                  <a:gd name="connsiteY30" fmla="*/ 887653 h 941139"/>
                  <a:gd name="connsiteX31" fmla="*/ 24487 w 1494864"/>
                  <a:gd name="connsiteY31" fmla="*/ 887653 h 941139"/>
                  <a:gd name="connsiteX32" fmla="*/ 24487 w 1494864"/>
                  <a:gd name="connsiteY32" fmla="*/ 885296 h 941139"/>
                  <a:gd name="connsiteX33" fmla="*/ 26021 w 1494864"/>
                  <a:gd name="connsiteY33" fmla="*/ 885296 h 941139"/>
                  <a:gd name="connsiteX34" fmla="*/ 26021 w 1494864"/>
                  <a:gd name="connsiteY34" fmla="*/ 883716 h 941139"/>
                  <a:gd name="connsiteX35" fmla="*/ 27556 w 1494864"/>
                  <a:gd name="connsiteY35" fmla="*/ 883716 h 941139"/>
                  <a:gd name="connsiteX36" fmla="*/ 27556 w 1494864"/>
                  <a:gd name="connsiteY36" fmla="*/ 880547 h 941139"/>
                  <a:gd name="connsiteX37" fmla="*/ 29090 w 1494864"/>
                  <a:gd name="connsiteY37" fmla="*/ 880547 h 941139"/>
                  <a:gd name="connsiteX38" fmla="*/ 29090 w 1494864"/>
                  <a:gd name="connsiteY38" fmla="*/ 878211 h 941139"/>
                  <a:gd name="connsiteX39" fmla="*/ 30614 w 1494864"/>
                  <a:gd name="connsiteY39" fmla="*/ 878211 h 941139"/>
                  <a:gd name="connsiteX40" fmla="*/ 30614 w 1494864"/>
                  <a:gd name="connsiteY40" fmla="*/ 877421 h 941139"/>
                  <a:gd name="connsiteX41" fmla="*/ 32115 w 1494864"/>
                  <a:gd name="connsiteY41" fmla="*/ 877421 h 941139"/>
                  <a:gd name="connsiteX42" fmla="*/ 32115 w 1494864"/>
                  <a:gd name="connsiteY42" fmla="*/ 873484 h 941139"/>
                  <a:gd name="connsiteX43" fmla="*/ 33650 w 1494864"/>
                  <a:gd name="connsiteY43" fmla="*/ 873484 h 941139"/>
                  <a:gd name="connsiteX44" fmla="*/ 33650 w 1494864"/>
                  <a:gd name="connsiteY44" fmla="*/ 867167 h 941139"/>
                  <a:gd name="connsiteX45" fmla="*/ 35184 w 1494864"/>
                  <a:gd name="connsiteY45" fmla="*/ 867167 h 941139"/>
                  <a:gd name="connsiteX46" fmla="*/ 35184 w 1494864"/>
                  <a:gd name="connsiteY46" fmla="*/ 865599 h 941139"/>
                  <a:gd name="connsiteX47" fmla="*/ 36719 w 1494864"/>
                  <a:gd name="connsiteY47" fmla="*/ 865599 h 941139"/>
                  <a:gd name="connsiteX48" fmla="*/ 36719 w 1494864"/>
                  <a:gd name="connsiteY48" fmla="*/ 863230 h 941139"/>
                  <a:gd name="connsiteX49" fmla="*/ 38242 w 1494864"/>
                  <a:gd name="connsiteY49" fmla="*/ 863230 h 941139"/>
                  <a:gd name="connsiteX50" fmla="*/ 38242 w 1494864"/>
                  <a:gd name="connsiteY50" fmla="*/ 861661 h 941139"/>
                  <a:gd name="connsiteX51" fmla="*/ 39788 w 1494864"/>
                  <a:gd name="connsiteY51" fmla="*/ 861661 h 941139"/>
                  <a:gd name="connsiteX52" fmla="*/ 39788 w 1494864"/>
                  <a:gd name="connsiteY52" fmla="*/ 860861 h 941139"/>
                  <a:gd name="connsiteX53" fmla="*/ 41311 w 1494864"/>
                  <a:gd name="connsiteY53" fmla="*/ 860861 h 941139"/>
                  <a:gd name="connsiteX54" fmla="*/ 42846 w 1494864"/>
                  <a:gd name="connsiteY54" fmla="*/ 860861 h 941139"/>
                  <a:gd name="connsiteX55" fmla="*/ 42846 w 1494864"/>
                  <a:gd name="connsiteY55" fmla="*/ 857691 h 941139"/>
                  <a:gd name="connsiteX56" fmla="*/ 44381 w 1494864"/>
                  <a:gd name="connsiteY56" fmla="*/ 857691 h 941139"/>
                  <a:gd name="connsiteX57" fmla="*/ 44381 w 1494864"/>
                  <a:gd name="connsiteY57" fmla="*/ 855366 h 941139"/>
                  <a:gd name="connsiteX58" fmla="*/ 45915 w 1494864"/>
                  <a:gd name="connsiteY58" fmla="*/ 855366 h 941139"/>
                  <a:gd name="connsiteX59" fmla="*/ 45915 w 1494864"/>
                  <a:gd name="connsiteY59" fmla="*/ 853754 h 941139"/>
                  <a:gd name="connsiteX60" fmla="*/ 47450 w 1494864"/>
                  <a:gd name="connsiteY60" fmla="*/ 853754 h 941139"/>
                  <a:gd name="connsiteX61" fmla="*/ 47450 w 1494864"/>
                  <a:gd name="connsiteY61" fmla="*/ 849016 h 941139"/>
                  <a:gd name="connsiteX62" fmla="*/ 48984 w 1494864"/>
                  <a:gd name="connsiteY62" fmla="*/ 849016 h 941139"/>
                  <a:gd name="connsiteX63" fmla="*/ 48984 w 1494864"/>
                  <a:gd name="connsiteY63" fmla="*/ 845079 h 941139"/>
                  <a:gd name="connsiteX64" fmla="*/ 50474 w 1494864"/>
                  <a:gd name="connsiteY64" fmla="*/ 845079 h 941139"/>
                  <a:gd name="connsiteX65" fmla="*/ 50474 w 1494864"/>
                  <a:gd name="connsiteY65" fmla="*/ 841108 h 941139"/>
                  <a:gd name="connsiteX66" fmla="*/ 52009 w 1494864"/>
                  <a:gd name="connsiteY66" fmla="*/ 841108 h 941139"/>
                  <a:gd name="connsiteX67" fmla="*/ 52009 w 1494864"/>
                  <a:gd name="connsiteY67" fmla="*/ 837171 h 941139"/>
                  <a:gd name="connsiteX68" fmla="*/ 53544 w 1494864"/>
                  <a:gd name="connsiteY68" fmla="*/ 837171 h 941139"/>
                  <a:gd name="connsiteX69" fmla="*/ 53544 w 1494864"/>
                  <a:gd name="connsiteY69" fmla="*/ 834802 h 941139"/>
                  <a:gd name="connsiteX70" fmla="*/ 55078 w 1494864"/>
                  <a:gd name="connsiteY70" fmla="*/ 834802 h 941139"/>
                  <a:gd name="connsiteX71" fmla="*/ 55078 w 1494864"/>
                  <a:gd name="connsiteY71" fmla="*/ 831632 h 941139"/>
                  <a:gd name="connsiteX72" fmla="*/ 56613 w 1494864"/>
                  <a:gd name="connsiteY72" fmla="*/ 831632 h 941139"/>
                  <a:gd name="connsiteX73" fmla="*/ 56613 w 1494864"/>
                  <a:gd name="connsiteY73" fmla="*/ 827695 h 941139"/>
                  <a:gd name="connsiteX74" fmla="*/ 58147 w 1494864"/>
                  <a:gd name="connsiteY74" fmla="*/ 827695 h 941139"/>
                  <a:gd name="connsiteX75" fmla="*/ 58147 w 1494864"/>
                  <a:gd name="connsiteY75" fmla="*/ 826894 h 941139"/>
                  <a:gd name="connsiteX76" fmla="*/ 59671 w 1494864"/>
                  <a:gd name="connsiteY76" fmla="*/ 826894 h 941139"/>
                  <a:gd name="connsiteX77" fmla="*/ 59671 w 1494864"/>
                  <a:gd name="connsiteY77" fmla="*/ 826127 h 941139"/>
                  <a:gd name="connsiteX78" fmla="*/ 61205 w 1494864"/>
                  <a:gd name="connsiteY78" fmla="*/ 826127 h 941139"/>
                  <a:gd name="connsiteX79" fmla="*/ 61205 w 1494864"/>
                  <a:gd name="connsiteY79" fmla="*/ 822957 h 941139"/>
                  <a:gd name="connsiteX80" fmla="*/ 62740 w 1494864"/>
                  <a:gd name="connsiteY80" fmla="*/ 822957 h 941139"/>
                  <a:gd name="connsiteX81" fmla="*/ 62740 w 1494864"/>
                  <a:gd name="connsiteY81" fmla="*/ 820588 h 941139"/>
                  <a:gd name="connsiteX82" fmla="*/ 64275 w 1494864"/>
                  <a:gd name="connsiteY82" fmla="*/ 820588 h 941139"/>
                  <a:gd name="connsiteX83" fmla="*/ 64275 w 1494864"/>
                  <a:gd name="connsiteY83" fmla="*/ 815049 h 941139"/>
                  <a:gd name="connsiteX84" fmla="*/ 65798 w 1494864"/>
                  <a:gd name="connsiteY84" fmla="*/ 815049 h 941139"/>
                  <a:gd name="connsiteX85" fmla="*/ 65798 w 1494864"/>
                  <a:gd name="connsiteY85" fmla="*/ 811112 h 941139"/>
                  <a:gd name="connsiteX86" fmla="*/ 67299 w 1494864"/>
                  <a:gd name="connsiteY86" fmla="*/ 811112 h 941139"/>
                  <a:gd name="connsiteX87" fmla="*/ 67299 w 1494864"/>
                  <a:gd name="connsiteY87" fmla="*/ 807942 h 941139"/>
                  <a:gd name="connsiteX88" fmla="*/ 68834 w 1494864"/>
                  <a:gd name="connsiteY88" fmla="*/ 807942 h 941139"/>
                  <a:gd name="connsiteX89" fmla="*/ 68834 w 1494864"/>
                  <a:gd name="connsiteY89" fmla="*/ 803972 h 941139"/>
                  <a:gd name="connsiteX90" fmla="*/ 70368 w 1494864"/>
                  <a:gd name="connsiteY90" fmla="*/ 803972 h 941139"/>
                  <a:gd name="connsiteX91" fmla="*/ 70368 w 1494864"/>
                  <a:gd name="connsiteY91" fmla="*/ 801603 h 941139"/>
                  <a:gd name="connsiteX92" fmla="*/ 71903 w 1494864"/>
                  <a:gd name="connsiteY92" fmla="*/ 801603 h 941139"/>
                  <a:gd name="connsiteX93" fmla="*/ 71903 w 1494864"/>
                  <a:gd name="connsiteY93" fmla="*/ 798467 h 941139"/>
                  <a:gd name="connsiteX94" fmla="*/ 73438 w 1494864"/>
                  <a:gd name="connsiteY94" fmla="*/ 798467 h 941139"/>
                  <a:gd name="connsiteX95" fmla="*/ 73438 w 1494864"/>
                  <a:gd name="connsiteY95" fmla="*/ 796865 h 941139"/>
                  <a:gd name="connsiteX96" fmla="*/ 74972 w 1494864"/>
                  <a:gd name="connsiteY96" fmla="*/ 796865 h 941139"/>
                  <a:gd name="connsiteX97" fmla="*/ 74972 w 1494864"/>
                  <a:gd name="connsiteY97" fmla="*/ 796086 h 941139"/>
                  <a:gd name="connsiteX98" fmla="*/ 76496 w 1494864"/>
                  <a:gd name="connsiteY98" fmla="*/ 796086 h 941139"/>
                  <a:gd name="connsiteX99" fmla="*/ 76496 w 1494864"/>
                  <a:gd name="connsiteY99" fmla="*/ 790548 h 941139"/>
                  <a:gd name="connsiteX100" fmla="*/ 78030 w 1494864"/>
                  <a:gd name="connsiteY100" fmla="*/ 790548 h 941139"/>
                  <a:gd name="connsiteX101" fmla="*/ 78030 w 1494864"/>
                  <a:gd name="connsiteY101" fmla="*/ 788190 h 941139"/>
                  <a:gd name="connsiteX102" fmla="*/ 79565 w 1494864"/>
                  <a:gd name="connsiteY102" fmla="*/ 788190 h 941139"/>
                  <a:gd name="connsiteX103" fmla="*/ 79565 w 1494864"/>
                  <a:gd name="connsiteY103" fmla="*/ 787378 h 941139"/>
                  <a:gd name="connsiteX104" fmla="*/ 81099 w 1494864"/>
                  <a:gd name="connsiteY104" fmla="*/ 787378 h 941139"/>
                  <a:gd name="connsiteX105" fmla="*/ 81099 w 1494864"/>
                  <a:gd name="connsiteY105" fmla="*/ 782651 h 941139"/>
                  <a:gd name="connsiteX106" fmla="*/ 82634 w 1494864"/>
                  <a:gd name="connsiteY106" fmla="*/ 782651 h 941139"/>
                  <a:gd name="connsiteX107" fmla="*/ 82634 w 1494864"/>
                  <a:gd name="connsiteY107" fmla="*/ 781038 h 941139"/>
                  <a:gd name="connsiteX108" fmla="*/ 84157 w 1494864"/>
                  <a:gd name="connsiteY108" fmla="*/ 781038 h 941139"/>
                  <a:gd name="connsiteX109" fmla="*/ 84157 w 1494864"/>
                  <a:gd name="connsiteY109" fmla="*/ 779470 h 941139"/>
                  <a:gd name="connsiteX110" fmla="*/ 85659 w 1494864"/>
                  <a:gd name="connsiteY110" fmla="*/ 779470 h 941139"/>
                  <a:gd name="connsiteX111" fmla="*/ 85659 w 1494864"/>
                  <a:gd name="connsiteY111" fmla="*/ 777101 h 941139"/>
                  <a:gd name="connsiteX112" fmla="*/ 87193 w 1494864"/>
                  <a:gd name="connsiteY112" fmla="*/ 777101 h 941139"/>
                  <a:gd name="connsiteX113" fmla="*/ 87193 w 1494864"/>
                  <a:gd name="connsiteY113" fmla="*/ 772363 h 941139"/>
                  <a:gd name="connsiteX114" fmla="*/ 88728 w 1494864"/>
                  <a:gd name="connsiteY114" fmla="*/ 772363 h 941139"/>
                  <a:gd name="connsiteX115" fmla="*/ 88728 w 1494864"/>
                  <a:gd name="connsiteY115" fmla="*/ 768393 h 941139"/>
                  <a:gd name="connsiteX116" fmla="*/ 90262 w 1494864"/>
                  <a:gd name="connsiteY116" fmla="*/ 768393 h 941139"/>
                  <a:gd name="connsiteX117" fmla="*/ 90262 w 1494864"/>
                  <a:gd name="connsiteY117" fmla="*/ 764456 h 941139"/>
                  <a:gd name="connsiteX118" fmla="*/ 91786 w 1494864"/>
                  <a:gd name="connsiteY118" fmla="*/ 764456 h 941139"/>
                  <a:gd name="connsiteX119" fmla="*/ 91786 w 1494864"/>
                  <a:gd name="connsiteY119" fmla="*/ 762854 h 941139"/>
                  <a:gd name="connsiteX120" fmla="*/ 93332 w 1494864"/>
                  <a:gd name="connsiteY120" fmla="*/ 762854 h 941139"/>
                  <a:gd name="connsiteX121" fmla="*/ 93332 w 1494864"/>
                  <a:gd name="connsiteY121" fmla="*/ 760485 h 941139"/>
                  <a:gd name="connsiteX122" fmla="*/ 94855 w 1494864"/>
                  <a:gd name="connsiteY122" fmla="*/ 760485 h 941139"/>
                  <a:gd name="connsiteX123" fmla="*/ 94855 w 1494864"/>
                  <a:gd name="connsiteY123" fmla="*/ 758116 h 941139"/>
                  <a:gd name="connsiteX124" fmla="*/ 96390 w 1494864"/>
                  <a:gd name="connsiteY124" fmla="*/ 758116 h 941139"/>
                  <a:gd name="connsiteX125" fmla="*/ 96390 w 1494864"/>
                  <a:gd name="connsiteY125" fmla="*/ 755747 h 941139"/>
                  <a:gd name="connsiteX126" fmla="*/ 97924 w 1494864"/>
                  <a:gd name="connsiteY126" fmla="*/ 755747 h 941139"/>
                  <a:gd name="connsiteX127" fmla="*/ 97924 w 1494864"/>
                  <a:gd name="connsiteY127" fmla="*/ 750208 h 941139"/>
                  <a:gd name="connsiteX128" fmla="*/ 99459 w 1494864"/>
                  <a:gd name="connsiteY128" fmla="*/ 750208 h 941139"/>
                  <a:gd name="connsiteX129" fmla="*/ 99459 w 1494864"/>
                  <a:gd name="connsiteY129" fmla="*/ 745437 h 941139"/>
                  <a:gd name="connsiteX130" fmla="*/ 100993 w 1494864"/>
                  <a:gd name="connsiteY130" fmla="*/ 745437 h 941139"/>
                  <a:gd name="connsiteX131" fmla="*/ 100993 w 1494864"/>
                  <a:gd name="connsiteY131" fmla="*/ 743068 h 941139"/>
                  <a:gd name="connsiteX132" fmla="*/ 102483 w 1494864"/>
                  <a:gd name="connsiteY132" fmla="*/ 743068 h 941139"/>
                  <a:gd name="connsiteX133" fmla="*/ 102483 w 1494864"/>
                  <a:gd name="connsiteY133" fmla="*/ 741500 h 941139"/>
                  <a:gd name="connsiteX134" fmla="*/ 104018 w 1494864"/>
                  <a:gd name="connsiteY134" fmla="*/ 741500 h 941139"/>
                  <a:gd name="connsiteX135" fmla="*/ 104018 w 1494864"/>
                  <a:gd name="connsiteY135" fmla="*/ 735961 h 941139"/>
                  <a:gd name="connsiteX136" fmla="*/ 105553 w 1494864"/>
                  <a:gd name="connsiteY136" fmla="*/ 735961 h 941139"/>
                  <a:gd name="connsiteX137" fmla="*/ 105553 w 1494864"/>
                  <a:gd name="connsiteY137" fmla="*/ 734360 h 941139"/>
                  <a:gd name="connsiteX138" fmla="*/ 107087 w 1494864"/>
                  <a:gd name="connsiteY138" fmla="*/ 734360 h 941139"/>
                  <a:gd name="connsiteX139" fmla="*/ 107087 w 1494864"/>
                  <a:gd name="connsiteY139" fmla="*/ 731991 h 941139"/>
                  <a:gd name="connsiteX140" fmla="*/ 108622 w 1494864"/>
                  <a:gd name="connsiteY140" fmla="*/ 731991 h 941139"/>
                  <a:gd name="connsiteX141" fmla="*/ 108622 w 1494864"/>
                  <a:gd name="connsiteY141" fmla="*/ 727253 h 941139"/>
                  <a:gd name="connsiteX142" fmla="*/ 110145 w 1494864"/>
                  <a:gd name="connsiteY142" fmla="*/ 727253 h 941139"/>
                  <a:gd name="connsiteX143" fmla="*/ 110145 w 1494864"/>
                  <a:gd name="connsiteY143" fmla="*/ 725673 h 941139"/>
                  <a:gd name="connsiteX144" fmla="*/ 111680 w 1494864"/>
                  <a:gd name="connsiteY144" fmla="*/ 725673 h 941139"/>
                  <a:gd name="connsiteX145" fmla="*/ 111680 w 1494864"/>
                  <a:gd name="connsiteY145" fmla="*/ 720135 h 941139"/>
                  <a:gd name="connsiteX146" fmla="*/ 113214 w 1494864"/>
                  <a:gd name="connsiteY146" fmla="*/ 720135 h 941139"/>
                  <a:gd name="connsiteX147" fmla="*/ 113214 w 1494864"/>
                  <a:gd name="connsiteY147" fmla="*/ 716164 h 941139"/>
                  <a:gd name="connsiteX148" fmla="*/ 114749 w 1494864"/>
                  <a:gd name="connsiteY148" fmla="*/ 716164 h 941139"/>
                  <a:gd name="connsiteX149" fmla="*/ 114749 w 1494864"/>
                  <a:gd name="connsiteY149" fmla="*/ 713806 h 941139"/>
                  <a:gd name="connsiteX150" fmla="*/ 116284 w 1494864"/>
                  <a:gd name="connsiteY150" fmla="*/ 713806 h 941139"/>
                  <a:gd name="connsiteX151" fmla="*/ 116284 w 1494864"/>
                  <a:gd name="connsiteY151" fmla="*/ 711426 h 941139"/>
                  <a:gd name="connsiteX152" fmla="*/ 117818 w 1494864"/>
                  <a:gd name="connsiteY152" fmla="*/ 711426 h 941139"/>
                  <a:gd name="connsiteX153" fmla="*/ 117818 w 1494864"/>
                  <a:gd name="connsiteY153" fmla="*/ 710625 h 941139"/>
                  <a:gd name="connsiteX154" fmla="*/ 119342 w 1494864"/>
                  <a:gd name="connsiteY154" fmla="*/ 710625 h 941139"/>
                  <a:gd name="connsiteX155" fmla="*/ 119342 w 1494864"/>
                  <a:gd name="connsiteY155" fmla="*/ 709825 h 941139"/>
                  <a:gd name="connsiteX156" fmla="*/ 120843 w 1494864"/>
                  <a:gd name="connsiteY156" fmla="*/ 709825 h 941139"/>
                  <a:gd name="connsiteX157" fmla="*/ 120843 w 1494864"/>
                  <a:gd name="connsiteY157" fmla="*/ 707456 h 941139"/>
                  <a:gd name="connsiteX158" fmla="*/ 122377 w 1494864"/>
                  <a:gd name="connsiteY158" fmla="*/ 707456 h 941139"/>
                  <a:gd name="connsiteX159" fmla="*/ 122377 w 1494864"/>
                  <a:gd name="connsiteY159" fmla="*/ 705854 h 941139"/>
                  <a:gd name="connsiteX160" fmla="*/ 125447 w 1494864"/>
                  <a:gd name="connsiteY160" fmla="*/ 705854 h 941139"/>
                  <a:gd name="connsiteX161" fmla="*/ 125447 w 1494864"/>
                  <a:gd name="connsiteY161" fmla="*/ 701917 h 941139"/>
                  <a:gd name="connsiteX162" fmla="*/ 126970 w 1494864"/>
                  <a:gd name="connsiteY162" fmla="*/ 701917 h 941139"/>
                  <a:gd name="connsiteX163" fmla="*/ 126970 w 1494864"/>
                  <a:gd name="connsiteY163" fmla="*/ 700315 h 941139"/>
                  <a:gd name="connsiteX164" fmla="*/ 128516 w 1494864"/>
                  <a:gd name="connsiteY164" fmla="*/ 700315 h 941139"/>
                  <a:gd name="connsiteX165" fmla="*/ 128516 w 1494864"/>
                  <a:gd name="connsiteY165" fmla="*/ 697146 h 941139"/>
                  <a:gd name="connsiteX166" fmla="*/ 130039 w 1494864"/>
                  <a:gd name="connsiteY166" fmla="*/ 697146 h 941139"/>
                  <a:gd name="connsiteX167" fmla="*/ 130039 w 1494864"/>
                  <a:gd name="connsiteY167" fmla="*/ 695578 h 941139"/>
                  <a:gd name="connsiteX168" fmla="*/ 131574 w 1494864"/>
                  <a:gd name="connsiteY168" fmla="*/ 695578 h 941139"/>
                  <a:gd name="connsiteX169" fmla="*/ 131574 w 1494864"/>
                  <a:gd name="connsiteY169" fmla="*/ 691607 h 941139"/>
                  <a:gd name="connsiteX170" fmla="*/ 133108 w 1494864"/>
                  <a:gd name="connsiteY170" fmla="*/ 691607 h 941139"/>
                  <a:gd name="connsiteX171" fmla="*/ 133108 w 1494864"/>
                  <a:gd name="connsiteY171" fmla="*/ 690039 h 941139"/>
                  <a:gd name="connsiteX172" fmla="*/ 134643 w 1494864"/>
                  <a:gd name="connsiteY172" fmla="*/ 690039 h 941139"/>
                  <a:gd name="connsiteX173" fmla="*/ 134643 w 1494864"/>
                  <a:gd name="connsiteY173" fmla="*/ 686068 h 941139"/>
                  <a:gd name="connsiteX174" fmla="*/ 136178 w 1494864"/>
                  <a:gd name="connsiteY174" fmla="*/ 686068 h 941139"/>
                  <a:gd name="connsiteX175" fmla="*/ 136178 w 1494864"/>
                  <a:gd name="connsiteY175" fmla="*/ 683699 h 941139"/>
                  <a:gd name="connsiteX176" fmla="*/ 137701 w 1494864"/>
                  <a:gd name="connsiteY176" fmla="*/ 683699 h 941139"/>
                  <a:gd name="connsiteX177" fmla="*/ 137701 w 1494864"/>
                  <a:gd name="connsiteY177" fmla="*/ 681297 h 941139"/>
                  <a:gd name="connsiteX178" fmla="*/ 139202 w 1494864"/>
                  <a:gd name="connsiteY178" fmla="*/ 681297 h 941139"/>
                  <a:gd name="connsiteX179" fmla="*/ 139202 w 1494864"/>
                  <a:gd name="connsiteY179" fmla="*/ 680529 h 941139"/>
                  <a:gd name="connsiteX180" fmla="*/ 140737 w 1494864"/>
                  <a:gd name="connsiteY180" fmla="*/ 680529 h 941139"/>
                  <a:gd name="connsiteX181" fmla="*/ 140737 w 1494864"/>
                  <a:gd name="connsiteY181" fmla="*/ 679729 h 941139"/>
                  <a:gd name="connsiteX182" fmla="*/ 142271 w 1494864"/>
                  <a:gd name="connsiteY182" fmla="*/ 679729 h 941139"/>
                  <a:gd name="connsiteX183" fmla="*/ 142271 w 1494864"/>
                  <a:gd name="connsiteY183" fmla="*/ 675758 h 941139"/>
                  <a:gd name="connsiteX184" fmla="*/ 143806 w 1494864"/>
                  <a:gd name="connsiteY184" fmla="*/ 675758 h 941139"/>
                  <a:gd name="connsiteX185" fmla="*/ 143806 w 1494864"/>
                  <a:gd name="connsiteY185" fmla="*/ 673378 h 941139"/>
                  <a:gd name="connsiteX186" fmla="*/ 146875 w 1494864"/>
                  <a:gd name="connsiteY186" fmla="*/ 673378 h 941139"/>
                  <a:gd name="connsiteX187" fmla="*/ 148399 w 1494864"/>
                  <a:gd name="connsiteY187" fmla="*/ 673378 h 941139"/>
                  <a:gd name="connsiteX188" fmla="*/ 148399 w 1494864"/>
                  <a:gd name="connsiteY188" fmla="*/ 668607 h 941139"/>
                  <a:gd name="connsiteX189" fmla="*/ 149933 w 1494864"/>
                  <a:gd name="connsiteY189" fmla="*/ 668607 h 941139"/>
                  <a:gd name="connsiteX190" fmla="*/ 149933 w 1494864"/>
                  <a:gd name="connsiteY190" fmla="*/ 666238 h 941139"/>
                  <a:gd name="connsiteX191" fmla="*/ 151468 w 1494864"/>
                  <a:gd name="connsiteY191" fmla="*/ 666238 h 941139"/>
                  <a:gd name="connsiteX192" fmla="*/ 151468 w 1494864"/>
                  <a:gd name="connsiteY192" fmla="*/ 664636 h 941139"/>
                  <a:gd name="connsiteX193" fmla="*/ 154526 w 1494864"/>
                  <a:gd name="connsiteY193" fmla="*/ 664636 h 941139"/>
                  <a:gd name="connsiteX194" fmla="*/ 154526 w 1494864"/>
                  <a:gd name="connsiteY194" fmla="*/ 663068 h 941139"/>
                  <a:gd name="connsiteX195" fmla="*/ 156027 w 1494864"/>
                  <a:gd name="connsiteY195" fmla="*/ 663068 h 941139"/>
                  <a:gd name="connsiteX196" fmla="*/ 156027 w 1494864"/>
                  <a:gd name="connsiteY196" fmla="*/ 661466 h 941139"/>
                  <a:gd name="connsiteX197" fmla="*/ 157562 w 1494864"/>
                  <a:gd name="connsiteY197" fmla="*/ 661466 h 941139"/>
                  <a:gd name="connsiteX198" fmla="*/ 157562 w 1494864"/>
                  <a:gd name="connsiteY198" fmla="*/ 659898 h 941139"/>
                  <a:gd name="connsiteX199" fmla="*/ 159096 w 1494864"/>
                  <a:gd name="connsiteY199" fmla="*/ 659898 h 941139"/>
                  <a:gd name="connsiteX200" fmla="*/ 159096 w 1494864"/>
                  <a:gd name="connsiteY200" fmla="*/ 657496 h 941139"/>
                  <a:gd name="connsiteX201" fmla="*/ 160631 w 1494864"/>
                  <a:gd name="connsiteY201" fmla="*/ 657496 h 941139"/>
                  <a:gd name="connsiteX202" fmla="*/ 160631 w 1494864"/>
                  <a:gd name="connsiteY202" fmla="*/ 655928 h 941139"/>
                  <a:gd name="connsiteX203" fmla="*/ 162165 w 1494864"/>
                  <a:gd name="connsiteY203" fmla="*/ 655928 h 941139"/>
                  <a:gd name="connsiteX204" fmla="*/ 162165 w 1494864"/>
                  <a:gd name="connsiteY204" fmla="*/ 651156 h 941139"/>
                  <a:gd name="connsiteX205" fmla="*/ 163689 w 1494864"/>
                  <a:gd name="connsiteY205" fmla="*/ 651156 h 941139"/>
                  <a:gd name="connsiteX206" fmla="*/ 163689 w 1494864"/>
                  <a:gd name="connsiteY206" fmla="*/ 650356 h 941139"/>
                  <a:gd name="connsiteX207" fmla="*/ 165223 w 1494864"/>
                  <a:gd name="connsiteY207" fmla="*/ 650356 h 941139"/>
                  <a:gd name="connsiteX208" fmla="*/ 165223 w 1494864"/>
                  <a:gd name="connsiteY208" fmla="*/ 646385 h 941139"/>
                  <a:gd name="connsiteX209" fmla="*/ 166758 w 1494864"/>
                  <a:gd name="connsiteY209" fmla="*/ 646385 h 941139"/>
                  <a:gd name="connsiteX210" fmla="*/ 166758 w 1494864"/>
                  <a:gd name="connsiteY210" fmla="*/ 645584 h 941139"/>
                  <a:gd name="connsiteX211" fmla="*/ 168293 w 1494864"/>
                  <a:gd name="connsiteY211" fmla="*/ 645584 h 941139"/>
                  <a:gd name="connsiteX212" fmla="*/ 168293 w 1494864"/>
                  <a:gd name="connsiteY212" fmla="*/ 644016 h 941139"/>
                  <a:gd name="connsiteX213" fmla="*/ 169827 w 1494864"/>
                  <a:gd name="connsiteY213" fmla="*/ 644016 h 941139"/>
                  <a:gd name="connsiteX214" fmla="*/ 169827 w 1494864"/>
                  <a:gd name="connsiteY214" fmla="*/ 642415 h 941139"/>
                  <a:gd name="connsiteX215" fmla="*/ 171362 w 1494864"/>
                  <a:gd name="connsiteY215" fmla="*/ 642415 h 941139"/>
                  <a:gd name="connsiteX216" fmla="*/ 171362 w 1494864"/>
                  <a:gd name="connsiteY216" fmla="*/ 641603 h 941139"/>
                  <a:gd name="connsiteX217" fmla="*/ 172885 w 1494864"/>
                  <a:gd name="connsiteY217" fmla="*/ 641603 h 941139"/>
                  <a:gd name="connsiteX218" fmla="*/ 172885 w 1494864"/>
                  <a:gd name="connsiteY218" fmla="*/ 640034 h 941139"/>
                  <a:gd name="connsiteX219" fmla="*/ 174386 w 1494864"/>
                  <a:gd name="connsiteY219" fmla="*/ 640034 h 941139"/>
                  <a:gd name="connsiteX220" fmla="*/ 174386 w 1494864"/>
                  <a:gd name="connsiteY220" fmla="*/ 637632 h 941139"/>
                  <a:gd name="connsiteX221" fmla="*/ 175921 w 1494864"/>
                  <a:gd name="connsiteY221" fmla="*/ 637632 h 941139"/>
                  <a:gd name="connsiteX222" fmla="*/ 175921 w 1494864"/>
                  <a:gd name="connsiteY222" fmla="*/ 636876 h 941139"/>
                  <a:gd name="connsiteX223" fmla="*/ 177456 w 1494864"/>
                  <a:gd name="connsiteY223" fmla="*/ 636876 h 941139"/>
                  <a:gd name="connsiteX224" fmla="*/ 177456 w 1494864"/>
                  <a:gd name="connsiteY224" fmla="*/ 632093 h 941139"/>
                  <a:gd name="connsiteX225" fmla="*/ 178990 w 1494864"/>
                  <a:gd name="connsiteY225" fmla="*/ 632093 h 941139"/>
                  <a:gd name="connsiteX226" fmla="*/ 182059 w 1494864"/>
                  <a:gd name="connsiteY226" fmla="*/ 632093 h 941139"/>
                  <a:gd name="connsiteX227" fmla="*/ 182059 w 1494864"/>
                  <a:gd name="connsiteY227" fmla="*/ 628924 h 941139"/>
                  <a:gd name="connsiteX228" fmla="*/ 183583 w 1494864"/>
                  <a:gd name="connsiteY228" fmla="*/ 628924 h 941139"/>
                  <a:gd name="connsiteX229" fmla="*/ 183583 w 1494864"/>
                  <a:gd name="connsiteY229" fmla="*/ 627322 h 941139"/>
                  <a:gd name="connsiteX230" fmla="*/ 185117 w 1494864"/>
                  <a:gd name="connsiteY230" fmla="*/ 627322 h 941139"/>
                  <a:gd name="connsiteX231" fmla="*/ 185117 w 1494864"/>
                  <a:gd name="connsiteY231" fmla="*/ 623352 h 941139"/>
                  <a:gd name="connsiteX232" fmla="*/ 186652 w 1494864"/>
                  <a:gd name="connsiteY232" fmla="*/ 623352 h 941139"/>
                  <a:gd name="connsiteX233" fmla="*/ 186652 w 1494864"/>
                  <a:gd name="connsiteY233" fmla="*/ 622551 h 941139"/>
                  <a:gd name="connsiteX234" fmla="*/ 189721 w 1494864"/>
                  <a:gd name="connsiteY234" fmla="*/ 622551 h 941139"/>
                  <a:gd name="connsiteX235" fmla="*/ 189721 w 1494864"/>
                  <a:gd name="connsiteY235" fmla="*/ 619381 h 941139"/>
                  <a:gd name="connsiteX236" fmla="*/ 191211 w 1494864"/>
                  <a:gd name="connsiteY236" fmla="*/ 619381 h 941139"/>
                  <a:gd name="connsiteX237" fmla="*/ 191211 w 1494864"/>
                  <a:gd name="connsiteY237" fmla="*/ 618580 h 941139"/>
                  <a:gd name="connsiteX238" fmla="*/ 192746 w 1494864"/>
                  <a:gd name="connsiteY238" fmla="*/ 618580 h 941139"/>
                  <a:gd name="connsiteX239" fmla="*/ 192746 w 1494864"/>
                  <a:gd name="connsiteY239" fmla="*/ 616211 h 941139"/>
                  <a:gd name="connsiteX240" fmla="*/ 194280 w 1494864"/>
                  <a:gd name="connsiteY240" fmla="*/ 616211 h 941139"/>
                  <a:gd name="connsiteX241" fmla="*/ 194280 w 1494864"/>
                  <a:gd name="connsiteY241" fmla="*/ 614610 h 941139"/>
                  <a:gd name="connsiteX242" fmla="*/ 195815 w 1494864"/>
                  <a:gd name="connsiteY242" fmla="*/ 614610 h 941139"/>
                  <a:gd name="connsiteX243" fmla="*/ 195815 w 1494864"/>
                  <a:gd name="connsiteY243" fmla="*/ 613798 h 941139"/>
                  <a:gd name="connsiteX244" fmla="*/ 197350 w 1494864"/>
                  <a:gd name="connsiteY244" fmla="*/ 613798 h 941139"/>
                  <a:gd name="connsiteX245" fmla="*/ 197350 w 1494864"/>
                  <a:gd name="connsiteY245" fmla="*/ 612241 h 941139"/>
                  <a:gd name="connsiteX246" fmla="*/ 198873 w 1494864"/>
                  <a:gd name="connsiteY246" fmla="*/ 612241 h 941139"/>
                  <a:gd name="connsiteX247" fmla="*/ 198873 w 1494864"/>
                  <a:gd name="connsiteY247" fmla="*/ 609827 h 941139"/>
                  <a:gd name="connsiteX248" fmla="*/ 200408 w 1494864"/>
                  <a:gd name="connsiteY248" fmla="*/ 609827 h 941139"/>
                  <a:gd name="connsiteX249" fmla="*/ 200408 w 1494864"/>
                  <a:gd name="connsiteY249" fmla="*/ 608259 h 941139"/>
                  <a:gd name="connsiteX250" fmla="*/ 201942 w 1494864"/>
                  <a:gd name="connsiteY250" fmla="*/ 608259 h 941139"/>
                  <a:gd name="connsiteX251" fmla="*/ 201942 w 1494864"/>
                  <a:gd name="connsiteY251" fmla="*/ 607469 h 941139"/>
                  <a:gd name="connsiteX252" fmla="*/ 205011 w 1494864"/>
                  <a:gd name="connsiteY252" fmla="*/ 607469 h 941139"/>
                  <a:gd name="connsiteX253" fmla="*/ 205011 w 1494864"/>
                  <a:gd name="connsiteY253" fmla="*/ 605056 h 941139"/>
                  <a:gd name="connsiteX254" fmla="*/ 206546 w 1494864"/>
                  <a:gd name="connsiteY254" fmla="*/ 605056 h 941139"/>
                  <a:gd name="connsiteX255" fmla="*/ 206546 w 1494864"/>
                  <a:gd name="connsiteY255" fmla="*/ 601085 h 941139"/>
                  <a:gd name="connsiteX256" fmla="*/ 208069 w 1494864"/>
                  <a:gd name="connsiteY256" fmla="*/ 601085 h 941139"/>
                  <a:gd name="connsiteX257" fmla="*/ 209571 w 1494864"/>
                  <a:gd name="connsiteY257" fmla="*/ 601085 h 941139"/>
                  <a:gd name="connsiteX258" fmla="*/ 209571 w 1494864"/>
                  <a:gd name="connsiteY258" fmla="*/ 598683 h 941139"/>
                  <a:gd name="connsiteX259" fmla="*/ 211105 w 1494864"/>
                  <a:gd name="connsiteY259" fmla="*/ 598683 h 941139"/>
                  <a:gd name="connsiteX260" fmla="*/ 211105 w 1494864"/>
                  <a:gd name="connsiteY260" fmla="*/ 597115 h 941139"/>
                  <a:gd name="connsiteX261" fmla="*/ 212640 w 1494864"/>
                  <a:gd name="connsiteY261" fmla="*/ 597115 h 941139"/>
                  <a:gd name="connsiteX262" fmla="*/ 212640 w 1494864"/>
                  <a:gd name="connsiteY262" fmla="*/ 596314 h 941139"/>
                  <a:gd name="connsiteX263" fmla="*/ 214174 w 1494864"/>
                  <a:gd name="connsiteY263" fmla="*/ 596314 h 941139"/>
                  <a:gd name="connsiteX264" fmla="*/ 214174 w 1494864"/>
                  <a:gd name="connsiteY264" fmla="*/ 595513 h 941139"/>
                  <a:gd name="connsiteX265" fmla="*/ 215698 w 1494864"/>
                  <a:gd name="connsiteY265" fmla="*/ 595513 h 941139"/>
                  <a:gd name="connsiteX266" fmla="*/ 215698 w 1494864"/>
                  <a:gd name="connsiteY266" fmla="*/ 593912 h 941139"/>
                  <a:gd name="connsiteX267" fmla="*/ 217232 w 1494864"/>
                  <a:gd name="connsiteY267" fmla="*/ 593912 h 941139"/>
                  <a:gd name="connsiteX268" fmla="*/ 217232 w 1494864"/>
                  <a:gd name="connsiteY268" fmla="*/ 591543 h 941139"/>
                  <a:gd name="connsiteX269" fmla="*/ 218767 w 1494864"/>
                  <a:gd name="connsiteY269" fmla="*/ 591543 h 941139"/>
                  <a:gd name="connsiteX270" fmla="*/ 218767 w 1494864"/>
                  <a:gd name="connsiteY270" fmla="*/ 590742 h 941139"/>
                  <a:gd name="connsiteX271" fmla="*/ 221836 w 1494864"/>
                  <a:gd name="connsiteY271" fmla="*/ 590742 h 941139"/>
                  <a:gd name="connsiteX272" fmla="*/ 223371 w 1494864"/>
                  <a:gd name="connsiteY272" fmla="*/ 590742 h 941139"/>
                  <a:gd name="connsiteX273" fmla="*/ 223371 w 1494864"/>
                  <a:gd name="connsiteY273" fmla="*/ 589941 h 941139"/>
                  <a:gd name="connsiteX274" fmla="*/ 224905 w 1494864"/>
                  <a:gd name="connsiteY274" fmla="*/ 589941 h 941139"/>
                  <a:gd name="connsiteX275" fmla="*/ 224905 w 1494864"/>
                  <a:gd name="connsiteY275" fmla="*/ 589141 h 941139"/>
                  <a:gd name="connsiteX276" fmla="*/ 226395 w 1494864"/>
                  <a:gd name="connsiteY276" fmla="*/ 589141 h 941139"/>
                  <a:gd name="connsiteX277" fmla="*/ 226395 w 1494864"/>
                  <a:gd name="connsiteY277" fmla="*/ 586727 h 941139"/>
                  <a:gd name="connsiteX278" fmla="*/ 227930 w 1494864"/>
                  <a:gd name="connsiteY278" fmla="*/ 586727 h 941139"/>
                  <a:gd name="connsiteX279" fmla="*/ 229465 w 1494864"/>
                  <a:gd name="connsiteY279" fmla="*/ 586727 h 941139"/>
                  <a:gd name="connsiteX280" fmla="*/ 229465 w 1494864"/>
                  <a:gd name="connsiteY280" fmla="*/ 584358 h 941139"/>
                  <a:gd name="connsiteX281" fmla="*/ 230999 w 1494864"/>
                  <a:gd name="connsiteY281" fmla="*/ 584358 h 941139"/>
                  <a:gd name="connsiteX282" fmla="*/ 230999 w 1494864"/>
                  <a:gd name="connsiteY282" fmla="*/ 582756 h 941139"/>
                  <a:gd name="connsiteX283" fmla="*/ 234057 w 1494864"/>
                  <a:gd name="connsiteY283" fmla="*/ 582756 h 941139"/>
                  <a:gd name="connsiteX284" fmla="*/ 234057 w 1494864"/>
                  <a:gd name="connsiteY284" fmla="*/ 581967 h 941139"/>
                  <a:gd name="connsiteX285" fmla="*/ 235592 w 1494864"/>
                  <a:gd name="connsiteY285" fmla="*/ 581967 h 941139"/>
                  <a:gd name="connsiteX286" fmla="*/ 235592 w 1494864"/>
                  <a:gd name="connsiteY286" fmla="*/ 578753 h 941139"/>
                  <a:gd name="connsiteX287" fmla="*/ 237126 w 1494864"/>
                  <a:gd name="connsiteY287" fmla="*/ 578753 h 941139"/>
                  <a:gd name="connsiteX288" fmla="*/ 237126 w 1494864"/>
                  <a:gd name="connsiteY288" fmla="*/ 577184 h 941139"/>
                  <a:gd name="connsiteX289" fmla="*/ 238661 w 1494864"/>
                  <a:gd name="connsiteY289" fmla="*/ 577184 h 941139"/>
                  <a:gd name="connsiteX290" fmla="*/ 238661 w 1494864"/>
                  <a:gd name="connsiteY290" fmla="*/ 575583 h 941139"/>
                  <a:gd name="connsiteX291" fmla="*/ 241730 w 1494864"/>
                  <a:gd name="connsiteY291" fmla="*/ 575583 h 941139"/>
                  <a:gd name="connsiteX292" fmla="*/ 241730 w 1494864"/>
                  <a:gd name="connsiteY292" fmla="*/ 574782 h 941139"/>
                  <a:gd name="connsiteX293" fmla="*/ 243254 w 1494864"/>
                  <a:gd name="connsiteY293" fmla="*/ 574782 h 941139"/>
                  <a:gd name="connsiteX294" fmla="*/ 243254 w 1494864"/>
                  <a:gd name="connsiteY294" fmla="*/ 573981 h 941139"/>
                  <a:gd name="connsiteX295" fmla="*/ 244755 w 1494864"/>
                  <a:gd name="connsiteY295" fmla="*/ 573981 h 941139"/>
                  <a:gd name="connsiteX296" fmla="*/ 244755 w 1494864"/>
                  <a:gd name="connsiteY296" fmla="*/ 569977 h 941139"/>
                  <a:gd name="connsiteX297" fmla="*/ 246289 w 1494864"/>
                  <a:gd name="connsiteY297" fmla="*/ 569977 h 941139"/>
                  <a:gd name="connsiteX298" fmla="*/ 246289 w 1494864"/>
                  <a:gd name="connsiteY298" fmla="*/ 569210 h 941139"/>
                  <a:gd name="connsiteX299" fmla="*/ 247824 w 1494864"/>
                  <a:gd name="connsiteY299" fmla="*/ 569210 h 941139"/>
                  <a:gd name="connsiteX300" fmla="*/ 247824 w 1494864"/>
                  <a:gd name="connsiteY300" fmla="*/ 568409 h 941139"/>
                  <a:gd name="connsiteX301" fmla="*/ 249359 w 1494864"/>
                  <a:gd name="connsiteY301" fmla="*/ 568409 h 941139"/>
                  <a:gd name="connsiteX302" fmla="*/ 249359 w 1494864"/>
                  <a:gd name="connsiteY302" fmla="*/ 566808 h 941139"/>
                  <a:gd name="connsiteX303" fmla="*/ 250893 w 1494864"/>
                  <a:gd name="connsiteY303" fmla="*/ 566808 h 941139"/>
                  <a:gd name="connsiteX304" fmla="*/ 250893 w 1494864"/>
                  <a:gd name="connsiteY304" fmla="*/ 566007 h 941139"/>
                  <a:gd name="connsiteX305" fmla="*/ 252417 w 1494864"/>
                  <a:gd name="connsiteY305" fmla="*/ 566007 h 941139"/>
                  <a:gd name="connsiteX306" fmla="*/ 252417 w 1494864"/>
                  <a:gd name="connsiteY306" fmla="*/ 565206 h 941139"/>
                  <a:gd name="connsiteX307" fmla="*/ 253951 w 1494864"/>
                  <a:gd name="connsiteY307" fmla="*/ 565206 h 941139"/>
                  <a:gd name="connsiteX308" fmla="*/ 255486 w 1494864"/>
                  <a:gd name="connsiteY308" fmla="*/ 565206 h 941139"/>
                  <a:gd name="connsiteX309" fmla="*/ 255486 w 1494864"/>
                  <a:gd name="connsiteY309" fmla="*/ 563593 h 941139"/>
                  <a:gd name="connsiteX310" fmla="*/ 257020 w 1494864"/>
                  <a:gd name="connsiteY310" fmla="*/ 563593 h 941139"/>
                  <a:gd name="connsiteX311" fmla="*/ 257020 w 1494864"/>
                  <a:gd name="connsiteY311" fmla="*/ 559623 h 941139"/>
                  <a:gd name="connsiteX312" fmla="*/ 260089 w 1494864"/>
                  <a:gd name="connsiteY312" fmla="*/ 559623 h 941139"/>
                  <a:gd name="connsiteX313" fmla="*/ 260089 w 1494864"/>
                  <a:gd name="connsiteY313" fmla="*/ 558822 h 941139"/>
                  <a:gd name="connsiteX314" fmla="*/ 261580 w 1494864"/>
                  <a:gd name="connsiteY314" fmla="*/ 558822 h 941139"/>
                  <a:gd name="connsiteX315" fmla="*/ 261580 w 1494864"/>
                  <a:gd name="connsiteY315" fmla="*/ 556420 h 941139"/>
                  <a:gd name="connsiteX316" fmla="*/ 263114 w 1494864"/>
                  <a:gd name="connsiteY316" fmla="*/ 556420 h 941139"/>
                  <a:gd name="connsiteX317" fmla="*/ 263114 w 1494864"/>
                  <a:gd name="connsiteY317" fmla="*/ 553217 h 941139"/>
                  <a:gd name="connsiteX318" fmla="*/ 264649 w 1494864"/>
                  <a:gd name="connsiteY318" fmla="*/ 553217 h 941139"/>
                  <a:gd name="connsiteX319" fmla="*/ 264649 w 1494864"/>
                  <a:gd name="connsiteY319" fmla="*/ 551615 h 941139"/>
                  <a:gd name="connsiteX320" fmla="*/ 266183 w 1494864"/>
                  <a:gd name="connsiteY320" fmla="*/ 551615 h 941139"/>
                  <a:gd name="connsiteX321" fmla="*/ 266183 w 1494864"/>
                  <a:gd name="connsiteY321" fmla="*/ 550814 h 941139"/>
                  <a:gd name="connsiteX322" fmla="*/ 267718 w 1494864"/>
                  <a:gd name="connsiteY322" fmla="*/ 550814 h 941139"/>
                  <a:gd name="connsiteX323" fmla="*/ 267718 w 1494864"/>
                  <a:gd name="connsiteY323" fmla="*/ 550013 h 941139"/>
                  <a:gd name="connsiteX324" fmla="*/ 269241 w 1494864"/>
                  <a:gd name="connsiteY324" fmla="*/ 550013 h 941139"/>
                  <a:gd name="connsiteX325" fmla="*/ 269241 w 1494864"/>
                  <a:gd name="connsiteY325" fmla="*/ 549213 h 941139"/>
                  <a:gd name="connsiteX326" fmla="*/ 270776 w 1494864"/>
                  <a:gd name="connsiteY326" fmla="*/ 549213 h 941139"/>
                  <a:gd name="connsiteX327" fmla="*/ 270776 w 1494864"/>
                  <a:gd name="connsiteY327" fmla="*/ 548401 h 941139"/>
                  <a:gd name="connsiteX328" fmla="*/ 272311 w 1494864"/>
                  <a:gd name="connsiteY328" fmla="*/ 548401 h 941139"/>
                  <a:gd name="connsiteX329" fmla="*/ 272311 w 1494864"/>
                  <a:gd name="connsiteY329" fmla="*/ 545998 h 941139"/>
                  <a:gd name="connsiteX330" fmla="*/ 273845 w 1494864"/>
                  <a:gd name="connsiteY330" fmla="*/ 545998 h 941139"/>
                  <a:gd name="connsiteX331" fmla="*/ 273845 w 1494864"/>
                  <a:gd name="connsiteY331" fmla="*/ 543596 h 941139"/>
                  <a:gd name="connsiteX332" fmla="*/ 275380 w 1494864"/>
                  <a:gd name="connsiteY332" fmla="*/ 543596 h 941139"/>
                  <a:gd name="connsiteX333" fmla="*/ 275380 w 1494864"/>
                  <a:gd name="connsiteY333" fmla="*/ 542028 h 941139"/>
                  <a:gd name="connsiteX334" fmla="*/ 276903 w 1494864"/>
                  <a:gd name="connsiteY334" fmla="*/ 542028 h 941139"/>
                  <a:gd name="connsiteX335" fmla="*/ 276903 w 1494864"/>
                  <a:gd name="connsiteY335" fmla="*/ 541227 h 941139"/>
                  <a:gd name="connsiteX336" fmla="*/ 278449 w 1494864"/>
                  <a:gd name="connsiteY336" fmla="*/ 541227 h 941139"/>
                  <a:gd name="connsiteX337" fmla="*/ 278449 w 1494864"/>
                  <a:gd name="connsiteY337" fmla="*/ 540426 h 941139"/>
                  <a:gd name="connsiteX338" fmla="*/ 279939 w 1494864"/>
                  <a:gd name="connsiteY338" fmla="*/ 540426 h 941139"/>
                  <a:gd name="connsiteX339" fmla="*/ 279939 w 1494864"/>
                  <a:gd name="connsiteY339" fmla="*/ 538024 h 941139"/>
                  <a:gd name="connsiteX340" fmla="*/ 281474 w 1494864"/>
                  <a:gd name="connsiteY340" fmla="*/ 538024 h 941139"/>
                  <a:gd name="connsiteX341" fmla="*/ 281474 w 1494864"/>
                  <a:gd name="connsiteY341" fmla="*/ 536422 h 941139"/>
                  <a:gd name="connsiteX342" fmla="*/ 283008 w 1494864"/>
                  <a:gd name="connsiteY342" fmla="*/ 536422 h 941139"/>
                  <a:gd name="connsiteX343" fmla="*/ 283008 w 1494864"/>
                  <a:gd name="connsiteY343" fmla="*/ 534821 h 941139"/>
                  <a:gd name="connsiteX344" fmla="*/ 284532 w 1494864"/>
                  <a:gd name="connsiteY344" fmla="*/ 534821 h 941139"/>
                  <a:gd name="connsiteX345" fmla="*/ 284532 w 1494864"/>
                  <a:gd name="connsiteY345" fmla="*/ 534020 h 941139"/>
                  <a:gd name="connsiteX346" fmla="*/ 286077 w 1494864"/>
                  <a:gd name="connsiteY346" fmla="*/ 534020 h 941139"/>
                  <a:gd name="connsiteX347" fmla="*/ 286077 w 1494864"/>
                  <a:gd name="connsiteY347" fmla="*/ 533219 h 941139"/>
                  <a:gd name="connsiteX348" fmla="*/ 287601 w 1494864"/>
                  <a:gd name="connsiteY348" fmla="*/ 533219 h 941139"/>
                  <a:gd name="connsiteX349" fmla="*/ 287601 w 1494864"/>
                  <a:gd name="connsiteY349" fmla="*/ 529972 h 941139"/>
                  <a:gd name="connsiteX350" fmla="*/ 289135 w 1494864"/>
                  <a:gd name="connsiteY350" fmla="*/ 529972 h 941139"/>
                  <a:gd name="connsiteX351" fmla="*/ 289135 w 1494864"/>
                  <a:gd name="connsiteY351" fmla="*/ 528370 h 941139"/>
                  <a:gd name="connsiteX352" fmla="*/ 290670 w 1494864"/>
                  <a:gd name="connsiteY352" fmla="*/ 528370 h 941139"/>
                  <a:gd name="connsiteX353" fmla="*/ 290670 w 1494864"/>
                  <a:gd name="connsiteY353" fmla="*/ 524333 h 941139"/>
                  <a:gd name="connsiteX354" fmla="*/ 292205 w 1494864"/>
                  <a:gd name="connsiteY354" fmla="*/ 524333 h 941139"/>
                  <a:gd name="connsiteX355" fmla="*/ 292205 w 1494864"/>
                  <a:gd name="connsiteY355" fmla="*/ 521897 h 941139"/>
                  <a:gd name="connsiteX356" fmla="*/ 293739 w 1494864"/>
                  <a:gd name="connsiteY356" fmla="*/ 521897 h 941139"/>
                  <a:gd name="connsiteX357" fmla="*/ 293739 w 1494864"/>
                  <a:gd name="connsiteY357" fmla="*/ 520251 h 941139"/>
                  <a:gd name="connsiteX358" fmla="*/ 295274 w 1494864"/>
                  <a:gd name="connsiteY358" fmla="*/ 520251 h 941139"/>
                  <a:gd name="connsiteX359" fmla="*/ 295274 w 1494864"/>
                  <a:gd name="connsiteY359" fmla="*/ 519450 h 941139"/>
                  <a:gd name="connsiteX360" fmla="*/ 296797 w 1494864"/>
                  <a:gd name="connsiteY360" fmla="*/ 519450 h 941139"/>
                  <a:gd name="connsiteX361" fmla="*/ 296797 w 1494864"/>
                  <a:gd name="connsiteY361" fmla="*/ 517815 h 941139"/>
                  <a:gd name="connsiteX362" fmla="*/ 298298 w 1494864"/>
                  <a:gd name="connsiteY362" fmla="*/ 517815 h 941139"/>
                  <a:gd name="connsiteX363" fmla="*/ 298298 w 1494864"/>
                  <a:gd name="connsiteY363" fmla="*/ 517015 h 941139"/>
                  <a:gd name="connsiteX364" fmla="*/ 299833 w 1494864"/>
                  <a:gd name="connsiteY364" fmla="*/ 517015 h 941139"/>
                  <a:gd name="connsiteX365" fmla="*/ 299833 w 1494864"/>
                  <a:gd name="connsiteY365" fmla="*/ 516180 h 941139"/>
                  <a:gd name="connsiteX366" fmla="*/ 301368 w 1494864"/>
                  <a:gd name="connsiteY366" fmla="*/ 516180 h 941139"/>
                  <a:gd name="connsiteX367" fmla="*/ 302902 w 1494864"/>
                  <a:gd name="connsiteY367" fmla="*/ 516180 h 941139"/>
                  <a:gd name="connsiteX368" fmla="*/ 302902 w 1494864"/>
                  <a:gd name="connsiteY368" fmla="*/ 515380 h 941139"/>
                  <a:gd name="connsiteX369" fmla="*/ 304426 w 1494864"/>
                  <a:gd name="connsiteY369" fmla="*/ 515380 h 941139"/>
                  <a:gd name="connsiteX370" fmla="*/ 304426 w 1494864"/>
                  <a:gd name="connsiteY370" fmla="*/ 512866 h 941139"/>
                  <a:gd name="connsiteX371" fmla="*/ 305960 w 1494864"/>
                  <a:gd name="connsiteY371" fmla="*/ 512866 h 941139"/>
                  <a:gd name="connsiteX372" fmla="*/ 305960 w 1494864"/>
                  <a:gd name="connsiteY372" fmla="*/ 512032 h 941139"/>
                  <a:gd name="connsiteX373" fmla="*/ 307495 w 1494864"/>
                  <a:gd name="connsiteY373" fmla="*/ 512032 h 941139"/>
                  <a:gd name="connsiteX374" fmla="*/ 307495 w 1494864"/>
                  <a:gd name="connsiteY374" fmla="*/ 509563 h 941139"/>
                  <a:gd name="connsiteX375" fmla="*/ 309029 w 1494864"/>
                  <a:gd name="connsiteY375" fmla="*/ 509563 h 941139"/>
                  <a:gd name="connsiteX376" fmla="*/ 309029 w 1494864"/>
                  <a:gd name="connsiteY376" fmla="*/ 507884 h 941139"/>
                  <a:gd name="connsiteX377" fmla="*/ 310564 w 1494864"/>
                  <a:gd name="connsiteY377" fmla="*/ 507884 h 941139"/>
                  <a:gd name="connsiteX378" fmla="*/ 310564 w 1494864"/>
                  <a:gd name="connsiteY378" fmla="*/ 507049 h 941139"/>
                  <a:gd name="connsiteX379" fmla="*/ 312087 w 1494864"/>
                  <a:gd name="connsiteY379" fmla="*/ 507049 h 941139"/>
                  <a:gd name="connsiteX380" fmla="*/ 312087 w 1494864"/>
                  <a:gd name="connsiteY380" fmla="*/ 503702 h 941139"/>
                  <a:gd name="connsiteX381" fmla="*/ 313633 w 1494864"/>
                  <a:gd name="connsiteY381" fmla="*/ 503702 h 941139"/>
                  <a:gd name="connsiteX382" fmla="*/ 313633 w 1494864"/>
                  <a:gd name="connsiteY382" fmla="*/ 502834 h 941139"/>
                  <a:gd name="connsiteX383" fmla="*/ 315123 w 1494864"/>
                  <a:gd name="connsiteY383" fmla="*/ 502834 h 941139"/>
                  <a:gd name="connsiteX384" fmla="*/ 315123 w 1494864"/>
                  <a:gd name="connsiteY384" fmla="*/ 502000 h 941139"/>
                  <a:gd name="connsiteX385" fmla="*/ 316658 w 1494864"/>
                  <a:gd name="connsiteY385" fmla="*/ 502000 h 941139"/>
                  <a:gd name="connsiteX386" fmla="*/ 316658 w 1494864"/>
                  <a:gd name="connsiteY386" fmla="*/ 501155 h 941139"/>
                  <a:gd name="connsiteX387" fmla="*/ 318192 w 1494864"/>
                  <a:gd name="connsiteY387" fmla="*/ 501155 h 941139"/>
                  <a:gd name="connsiteX388" fmla="*/ 318192 w 1494864"/>
                  <a:gd name="connsiteY388" fmla="*/ 500287 h 941139"/>
                  <a:gd name="connsiteX389" fmla="*/ 319716 w 1494864"/>
                  <a:gd name="connsiteY389" fmla="*/ 500287 h 941139"/>
                  <a:gd name="connsiteX390" fmla="*/ 319716 w 1494864"/>
                  <a:gd name="connsiteY390" fmla="*/ 499453 h 941139"/>
                  <a:gd name="connsiteX391" fmla="*/ 321261 w 1494864"/>
                  <a:gd name="connsiteY391" fmla="*/ 499453 h 941139"/>
                  <a:gd name="connsiteX392" fmla="*/ 321261 w 1494864"/>
                  <a:gd name="connsiteY392" fmla="*/ 496917 h 941139"/>
                  <a:gd name="connsiteX393" fmla="*/ 322785 w 1494864"/>
                  <a:gd name="connsiteY393" fmla="*/ 496917 h 941139"/>
                  <a:gd name="connsiteX394" fmla="*/ 322785 w 1494864"/>
                  <a:gd name="connsiteY394" fmla="*/ 493469 h 941139"/>
                  <a:gd name="connsiteX395" fmla="*/ 324320 w 1494864"/>
                  <a:gd name="connsiteY395" fmla="*/ 493469 h 941139"/>
                  <a:gd name="connsiteX396" fmla="*/ 324320 w 1494864"/>
                  <a:gd name="connsiteY396" fmla="*/ 492591 h 941139"/>
                  <a:gd name="connsiteX397" fmla="*/ 327389 w 1494864"/>
                  <a:gd name="connsiteY397" fmla="*/ 492591 h 941139"/>
                  <a:gd name="connsiteX398" fmla="*/ 327389 w 1494864"/>
                  <a:gd name="connsiteY398" fmla="*/ 491723 h 941139"/>
                  <a:gd name="connsiteX399" fmla="*/ 328923 w 1494864"/>
                  <a:gd name="connsiteY399" fmla="*/ 491723 h 941139"/>
                  <a:gd name="connsiteX400" fmla="*/ 328923 w 1494864"/>
                  <a:gd name="connsiteY400" fmla="*/ 487397 h 941139"/>
                  <a:gd name="connsiteX401" fmla="*/ 330447 w 1494864"/>
                  <a:gd name="connsiteY401" fmla="*/ 487397 h 941139"/>
                  <a:gd name="connsiteX402" fmla="*/ 330447 w 1494864"/>
                  <a:gd name="connsiteY402" fmla="*/ 484783 h 941139"/>
                  <a:gd name="connsiteX403" fmla="*/ 331981 w 1494864"/>
                  <a:gd name="connsiteY403" fmla="*/ 484783 h 941139"/>
                  <a:gd name="connsiteX404" fmla="*/ 331981 w 1494864"/>
                  <a:gd name="connsiteY404" fmla="*/ 483916 h 941139"/>
                  <a:gd name="connsiteX405" fmla="*/ 333483 w 1494864"/>
                  <a:gd name="connsiteY405" fmla="*/ 483916 h 941139"/>
                  <a:gd name="connsiteX406" fmla="*/ 333483 w 1494864"/>
                  <a:gd name="connsiteY406" fmla="*/ 479567 h 941139"/>
                  <a:gd name="connsiteX407" fmla="*/ 335017 w 1494864"/>
                  <a:gd name="connsiteY407" fmla="*/ 479567 h 941139"/>
                  <a:gd name="connsiteX408" fmla="*/ 335017 w 1494864"/>
                  <a:gd name="connsiteY408" fmla="*/ 477788 h 941139"/>
                  <a:gd name="connsiteX409" fmla="*/ 338075 w 1494864"/>
                  <a:gd name="connsiteY409" fmla="*/ 477788 h 941139"/>
                  <a:gd name="connsiteX410" fmla="*/ 338075 w 1494864"/>
                  <a:gd name="connsiteY410" fmla="*/ 475174 h 941139"/>
                  <a:gd name="connsiteX411" fmla="*/ 339621 w 1494864"/>
                  <a:gd name="connsiteY411" fmla="*/ 475174 h 941139"/>
                  <a:gd name="connsiteX412" fmla="*/ 339621 w 1494864"/>
                  <a:gd name="connsiteY412" fmla="*/ 473394 h 941139"/>
                  <a:gd name="connsiteX413" fmla="*/ 341144 w 1494864"/>
                  <a:gd name="connsiteY413" fmla="*/ 473394 h 941139"/>
                  <a:gd name="connsiteX414" fmla="*/ 342679 w 1494864"/>
                  <a:gd name="connsiteY414" fmla="*/ 473394 h 941139"/>
                  <a:gd name="connsiteX415" fmla="*/ 342679 w 1494864"/>
                  <a:gd name="connsiteY415" fmla="*/ 471615 h 941139"/>
                  <a:gd name="connsiteX416" fmla="*/ 344214 w 1494864"/>
                  <a:gd name="connsiteY416" fmla="*/ 471615 h 941139"/>
                  <a:gd name="connsiteX417" fmla="*/ 344214 w 1494864"/>
                  <a:gd name="connsiteY417" fmla="*/ 469847 h 941139"/>
                  <a:gd name="connsiteX418" fmla="*/ 345748 w 1494864"/>
                  <a:gd name="connsiteY418" fmla="*/ 469847 h 941139"/>
                  <a:gd name="connsiteX419" fmla="*/ 345748 w 1494864"/>
                  <a:gd name="connsiteY419" fmla="*/ 468968 h 941139"/>
                  <a:gd name="connsiteX420" fmla="*/ 348806 w 1494864"/>
                  <a:gd name="connsiteY420" fmla="*/ 468968 h 941139"/>
                  <a:gd name="connsiteX421" fmla="*/ 348806 w 1494864"/>
                  <a:gd name="connsiteY421" fmla="*/ 468067 h 941139"/>
                  <a:gd name="connsiteX422" fmla="*/ 350307 w 1494864"/>
                  <a:gd name="connsiteY422" fmla="*/ 468067 h 941139"/>
                  <a:gd name="connsiteX423" fmla="*/ 350307 w 1494864"/>
                  <a:gd name="connsiteY423" fmla="*/ 467155 h 941139"/>
                  <a:gd name="connsiteX424" fmla="*/ 351842 w 1494864"/>
                  <a:gd name="connsiteY424" fmla="*/ 467155 h 941139"/>
                  <a:gd name="connsiteX425" fmla="*/ 353377 w 1494864"/>
                  <a:gd name="connsiteY425" fmla="*/ 467155 h 941139"/>
                  <a:gd name="connsiteX426" fmla="*/ 353377 w 1494864"/>
                  <a:gd name="connsiteY426" fmla="*/ 466287 h 941139"/>
                  <a:gd name="connsiteX427" fmla="*/ 354911 w 1494864"/>
                  <a:gd name="connsiteY427" fmla="*/ 466287 h 941139"/>
                  <a:gd name="connsiteX428" fmla="*/ 354911 w 1494864"/>
                  <a:gd name="connsiteY428" fmla="*/ 465387 h 941139"/>
                  <a:gd name="connsiteX429" fmla="*/ 356446 w 1494864"/>
                  <a:gd name="connsiteY429" fmla="*/ 465387 h 941139"/>
                  <a:gd name="connsiteX430" fmla="*/ 356446 w 1494864"/>
                  <a:gd name="connsiteY430" fmla="*/ 463574 h 941139"/>
                  <a:gd name="connsiteX431" fmla="*/ 357969 w 1494864"/>
                  <a:gd name="connsiteY431" fmla="*/ 463574 h 941139"/>
                  <a:gd name="connsiteX432" fmla="*/ 357969 w 1494864"/>
                  <a:gd name="connsiteY432" fmla="*/ 461750 h 941139"/>
                  <a:gd name="connsiteX433" fmla="*/ 359504 w 1494864"/>
                  <a:gd name="connsiteY433" fmla="*/ 461750 h 941139"/>
                  <a:gd name="connsiteX434" fmla="*/ 359504 w 1494864"/>
                  <a:gd name="connsiteY434" fmla="*/ 460849 h 941139"/>
                  <a:gd name="connsiteX435" fmla="*/ 361038 w 1494864"/>
                  <a:gd name="connsiteY435" fmla="*/ 460849 h 941139"/>
                  <a:gd name="connsiteX436" fmla="*/ 361038 w 1494864"/>
                  <a:gd name="connsiteY436" fmla="*/ 459036 h 941139"/>
                  <a:gd name="connsiteX437" fmla="*/ 362573 w 1494864"/>
                  <a:gd name="connsiteY437" fmla="*/ 459036 h 941139"/>
                  <a:gd name="connsiteX438" fmla="*/ 364108 w 1494864"/>
                  <a:gd name="connsiteY438" fmla="*/ 459036 h 941139"/>
                  <a:gd name="connsiteX439" fmla="*/ 364108 w 1494864"/>
                  <a:gd name="connsiteY439" fmla="*/ 458135 h 941139"/>
                  <a:gd name="connsiteX440" fmla="*/ 365631 w 1494864"/>
                  <a:gd name="connsiteY440" fmla="*/ 458135 h 941139"/>
                  <a:gd name="connsiteX441" fmla="*/ 365631 w 1494864"/>
                  <a:gd name="connsiteY441" fmla="*/ 454476 h 941139"/>
                  <a:gd name="connsiteX442" fmla="*/ 367177 w 1494864"/>
                  <a:gd name="connsiteY442" fmla="*/ 454476 h 941139"/>
                  <a:gd name="connsiteX443" fmla="*/ 368667 w 1494864"/>
                  <a:gd name="connsiteY443" fmla="*/ 454476 h 941139"/>
                  <a:gd name="connsiteX444" fmla="*/ 370201 w 1494864"/>
                  <a:gd name="connsiteY444" fmla="*/ 454476 h 941139"/>
                  <a:gd name="connsiteX445" fmla="*/ 370201 w 1494864"/>
                  <a:gd name="connsiteY445" fmla="*/ 453575 h 941139"/>
                  <a:gd name="connsiteX446" fmla="*/ 371736 w 1494864"/>
                  <a:gd name="connsiteY446" fmla="*/ 453575 h 941139"/>
                  <a:gd name="connsiteX447" fmla="*/ 371736 w 1494864"/>
                  <a:gd name="connsiteY447" fmla="*/ 452630 h 941139"/>
                  <a:gd name="connsiteX448" fmla="*/ 373259 w 1494864"/>
                  <a:gd name="connsiteY448" fmla="*/ 452630 h 941139"/>
                  <a:gd name="connsiteX449" fmla="*/ 373259 w 1494864"/>
                  <a:gd name="connsiteY449" fmla="*/ 449883 h 941139"/>
                  <a:gd name="connsiteX450" fmla="*/ 374805 w 1494864"/>
                  <a:gd name="connsiteY450" fmla="*/ 449883 h 941139"/>
                  <a:gd name="connsiteX451" fmla="*/ 374805 w 1494864"/>
                  <a:gd name="connsiteY451" fmla="*/ 448937 h 941139"/>
                  <a:gd name="connsiteX452" fmla="*/ 376329 w 1494864"/>
                  <a:gd name="connsiteY452" fmla="*/ 448937 h 941139"/>
                  <a:gd name="connsiteX453" fmla="*/ 376329 w 1494864"/>
                  <a:gd name="connsiteY453" fmla="*/ 447091 h 941139"/>
                  <a:gd name="connsiteX454" fmla="*/ 377863 w 1494864"/>
                  <a:gd name="connsiteY454" fmla="*/ 447091 h 941139"/>
                  <a:gd name="connsiteX455" fmla="*/ 380932 w 1494864"/>
                  <a:gd name="connsiteY455" fmla="*/ 447091 h 941139"/>
                  <a:gd name="connsiteX456" fmla="*/ 380932 w 1494864"/>
                  <a:gd name="connsiteY456" fmla="*/ 444266 h 941139"/>
                  <a:gd name="connsiteX457" fmla="*/ 382467 w 1494864"/>
                  <a:gd name="connsiteY457" fmla="*/ 444266 h 941139"/>
                  <a:gd name="connsiteX458" fmla="*/ 383990 w 1494864"/>
                  <a:gd name="connsiteY458" fmla="*/ 444266 h 941139"/>
                  <a:gd name="connsiteX459" fmla="*/ 385492 w 1494864"/>
                  <a:gd name="connsiteY459" fmla="*/ 444266 h 941139"/>
                  <a:gd name="connsiteX460" fmla="*/ 385492 w 1494864"/>
                  <a:gd name="connsiteY460" fmla="*/ 443321 h 941139"/>
                  <a:gd name="connsiteX461" fmla="*/ 387026 w 1494864"/>
                  <a:gd name="connsiteY461" fmla="*/ 443321 h 941139"/>
                  <a:gd name="connsiteX462" fmla="*/ 388561 w 1494864"/>
                  <a:gd name="connsiteY462" fmla="*/ 443321 h 941139"/>
                  <a:gd name="connsiteX463" fmla="*/ 388561 w 1494864"/>
                  <a:gd name="connsiteY463" fmla="*/ 441441 h 941139"/>
                  <a:gd name="connsiteX464" fmla="*/ 390095 w 1494864"/>
                  <a:gd name="connsiteY464" fmla="*/ 441441 h 941139"/>
                  <a:gd name="connsiteX465" fmla="*/ 390095 w 1494864"/>
                  <a:gd name="connsiteY465" fmla="*/ 440507 h 941139"/>
                  <a:gd name="connsiteX466" fmla="*/ 391619 w 1494864"/>
                  <a:gd name="connsiteY466" fmla="*/ 440507 h 941139"/>
                  <a:gd name="connsiteX467" fmla="*/ 391619 w 1494864"/>
                  <a:gd name="connsiteY467" fmla="*/ 438583 h 941139"/>
                  <a:gd name="connsiteX468" fmla="*/ 393153 w 1494864"/>
                  <a:gd name="connsiteY468" fmla="*/ 438583 h 941139"/>
                  <a:gd name="connsiteX469" fmla="*/ 393153 w 1494864"/>
                  <a:gd name="connsiteY469" fmla="*/ 437648 h 941139"/>
                  <a:gd name="connsiteX470" fmla="*/ 394688 w 1494864"/>
                  <a:gd name="connsiteY470" fmla="*/ 437648 h 941139"/>
                  <a:gd name="connsiteX471" fmla="*/ 394688 w 1494864"/>
                  <a:gd name="connsiteY471" fmla="*/ 436703 h 941139"/>
                  <a:gd name="connsiteX472" fmla="*/ 396223 w 1494864"/>
                  <a:gd name="connsiteY472" fmla="*/ 436703 h 941139"/>
                  <a:gd name="connsiteX473" fmla="*/ 397757 w 1494864"/>
                  <a:gd name="connsiteY473" fmla="*/ 436703 h 941139"/>
                  <a:gd name="connsiteX474" fmla="*/ 399292 w 1494864"/>
                  <a:gd name="connsiteY474" fmla="*/ 436703 h 941139"/>
                  <a:gd name="connsiteX475" fmla="*/ 399292 w 1494864"/>
                  <a:gd name="connsiteY475" fmla="*/ 435736 h 941139"/>
                  <a:gd name="connsiteX476" fmla="*/ 400815 w 1494864"/>
                  <a:gd name="connsiteY476" fmla="*/ 435736 h 941139"/>
                  <a:gd name="connsiteX477" fmla="*/ 400815 w 1494864"/>
                  <a:gd name="connsiteY477" fmla="*/ 432833 h 941139"/>
                  <a:gd name="connsiteX478" fmla="*/ 402350 w 1494864"/>
                  <a:gd name="connsiteY478" fmla="*/ 432833 h 941139"/>
                  <a:gd name="connsiteX479" fmla="*/ 402350 w 1494864"/>
                  <a:gd name="connsiteY479" fmla="*/ 431865 h 941139"/>
                  <a:gd name="connsiteX480" fmla="*/ 403851 w 1494864"/>
                  <a:gd name="connsiteY480" fmla="*/ 431865 h 941139"/>
                  <a:gd name="connsiteX481" fmla="*/ 405386 w 1494864"/>
                  <a:gd name="connsiteY481" fmla="*/ 431865 h 941139"/>
                  <a:gd name="connsiteX482" fmla="*/ 406920 w 1494864"/>
                  <a:gd name="connsiteY482" fmla="*/ 431865 h 941139"/>
                  <a:gd name="connsiteX483" fmla="*/ 406920 w 1494864"/>
                  <a:gd name="connsiteY483" fmla="*/ 428973 h 941139"/>
                  <a:gd name="connsiteX484" fmla="*/ 408444 w 1494864"/>
                  <a:gd name="connsiteY484" fmla="*/ 428973 h 941139"/>
                  <a:gd name="connsiteX485" fmla="*/ 408444 w 1494864"/>
                  <a:gd name="connsiteY485" fmla="*/ 427016 h 941139"/>
                  <a:gd name="connsiteX486" fmla="*/ 409978 w 1494864"/>
                  <a:gd name="connsiteY486" fmla="*/ 427016 h 941139"/>
                  <a:gd name="connsiteX487" fmla="*/ 411513 w 1494864"/>
                  <a:gd name="connsiteY487" fmla="*/ 427016 h 941139"/>
                  <a:gd name="connsiteX488" fmla="*/ 411513 w 1494864"/>
                  <a:gd name="connsiteY488" fmla="*/ 426048 h 941139"/>
                  <a:gd name="connsiteX489" fmla="*/ 413047 w 1494864"/>
                  <a:gd name="connsiteY489" fmla="*/ 426048 h 941139"/>
                  <a:gd name="connsiteX490" fmla="*/ 413047 w 1494864"/>
                  <a:gd name="connsiteY490" fmla="*/ 425070 h 941139"/>
                  <a:gd name="connsiteX491" fmla="*/ 414582 w 1494864"/>
                  <a:gd name="connsiteY491" fmla="*/ 425070 h 941139"/>
                  <a:gd name="connsiteX492" fmla="*/ 416117 w 1494864"/>
                  <a:gd name="connsiteY492" fmla="*/ 425070 h 941139"/>
                  <a:gd name="connsiteX493" fmla="*/ 416117 w 1494864"/>
                  <a:gd name="connsiteY493" fmla="*/ 424091 h 941139"/>
                  <a:gd name="connsiteX494" fmla="*/ 417651 w 1494864"/>
                  <a:gd name="connsiteY494" fmla="*/ 424091 h 941139"/>
                  <a:gd name="connsiteX495" fmla="*/ 419175 w 1494864"/>
                  <a:gd name="connsiteY495" fmla="*/ 424091 h 941139"/>
                  <a:gd name="connsiteX496" fmla="*/ 420709 w 1494864"/>
                  <a:gd name="connsiteY496" fmla="*/ 424091 h 941139"/>
                  <a:gd name="connsiteX497" fmla="*/ 420709 w 1494864"/>
                  <a:gd name="connsiteY497" fmla="*/ 423079 h 941139"/>
                  <a:gd name="connsiteX498" fmla="*/ 422210 w 1494864"/>
                  <a:gd name="connsiteY498" fmla="*/ 423079 h 941139"/>
                  <a:gd name="connsiteX499" fmla="*/ 422210 w 1494864"/>
                  <a:gd name="connsiteY499" fmla="*/ 422111 h 941139"/>
                  <a:gd name="connsiteX500" fmla="*/ 423745 w 1494864"/>
                  <a:gd name="connsiteY500" fmla="*/ 422111 h 941139"/>
                  <a:gd name="connsiteX501" fmla="*/ 423745 w 1494864"/>
                  <a:gd name="connsiteY501" fmla="*/ 421099 h 941139"/>
                  <a:gd name="connsiteX502" fmla="*/ 425280 w 1494864"/>
                  <a:gd name="connsiteY502" fmla="*/ 421099 h 941139"/>
                  <a:gd name="connsiteX503" fmla="*/ 425280 w 1494864"/>
                  <a:gd name="connsiteY503" fmla="*/ 420120 h 941139"/>
                  <a:gd name="connsiteX504" fmla="*/ 426803 w 1494864"/>
                  <a:gd name="connsiteY504" fmla="*/ 420120 h 941139"/>
                  <a:gd name="connsiteX505" fmla="*/ 428349 w 1494864"/>
                  <a:gd name="connsiteY505" fmla="*/ 420120 h 941139"/>
                  <a:gd name="connsiteX506" fmla="*/ 428349 w 1494864"/>
                  <a:gd name="connsiteY506" fmla="*/ 418096 h 941139"/>
                  <a:gd name="connsiteX507" fmla="*/ 429872 w 1494864"/>
                  <a:gd name="connsiteY507" fmla="*/ 418096 h 941139"/>
                  <a:gd name="connsiteX508" fmla="*/ 429872 w 1494864"/>
                  <a:gd name="connsiteY508" fmla="*/ 417128 h 941139"/>
                  <a:gd name="connsiteX509" fmla="*/ 431407 w 1494864"/>
                  <a:gd name="connsiteY509" fmla="*/ 417128 h 941139"/>
                  <a:gd name="connsiteX510" fmla="*/ 432941 w 1494864"/>
                  <a:gd name="connsiteY510" fmla="*/ 417128 h 941139"/>
                  <a:gd name="connsiteX511" fmla="*/ 432941 w 1494864"/>
                  <a:gd name="connsiteY511" fmla="*/ 414092 h 941139"/>
                  <a:gd name="connsiteX512" fmla="*/ 434476 w 1494864"/>
                  <a:gd name="connsiteY512" fmla="*/ 414092 h 941139"/>
                  <a:gd name="connsiteX513" fmla="*/ 434476 w 1494864"/>
                  <a:gd name="connsiteY513" fmla="*/ 412035 h 941139"/>
                  <a:gd name="connsiteX514" fmla="*/ 435999 w 1494864"/>
                  <a:gd name="connsiteY514" fmla="*/ 412035 h 941139"/>
                  <a:gd name="connsiteX515" fmla="*/ 435999 w 1494864"/>
                  <a:gd name="connsiteY515" fmla="*/ 410022 h 941139"/>
                  <a:gd name="connsiteX516" fmla="*/ 437534 w 1494864"/>
                  <a:gd name="connsiteY516" fmla="*/ 410022 h 941139"/>
                  <a:gd name="connsiteX517" fmla="*/ 437534 w 1494864"/>
                  <a:gd name="connsiteY517" fmla="*/ 407997 h 941139"/>
                  <a:gd name="connsiteX518" fmla="*/ 439035 w 1494864"/>
                  <a:gd name="connsiteY518" fmla="*/ 407997 h 941139"/>
                  <a:gd name="connsiteX519" fmla="*/ 439035 w 1494864"/>
                  <a:gd name="connsiteY519" fmla="*/ 406985 h 941139"/>
                  <a:gd name="connsiteX520" fmla="*/ 440570 w 1494864"/>
                  <a:gd name="connsiteY520" fmla="*/ 406985 h 941139"/>
                  <a:gd name="connsiteX521" fmla="*/ 440570 w 1494864"/>
                  <a:gd name="connsiteY521" fmla="*/ 404928 h 941139"/>
                  <a:gd name="connsiteX522" fmla="*/ 442104 w 1494864"/>
                  <a:gd name="connsiteY522" fmla="*/ 404928 h 941139"/>
                  <a:gd name="connsiteX523" fmla="*/ 442104 w 1494864"/>
                  <a:gd name="connsiteY523" fmla="*/ 401869 h 941139"/>
                  <a:gd name="connsiteX524" fmla="*/ 445162 w 1494864"/>
                  <a:gd name="connsiteY524" fmla="*/ 401869 h 941139"/>
                  <a:gd name="connsiteX525" fmla="*/ 445162 w 1494864"/>
                  <a:gd name="connsiteY525" fmla="*/ 400857 h 941139"/>
                  <a:gd name="connsiteX526" fmla="*/ 446697 w 1494864"/>
                  <a:gd name="connsiteY526" fmla="*/ 400857 h 941139"/>
                  <a:gd name="connsiteX527" fmla="*/ 448232 w 1494864"/>
                  <a:gd name="connsiteY527" fmla="*/ 400857 h 941139"/>
                  <a:gd name="connsiteX528" fmla="*/ 449766 w 1494864"/>
                  <a:gd name="connsiteY528" fmla="*/ 400857 h 941139"/>
                  <a:gd name="connsiteX529" fmla="*/ 451290 w 1494864"/>
                  <a:gd name="connsiteY529" fmla="*/ 400857 h 941139"/>
                  <a:gd name="connsiteX530" fmla="*/ 451290 w 1494864"/>
                  <a:gd name="connsiteY530" fmla="*/ 398766 h 941139"/>
                  <a:gd name="connsiteX531" fmla="*/ 452835 w 1494864"/>
                  <a:gd name="connsiteY531" fmla="*/ 398766 h 941139"/>
                  <a:gd name="connsiteX532" fmla="*/ 455893 w 1494864"/>
                  <a:gd name="connsiteY532" fmla="*/ 398766 h 941139"/>
                  <a:gd name="connsiteX533" fmla="*/ 455893 w 1494864"/>
                  <a:gd name="connsiteY533" fmla="*/ 397754 h 941139"/>
                  <a:gd name="connsiteX534" fmla="*/ 457395 w 1494864"/>
                  <a:gd name="connsiteY534" fmla="*/ 397754 h 941139"/>
                  <a:gd name="connsiteX535" fmla="*/ 457395 w 1494864"/>
                  <a:gd name="connsiteY535" fmla="*/ 396709 h 941139"/>
                  <a:gd name="connsiteX536" fmla="*/ 458929 w 1494864"/>
                  <a:gd name="connsiteY536" fmla="*/ 396709 h 941139"/>
                  <a:gd name="connsiteX537" fmla="*/ 458929 w 1494864"/>
                  <a:gd name="connsiteY537" fmla="*/ 394618 h 941139"/>
                  <a:gd name="connsiteX538" fmla="*/ 460464 w 1494864"/>
                  <a:gd name="connsiteY538" fmla="*/ 394618 h 941139"/>
                  <a:gd name="connsiteX539" fmla="*/ 460464 w 1494864"/>
                  <a:gd name="connsiteY539" fmla="*/ 393572 h 941139"/>
                  <a:gd name="connsiteX540" fmla="*/ 461987 w 1494864"/>
                  <a:gd name="connsiteY540" fmla="*/ 393572 h 941139"/>
                  <a:gd name="connsiteX541" fmla="*/ 461987 w 1494864"/>
                  <a:gd name="connsiteY541" fmla="*/ 391515 h 941139"/>
                  <a:gd name="connsiteX542" fmla="*/ 463522 w 1494864"/>
                  <a:gd name="connsiteY542" fmla="*/ 391515 h 941139"/>
                  <a:gd name="connsiteX543" fmla="*/ 463522 w 1494864"/>
                  <a:gd name="connsiteY543" fmla="*/ 390469 h 941139"/>
                  <a:gd name="connsiteX544" fmla="*/ 465056 w 1494864"/>
                  <a:gd name="connsiteY544" fmla="*/ 390469 h 941139"/>
                  <a:gd name="connsiteX545" fmla="*/ 465056 w 1494864"/>
                  <a:gd name="connsiteY545" fmla="*/ 389390 h 941139"/>
                  <a:gd name="connsiteX546" fmla="*/ 466591 w 1494864"/>
                  <a:gd name="connsiteY546" fmla="*/ 389390 h 941139"/>
                  <a:gd name="connsiteX547" fmla="*/ 466591 w 1494864"/>
                  <a:gd name="connsiteY547" fmla="*/ 387299 h 941139"/>
                  <a:gd name="connsiteX548" fmla="*/ 469660 w 1494864"/>
                  <a:gd name="connsiteY548" fmla="*/ 387299 h 941139"/>
                  <a:gd name="connsiteX549" fmla="*/ 469660 w 1494864"/>
                  <a:gd name="connsiteY549" fmla="*/ 386254 h 941139"/>
                  <a:gd name="connsiteX550" fmla="*/ 471195 w 1494864"/>
                  <a:gd name="connsiteY550" fmla="*/ 386254 h 941139"/>
                  <a:gd name="connsiteX551" fmla="*/ 471195 w 1494864"/>
                  <a:gd name="connsiteY551" fmla="*/ 384163 h 941139"/>
                  <a:gd name="connsiteX552" fmla="*/ 472718 w 1494864"/>
                  <a:gd name="connsiteY552" fmla="*/ 384163 h 941139"/>
                  <a:gd name="connsiteX553" fmla="*/ 472718 w 1494864"/>
                  <a:gd name="connsiteY553" fmla="*/ 383084 h 941139"/>
                  <a:gd name="connsiteX554" fmla="*/ 474219 w 1494864"/>
                  <a:gd name="connsiteY554" fmla="*/ 383084 h 941139"/>
                  <a:gd name="connsiteX555" fmla="*/ 474219 w 1494864"/>
                  <a:gd name="connsiteY555" fmla="*/ 379914 h 941139"/>
                  <a:gd name="connsiteX556" fmla="*/ 475754 w 1494864"/>
                  <a:gd name="connsiteY556" fmla="*/ 379914 h 941139"/>
                  <a:gd name="connsiteX557" fmla="*/ 475754 w 1494864"/>
                  <a:gd name="connsiteY557" fmla="*/ 378869 h 941139"/>
                  <a:gd name="connsiteX558" fmla="*/ 477289 w 1494864"/>
                  <a:gd name="connsiteY558" fmla="*/ 378869 h 941139"/>
                  <a:gd name="connsiteX559" fmla="*/ 478823 w 1494864"/>
                  <a:gd name="connsiteY559" fmla="*/ 378869 h 941139"/>
                  <a:gd name="connsiteX560" fmla="*/ 480347 w 1494864"/>
                  <a:gd name="connsiteY560" fmla="*/ 378869 h 941139"/>
                  <a:gd name="connsiteX561" fmla="*/ 481881 w 1494864"/>
                  <a:gd name="connsiteY561" fmla="*/ 378869 h 941139"/>
                  <a:gd name="connsiteX562" fmla="*/ 481881 w 1494864"/>
                  <a:gd name="connsiteY562" fmla="*/ 377824 h 941139"/>
                  <a:gd name="connsiteX563" fmla="*/ 483416 w 1494864"/>
                  <a:gd name="connsiteY563" fmla="*/ 377824 h 941139"/>
                  <a:gd name="connsiteX564" fmla="*/ 484950 w 1494864"/>
                  <a:gd name="connsiteY564" fmla="*/ 377824 h 941139"/>
                  <a:gd name="connsiteX565" fmla="*/ 484950 w 1494864"/>
                  <a:gd name="connsiteY565" fmla="*/ 375666 h 941139"/>
                  <a:gd name="connsiteX566" fmla="*/ 486485 w 1494864"/>
                  <a:gd name="connsiteY566" fmla="*/ 375666 h 941139"/>
                  <a:gd name="connsiteX567" fmla="*/ 486485 w 1494864"/>
                  <a:gd name="connsiteY567" fmla="*/ 374620 h 941139"/>
                  <a:gd name="connsiteX568" fmla="*/ 488019 w 1494864"/>
                  <a:gd name="connsiteY568" fmla="*/ 374620 h 941139"/>
                  <a:gd name="connsiteX569" fmla="*/ 488019 w 1494864"/>
                  <a:gd name="connsiteY569" fmla="*/ 372463 h 941139"/>
                  <a:gd name="connsiteX570" fmla="*/ 491078 w 1494864"/>
                  <a:gd name="connsiteY570" fmla="*/ 372463 h 941139"/>
                  <a:gd name="connsiteX571" fmla="*/ 491078 w 1494864"/>
                  <a:gd name="connsiteY571" fmla="*/ 371373 h 941139"/>
                  <a:gd name="connsiteX572" fmla="*/ 492579 w 1494864"/>
                  <a:gd name="connsiteY572" fmla="*/ 371373 h 941139"/>
                  <a:gd name="connsiteX573" fmla="*/ 494113 w 1494864"/>
                  <a:gd name="connsiteY573" fmla="*/ 371373 h 941139"/>
                  <a:gd name="connsiteX574" fmla="*/ 494113 w 1494864"/>
                  <a:gd name="connsiteY574" fmla="*/ 370294 h 941139"/>
                  <a:gd name="connsiteX575" fmla="*/ 495648 w 1494864"/>
                  <a:gd name="connsiteY575" fmla="*/ 370294 h 941139"/>
                  <a:gd name="connsiteX576" fmla="*/ 495648 w 1494864"/>
                  <a:gd name="connsiteY576" fmla="*/ 367058 h 941139"/>
                  <a:gd name="connsiteX577" fmla="*/ 497171 w 1494864"/>
                  <a:gd name="connsiteY577" fmla="*/ 367058 h 941139"/>
                  <a:gd name="connsiteX578" fmla="*/ 497171 w 1494864"/>
                  <a:gd name="connsiteY578" fmla="*/ 365979 h 941139"/>
                  <a:gd name="connsiteX579" fmla="*/ 498706 w 1494864"/>
                  <a:gd name="connsiteY579" fmla="*/ 365979 h 941139"/>
                  <a:gd name="connsiteX580" fmla="*/ 498706 w 1494864"/>
                  <a:gd name="connsiteY580" fmla="*/ 364900 h 941139"/>
                  <a:gd name="connsiteX581" fmla="*/ 500241 w 1494864"/>
                  <a:gd name="connsiteY581" fmla="*/ 364900 h 941139"/>
                  <a:gd name="connsiteX582" fmla="*/ 501775 w 1494864"/>
                  <a:gd name="connsiteY582" fmla="*/ 364900 h 941139"/>
                  <a:gd name="connsiteX583" fmla="*/ 503310 w 1494864"/>
                  <a:gd name="connsiteY583" fmla="*/ 364900 h 941139"/>
                  <a:gd name="connsiteX584" fmla="*/ 504833 w 1494864"/>
                  <a:gd name="connsiteY584" fmla="*/ 364900 h 941139"/>
                  <a:gd name="connsiteX585" fmla="*/ 506379 w 1494864"/>
                  <a:gd name="connsiteY585" fmla="*/ 364900 h 941139"/>
                  <a:gd name="connsiteX586" fmla="*/ 506379 w 1494864"/>
                  <a:gd name="connsiteY586" fmla="*/ 363821 h 941139"/>
                  <a:gd name="connsiteX587" fmla="*/ 507902 w 1494864"/>
                  <a:gd name="connsiteY587" fmla="*/ 363821 h 941139"/>
                  <a:gd name="connsiteX588" fmla="*/ 507902 w 1494864"/>
                  <a:gd name="connsiteY588" fmla="*/ 361630 h 941139"/>
                  <a:gd name="connsiteX589" fmla="*/ 510938 w 1494864"/>
                  <a:gd name="connsiteY589" fmla="*/ 361630 h 941139"/>
                  <a:gd name="connsiteX590" fmla="*/ 510938 w 1494864"/>
                  <a:gd name="connsiteY590" fmla="*/ 360507 h 941139"/>
                  <a:gd name="connsiteX591" fmla="*/ 512462 w 1494864"/>
                  <a:gd name="connsiteY591" fmla="*/ 360507 h 941139"/>
                  <a:gd name="connsiteX592" fmla="*/ 512462 w 1494864"/>
                  <a:gd name="connsiteY592" fmla="*/ 359428 h 941139"/>
                  <a:gd name="connsiteX593" fmla="*/ 514007 w 1494864"/>
                  <a:gd name="connsiteY593" fmla="*/ 359428 h 941139"/>
                  <a:gd name="connsiteX594" fmla="*/ 514007 w 1494864"/>
                  <a:gd name="connsiteY594" fmla="*/ 357237 h 941139"/>
                  <a:gd name="connsiteX595" fmla="*/ 515531 w 1494864"/>
                  <a:gd name="connsiteY595" fmla="*/ 357237 h 941139"/>
                  <a:gd name="connsiteX596" fmla="*/ 515531 w 1494864"/>
                  <a:gd name="connsiteY596" fmla="*/ 355001 h 941139"/>
                  <a:gd name="connsiteX597" fmla="*/ 517065 w 1494864"/>
                  <a:gd name="connsiteY597" fmla="*/ 355001 h 941139"/>
                  <a:gd name="connsiteX598" fmla="*/ 518600 w 1494864"/>
                  <a:gd name="connsiteY598" fmla="*/ 355001 h 941139"/>
                  <a:gd name="connsiteX599" fmla="*/ 518600 w 1494864"/>
                  <a:gd name="connsiteY599" fmla="*/ 352810 h 941139"/>
                  <a:gd name="connsiteX600" fmla="*/ 521669 w 1494864"/>
                  <a:gd name="connsiteY600" fmla="*/ 352810 h 941139"/>
                  <a:gd name="connsiteX601" fmla="*/ 523193 w 1494864"/>
                  <a:gd name="connsiteY601" fmla="*/ 352810 h 941139"/>
                  <a:gd name="connsiteX602" fmla="*/ 523193 w 1494864"/>
                  <a:gd name="connsiteY602" fmla="*/ 351687 h 941139"/>
                  <a:gd name="connsiteX603" fmla="*/ 524738 w 1494864"/>
                  <a:gd name="connsiteY603" fmla="*/ 351687 h 941139"/>
                  <a:gd name="connsiteX604" fmla="*/ 524738 w 1494864"/>
                  <a:gd name="connsiteY604" fmla="*/ 350575 h 941139"/>
                  <a:gd name="connsiteX605" fmla="*/ 526262 w 1494864"/>
                  <a:gd name="connsiteY605" fmla="*/ 350575 h 941139"/>
                  <a:gd name="connsiteX606" fmla="*/ 526262 w 1494864"/>
                  <a:gd name="connsiteY606" fmla="*/ 349463 h 941139"/>
                  <a:gd name="connsiteX607" fmla="*/ 527763 w 1494864"/>
                  <a:gd name="connsiteY607" fmla="*/ 349463 h 941139"/>
                  <a:gd name="connsiteX608" fmla="*/ 527763 w 1494864"/>
                  <a:gd name="connsiteY608" fmla="*/ 346082 h 941139"/>
                  <a:gd name="connsiteX609" fmla="*/ 529297 w 1494864"/>
                  <a:gd name="connsiteY609" fmla="*/ 346082 h 941139"/>
                  <a:gd name="connsiteX610" fmla="*/ 529297 w 1494864"/>
                  <a:gd name="connsiteY610" fmla="*/ 343813 h 941139"/>
                  <a:gd name="connsiteX611" fmla="*/ 530832 w 1494864"/>
                  <a:gd name="connsiteY611" fmla="*/ 343813 h 941139"/>
                  <a:gd name="connsiteX612" fmla="*/ 530832 w 1494864"/>
                  <a:gd name="connsiteY612" fmla="*/ 342700 h 941139"/>
                  <a:gd name="connsiteX613" fmla="*/ 532367 w 1494864"/>
                  <a:gd name="connsiteY613" fmla="*/ 342700 h 941139"/>
                  <a:gd name="connsiteX614" fmla="*/ 533890 w 1494864"/>
                  <a:gd name="connsiteY614" fmla="*/ 342700 h 941139"/>
                  <a:gd name="connsiteX615" fmla="*/ 533890 w 1494864"/>
                  <a:gd name="connsiteY615" fmla="*/ 341588 h 941139"/>
                  <a:gd name="connsiteX616" fmla="*/ 535425 w 1494864"/>
                  <a:gd name="connsiteY616" fmla="*/ 341588 h 941139"/>
                  <a:gd name="connsiteX617" fmla="*/ 536959 w 1494864"/>
                  <a:gd name="connsiteY617" fmla="*/ 341588 h 941139"/>
                  <a:gd name="connsiteX618" fmla="*/ 536959 w 1494864"/>
                  <a:gd name="connsiteY618" fmla="*/ 340443 h 941139"/>
                  <a:gd name="connsiteX619" fmla="*/ 538494 w 1494864"/>
                  <a:gd name="connsiteY619" fmla="*/ 340443 h 941139"/>
                  <a:gd name="connsiteX620" fmla="*/ 538494 w 1494864"/>
                  <a:gd name="connsiteY620" fmla="*/ 339286 h 941139"/>
                  <a:gd name="connsiteX621" fmla="*/ 540028 w 1494864"/>
                  <a:gd name="connsiteY621" fmla="*/ 339286 h 941139"/>
                  <a:gd name="connsiteX622" fmla="*/ 540028 w 1494864"/>
                  <a:gd name="connsiteY622" fmla="*/ 338174 h 941139"/>
                  <a:gd name="connsiteX623" fmla="*/ 541563 w 1494864"/>
                  <a:gd name="connsiteY623" fmla="*/ 338174 h 941139"/>
                  <a:gd name="connsiteX624" fmla="*/ 541563 w 1494864"/>
                  <a:gd name="connsiteY624" fmla="*/ 335872 h 941139"/>
                  <a:gd name="connsiteX625" fmla="*/ 543087 w 1494864"/>
                  <a:gd name="connsiteY625" fmla="*/ 335872 h 941139"/>
                  <a:gd name="connsiteX626" fmla="*/ 544621 w 1494864"/>
                  <a:gd name="connsiteY626" fmla="*/ 335872 h 941139"/>
                  <a:gd name="connsiteX627" fmla="*/ 544621 w 1494864"/>
                  <a:gd name="connsiteY627" fmla="*/ 333580 h 941139"/>
                  <a:gd name="connsiteX628" fmla="*/ 546122 w 1494864"/>
                  <a:gd name="connsiteY628" fmla="*/ 333580 h 941139"/>
                  <a:gd name="connsiteX629" fmla="*/ 547657 w 1494864"/>
                  <a:gd name="connsiteY629" fmla="*/ 333580 h 941139"/>
                  <a:gd name="connsiteX630" fmla="*/ 547657 w 1494864"/>
                  <a:gd name="connsiteY630" fmla="*/ 331278 h 941139"/>
                  <a:gd name="connsiteX631" fmla="*/ 549191 w 1494864"/>
                  <a:gd name="connsiteY631" fmla="*/ 331278 h 941139"/>
                  <a:gd name="connsiteX632" fmla="*/ 552250 w 1494864"/>
                  <a:gd name="connsiteY632" fmla="*/ 331278 h 941139"/>
                  <a:gd name="connsiteX633" fmla="*/ 552250 w 1494864"/>
                  <a:gd name="connsiteY633" fmla="*/ 328943 h 941139"/>
                  <a:gd name="connsiteX634" fmla="*/ 553784 w 1494864"/>
                  <a:gd name="connsiteY634" fmla="*/ 328943 h 941139"/>
                  <a:gd name="connsiteX635" fmla="*/ 555319 w 1494864"/>
                  <a:gd name="connsiteY635" fmla="*/ 328943 h 941139"/>
                  <a:gd name="connsiteX636" fmla="*/ 555319 w 1494864"/>
                  <a:gd name="connsiteY636" fmla="*/ 327797 h 941139"/>
                  <a:gd name="connsiteX637" fmla="*/ 556853 w 1494864"/>
                  <a:gd name="connsiteY637" fmla="*/ 327797 h 941139"/>
                  <a:gd name="connsiteX638" fmla="*/ 556853 w 1494864"/>
                  <a:gd name="connsiteY638" fmla="*/ 325428 h 941139"/>
                  <a:gd name="connsiteX639" fmla="*/ 558377 w 1494864"/>
                  <a:gd name="connsiteY639" fmla="*/ 325428 h 941139"/>
                  <a:gd name="connsiteX640" fmla="*/ 558377 w 1494864"/>
                  <a:gd name="connsiteY640" fmla="*/ 323048 h 941139"/>
                  <a:gd name="connsiteX641" fmla="*/ 559922 w 1494864"/>
                  <a:gd name="connsiteY641" fmla="*/ 323048 h 941139"/>
                  <a:gd name="connsiteX642" fmla="*/ 562947 w 1494864"/>
                  <a:gd name="connsiteY642" fmla="*/ 323048 h 941139"/>
                  <a:gd name="connsiteX643" fmla="*/ 562947 w 1494864"/>
                  <a:gd name="connsiteY643" fmla="*/ 320679 h 941139"/>
                  <a:gd name="connsiteX644" fmla="*/ 564482 w 1494864"/>
                  <a:gd name="connsiteY644" fmla="*/ 320679 h 941139"/>
                  <a:gd name="connsiteX645" fmla="*/ 566005 w 1494864"/>
                  <a:gd name="connsiteY645" fmla="*/ 320679 h 941139"/>
                  <a:gd name="connsiteX646" fmla="*/ 566005 w 1494864"/>
                  <a:gd name="connsiteY646" fmla="*/ 319500 h 941139"/>
                  <a:gd name="connsiteX647" fmla="*/ 567551 w 1494864"/>
                  <a:gd name="connsiteY647" fmla="*/ 319500 h 941139"/>
                  <a:gd name="connsiteX648" fmla="*/ 567551 w 1494864"/>
                  <a:gd name="connsiteY648" fmla="*/ 318310 h 941139"/>
                  <a:gd name="connsiteX649" fmla="*/ 569074 w 1494864"/>
                  <a:gd name="connsiteY649" fmla="*/ 318310 h 941139"/>
                  <a:gd name="connsiteX650" fmla="*/ 570609 w 1494864"/>
                  <a:gd name="connsiteY650" fmla="*/ 318310 h 941139"/>
                  <a:gd name="connsiteX651" fmla="*/ 573678 w 1494864"/>
                  <a:gd name="connsiteY651" fmla="*/ 318310 h 941139"/>
                  <a:gd name="connsiteX652" fmla="*/ 573678 w 1494864"/>
                  <a:gd name="connsiteY652" fmla="*/ 317098 h 941139"/>
                  <a:gd name="connsiteX653" fmla="*/ 575213 w 1494864"/>
                  <a:gd name="connsiteY653" fmla="*/ 317098 h 941139"/>
                  <a:gd name="connsiteX654" fmla="*/ 575213 w 1494864"/>
                  <a:gd name="connsiteY654" fmla="*/ 315874 h 941139"/>
                  <a:gd name="connsiteX655" fmla="*/ 576736 w 1494864"/>
                  <a:gd name="connsiteY655" fmla="*/ 315874 h 941139"/>
                  <a:gd name="connsiteX656" fmla="*/ 576736 w 1494864"/>
                  <a:gd name="connsiteY656" fmla="*/ 314695 h 941139"/>
                  <a:gd name="connsiteX657" fmla="*/ 578271 w 1494864"/>
                  <a:gd name="connsiteY657" fmla="*/ 314695 h 941139"/>
                  <a:gd name="connsiteX658" fmla="*/ 578271 w 1494864"/>
                  <a:gd name="connsiteY658" fmla="*/ 313472 h 941139"/>
                  <a:gd name="connsiteX659" fmla="*/ 579805 w 1494864"/>
                  <a:gd name="connsiteY659" fmla="*/ 313472 h 941139"/>
                  <a:gd name="connsiteX660" fmla="*/ 579805 w 1494864"/>
                  <a:gd name="connsiteY660" fmla="*/ 312260 h 941139"/>
                  <a:gd name="connsiteX661" fmla="*/ 581307 w 1494864"/>
                  <a:gd name="connsiteY661" fmla="*/ 312260 h 941139"/>
                  <a:gd name="connsiteX662" fmla="*/ 582841 w 1494864"/>
                  <a:gd name="connsiteY662" fmla="*/ 312260 h 941139"/>
                  <a:gd name="connsiteX663" fmla="*/ 582841 w 1494864"/>
                  <a:gd name="connsiteY663" fmla="*/ 309813 h 941139"/>
                  <a:gd name="connsiteX664" fmla="*/ 585899 w 1494864"/>
                  <a:gd name="connsiteY664" fmla="*/ 309813 h 941139"/>
                  <a:gd name="connsiteX665" fmla="*/ 585899 w 1494864"/>
                  <a:gd name="connsiteY665" fmla="*/ 307377 h 941139"/>
                  <a:gd name="connsiteX666" fmla="*/ 587434 w 1494864"/>
                  <a:gd name="connsiteY666" fmla="*/ 307377 h 941139"/>
                  <a:gd name="connsiteX667" fmla="*/ 588968 w 1494864"/>
                  <a:gd name="connsiteY667" fmla="*/ 307377 h 941139"/>
                  <a:gd name="connsiteX668" fmla="*/ 590503 w 1494864"/>
                  <a:gd name="connsiteY668" fmla="*/ 307377 h 941139"/>
                  <a:gd name="connsiteX669" fmla="*/ 592037 w 1494864"/>
                  <a:gd name="connsiteY669" fmla="*/ 307377 h 941139"/>
                  <a:gd name="connsiteX670" fmla="*/ 592037 w 1494864"/>
                  <a:gd name="connsiteY670" fmla="*/ 302428 h 941139"/>
                  <a:gd name="connsiteX671" fmla="*/ 595107 w 1494864"/>
                  <a:gd name="connsiteY671" fmla="*/ 302428 h 941139"/>
                  <a:gd name="connsiteX672" fmla="*/ 595107 w 1494864"/>
                  <a:gd name="connsiteY672" fmla="*/ 301171 h 941139"/>
                  <a:gd name="connsiteX673" fmla="*/ 596630 w 1494864"/>
                  <a:gd name="connsiteY673" fmla="*/ 301171 h 941139"/>
                  <a:gd name="connsiteX674" fmla="*/ 596630 w 1494864"/>
                  <a:gd name="connsiteY674" fmla="*/ 299914 h 941139"/>
                  <a:gd name="connsiteX675" fmla="*/ 598131 w 1494864"/>
                  <a:gd name="connsiteY675" fmla="*/ 299914 h 941139"/>
                  <a:gd name="connsiteX676" fmla="*/ 598131 w 1494864"/>
                  <a:gd name="connsiteY676" fmla="*/ 298658 h 941139"/>
                  <a:gd name="connsiteX677" fmla="*/ 599666 w 1494864"/>
                  <a:gd name="connsiteY677" fmla="*/ 298658 h 941139"/>
                  <a:gd name="connsiteX678" fmla="*/ 601189 w 1494864"/>
                  <a:gd name="connsiteY678" fmla="*/ 298658 h 941139"/>
                  <a:gd name="connsiteX679" fmla="*/ 602735 w 1494864"/>
                  <a:gd name="connsiteY679" fmla="*/ 298658 h 941139"/>
                  <a:gd name="connsiteX680" fmla="*/ 604258 w 1494864"/>
                  <a:gd name="connsiteY680" fmla="*/ 298658 h 941139"/>
                  <a:gd name="connsiteX681" fmla="*/ 604258 w 1494864"/>
                  <a:gd name="connsiteY681" fmla="*/ 297412 h 941139"/>
                  <a:gd name="connsiteX682" fmla="*/ 607328 w 1494864"/>
                  <a:gd name="connsiteY682" fmla="*/ 297412 h 941139"/>
                  <a:gd name="connsiteX683" fmla="*/ 607328 w 1494864"/>
                  <a:gd name="connsiteY683" fmla="*/ 294865 h 941139"/>
                  <a:gd name="connsiteX684" fmla="*/ 608862 w 1494864"/>
                  <a:gd name="connsiteY684" fmla="*/ 294865 h 941139"/>
                  <a:gd name="connsiteX685" fmla="*/ 610397 w 1494864"/>
                  <a:gd name="connsiteY685" fmla="*/ 294865 h 941139"/>
                  <a:gd name="connsiteX686" fmla="*/ 610397 w 1494864"/>
                  <a:gd name="connsiteY686" fmla="*/ 292329 h 941139"/>
                  <a:gd name="connsiteX687" fmla="*/ 611920 w 1494864"/>
                  <a:gd name="connsiteY687" fmla="*/ 292329 h 941139"/>
                  <a:gd name="connsiteX688" fmla="*/ 613466 w 1494864"/>
                  <a:gd name="connsiteY688" fmla="*/ 292329 h 941139"/>
                  <a:gd name="connsiteX689" fmla="*/ 616491 w 1494864"/>
                  <a:gd name="connsiteY689" fmla="*/ 292329 h 941139"/>
                  <a:gd name="connsiteX690" fmla="*/ 616491 w 1494864"/>
                  <a:gd name="connsiteY690" fmla="*/ 291028 h 941139"/>
                  <a:gd name="connsiteX691" fmla="*/ 618025 w 1494864"/>
                  <a:gd name="connsiteY691" fmla="*/ 291028 h 941139"/>
                  <a:gd name="connsiteX692" fmla="*/ 618025 w 1494864"/>
                  <a:gd name="connsiteY692" fmla="*/ 288459 h 941139"/>
                  <a:gd name="connsiteX693" fmla="*/ 619549 w 1494864"/>
                  <a:gd name="connsiteY693" fmla="*/ 288459 h 941139"/>
                  <a:gd name="connsiteX694" fmla="*/ 619549 w 1494864"/>
                  <a:gd name="connsiteY694" fmla="*/ 287135 h 941139"/>
                  <a:gd name="connsiteX695" fmla="*/ 621094 w 1494864"/>
                  <a:gd name="connsiteY695" fmla="*/ 287135 h 941139"/>
                  <a:gd name="connsiteX696" fmla="*/ 621094 w 1494864"/>
                  <a:gd name="connsiteY696" fmla="*/ 283231 h 941139"/>
                  <a:gd name="connsiteX697" fmla="*/ 622618 w 1494864"/>
                  <a:gd name="connsiteY697" fmla="*/ 283231 h 941139"/>
                  <a:gd name="connsiteX698" fmla="*/ 622618 w 1494864"/>
                  <a:gd name="connsiteY698" fmla="*/ 281941 h 941139"/>
                  <a:gd name="connsiteX699" fmla="*/ 624152 w 1494864"/>
                  <a:gd name="connsiteY699" fmla="*/ 281941 h 941139"/>
                  <a:gd name="connsiteX700" fmla="*/ 624152 w 1494864"/>
                  <a:gd name="connsiteY700" fmla="*/ 278004 h 941139"/>
                  <a:gd name="connsiteX701" fmla="*/ 627222 w 1494864"/>
                  <a:gd name="connsiteY701" fmla="*/ 278004 h 941139"/>
                  <a:gd name="connsiteX702" fmla="*/ 627222 w 1494864"/>
                  <a:gd name="connsiteY702" fmla="*/ 275357 h 941139"/>
                  <a:gd name="connsiteX703" fmla="*/ 628756 w 1494864"/>
                  <a:gd name="connsiteY703" fmla="*/ 275357 h 941139"/>
                  <a:gd name="connsiteX704" fmla="*/ 628756 w 1494864"/>
                  <a:gd name="connsiteY704" fmla="*/ 272710 h 941139"/>
                  <a:gd name="connsiteX705" fmla="*/ 630280 w 1494864"/>
                  <a:gd name="connsiteY705" fmla="*/ 272710 h 941139"/>
                  <a:gd name="connsiteX706" fmla="*/ 631814 w 1494864"/>
                  <a:gd name="connsiteY706" fmla="*/ 272710 h 941139"/>
                  <a:gd name="connsiteX707" fmla="*/ 633316 w 1494864"/>
                  <a:gd name="connsiteY707" fmla="*/ 272710 h 941139"/>
                  <a:gd name="connsiteX708" fmla="*/ 633316 w 1494864"/>
                  <a:gd name="connsiteY708" fmla="*/ 271387 h 941139"/>
                  <a:gd name="connsiteX709" fmla="*/ 634850 w 1494864"/>
                  <a:gd name="connsiteY709" fmla="*/ 271387 h 941139"/>
                  <a:gd name="connsiteX710" fmla="*/ 634850 w 1494864"/>
                  <a:gd name="connsiteY710" fmla="*/ 268728 h 941139"/>
                  <a:gd name="connsiteX711" fmla="*/ 636385 w 1494864"/>
                  <a:gd name="connsiteY711" fmla="*/ 268728 h 941139"/>
                  <a:gd name="connsiteX712" fmla="*/ 636385 w 1494864"/>
                  <a:gd name="connsiteY712" fmla="*/ 266048 h 941139"/>
                  <a:gd name="connsiteX713" fmla="*/ 637908 w 1494864"/>
                  <a:gd name="connsiteY713" fmla="*/ 266048 h 941139"/>
                  <a:gd name="connsiteX714" fmla="*/ 637908 w 1494864"/>
                  <a:gd name="connsiteY714" fmla="*/ 264736 h 941139"/>
                  <a:gd name="connsiteX715" fmla="*/ 639443 w 1494864"/>
                  <a:gd name="connsiteY715" fmla="*/ 264736 h 941139"/>
                  <a:gd name="connsiteX716" fmla="*/ 639443 w 1494864"/>
                  <a:gd name="connsiteY716" fmla="*/ 263368 h 941139"/>
                  <a:gd name="connsiteX717" fmla="*/ 640977 w 1494864"/>
                  <a:gd name="connsiteY717" fmla="*/ 263368 h 941139"/>
                  <a:gd name="connsiteX718" fmla="*/ 642512 w 1494864"/>
                  <a:gd name="connsiteY718" fmla="*/ 263368 h 941139"/>
                  <a:gd name="connsiteX719" fmla="*/ 644046 w 1494864"/>
                  <a:gd name="connsiteY719" fmla="*/ 263368 h 941139"/>
                  <a:gd name="connsiteX720" fmla="*/ 644046 w 1494864"/>
                  <a:gd name="connsiteY720" fmla="*/ 260687 h 941139"/>
                  <a:gd name="connsiteX721" fmla="*/ 645581 w 1494864"/>
                  <a:gd name="connsiteY721" fmla="*/ 260687 h 941139"/>
                  <a:gd name="connsiteX722" fmla="*/ 647105 w 1494864"/>
                  <a:gd name="connsiteY722" fmla="*/ 260687 h 941139"/>
                  <a:gd name="connsiteX723" fmla="*/ 647105 w 1494864"/>
                  <a:gd name="connsiteY723" fmla="*/ 259330 h 941139"/>
                  <a:gd name="connsiteX724" fmla="*/ 648639 w 1494864"/>
                  <a:gd name="connsiteY724" fmla="*/ 259330 h 941139"/>
                  <a:gd name="connsiteX725" fmla="*/ 648639 w 1494864"/>
                  <a:gd name="connsiteY725" fmla="*/ 257973 h 941139"/>
                  <a:gd name="connsiteX726" fmla="*/ 651675 w 1494864"/>
                  <a:gd name="connsiteY726" fmla="*/ 257973 h 941139"/>
                  <a:gd name="connsiteX727" fmla="*/ 653210 w 1494864"/>
                  <a:gd name="connsiteY727" fmla="*/ 257973 h 941139"/>
                  <a:gd name="connsiteX728" fmla="*/ 654733 w 1494864"/>
                  <a:gd name="connsiteY728" fmla="*/ 257973 h 941139"/>
                  <a:gd name="connsiteX729" fmla="*/ 654733 w 1494864"/>
                  <a:gd name="connsiteY729" fmla="*/ 256617 h 941139"/>
                  <a:gd name="connsiteX730" fmla="*/ 656267 w 1494864"/>
                  <a:gd name="connsiteY730" fmla="*/ 256617 h 941139"/>
                  <a:gd name="connsiteX731" fmla="*/ 662406 w 1494864"/>
                  <a:gd name="connsiteY731" fmla="*/ 256617 h 941139"/>
                  <a:gd name="connsiteX732" fmla="*/ 663940 w 1494864"/>
                  <a:gd name="connsiteY732" fmla="*/ 256617 h 941139"/>
                  <a:gd name="connsiteX733" fmla="*/ 665464 w 1494864"/>
                  <a:gd name="connsiteY733" fmla="*/ 256617 h 941139"/>
                  <a:gd name="connsiteX734" fmla="*/ 666999 w 1494864"/>
                  <a:gd name="connsiteY734" fmla="*/ 256617 h 941139"/>
                  <a:gd name="connsiteX735" fmla="*/ 666999 w 1494864"/>
                  <a:gd name="connsiteY735" fmla="*/ 255215 h 941139"/>
                  <a:gd name="connsiteX736" fmla="*/ 668533 w 1494864"/>
                  <a:gd name="connsiteY736" fmla="*/ 255215 h 941139"/>
                  <a:gd name="connsiteX737" fmla="*/ 670034 w 1494864"/>
                  <a:gd name="connsiteY737" fmla="*/ 255215 h 941139"/>
                  <a:gd name="connsiteX738" fmla="*/ 670034 w 1494864"/>
                  <a:gd name="connsiteY738" fmla="*/ 253825 h 941139"/>
                  <a:gd name="connsiteX739" fmla="*/ 671569 w 1494864"/>
                  <a:gd name="connsiteY739" fmla="*/ 253825 h 941139"/>
                  <a:gd name="connsiteX740" fmla="*/ 671569 w 1494864"/>
                  <a:gd name="connsiteY740" fmla="*/ 252435 h 941139"/>
                  <a:gd name="connsiteX741" fmla="*/ 673092 w 1494864"/>
                  <a:gd name="connsiteY741" fmla="*/ 252435 h 941139"/>
                  <a:gd name="connsiteX742" fmla="*/ 674627 w 1494864"/>
                  <a:gd name="connsiteY742" fmla="*/ 252435 h 941139"/>
                  <a:gd name="connsiteX743" fmla="*/ 674627 w 1494864"/>
                  <a:gd name="connsiteY743" fmla="*/ 251033 h 941139"/>
                  <a:gd name="connsiteX744" fmla="*/ 676161 w 1494864"/>
                  <a:gd name="connsiteY744" fmla="*/ 251033 h 941139"/>
                  <a:gd name="connsiteX745" fmla="*/ 677696 w 1494864"/>
                  <a:gd name="connsiteY745" fmla="*/ 251033 h 941139"/>
                  <a:gd name="connsiteX746" fmla="*/ 677696 w 1494864"/>
                  <a:gd name="connsiteY746" fmla="*/ 248208 h 941139"/>
                  <a:gd name="connsiteX747" fmla="*/ 682289 w 1494864"/>
                  <a:gd name="connsiteY747" fmla="*/ 248208 h 941139"/>
                  <a:gd name="connsiteX748" fmla="*/ 683823 w 1494864"/>
                  <a:gd name="connsiteY748" fmla="*/ 248208 h 941139"/>
                  <a:gd name="connsiteX749" fmla="*/ 685358 w 1494864"/>
                  <a:gd name="connsiteY749" fmla="*/ 248208 h 941139"/>
                  <a:gd name="connsiteX750" fmla="*/ 686859 w 1494864"/>
                  <a:gd name="connsiteY750" fmla="*/ 248208 h 941139"/>
                  <a:gd name="connsiteX751" fmla="*/ 686859 w 1494864"/>
                  <a:gd name="connsiteY751" fmla="*/ 245395 h 941139"/>
                  <a:gd name="connsiteX752" fmla="*/ 688394 w 1494864"/>
                  <a:gd name="connsiteY752" fmla="*/ 245395 h 941139"/>
                  <a:gd name="connsiteX753" fmla="*/ 688394 w 1494864"/>
                  <a:gd name="connsiteY753" fmla="*/ 243960 h 941139"/>
                  <a:gd name="connsiteX754" fmla="*/ 689917 w 1494864"/>
                  <a:gd name="connsiteY754" fmla="*/ 243960 h 941139"/>
                  <a:gd name="connsiteX755" fmla="*/ 689917 w 1494864"/>
                  <a:gd name="connsiteY755" fmla="*/ 241113 h 941139"/>
                  <a:gd name="connsiteX756" fmla="*/ 691452 w 1494864"/>
                  <a:gd name="connsiteY756" fmla="*/ 241113 h 941139"/>
                  <a:gd name="connsiteX757" fmla="*/ 692986 w 1494864"/>
                  <a:gd name="connsiteY757" fmla="*/ 241113 h 941139"/>
                  <a:gd name="connsiteX758" fmla="*/ 694521 w 1494864"/>
                  <a:gd name="connsiteY758" fmla="*/ 241113 h 941139"/>
                  <a:gd name="connsiteX759" fmla="*/ 696055 w 1494864"/>
                  <a:gd name="connsiteY759" fmla="*/ 241113 h 941139"/>
                  <a:gd name="connsiteX760" fmla="*/ 697579 w 1494864"/>
                  <a:gd name="connsiteY760" fmla="*/ 241113 h 941139"/>
                  <a:gd name="connsiteX761" fmla="*/ 699125 w 1494864"/>
                  <a:gd name="connsiteY761" fmla="*/ 241113 h 941139"/>
                  <a:gd name="connsiteX762" fmla="*/ 699125 w 1494864"/>
                  <a:gd name="connsiteY762" fmla="*/ 239678 h 941139"/>
                  <a:gd name="connsiteX763" fmla="*/ 703717 w 1494864"/>
                  <a:gd name="connsiteY763" fmla="*/ 239678 h 941139"/>
                  <a:gd name="connsiteX764" fmla="*/ 703717 w 1494864"/>
                  <a:gd name="connsiteY764" fmla="*/ 238254 h 941139"/>
                  <a:gd name="connsiteX765" fmla="*/ 705219 w 1494864"/>
                  <a:gd name="connsiteY765" fmla="*/ 238254 h 941139"/>
                  <a:gd name="connsiteX766" fmla="*/ 706753 w 1494864"/>
                  <a:gd name="connsiteY766" fmla="*/ 238254 h 941139"/>
                  <a:gd name="connsiteX767" fmla="*/ 708277 w 1494864"/>
                  <a:gd name="connsiteY767" fmla="*/ 238254 h 941139"/>
                  <a:gd name="connsiteX768" fmla="*/ 709811 w 1494864"/>
                  <a:gd name="connsiteY768" fmla="*/ 238254 h 941139"/>
                  <a:gd name="connsiteX769" fmla="*/ 712880 w 1494864"/>
                  <a:gd name="connsiteY769" fmla="*/ 238254 h 941139"/>
                  <a:gd name="connsiteX770" fmla="*/ 714415 w 1494864"/>
                  <a:gd name="connsiteY770" fmla="*/ 238254 h 941139"/>
                  <a:gd name="connsiteX771" fmla="*/ 715949 w 1494864"/>
                  <a:gd name="connsiteY771" fmla="*/ 238254 h 941139"/>
                  <a:gd name="connsiteX772" fmla="*/ 717484 w 1494864"/>
                  <a:gd name="connsiteY772" fmla="*/ 238254 h 941139"/>
                  <a:gd name="connsiteX773" fmla="*/ 719007 w 1494864"/>
                  <a:gd name="connsiteY773" fmla="*/ 238254 h 941139"/>
                  <a:gd name="connsiteX774" fmla="*/ 720542 w 1494864"/>
                  <a:gd name="connsiteY774" fmla="*/ 238254 h 941139"/>
                  <a:gd name="connsiteX775" fmla="*/ 725113 w 1494864"/>
                  <a:gd name="connsiteY775" fmla="*/ 238254 h 941139"/>
                  <a:gd name="connsiteX776" fmla="*/ 725113 w 1494864"/>
                  <a:gd name="connsiteY776" fmla="*/ 236753 h 941139"/>
                  <a:gd name="connsiteX777" fmla="*/ 726636 w 1494864"/>
                  <a:gd name="connsiteY777" fmla="*/ 236753 h 941139"/>
                  <a:gd name="connsiteX778" fmla="*/ 726636 w 1494864"/>
                  <a:gd name="connsiteY778" fmla="*/ 235251 h 941139"/>
                  <a:gd name="connsiteX779" fmla="*/ 728170 w 1494864"/>
                  <a:gd name="connsiteY779" fmla="*/ 235251 h 941139"/>
                  <a:gd name="connsiteX780" fmla="*/ 728170 w 1494864"/>
                  <a:gd name="connsiteY780" fmla="*/ 233750 h 941139"/>
                  <a:gd name="connsiteX781" fmla="*/ 729705 w 1494864"/>
                  <a:gd name="connsiteY781" fmla="*/ 233750 h 941139"/>
                  <a:gd name="connsiteX782" fmla="*/ 729705 w 1494864"/>
                  <a:gd name="connsiteY782" fmla="*/ 232260 h 941139"/>
                  <a:gd name="connsiteX783" fmla="*/ 731240 w 1494864"/>
                  <a:gd name="connsiteY783" fmla="*/ 232260 h 941139"/>
                  <a:gd name="connsiteX784" fmla="*/ 731240 w 1494864"/>
                  <a:gd name="connsiteY784" fmla="*/ 230758 h 941139"/>
                  <a:gd name="connsiteX785" fmla="*/ 732774 w 1494864"/>
                  <a:gd name="connsiteY785" fmla="*/ 230758 h 941139"/>
                  <a:gd name="connsiteX786" fmla="*/ 735832 w 1494864"/>
                  <a:gd name="connsiteY786" fmla="*/ 230758 h 941139"/>
                  <a:gd name="connsiteX787" fmla="*/ 737367 w 1494864"/>
                  <a:gd name="connsiteY787" fmla="*/ 230758 h 941139"/>
                  <a:gd name="connsiteX788" fmla="*/ 738901 w 1494864"/>
                  <a:gd name="connsiteY788" fmla="*/ 230758 h 941139"/>
                  <a:gd name="connsiteX789" fmla="*/ 740403 w 1494864"/>
                  <a:gd name="connsiteY789" fmla="*/ 230758 h 941139"/>
                  <a:gd name="connsiteX790" fmla="*/ 741937 w 1494864"/>
                  <a:gd name="connsiteY790" fmla="*/ 230758 h 941139"/>
                  <a:gd name="connsiteX791" fmla="*/ 744995 w 1494864"/>
                  <a:gd name="connsiteY791" fmla="*/ 230758 h 941139"/>
                  <a:gd name="connsiteX792" fmla="*/ 744995 w 1494864"/>
                  <a:gd name="connsiteY792" fmla="*/ 229190 h 941139"/>
                  <a:gd name="connsiteX793" fmla="*/ 746530 w 1494864"/>
                  <a:gd name="connsiteY793" fmla="*/ 229190 h 941139"/>
                  <a:gd name="connsiteX794" fmla="*/ 746530 w 1494864"/>
                  <a:gd name="connsiteY794" fmla="*/ 226120 h 941139"/>
                  <a:gd name="connsiteX795" fmla="*/ 748064 w 1494864"/>
                  <a:gd name="connsiteY795" fmla="*/ 226120 h 941139"/>
                  <a:gd name="connsiteX796" fmla="*/ 749599 w 1494864"/>
                  <a:gd name="connsiteY796" fmla="*/ 226120 h 941139"/>
                  <a:gd name="connsiteX797" fmla="*/ 749599 w 1494864"/>
                  <a:gd name="connsiteY797" fmla="*/ 224552 h 941139"/>
                  <a:gd name="connsiteX798" fmla="*/ 751122 w 1494864"/>
                  <a:gd name="connsiteY798" fmla="*/ 224552 h 941139"/>
                  <a:gd name="connsiteX799" fmla="*/ 752668 w 1494864"/>
                  <a:gd name="connsiteY799" fmla="*/ 224552 h 941139"/>
                  <a:gd name="connsiteX800" fmla="*/ 752668 w 1494864"/>
                  <a:gd name="connsiteY800" fmla="*/ 222995 h 941139"/>
                  <a:gd name="connsiteX801" fmla="*/ 754192 w 1494864"/>
                  <a:gd name="connsiteY801" fmla="*/ 222995 h 941139"/>
                  <a:gd name="connsiteX802" fmla="*/ 757228 w 1494864"/>
                  <a:gd name="connsiteY802" fmla="*/ 222995 h 941139"/>
                  <a:gd name="connsiteX803" fmla="*/ 758751 w 1494864"/>
                  <a:gd name="connsiteY803" fmla="*/ 222995 h 941139"/>
                  <a:gd name="connsiteX804" fmla="*/ 760297 w 1494864"/>
                  <a:gd name="connsiteY804" fmla="*/ 222995 h 941139"/>
                  <a:gd name="connsiteX805" fmla="*/ 761820 w 1494864"/>
                  <a:gd name="connsiteY805" fmla="*/ 222995 h 941139"/>
                  <a:gd name="connsiteX806" fmla="*/ 761820 w 1494864"/>
                  <a:gd name="connsiteY806" fmla="*/ 221427 h 941139"/>
                  <a:gd name="connsiteX807" fmla="*/ 763355 w 1494864"/>
                  <a:gd name="connsiteY807" fmla="*/ 221427 h 941139"/>
                  <a:gd name="connsiteX808" fmla="*/ 763355 w 1494864"/>
                  <a:gd name="connsiteY808" fmla="*/ 219825 h 941139"/>
                  <a:gd name="connsiteX809" fmla="*/ 766424 w 1494864"/>
                  <a:gd name="connsiteY809" fmla="*/ 219825 h 941139"/>
                  <a:gd name="connsiteX810" fmla="*/ 766424 w 1494864"/>
                  <a:gd name="connsiteY810" fmla="*/ 218246 h 941139"/>
                  <a:gd name="connsiteX811" fmla="*/ 767958 w 1494864"/>
                  <a:gd name="connsiteY811" fmla="*/ 218246 h 941139"/>
                  <a:gd name="connsiteX812" fmla="*/ 767958 w 1494864"/>
                  <a:gd name="connsiteY812" fmla="*/ 216644 h 941139"/>
                  <a:gd name="connsiteX813" fmla="*/ 769493 w 1494864"/>
                  <a:gd name="connsiteY813" fmla="*/ 216644 h 941139"/>
                  <a:gd name="connsiteX814" fmla="*/ 769493 w 1494864"/>
                  <a:gd name="connsiteY814" fmla="*/ 211906 h 941139"/>
                  <a:gd name="connsiteX815" fmla="*/ 771016 w 1494864"/>
                  <a:gd name="connsiteY815" fmla="*/ 211906 h 941139"/>
                  <a:gd name="connsiteX816" fmla="*/ 771016 w 1494864"/>
                  <a:gd name="connsiteY816" fmla="*/ 210305 h 941139"/>
                  <a:gd name="connsiteX817" fmla="*/ 772551 w 1494864"/>
                  <a:gd name="connsiteY817" fmla="*/ 210305 h 941139"/>
                  <a:gd name="connsiteX818" fmla="*/ 774086 w 1494864"/>
                  <a:gd name="connsiteY818" fmla="*/ 210305 h 941139"/>
                  <a:gd name="connsiteX819" fmla="*/ 778645 w 1494864"/>
                  <a:gd name="connsiteY819" fmla="*/ 210305 h 941139"/>
                  <a:gd name="connsiteX820" fmla="*/ 778645 w 1494864"/>
                  <a:gd name="connsiteY820" fmla="*/ 208703 h 941139"/>
                  <a:gd name="connsiteX821" fmla="*/ 780180 w 1494864"/>
                  <a:gd name="connsiteY821" fmla="*/ 208703 h 941139"/>
                  <a:gd name="connsiteX822" fmla="*/ 781714 w 1494864"/>
                  <a:gd name="connsiteY822" fmla="*/ 208703 h 941139"/>
                  <a:gd name="connsiteX823" fmla="*/ 784783 w 1494864"/>
                  <a:gd name="connsiteY823" fmla="*/ 208703 h 941139"/>
                  <a:gd name="connsiteX824" fmla="*/ 784783 w 1494864"/>
                  <a:gd name="connsiteY824" fmla="*/ 205467 h 941139"/>
                  <a:gd name="connsiteX825" fmla="*/ 786307 w 1494864"/>
                  <a:gd name="connsiteY825" fmla="*/ 205467 h 941139"/>
                  <a:gd name="connsiteX826" fmla="*/ 786307 w 1494864"/>
                  <a:gd name="connsiteY826" fmla="*/ 202219 h 941139"/>
                  <a:gd name="connsiteX827" fmla="*/ 789376 w 1494864"/>
                  <a:gd name="connsiteY827" fmla="*/ 202219 h 941139"/>
                  <a:gd name="connsiteX828" fmla="*/ 789376 w 1494864"/>
                  <a:gd name="connsiteY828" fmla="*/ 200618 h 941139"/>
                  <a:gd name="connsiteX829" fmla="*/ 790910 w 1494864"/>
                  <a:gd name="connsiteY829" fmla="*/ 200618 h 941139"/>
                  <a:gd name="connsiteX830" fmla="*/ 792445 w 1494864"/>
                  <a:gd name="connsiteY830" fmla="*/ 200618 h 941139"/>
                  <a:gd name="connsiteX831" fmla="*/ 793935 w 1494864"/>
                  <a:gd name="connsiteY831" fmla="*/ 200618 h 941139"/>
                  <a:gd name="connsiteX832" fmla="*/ 795481 w 1494864"/>
                  <a:gd name="connsiteY832" fmla="*/ 200618 h 941139"/>
                  <a:gd name="connsiteX833" fmla="*/ 797004 w 1494864"/>
                  <a:gd name="connsiteY833" fmla="*/ 200618 h 941139"/>
                  <a:gd name="connsiteX834" fmla="*/ 797004 w 1494864"/>
                  <a:gd name="connsiteY834" fmla="*/ 198983 h 941139"/>
                  <a:gd name="connsiteX835" fmla="*/ 800074 w 1494864"/>
                  <a:gd name="connsiteY835" fmla="*/ 198983 h 941139"/>
                  <a:gd name="connsiteX836" fmla="*/ 801608 w 1494864"/>
                  <a:gd name="connsiteY836" fmla="*/ 198983 h 941139"/>
                  <a:gd name="connsiteX837" fmla="*/ 803143 w 1494864"/>
                  <a:gd name="connsiteY837" fmla="*/ 198983 h 941139"/>
                  <a:gd name="connsiteX838" fmla="*/ 803143 w 1494864"/>
                  <a:gd name="connsiteY838" fmla="*/ 197314 h 941139"/>
                  <a:gd name="connsiteX839" fmla="*/ 804666 w 1494864"/>
                  <a:gd name="connsiteY839" fmla="*/ 197314 h 941139"/>
                  <a:gd name="connsiteX840" fmla="*/ 804666 w 1494864"/>
                  <a:gd name="connsiteY840" fmla="*/ 194000 h 941139"/>
                  <a:gd name="connsiteX841" fmla="*/ 806212 w 1494864"/>
                  <a:gd name="connsiteY841" fmla="*/ 194000 h 941139"/>
                  <a:gd name="connsiteX842" fmla="*/ 806212 w 1494864"/>
                  <a:gd name="connsiteY842" fmla="*/ 192332 h 941139"/>
                  <a:gd name="connsiteX843" fmla="*/ 810771 w 1494864"/>
                  <a:gd name="connsiteY843" fmla="*/ 192332 h 941139"/>
                  <a:gd name="connsiteX844" fmla="*/ 810771 w 1494864"/>
                  <a:gd name="connsiteY844" fmla="*/ 188984 h 941139"/>
                  <a:gd name="connsiteX845" fmla="*/ 812295 w 1494864"/>
                  <a:gd name="connsiteY845" fmla="*/ 188984 h 941139"/>
                  <a:gd name="connsiteX846" fmla="*/ 812295 w 1494864"/>
                  <a:gd name="connsiteY846" fmla="*/ 187316 h 941139"/>
                  <a:gd name="connsiteX847" fmla="*/ 813840 w 1494864"/>
                  <a:gd name="connsiteY847" fmla="*/ 187316 h 941139"/>
                  <a:gd name="connsiteX848" fmla="*/ 815364 w 1494864"/>
                  <a:gd name="connsiteY848" fmla="*/ 187316 h 941139"/>
                  <a:gd name="connsiteX849" fmla="*/ 816898 w 1494864"/>
                  <a:gd name="connsiteY849" fmla="*/ 187316 h 941139"/>
                  <a:gd name="connsiteX850" fmla="*/ 816898 w 1494864"/>
                  <a:gd name="connsiteY850" fmla="*/ 185603 h 941139"/>
                  <a:gd name="connsiteX851" fmla="*/ 818433 w 1494864"/>
                  <a:gd name="connsiteY851" fmla="*/ 185603 h 941139"/>
                  <a:gd name="connsiteX852" fmla="*/ 818433 w 1494864"/>
                  <a:gd name="connsiteY852" fmla="*/ 182222 h 941139"/>
                  <a:gd name="connsiteX853" fmla="*/ 823025 w 1494864"/>
                  <a:gd name="connsiteY853" fmla="*/ 182222 h 941139"/>
                  <a:gd name="connsiteX854" fmla="*/ 824560 w 1494864"/>
                  <a:gd name="connsiteY854" fmla="*/ 182222 h 941139"/>
                  <a:gd name="connsiteX855" fmla="*/ 826095 w 1494864"/>
                  <a:gd name="connsiteY855" fmla="*/ 182222 h 941139"/>
                  <a:gd name="connsiteX856" fmla="*/ 826095 w 1494864"/>
                  <a:gd name="connsiteY856" fmla="*/ 178808 h 941139"/>
                  <a:gd name="connsiteX857" fmla="*/ 827629 w 1494864"/>
                  <a:gd name="connsiteY857" fmla="*/ 178808 h 941139"/>
                  <a:gd name="connsiteX858" fmla="*/ 829130 w 1494864"/>
                  <a:gd name="connsiteY858" fmla="*/ 178808 h 941139"/>
                  <a:gd name="connsiteX859" fmla="*/ 829130 w 1494864"/>
                  <a:gd name="connsiteY859" fmla="*/ 177106 h 941139"/>
                  <a:gd name="connsiteX860" fmla="*/ 830654 w 1494864"/>
                  <a:gd name="connsiteY860" fmla="*/ 177106 h 941139"/>
                  <a:gd name="connsiteX861" fmla="*/ 830654 w 1494864"/>
                  <a:gd name="connsiteY861" fmla="*/ 175393 h 941139"/>
                  <a:gd name="connsiteX862" fmla="*/ 832189 w 1494864"/>
                  <a:gd name="connsiteY862" fmla="*/ 175393 h 941139"/>
                  <a:gd name="connsiteX863" fmla="*/ 833723 w 1494864"/>
                  <a:gd name="connsiteY863" fmla="*/ 175393 h 941139"/>
                  <a:gd name="connsiteX864" fmla="*/ 833723 w 1494864"/>
                  <a:gd name="connsiteY864" fmla="*/ 173658 h 941139"/>
                  <a:gd name="connsiteX865" fmla="*/ 835258 w 1494864"/>
                  <a:gd name="connsiteY865" fmla="*/ 173658 h 941139"/>
                  <a:gd name="connsiteX866" fmla="*/ 835258 w 1494864"/>
                  <a:gd name="connsiteY866" fmla="*/ 171945 h 941139"/>
                  <a:gd name="connsiteX867" fmla="*/ 836792 w 1494864"/>
                  <a:gd name="connsiteY867" fmla="*/ 171945 h 941139"/>
                  <a:gd name="connsiteX868" fmla="*/ 838327 w 1494864"/>
                  <a:gd name="connsiteY868" fmla="*/ 171945 h 941139"/>
                  <a:gd name="connsiteX869" fmla="*/ 839850 w 1494864"/>
                  <a:gd name="connsiteY869" fmla="*/ 171945 h 941139"/>
                  <a:gd name="connsiteX870" fmla="*/ 839850 w 1494864"/>
                  <a:gd name="connsiteY870" fmla="*/ 170166 h 941139"/>
                  <a:gd name="connsiteX871" fmla="*/ 842919 w 1494864"/>
                  <a:gd name="connsiteY871" fmla="*/ 170166 h 941139"/>
                  <a:gd name="connsiteX872" fmla="*/ 844454 w 1494864"/>
                  <a:gd name="connsiteY872" fmla="*/ 170166 h 941139"/>
                  <a:gd name="connsiteX873" fmla="*/ 845955 w 1494864"/>
                  <a:gd name="connsiteY873" fmla="*/ 170166 h 941139"/>
                  <a:gd name="connsiteX874" fmla="*/ 845955 w 1494864"/>
                  <a:gd name="connsiteY874" fmla="*/ 166651 h 941139"/>
                  <a:gd name="connsiteX875" fmla="*/ 847479 w 1494864"/>
                  <a:gd name="connsiteY875" fmla="*/ 166651 h 941139"/>
                  <a:gd name="connsiteX876" fmla="*/ 849024 w 1494864"/>
                  <a:gd name="connsiteY876" fmla="*/ 166651 h 941139"/>
                  <a:gd name="connsiteX877" fmla="*/ 849024 w 1494864"/>
                  <a:gd name="connsiteY877" fmla="*/ 164872 h 941139"/>
                  <a:gd name="connsiteX878" fmla="*/ 850548 w 1494864"/>
                  <a:gd name="connsiteY878" fmla="*/ 164872 h 941139"/>
                  <a:gd name="connsiteX879" fmla="*/ 850548 w 1494864"/>
                  <a:gd name="connsiteY879" fmla="*/ 163092 h 941139"/>
                  <a:gd name="connsiteX880" fmla="*/ 852083 w 1494864"/>
                  <a:gd name="connsiteY880" fmla="*/ 163092 h 941139"/>
                  <a:gd name="connsiteX881" fmla="*/ 852083 w 1494864"/>
                  <a:gd name="connsiteY881" fmla="*/ 161324 h 941139"/>
                  <a:gd name="connsiteX882" fmla="*/ 853617 w 1494864"/>
                  <a:gd name="connsiteY882" fmla="*/ 161324 h 941139"/>
                  <a:gd name="connsiteX883" fmla="*/ 855152 w 1494864"/>
                  <a:gd name="connsiteY883" fmla="*/ 161324 h 941139"/>
                  <a:gd name="connsiteX884" fmla="*/ 856686 w 1494864"/>
                  <a:gd name="connsiteY884" fmla="*/ 161324 h 941139"/>
                  <a:gd name="connsiteX885" fmla="*/ 856686 w 1494864"/>
                  <a:gd name="connsiteY885" fmla="*/ 159544 h 941139"/>
                  <a:gd name="connsiteX886" fmla="*/ 858210 w 1494864"/>
                  <a:gd name="connsiteY886" fmla="*/ 159544 h 941139"/>
                  <a:gd name="connsiteX887" fmla="*/ 858210 w 1494864"/>
                  <a:gd name="connsiteY887" fmla="*/ 157731 h 941139"/>
                  <a:gd name="connsiteX888" fmla="*/ 859744 w 1494864"/>
                  <a:gd name="connsiteY888" fmla="*/ 157731 h 941139"/>
                  <a:gd name="connsiteX889" fmla="*/ 859744 w 1494864"/>
                  <a:gd name="connsiteY889" fmla="*/ 155919 h 941139"/>
                  <a:gd name="connsiteX890" fmla="*/ 865838 w 1494864"/>
                  <a:gd name="connsiteY890" fmla="*/ 155919 h 941139"/>
                  <a:gd name="connsiteX891" fmla="*/ 867373 w 1494864"/>
                  <a:gd name="connsiteY891" fmla="*/ 155919 h 941139"/>
                  <a:gd name="connsiteX892" fmla="*/ 868907 w 1494864"/>
                  <a:gd name="connsiteY892" fmla="*/ 155919 h 941139"/>
                  <a:gd name="connsiteX893" fmla="*/ 870442 w 1494864"/>
                  <a:gd name="connsiteY893" fmla="*/ 155919 h 941139"/>
                  <a:gd name="connsiteX894" fmla="*/ 873511 w 1494864"/>
                  <a:gd name="connsiteY894" fmla="*/ 155919 h 941139"/>
                  <a:gd name="connsiteX895" fmla="*/ 873511 w 1494864"/>
                  <a:gd name="connsiteY895" fmla="*/ 154072 h 941139"/>
                  <a:gd name="connsiteX896" fmla="*/ 875034 w 1494864"/>
                  <a:gd name="connsiteY896" fmla="*/ 154072 h 941139"/>
                  <a:gd name="connsiteX897" fmla="*/ 876569 w 1494864"/>
                  <a:gd name="connsiteY897" fmla="*/ 154072 h 941139"/>
                  <a:gd name="connsiteX898" fmla="*/ 876569 w 1494864"/>
                  <a:gd name="connsiteY898" fmla="*/ 152226 h 941139"/>
                  <a:gd name="connsiteX899" fmla="*/ 878104 w 1494864"/>
                  <a:gd name="connsiteY899" fmla="*/ 152226 h 941139"/>
                  <a:gd name="connsiteX900" fmla="*/ 879638 w 1494864"/>
                  <a:gd name="connsiteY900" fmla="*/ 152226 h 941139"/>
                  <a:gd name="connsiteX901" fmla="*/ 879638 w 1494864"/>
                  <a:gd name="connsiteY901" fmla="*/ 150380 h 941139"/>
                  <a:gd name="connsiteX902" fmla="*/ 881139 w 1494864"/>
                  <a:gd name="connsiteY902" fmla="*/ 150380 h 941139"/>
                  <a:gd name="connsiteX903" fmla="*/ 887267 w 1494864"/>
                  <a:gd name="connsiteY903" fmla="*/ 150380 h 941139"/>
                  <a:gd name="connsiteX904" fmla="*/ 888801 w 1494864"/>
                  <a:gd name="connsiteY904" fmla="*/ 150380 h 941139"/>
                  <a:gd name="connsiteX905" fmla="*/ 890336 w 1494864"/>
                  <a:gd name="connsiteY905" fmla="*/ 150380 h 941139"/>
                  <a:gd name="connsiteX906" fmla="*/ 891870 w 1494864"/>
                  <a:gd name="connsiteY906" fmla="*/ 150380 h 941139"/>
                  <a:gd name="connsiteX907" fmla="*/ 891870 w 1494864"/>
                  <a:gd name="connsiteY907" fmla="*/ 148467 h 941139"/>
                  <a:gd name="connsiteX908" fmla="*/ 896463 w 1494864"/>
                  <a:gd name="connsiteY908" fmla="*/ 148467 h 941139"/>
                  <a:gd name="connsiteX909" fmla="*/ 896463 w 1494864"/>
                  <a:gd name="connsiteY909" fmla="*/ 146543 h 941139"/>
                  <a:gd name="connsiteX910" fmla="*/ 897998 w 1494864"/>
                  <a:gd name="connsiteY910" fmla="*/ 146543 h 941139"/>
                  <a:gd name="connsiteX911" fmla="*/ 899499 w 1494864"/>
                  <a:gd name="connsiteY911" fmla="*/ 146543 h 941139"/>
                  <a:gd name="connsiteX912" fmla="*/ 901022 w 1494864"/>
                  <a:gd name="connsiteY912" fmla="*/ 146543 h 941139"/>
                  <a:gd name="connsiteX913" fmla="*/ 902557 w 1494864"/>
                  <a:gd name="connsiteY913" fmla="*/ 146543 h 941139"/>
                  <a:gd name="connsiteX914" fmla="*/ 902557 w 1494864"/>
                  <a:gd name="connsiteY914" fmla="*/ 144563 h 941139"/>
                  <a:gd name="connsiteX915" fmla="*/ 904092 w 1494864"/>
                  <a:gd name="connsiteY915" fmla="*/ 144563 h 941139"/>
                  <a:gd name="connsiteX916" fmla="*/ 904092 w 1494864"/>
                  <a:gd name="connsiteY916" fmla="*/ 142606 h 941139"/>
                  <a:gd name="connsiteX917" fmla="*/ 907161 w 1494864"/>
                  <a:gd name="connsiteY917" fmla="*/ 142606 h 941139"/>
                  <a:gd name="connsiteX918" fmla="*/ 911753 w 1494864"/>
                  <a:gd name="connsiteY918" fmla="*/ 142606 h 941139"/>
                  <a:gd name="connsiteX919" fmla="*/ 913288 w 1494864"/>
                  <a:gd name="connsiteY919" fmla="*/ 142606 h 941139"/>
                  <a:gd name="connsiteX920" fmla="*/ 916357 w 1494864"/>
                  <a:gd name="connsiteY920" fmla="*/ 142606 h 941139"/>
                  <a:gd name="connsiteX921" fmla="*/ 916357 w 1494864"/>
                  <a:gd name="connsiteY921" fmla="*/ 140593 h 941139"/>
                  <a:gd name="connsiteX922" fmla="*/ 919382 w 1494864"/>
                  <a:gd name="connsiteY922" fmla="*/ 140593 h 941139"/>
                  <a:gd name="connsiteX923" fmla="*/ 920916 w 1494864"/>
                  <a:gd name="connsiteY923" fmla="*/ 140593 h 941139"/>
                  <a:gd name="connsiteX924" fmla="*/ 923985 w 1494864"/>
                  <a:gd name="connsiteY924" fmla="*/ 140593 h 941139"/>
                  <a:gd name="connsiteX925" fmla="*/ 925520 w 1494864"/>
                  <a:gd name="connsiteY925" fmla="*/ 140593 h 941139"/>
                  <a:gd name="connsiteX926" fmla="*/ 925520 w 1494864"/>
                  <a:gd name="connsiteY926" fmla="*/ 138568 h 941139"/>
                  <a:gd name="connsiteX927" fmla="*/ 928578 w 1494864"/>
                  <a:gd name="connsiteY927" fmla="*/ 138568 h 941139"/>
                  <a:gd name="connsiteX928" fmla="*/ 930113 w 1494864"/>
                  <a:gd name="connsiteY928" fmla="*/ 138568 h 941139"/>
                  <a:gd name="connsiteX929" fmla="*/ 931647 w 1494864"/>
                  <a:gd name="connsiteY929" fmla="*/ 138568 h 941139"/>
                  <a:gd name="connsiteX930" fmla="*/ 931647 w 1494864"/>
                  <a:gd name="connsiteY930" fmla="*/ 136511 h 941139"/>
                  <a:gd name="connsiteX931" fmla="*/ 933182 w 1494864"/>
                  <a:gd name="connsiteY931" fmla="*/ 136511 h 941139"/>
                  <a:gd name="connsiteX932" fmla="*/ 934683 w 1494864"/>
                  <a:gd name="connsiteY932" fmla="*/ 136511 h 941139"/>
                  <a:gd name="connsiteX933" fmla="*/ 934683 w 1494864"/>
                  <a:gd name="connsiteY933" fmla="*/ 134453 h 941139"/>
                  <a:gd name="connsiteX934" fmla="*/ 939276 w 1494864"/>
                  <a:gd name="connsiteY934" fmla="*/ 134453 h 941139"/>
                  <a:gd name="connsiteX935" fmla="*/ 940810 w 1494864"/>
                  <a:gd name="connsiteY935" fmla="*/ 134453 h 941139"/>
                  <a:gd name="connsiteX936" fmla="*/ 940810 w 1494864"/>
                  <a:gd name="connsiteY936" fmla="*/ 132329 h 941139"/>
                  <a:gd name="connsiteX937" fmla="*/ 942345 w 1494864"/>
                  <a:gd name="connsiteY937" fmla="*/ 132329 h 941139"/>
                  <a:gd name="connsiteX938" fmla="*/ 943879 w 1494864"/>
                  <a:gd name="connsiteY938" fmla="*/ 132329 h 941139"/>
                  <a:gd name="connsiteX939" fmla="*/ 945414 w 1494864"/>
                  <a:gd name="connsiteY939" fmla="*/ 132329 h 941139"/>
                  <a:gd name="connsiteX940" fmla="*/ 946937 w 1494864"/>
                  <a:gd name="connsiteY940" fmla="*/ 132329 h 941139"/>
                  <a:gd name="connsiteX941" fmla="*/ 946937 w 1494864"/>
                  <a:gd name="connsiteY941" fmla="*/ 130205 h 941139"/>
                  <a:gd name="connsiteX942" fmla="*/ 950007 w 1494864"/>
                  <a:gd name="connsiteY942" fmla="*/ 130205 h 941139"/>
                  <a:gd name="connsiteX943" fmla="*/ 951541 w 1494864"/>
                  <a:gd name="connsiteY943" fmla="*/ 130205 h 941139"/>
                  <a:gd name="connsiteX944" fmla="*/ 951541 w 1494864"/>
                  <a:gd name="connsiteY944" fmla="*/ 128047 h 941139"/>
                  <a:gd name="connsiteX945" fmla="*/ 953042 w 1494864"/>
                  <a:gd name="connsiteY945" fmla="*/ 128047 h 941139"/>
                  <a:gd name="connsiteX946" fmla="*/ 953042 w 1494864"/>
                  <a:gd name="connsiteY946" fmla="*/ 123765 h 941139"/>
                  <a:gd name="connsiteX947" fmla="*/ 954566 w 1494864"/>
                  <a:gd name="connsiteY947" fmla="*/ 123765 h 941139"/>
                  <a:gd name="connsiteX948" fmla="*/ 956100 w 1494864"/>
                  <a:gd name="connsiteY948" fmla="*/ 123765 h 941139"/>
                  <a:gd name="connsiteX949" fmla="*/ 959170 w 1494864"/>
                  <a:gd name="connsiteY949" fmla="*/ 123765 h 941139"/>
                  <a:gd name="connsiteX950" fmla="*/ 959170 w 1494864"/>
                  <a:gd name="connsiteY950" fmla="*/ 121563 h 941139"/>
                  <a:gd name="connsiteX951" fmla="*/ 960704 w 1494864"/>
                  <a:gd name="connsiteY951" fmla="*/ 121563 h 941139"/>
                  <a:gd name="connsiteX952" fmla="*/ 962239 w 1494864"/>
                  <a:gd name="connsiteY952" fmla="*/ 121563 h 941139"/>
                  <a:gd name="connsiteX953" fmla="*/ 963762 w 1494864"/>
                  <a:gd name="connsiteY953" fmla="*/ 121563 h 941139"/>
                  <a:gd name="connsiteX954" fmla="*/ 965297 w 1494864"/>
                  <a:gd name="connsiteY954" fmla="*/ 121563 h 941139"/>
                  <a:gd name="connsiteX955" fmla="*/ 965297 w 1494864"/>
                  <a:gd name="connsiteY955" fmla="*/ 119338 h 941139"/>
                  <a:gd name="connsiteX956" fmla="*/ 966831 w 1494864"/>
                  <a:gd name="connsiteY956" fmla="*/ 119338 h 941139"/>
                  <a:gd name="connsiteX957" fmla="*/ 972925 w 1494864"/>
                  <a:gd name="connsiteY957" fmla="*/ 119338 h 941139"/>
                  <a:gd name="connsiteX958" fmla="*/ 972925 w 1494864"/>
                  <a:gd name="connsiteY958" fmla="*/ 114879 h 941139"/>
                  <a:gd name="connsiteX959" fmla="*/ 974460 w 1494864"/>
                  <a:gd name="connsiteY959" fmla="*/ 114879 h 941139"/>
                  <a:gd name="connsiteX960" fmla="*/ 975994 w 1494864"/>
                  <a:gd name="connsiteY960" fmla="*/ 114879 h 941139"/>
                  <a:gd name="connsiteX961" fmla="*/ 975994 w 1494864"/>
                  <a:gd name="connsiteY961" fmla="*/ 112576 h 941139"/>
                  <a:gd name="connsiteX962" fmla="*/ 977529 w 1494864"/>
                  <a:gd name="connsiteY962" fmla="*/ 112576 h 941139"/>
                  <a:gd name="connsiteX963" fmla="*/ 980598 w 1494864"/>
                  <a:gd name="connsiteY963" fmla="*/ 112576 h 941139"/>
                  <a:gd name="connsiteX964" fmla="*/ 980598 w 1494864"/>
                  <a:gd name="connsiteY964" fmla="*/ 110274 h 941139"/>
                  <a:gd name="connsiteX965" fmla="*/ 982122 w 1494864"/>
                  <a:gd name="connsiteY965" fmla="*/ 110274 h 941139"/>
                  <a:gd name="connsiteX966" fmla="*/ 983656 w 1494864"/>
                  <a:gd name="connsiteY966" fmla="*/ 110274 h 941139"/>
                  <a:gd name="connsiteX967" fmla="*/ 985191 w 1494864"/>
                  <a:gd name="connsiteY967" fmla="*/ 110274 h 941139"/>
                  <a:gd name="connsiteX968" fmla="*/ 986725 w 1494864"/>
                  <a:gd name="connsiteY968" fmla="*/ 110274 h 941139"/>
                  <a:gd name="connsiteX969" fmla="*/ 988227 w 1494864"/>
                  <a:gd name="connsiteY969" fmla="*/ 110274 h 941139"/>
                  <a:gd name="connsiteX970" fmla="*/ 992819 w 1494864"/>
                  <a:gd name="connsiteY970" fmla="*/ 110274 h 941139"/>
                  <a:gd name="connsiteX971" fmla="*/ 994354 w 1494864"/>
                  <a:gd name="connsiteY971" fmla="*/ 110274 h 941139"/>
                  <a:gd name="connsiteX972" fmla="*/ 995888 w 1494864"/>
                  <a:gd name="connsiteY972" fmla="*/ 110274 h 941139"/>
                  <a:gd name="connsiteX973" fmla="*/ 997412 w 1494864"/>
                  <a:gd name="connsiteY973" fmla="*/ 110274 h 941139"/>
                  <a:gd name="connsiteX974" fmla="*/ 998958 w 1494864"/>
                  <a:gd name="connsiteY974" fmla="*/ 110274 h 941139"/>
                  <a:gd name="connsiteX975" fmla="*/ 1005040 w 1494864"/>
                  <a:gd name="connsiteY975" fmla="*/ 110274 h 941139"/>
                  <a:gd name="connsiteX976" fmla="*/ 1006586 w 1494864"/>
                  <a:gd name="connsiteY976" fmla="*/ 110274 h 941139"/>
                  <a:gd name="connsiteX977" fmla="*/ 1008109 w 1494864"/>
                  <a:gd name="connsiteY977" fmla="*/ 110274 h 941139"/>
                  <a:gd name="connsiteX978" fmla="*/ 1008109 w 1494864"/>
                  <a:gd name="connsiteY978" fmla="*/ 107905 h 941139"/>
                  <a:gd name="connsiteX979" fmla="*/ 1009644 w 1494864"/>
                  <a:gd name="connsiteY979" fmla="*/ 107905 h 941139"/>
                  <a:gd name="connsiteX980" fmla="*/ 1009644 w 1494864"/>
                  <a:gd name="connsiteY980" fmla="*/ 105503 h 941139"/>
                  <a:gd name="connsiteX981" fmla="*/ 1015782 w 1494864"/>
                  <a:gd name="connsiteY981" fmla="*/ 105503 h 941139"/>
                  <a:gd name="connsiteX982" fmla="*/ 1017306 w 1494864"/>
                  <a:gd name="connsiteY982" fmla="*/ 105503 h 941139"/>
                  <a:gd name="connsiteX983" fmla="*/ 1018840 w 1494864"/>
                  <a:gd name="connsiteY983" fmla="*/ 105503 h 941139"/>
                  <a:gd name="connsiteX984" fmla="*/ 1018840 w 1494864"/>
                  <a:gd name="connsiteY984" fmla="*/ 103100 h 941139"/>
                  <a:gd name="connsiteX985" fmla="*/ 1020375 w 1494864"/>
                  <a:gd name="connsiteY985" fmla="*/ 103100 h 941139"/>
                  <a:gd name="connsiteX986" fmla="*/ 1020375 w 1494864"/>
                  <a:gd name="connsiteY986" fmla="*/ 100665 h 941139"/>
                  <a:gd name="connsiteX987" fmla="*/ 1023411 w 1494864"/>
                  <a:gd name="connsiteY987" fmla="*/ 100665 h 941139"/>
                  <a:gd name="connsiteX988" fmla="*/ 1023411 w 1494864"/>
                  <a:gd name="connsiteY988" fmla="*/ 98185 h 941139"/>
                  <a:gd name="connsiteX989" fmla="*/ 1024934 w 1494864"/>
                  <a:gd name="connsiteY989" fmla="*/ 98185 h 941139"/>
                  <a:gd name="connsiteX990" fmla="*/ 1026469 w 1494864"/>
                  <a:gd name="connsiteY990" fmla="*/ 98185 h 941139"/>
                  <a:gd name="connsiteX991" fmla="*/ 1028003 w 1494864"/>
                  <a:gd name="connsiteY991" fmla="*/ 98185 h 941139"/>
                  <a:gd name="connsiteX992" fmla="*/ 1029538 w 1494864"/>
                  <a:gd name="connsiteY992" fmla="*/ 98185 h 941139"/>
                  <a:gd name="connsiteX993" fmla="*/ 1031073 w 1494864"/>
                  <a:gd name="connsiteY993" fmla="*/ 98185 h 941139"/>
                  <a:gd name="connsiteX994" fmla="*/ 1034142 w 1494864"/>
                  <a:gd name="connsiteY994" fmla="*/ 98185 h 941139"/>
                  <a:gd name="connsiteX995" fmla="*/ 1035665 w 1494864"/>
                  <a:gd name="connsiteY995" fmla="*/ 98185 h 941139"/>
                  <a:gd name="connsiteX996" fmla="*/ 1037200 w 1494864"/>
                  <a:gd name="connsiteY996" fmla="*/ 98185 h 941139"/>
                  <a:gd name="connsiteX997" fmla="*/ 1040269 w 1494864"/>
                  <a:gd name="connsiteY997" fmla="*/ 98185 h 941139"/>
                  <a:gd name="connsiteX998" fmla="*/ 1041770 w 1494864"/>
                  <a:gd name="connsiteY998" fmla="*/ 98185 h 941139"/>
                  <a:gd name="connsiteX999" fmla="*/ 1041770 w 1494864"/>
                  <a:gd name="connsiteY999" fmla="*/ 95615 h 941139"/>
                  <a:gd name="connsiteX1000" fmla="*/ 1046363 w 1494864"/>
                  <a:gd name="connsiteY1000" fmla="*/ 95615 h 941139"/>
                  <a:gd name="connsiteX1001" fmla="*/ 1047897 w 1494864"/>
                  <a:gd name="connsiteY1001" fmla="*/ 95615 h 941139"/>
                  <a:gd name="connsiteX1002" fmla="*/ 1047897 w 1494864"/>
                  <a:gd name="connsiteY1002" fmla="*/ 93002 h 941139"/>
                  <a:gd name="connsiteX1003" fmla="*/ 1049432 w 1494864"/>
                  <a:gd name="connsiteY1003" fmla="*/ 93002 h 941139"/>
                  <a:gd name="connsiteX1004" fmla="*/ 1050956 w 1494864"/>
                  <a:gd name="connsiteY1004" fmla="*/ 93002 h 941139"/>
                  <a:gd name="connsiteX1005" fmla="*/ 1055559 w 1494864"/>
                  <a:gd name="connsiteY1005" fmla="*/ 93002 h 941139"/>
                  <a:gd name="connsiteX1006" fmla="*/ 1057094 w 1494864"/>
                  <a:gd name="connsiteY1006" fmla="*/ 93002 h 941139"/>
                  <a:gd name="connsiteX1007" fmla="*/ 1057094 w 1494864"/>
                  <a:gd name="connsiteY1007" fmla="*/ 90344 h 941139"/>
                  <a:gd name="connsiteX1008" fmla="*/ 1058584 w 1494864"/>
                  <a:gd name="connsiteY1008" fmla="*/ 90344 h 941139"/>
                  <a:gd name="connsiteX1009" fmla="*/ 1060118 w 1494864"/>
                  <a:gd name="connsiteY1009" fmla="*/ 90344 h 941139"/>
                  <a:gd name="connsiteX1010" fmla="*/ 1061653 w 1494864"/>
                  <a:gd name="connsiteY1010" fmla="*/ 90344 h 941139"/>
                  <a:gd name="connsiteX1011" fmla="*/ 1063188 w 1494864"/>
                  <a:gd name="connsiteY1011" fmla="*/ 90344 h 941139"/>
                  <a:gd name="connsiteX1012" fmla="*/ 1064722 w 1494864"/>
                  <a:gd name="connsiteY1012" fmla="*/ 90344 h 941139"/>
                  <a:gd name="connsiteX1013" fmla="*/ 1067780 w 1494864"/>
                  <a:gd name="connsiteY1013" fmla="*/ 90344 h 941139"/>
                  <a:gd name="connsiteX1014" fmla="*/ 1069315 w 1494864"/>
                  <a:gd name="connsiteY1014" fmla="*/ 90344 h 941139"/>
                  <a:gd name="connsiteX1015" fmla="*/ 1072384 w 1494864"/>
                  <a:gd name="connsiteY1015" fmla="*/ 90344 h 941139"/>
                  <a:gd name="connsiteX1016" fmla="*/ 1073919 w 1494864"/>
                  <a:gd name="connsiteY1016" fmla="*/ 90344 h 941139"/>
                  <a:gd name="connsiteX1017" fmla="*/ 1075453 w 1494864"/>
                  <a:gd name="connsiteY1017" fmla="*/ 90344 h 941139"/>
                  <a:gd name="connsiteX1018" fmla="*/ 1075453 w 1494864"/>
                  <a:gd name="connsiteY1018" fmla="*/ 87530 h 941139"/>
                  <a:gd name="connsiteX1019" fmla="*/ 1080012 w 1494864"/>
                  <a:gd name="connsiteY1019" fmla="*/ 87530 h 941139"/>
                  <a:gd name="connsiteX1020" fmla="*/ 1081547 w 1494864"/>
                  <a:gd name="connsiteY1020" fmla="*/ 87530 h 941139"/>
                  <a:gd name="connsiteX1021" fmla="*/ 1083082 w 1494864"/>
                  <a:gd name="connsiteY1021" fmla="*/ 87530 h 941139"/>
                  <a:gd name="connsiteX1022" fmla="*/ 1089209 w 1494864"/>
                  <a:gd name="connsiteY1022" fmla="*/ 87530 h 941139"/>
                  <a:gd name="connsiteX1023" fmla="*/ 1090743 w 1494864"/>
                  <a:gd name="connsiteY1023" fmla="*/ 87530 h 941139"/>
                  <a:gd name="connsiteX1024" fmla="*/ 1092278 w 1494864"/>
                  <a:gd name="connsiteY1024" fmla="*/ 87530 h 941139"/>
                  <a:gd name="connsiteX1025" fmla="*/ 1093768 w 1494864"/>
                  <a:gd name="connsiteY1025" fmla="*/ 87530 h 941139"/>
                  <a:gd name="connsiteX1026" fmla="*/ 1093768 w 1494864"/>
                  <a:gd name="connsiteY1026" fmla="*/ 84594 h 941139"/>
                  <a:gd name="connsiteX1027" fmla="*/ 1095314 w 1494864"/>
                  <a:gd name="connsiteY1027" fmla="*/ 84594 h 941139"/>
                  <a:gd name="connsiteX1028" fmla="*/ 1096837 w 1494864"/>
                  <a:gd name="connsiteY1028" fmla="*/ 84594 h 941139"/>
                  <a:gd name="connsiteX1029" fmla="*/ 1096837 w 1494864"/>
                  <a:gd name="connsiteY1029" fmla="*/ 81635 h 941139"/>
                  <a:gd name="connsiteX1030" fmla="*/ 1098372 w 1494864"/>
                  <a:gd name="connsiteY1030" fmla="*/ 81635 h 941139"/>
                  <a:gd name="connsiteX1031" fmla="*/ 1101441 w 1494864"/>
                  <a:gd name="connsiteY1031" fmla="*/ 81635 h 941139"/>
                  <a:gd name="connsiteX1032" fmla="*/ 1101441 w 1494864"/>
                  <a:gd name="connsiteY1032" fmla="*/ 72649 h 941139"/>
                  <a:gd name="connsiteX1033" fmla="*/ 1102976 w 1494864"/>
                  <a:gd name="connsiteY1033" fmla="*/ 72649 h 941139"/>
                  <a:gd name="connsiteX1034" fmla="*/ 1104499 w 1494864"/>
                  <a:gd name="connsiteY1034" fmla="*/ 72649 h 941139"/>
                  <a:gd name="connsiteX1035" fmla="*/ 1106034 w 1494864"/>
                  <a:gd name="connsiteY1035" fmla="*/ 72649 h 941139"/>
                  <a:gd name="connsiteX1036" fmla="*/ 1109103 w 1494864"/>
                  <a:gd name="connsiteY1036" fmla="*/ 72649 h 941139"/>
                  <a:gd name="connsiteX1037" fmla="*/ 1110626 w 1494864"/>
                  <a:gd name="connsiteY1037" fmla="*/ 72649 h 941139"/>
                  <a:gd name="connsiteX1038" fmla="*/ 1112127 w 1494864"/>
                  <a:gd name="connsiteY1038" fmla="*/ 72649 h 941139"/>
                  <a:gd name="connsiteX1039" fmla="*/ 1113662 w 1494864"/>
                  <a:gd name="connsiteY1039" fmla="*/ 72649 h 941139"/>
                  <a:gd name="connsiteX1040" fmla="*/ 1113662 w 1494864"/>
                  <a:gd name="connsiteY1040" fmla="*/ 69512 h 941139"/>
                  <a:gd name="connsiteX1041" fmla="*/ 1115197 w 1494864"/>
                  <a:gd name="connsiteY1041" fmla="*/ 69512 h 941139"/>
                  <a:gd name="connsiteX1042" fmla="*/ 1116731 w 1494864"/>
                  <a:gd name="connsiteY1042" fmla="*/ 69512 h 941139"/>
                  <a:gd name="connsiteX1043" fmla="*/ 1121324 w 1494864"/>
                  <a:gd name="connsiteY1043" fmla="*/ 69512 h 941139"/>
                  <a:gd name="connsiteX1044" fmla="*/ 1121324 w 1494864"/>
                  <a:gd name="connsiteY1044" fmla="*/ 66309 h 941139"/>
                  <a:gd name="connsiteX1045" fmla="*/ 1122858 w 1494864"/>
                  <a:gd name="connsiteY1045" fmla="*/ 66309 h 941139"/>
                  <a:gd name="connsiteX1046" fmla="*/ 1124393 w 1494864"/>
                  <a:gd name="connsiteY1046" fmla="*/ 66309 h 941139"/>
                  <a:gd name="connsiteX1047" fmla="*/ 1125928 w 1494864"/>
                  <a:gd name="connsiteY1047" fmla="*/ 66309 h 941139"/>
                  <a:gd name="connsiteX1048" fmla="*/ 1127462 w 1494864"/>
                  <a:gd name="connsiteY1048" fmla="*/ 66309 h 941139"/>
                  <a:gd name="connsiteX1049" fmla="*/ 1133556 w 1494864"/>
                  <a:gd name="connsiteY1049" fmla="*/ 66309 h 941139"/>
                  <a:gd name="connsiteX1050" fmla="*/ 1135091 w 1494864"/>
                  <a:gd name="connsiteY1050" fmla="*/ 66309 h 941139"/>
                  <a:gd name="connsiteX1051" fmla="*/ 1136625 w 1494864"/>
                  <a:gd name="connsiteY1051" fmla="*/ 66309 h 941139"/>
                  <a:gd name="connsiteX1052" fmla="*/ 1138160 w 1494864"/>
                  <a:gd name="connsiteY1052" fmla="*/ 66309 h 941139"/>
                  <a:gd name="connsiteX1053" fmla="*/ 1138160 w 1494864"/>
                  <a:gd name="connsiteY1053" fmla="*/ 62895 h 941139"/>
                  <a:gd name="connsiteX1054" fmla="*/ 1142752 w 1494864"/>
                  <a:gd name="connsiteY1054" fmla="*/ 62895 h 941139"/>
                  <a:gd name="connsiteX1055" fmla="*/ 1144287 w 1494864"/>
                  <a:gd name="connsiteY1055" fmla="*/ 62895 h 941139"/>
                  <a:gd name="connsiteX1056" fmla="*/ 1145822 w 1494864"/>
                  <a:gd name="connsiteY1056" fmla="*/ 62895 h 941139"/>
                  <a:gd name="connsiteX1057" fmla="*/ 1145822 w 1494864"/>
                  <a:gd name="connsiteY1057" fmla="*/ 59413 h 941139"/>
                  <a:gd name="connsiteX1058" fmla="*/ 1147312 w 1494864"/>
                  <a:gd name="connsiteY1058" fmla="*/ 59413 h 941139"/>
                  <a:gd name="connsiteX1059" fmla="*/ 1148857 w 1494864"/>
                  <a:gd name="connsiteY1059" fmla="*/ 59413 h 941139"/>
                  <a:gd name="connsiteX1060" fmla="*/ 1150381 w 1494864"/>
                  <a:gd name="connsiteY1060" fmla="*/ 59413 h 941139"/>
                  <a:gd name="connsiteX1061" fmla="*/ 1153450 w 1494864"/>
                  <a:gd name="connsiteY1061" fmla="*/ 59413 h 941139"/>
                  <a:gd name="connsiteX1062" fmla="*/ 1153450 w 1494864"/>
                  <a:gd name="connsiteY1062" fmla="*/ 55821 h 941139"/>
                  <a:gd name="connsiteX1063" fmla="*/ 1154985 w 1494864"/>
                  <a:gd name="connsiteY1063" fmla="*/ 55821 h 941139"/>
                  <a:gd name="connsiteX1064" fmla="*/ 1156508 w 1494864"/>
                  <a:gd name="connsiteY1064" fmla="*/ 55821 h 941139"/>
                  <a:gd name="connsiteX1065" fmla="*/ 1158043 w 1494864"/>
                  <a:gd name="connsiteY1065" fmla="*/ 55821 h 941139"/>
                  <a:gd name="connsiteX1066" fmla="*/ 1159577 w 1494864"/>
                  <a:gd name="connsiteY1066" fmla="*/ 55821 h 941139"/>
                  <a:gd name="connsiteX1067" fmla="*/ 1164170 w 1494864"/>
                  <a:gd name="connsiteY1067" fmla="*/ 55821 h 941139"/>
                  <a:gd name="connsiteX1068" fmla="*/ 1165671 w 1494864"/>
                  <a:gd name="connsiteY1068" fmla="*/ 55821 h 941139"/>
                  <a:gd name="connsiteX1069" fmla="*/ 1167206 w 1494864"/>
                  <a:gd name="connsiteY1069" fmla="*/ 55821 h 941139"/>
                  <a:gd name="connsiteX1070" fmla="*/ 1168740 w 1494864"/>
                  <a:gd name="connsiteY1070" fmla="*/ 55821 h 941139"/>
                  <a:gd name="connsiteX1071" fmla="*/ 1170275 w 1494864"/>
                  <a:gd name="connsiteY1071" fmla="*/ 55821 h 941139"/>
                  <a:gd name="connsiteX1072" fmla="*/ 1176402 w 1494864"/>
                  <a:gd name="connsiteY1072" fmla="*/ 55821 h 941139"/>
                  <a:gd name="connsiteX1073" fmla="*/ 1177937 w 1494864"/>
                  <a:gd name="connsiteY1073" fmla="*/ 55821 h 941139"/>
                  <a:gd name="connsiteX1074" fmla="*/ 1179471 w 1494864"/>
                  <a:gd name="connsiteY1074" fmla="*/ 55821 h 941139"/>
                  <a:gd name="connsiteX1075" fmla="*/ 1181006 w 1494864"/>
                  <a:gd name="connsiteY1075" fmla="*/ 55821 h 941139"/>
                  <a:gd name="connsiteX1076" fmla="*/ 1184030 w 1494864"/>
                  <a:gd name="connsiteY1076" fmla="*/ 55821 h 941139"/>
                  <a:gd name="connsiteX1077" fmla="*/ 1184030 w 1494864"/>
                  <a:gd name="connsiteY1077" fmla="*/ 51784 h 941139"/>
                  <a:gd name="connsiteX1078" fmla="*/ 1187100 w 1494864"/>
                  <a:gd name="connsiteY1078" fmla="*/ 51784 h 941139"/>
                  <a:gd name="connsiteX1079" fmla="*/ 1188634 w 1494864"/>
                  <a:gd name="connsiteY1079" fmla="*/ 51784 h 941139"/>
                  <a:gd name="connsiteX1080" fmla="*/ 1190169 w 1494864"/>
                  <a:gd name="connsiteY1080" fmla="*/ 51784 h 941139"/>
                  <a:gd name="connsiteX1081" fmla="*/ 1191703 w 1494864"/>
                  <a:gd name="connsiteY1081" fmla="*/ 51784 h 941139"/>
                  <a:gd name="connsiteX1082" fmla="*/ 1196296 w 1494864"/>
                  <a:gd name="connsiteY1082" fmla="*/ 51784 h 941139"/>
                  <a:gd name="connsiteX1083" fmla="*/ 1197831 w 1494864"/>
                  <a:gd name="connsiteY1083" fmla="*/ 51784 h 941139"/>
                  <a:gd name="connsiteX1084" fmla="*/ 1199354 w 1494864"/>
                  <a:gd name="connsiteY1084" fmla="*/ 51784 h 941139"/>
                  <a:gd name="connsiteX1085" fmla="*/ 1200855 w 1494864"/>
                  <a:gd name="connsiteY1085" fmla="*/ 51784 h 941139"/>
                  <a:gd name="connsiteX1086" fmla="*/ 1200855 w 1494864"/>
                  <a:gd name="connsiteY1086" fmla="*/ 47357 h 941139"/>
                  <a:gd name="connsiteX1087" fmla="*/ 1202390 w 1494864"/>
                  <a:gd name="connsiteY1087" fmla="*/ 47357 h 941139"/>
                  <a:gd name="connsiteX1088" fmla="*/ 1206994 w 1494864"/>
                  <a:gd name="connsiteY1088" fmla="*/ 47357 h 941139"/>
                  <a:gd name="connsiteX1089" fmla="*/ 1208528 w 1494864"/>
                  <a:gd name="connsiteY1089" fmla="*/ 47357 h 941139"/>
                  <a:gd name="connsiteX1090" fmla="*/ 1210052 w 1494864"/>
                  <a:gd name="connsiteY1090" fmla="*/ 47357 h 941139"/>
                  <a:gd name="connsiteX1091" fmla="*/ 1211586 w 1494864"/>
                  <a:gd name="connsiteY1091" fmla="*/ 47357 h 941139"/>
                  <a:gd name="connsiteX1092" fmla="*/ 1217680 w 1494864"/>
                  <a:gd name="connsiteY1092" fmla="*/ 47357 h 941139"/>
                  <a:gd name="connsiteX1093" fmla="*/ 1219215 w 1494864"/>
                  <a:gd name="connsiteY1093" fmla="*/ 47357 h 941139"/>
                  <a:gd name="connsiteX1094" fmla="*/ 1220749 w 1494864"/>
                  <a:gd name="connsiteY1094" fmla="*/ 47357 h 941139"/>
                  <a:gd name="connsiteX1095" fmla="*/ 1222284 w 1494864"/>
                  <a:gd name="connsiteY1095" fmla="*/ 47357 h 941139"/>
                  <a:gd name="connsiteX1096" fmla="*/ 1223818 w 1494864"/>
                  <a:gd name="connsiteY1096" fmla="*/ 47357 h 941139"/>
                  <a:gd name="connsiteX1097" fmla="*/ 1225342 w 1494864"/>
                  <a:gd name="connsiteY1097" fmla="*/ 47357 h 941139"/>
                  <a:gd name="connsiteX1098" fmla="*/ 1225342 w 1494864"/>
                  <a:gd name="connsiteY1098" fmla="*/ 42508 h 941139"/>
                  <a:gd name="connsiteX1099" fmla="*/ 1228411 w 1494864"/>
                  <a:gd name="connsiteY1099" fmla="*/ 42508 h 941139"/>
                  <a:gd name="connsiteX1100" fmla="*/ 1231480 w 1494864"/>
                  <a:gd name="connsiteY1100" fmla="*/ 42508 h 941139"/>
                  <a:gd name="connsiteX1101" fmla="*/ 1233015 w 1494864"/>
                  <a:gd name="connsiteY1101" fmla="*/ 42508 h 941139"/>
                  <a:gd name="connsiteX1102" fmla="*/ 1234549 w 1494864"/>
                  <a:gd name="connsiteY1102" fmla="*/ 42508 h 941139"/>
                  <a:gd name="connsiteX1103" fmla="*/ 1239109 w 1494864"/>
                  <a:gd name="connsiteY1103" fmla="*/ 42508 h 941139"/>
                  <a:gd name="connsiteX1104" fmla="*/ 1242178 w 1494864"/>
                  <a:gd name="connsiteY1104" fmla="*/ 42508 h 941139"/>
                  <a:gd name="connsiteX1105" fmla="*/ 1243701 w 1494864"/>
                  <a:gd name="connsiteY1105" fmla="*/ 42508 h 941139"/>
                  <a:gd name="connsiteX1106" fmla="*/ 1243701 w 1494864"/>
                  <a:gd name="connsiteY1106" fmla="*/ 37214 h 941139"/>
                  <a:gd name="connsiteX1107" fmla="*/ 1245236 w 1494864"/>
                  <a:gd name="connsiteY1107" fmla="*/ 37214 h 941139"/>
                  <a:gd name="connsiteX1108" fmla="*/ 1249840 w 1494864"/>
                  <a:gd name="connsiteY1108" fmla="*/ 37214 h 941139"/>
                  <a:gd name="connsiteX1109" fmla="*/ 1251374 w 1494864"/>
                  <a:gd name="connsiteY1109" fmla="*/ 37214 h 941139"/>
                  <a:gd name="connsiteX1110" fmla="*/ 1252875 w 1494864"/>
                  <a:gd name="connsiteY1110" fmla="*/ 37214 h 941139"/>
                  <a:gd name="connsiteX1111" fmla="*/ 1255933 w 1494864"/>
                  <a:gd name="connsiteY1111" fmla="*/ 37214 h 941139"/>
                  <a:gd name="connsiteX1112" fmla="*/ 1260526 w 1494864"/>
                  <a:gd name="connsiteY1112" fmla="*/ 37214 h 941139"/>
                  <a:gd name="connsiteX1113" fmla="*/ 1260526 w 1494864"/>
                  <a:gd name="connsiteY1113" fmla="*/ 31364 h 941139"/>
                  <a:gd name="connsiteX1114" fmla="*/ 1262072 w 1494864"/>
                  <a:gd name="connsiteY1114" fmla="*/ 31364 h 941139"/>
                  <a:gd name="connsiteX1115" fmla="*/ 1263595 w 1494864"/>
                  <a:gd name="connsiteY1115" fmla="*/ 31364 h 941139"/>
                  <a:gd name="connsiteX1116" fmla="*/ 1263595 w 1494864"/>
                  <a:gd name="connsiteY1116" fmla="*/ 25302 h 941139"/>
                  <a:gd name="connsiteX1117" fmla="*/ 1265130 w 1494864"/>
                  <a:gd name="connsiteY1117" fmla="*/ 25302 h 941139"/>
                  <a:gd name="connsiteX1118" fmla="*/ 1266664 w 1494864"/>
                  <a:gd name="connsiteY1118" fmla="*/ 25302 h 941139"/>
                  <a:gd name="connsiteX1119" fmla="*/ 1271224 w 1494864"/>
                  <a:gd name="connsiteY1119" fmla="*/ 25302 h 941139"/>
                  <a:gd name="connsiteX1120" fmla="*/ 1272758 w 1494864"/>
                  <a:gd name="connsiteY1120" fmla="*/ 25302 h 941139"/>
                  <a:gd name="connsiteX1121" fmla="*/ 1274293 w 1494864"/>
                  <a:gd name="connsiteY1121" fmla="*/ 25302 h 941139"/>
                  <a:gd name="connsiteX1122" fmla="*/ 1274293 w 1494864"/>
                  <a:gd name="connsiteY1122" fmla="*/ 18640 h 941139"/>
                  <a:gd name="connsiteX1123" fmla="*/ 1275827 w 1494864"/>
                  <a:gd name="connsiteY1123" fmla="*/ 18640 h 941139"/>
                  <a:gd name="connsiteX1124" fmla="*/ 1277362 w 1494864"/>
                  <a:gd name="connsiteY1124" fmla="*/ 18640 h 941139"/>
                  <a:gd name="connsiteX1125" fmla="*/ 1283489 w 1494864"/>
                  <a:gd name="connsiteY1125" fmla="*/ 18640 h 941139"/>
                  <a:gd name="connsiteX1126" fmla="*/ 1285024 w 1494864"/>
                  <a:gd name="connsiteY1126" fmla="*/ 18640 h 941139"/>
                  <a:gd name="connsiteX1127" fmla="*/ 1286558 w 1494864"/>
                  <a:gd name="connsiteY1127" fmla="*/ 18640 h 941139"/>
                  <a:gd name="connsiteX1128" fmla="*/ 1288082 w 1494864"/>
                  <a:gd name="connsiteY1128" fmla="*/ 18640 h 941139"/>
                  <a:gd name="connsiteX1129" fmla="*/ 1292652 w 1494864"/>
                  <a:gd name="connsiteY1129" fmla="*/ 18640 h 941139"/>
                  <a:gd name="connsiteX1130" fmla="*/ 1294187 w 1494864"/>
                  <a:gd name="connsiteY1130" fmla="*/ 18640 h 941139"/>
                  <a:gd name="connsiteX1131" fmla="*/ 1295721 w 1494864"/>
                  <a:gd name="connsiteY1131" fmla="*/ 18640 h 941139"/>
                  <a:gd name="connsiteX1132" fmla="*/ 1297245 w 1494864"/>
                  <a:gd name="connsiteY1132" fmla="*/ 18640 h 941139"/>
                  <a:gd name="connsiteX1133" fmla="*/ 1298779 w 1494864"/>
                  <a:gd name="connsiteY1133" fmla="*/ 18640 h 941139"/>
                  <a:gd name="connsiteX1134" fmla="*/ 1303383 w 1494864"/>
                  <a:gd name="connsiteY1134" fmla="*/ 18640 h 941139"/>
                  <a:gd name="connsiteX1135" fmla="*/ 1304918 w 1494864"/>
                  <a:gd name="connsiteY1135" fmla="*/ 18640 h 941139"/>
                  <a:gd name="connsiteX1136" fmla="*/ 1306408 w 1494864"/>
                  <a:gd name="connsiteY1136" fmla="*/ 18640 h 941139"/>
                  <a:gd name="connsiteX1137" fmla="*/ 1307942 w 1494864"/>
                  <a:gd name="connsiteY1137" fmla="*/ 18640 h 941139"/>
                  <a:gd name="connsiteX1138" fmla="*/ 1309477 w 1494864"/>
                  <a:gd name="connsiteY1138" fmla="*/ 18640 h 941139"/>
                  <a:gd name="connsiteX1139" fmla="*/ 1315615 w 1494864"/>
                  <a:gd name="connsiteY1139" fmla="*/ 18640 h 941139"/>
                  <a:gd name="connsiteX1140" fmla="*/ 1317139 w 1494864"/>
                  <a:gd name="connsiteY1140" fmla="*/ 18640 h 941139"/>
                  <a:gd name="connsiteX1141" fmla="*/ 1318673 w 1494864"/>
                  <a:gd name="connsiteY1141" fmla="*/ 18640 h 941139"/>
                  <a:gd name="connsiteX1142" fmla="*/ 1320208 w 1494864"/>
                  <a:gd name="connsiteY1142" fmla="*/ 18640 h 941139"/>
                  <a:gd name="connsiteX1143" fmla="*/ 1324767 w 1494864"/>
                  <a:gd name="connsiteY1143" fmla="*/ 18640 h 941139"/>
                  <a:gd name="connsiteX1144" fmla="*/ 1326302 w 1494864"/>
                  <a:gd name="connsiteY1144" fmla="*/ 18640 h 941139"/>
                  <a:gd name="connsiteX1145" fmla="*/ 1327836 w 1494864"/>
                  <a:gd name="connsiteY1145" fmla="*/ 18640 h 941139"/>
                  <a:gd name="connsiteX1146" fmla="*/ 1329371 w 1494864"/>
                  <a:gd name="connsiteY1146" fmla="*/ 18640 h 941139"/>
                  <a:gd name="connsiteX1147" fmla="*/ 1330906 w 1494864"/>
                  <a:gd name="connsiteY1147" fmla="*/ 18640 h 941139"/>
                  <a:gd name="connsiteX1148" fmla="*/ 1335498 w 1494864"/>
                  <a:gd name="connsiteY1148" fmla="*/ 18640 h 941139"/>
                  <a:gd name="connsiteX1149" fmla="*/ 1337033 w 1494864"/>
                  <a:gd name="connsiteY1149" fmla="*/ 18640 h 941139"/>
                  <a:gd name="connsiteX1150" fmla="*/ 1340102 w 1494864"/>
                  <a:gd name="connsiteY1150" fmla="*/ 18640 h 941139"/>
                  <a:gd name="connsiteX1151" fmla="*/ 1341603 w 1494864"/>
                  <a:gd name="connsiteY1151" fmla="*/ 18640 h 941139"/>
                  <a:gd name="connsiteX1152" fmla="*/ 1347730 w 1494864"/>
                  <a:gd name="connsiteY1152" fmla="*/ 18640 h 941139"/>
                  <a:gd name="connsiteX1153" fmla="*/ 1349254 w 1494864"/>
                  <a:gd name="connsiteY1153" fmla="*/ 18640 h 941139"/>
                  <a:gd name="connsiteX1154" fmla="*/ 1350788 w 1494864"/>
                  <a:gd name="connsiteY1154" fmla="*/ 18640 h 941139"/>
                  <a:gd name="connsiteX1155" fmla="*/ 1352323 w 1494864"/>
                  <a:gd name="connsiteY1155" fmla="*/ 18640 h 941139"/>
                  <a:gd name="connsiteX1156" fmla="*/ 1358461 w 1494864"/>
                  <a:gd name="connsiteY1156" fmla="*/ 18640 h 941139"/>
                  <a:gd name="connsiteX1157" fmla="*/ 1359951 w 1494864"/>
                  <a:gd name="connsiteY1157" fmla="*/ 18640 h 941139"/>
                  <a:gd name="connsiteX1158" fmla="*/ 1361486 w 1494864"/>
                  <a:gd name="connsiteY1158" fmla="*/ 18640 h 941139"/>
                  <a:gd name="connsiteX1159" fmla="*/ 1363021 w 1494864"/>
                  <a:gd name="connsiteY1159" fmla="*/ 18640 h 941139"/>
                  <a:gd name="connsiteX1160" fmla="*/ 1367613 w 1494864"/>
                  <a:gd name="connsiteY1160" fmla="*/ 18640 h 941139"/>
                  <a:gd name="connsiteX1161" fmla="*/ 1370682 w 1494864"/>
                  <a:gd name="connsiteY1161" fmla="*/ 18640 h 941139"/>
                  <a:gd name="connsiteX1162" fmla="*/ 1372217 w 1494864"/>
                  <a:gd name="connsiteY1162" fmla="*/ 18640 h 941139"/>
                  <a:gd name="connsiteX1163" fmla="*/ 1373752 w 1494864"/>
                  <a:gd name="connsiteY1163" fmla="*/ 18640 h 941139"/>
                  <a:gd name="connsiteX1164" fmla="*/ 1375286 w 1494864"/>
                  <a:gd name="connsiteY1164" fmla="*/ 18640 h 941139"/>
                  <a:gd name="connsiteX1165" fmla="*/ 1375286 w 1494864"/>
                  <a:gd name="connsiteY1165" fmla="*/ 0 h 941139"/>
                  <a:gd name="connsiteX1166" fmla="*/ 1494864 w 1494864"/>
                  <a:gd name="connsiteY1166" fmla="*/ 0 h 941139"/>
                  <a:gd name="connsiteX0" fmla="*/ 0 w 1493637"/>
                  <a:gd name="connsiteY0" fmla="*/ 941139 h 941139"/>
                  <a:gd name="connsiteX1" fmla="*/ 1535 w 1493637"/>
                  <a:gd name="connsiteY1" fmla="*/ 941139 h 941139"/>
                  <a:gd name="connsiteX2" fmla="*/ 1535 w 1493637"/>
                  <a:gd name="connsiteY2" fmla="*/ 940338 h 941139"/>
                  <a:gd name="connsiteX3" fmla="*/ 3069 w 1493637"/>
                  <a:gd name="connsiteY3" fmla="*/ 940338 h 941139"/>
                  <a:gd name="connsiteX4" fmla="*/ 3069 w 1493637"/>
                  <a:gd name="connsiteY4" fmla="*/ 937202 h 941139"/>
                  <a:gd name="connsiteX5" fmla="*/ 4604 w 1493637"/>
                  <a:gd name="connsiteY5" fmla="*/ 937202 h 941139"/>
                  <a:gd name="connsiteX6" fmla="*/ 4604 w 1493637"/>
                  <a:gd name="connsiteY6" fmla="*/ 935634 h 941139"/>
                  <a:gd name="connsiteX7" fmla="*/ 6127 w 1493637"/>
                  <a:gd name="connsiteY7" fmla="*/ 935634 h 941139"/>
                  <a:gd name="connsiteX8" fmla="*/ 6127 w 1493637"/>
                  <a:gd name="connsiteY8" fmla="*/ 932497 h 941139"/>
                  <a:gd name="connsiteX9" fmla="*/ 7662 w 1493637"/>
                  <a:gd name="connsiteY9" fmla="*/ 932497 h 941139"/>
                  <a:gd name="connsiteX10" fmla="*/ 7662 w 1493637"/>
                  <a:gd name="connsiteY10" fmla="*/ 930128 h 941139"/>
                  <a:gd name="connsiteX11" fmla="*/ 9196 w 1493637"/>
                  <a:gd name="connsiteY11" fmla="*/ 930128 h 941139"/>
                  <a:gd name="connsiteX12" fmla="*/ 9196 w 1493637"/>
                  <a:gd name="connsiteY12" fmla="*/ 926191 h 941139"/>
                  <a:gd name="connsiteX13" fmla="*/ 10731 w 1493637"/>
                  <a:gd name="connsiteY13" fmla="*/ 926191 h 941139"/>
                  <a:gd name="connsiteX14" fmla="*/ 10731 w 1493637"/>
                  <a:gd name="connsiteY14" fmla="*/ 922254 h 941139"/>
                  <a:gd name="connsiteX15" fmla="*/ 12266 w 1493637"/>
                  <a:gd name="connsiteY15" fmla="*/ 922254 h 941139"/>
                  <a:gd name="connsiteX16" fmla="*/ 12266 w 1493637"/>
                  <a:gd name="connsiteY16" fmla="*/ 915180 h 941139"/>
                  <a:gd name="connsiteX17" fmla="*/ 13800 w 1493637"/>
                  <a:gd name="connsiteY17" fmla="*/ 915180 h 941139"/>
                  <a:gd name="connsiteX18" fmla="*/ 13800 w 1493637"/>
                  <a:gd name="connsiteY18" fmla="*/ 908874 h 941139"/>
                  <a:gd name="connsiteX19" fmla="*/ 15290 w 1493637"/>
                  <a:gd name="connsiteY19" fmla="*/ 908874 h 941139"/>
                  <a:gd name="connsiteX20" fmla="*/ 15290 w 1493637"/>
                  <a:gd name="connsiteY20" fmla="*/ 904170 h 941139"/>
                  <a:gd name="connsiteX21" fmla="*/ 16825 w 1493637"/>
                  <a:gd name="connsiteY21" fmla="*/ 904170 h 941139"/>
                  <a:gd name="connsiteX22" fmla="*/ 16825 w 1493637"/>
                  <a:gd name="connsiteY22" fmla="*/ 903369 h 941139"/>
                  <a:gd name="connsiteX23" fmla="*/ 18359 w 1493637"/>
                  <a:gd name="connsiteY23" fmla="*/ 903369 h 941139"/>
                  <a:gd name="connsiteX24" fmla="*/ 18359 w 1493637"/>
                  <a:gd name="connsiteY24" fmla="*/ 901801 h 941139"/>
                  <a:gd name="connsiteX25" fmla="*/ 19894 w 1493637"/>
                  <a:gd name="connsiteY25" fmla="*/ 901801 h 941139"/>
                  <a:gd name="connsiteX26" fmla="*/ 19894 w 1493637"/>
                  <a:gd name="connsiteY26" fmla="*/ 900232 h 941139"/>
                  <a:gd name="connsiteX27" fmla="*/ 21429 w 1493637"/>
                  <a:gd name="connsiteY27" fmla="*/ 900232 h 941139"/>
                  <a:gd name="connsiteX28" fmla="*/ 21429 w 1493637"/>
                  <a:gd name="connsiteY28" fmla="*/ 893926 h 941139"/>
                  <a:gd name="connsiteX29" fmla="*/ 22952 w 1493637"/>
                  <a:gd name="connsiteY29" fmla="*/ 893926 h 941139"/>
                  <a:gd name="connsiteX30" fmla="*/ 22952 w 1493637"/>
                  <a:gd name="connsiteY30" fmla="*/ 887653 h 941139"/>
                  <a:gd name="connsiteX31" fmla="*/ 24487 w 1493637"/>
                  <a:gd name="connsiteY31" fmla="*/ 887653 h 941139"/>
                  <a:gd name="connsiteX32" fmla="*/ 24487 w 1493637"/>
                  <a:gd name="connsiteY32" fmla="*/ 885296 h 941139"/>
                  <a:gd name="connsiteX33" fmla="*/ 26021 w 1493637"/>
                  <a:gd name="connsiteY33" fmla="*/ 885296 h 941139"/>
                  <a:gd name="connsiteX34" fmla="*/ 26021 w 1493637"/>
                  <a:gd name="connsiteY34" fmla="*/ 883716 h 941139"/>
                  <a:gd name="connsiteX35" fmla="*/ 27556 w 1493637"/>
                  <a:gd name="connsiteY35" fmla="*/ 883716 h 941139"/>
                  <a:gd name="connsiteX36" fmla="*/ 27556 w 1493637"/>
                  <a:gd name="connsiteY36" fmla="*/ 880547 h 941139"/>
                  <a:gd name="connsiteX37" fmla="*/ 29090 w 1493637"/>
                  <a:gd name="connsiteY37" fmla="*/ 880547 h 941139"/>
                  <a:gd name="connsiteX38" fmla="*/ 29090 w 1493637"/>
                  <a:gd name="connsiteY38" fmla="*/ 878211 h 941139"/>
                  <a:gd name="connsiteX39" fmla="*/ 30614 w 1493637"/>
                  <a:gd name="connsiteY39" fmla="*/ 878211 h 941139"/>
                  <a:gd name="connsiteX40" fmla="*/ 30614 w 1493637"/>
                  <a:gd name="connsiteY40" fmla="*/ 877421 h 941139"/>
                  <a:gd name="connsiteX41" fmla="*/ 32115 w 1493637"/>
                  <a:gd name="connsiteY41" fmla="*/ 877421 h 941139"/>
                  <a:gd name="connsiteX42" fmla="*/ 32115 w 1493637"/>
                  <a:gd name="connsiteY42" fmla="*/ 873484 h 941139"/>
                  <a:gd name="connsiteX43" fmla="*/ 33650 w 1493637"/>
                  <a:gd name="connsiteY43" fmla="*/ 873484 h 941139"/>
                  <a:gd name="connsiteX44" fmla="*/ 33650 w 1493637"/>
                  <a:gd name="connsiteY44" fmla="*/ 867167 h 941139"/>
                  <a:gd name="connsiteX45" fmla="*/ 35184 w 1493637"/>
                  <a:gd name="connsiteY45" fmla="*/ 867167 h 941139"/>
                  <a:gd name="connsiteX46" fmla="*/ 35184 w 1493637"/>
                  <a:gd name="connsiteY46" fmla="*/ 865599 h 941139"/>
                  <a:gd name="connsiteX47" fmla="*/ 36719 w 1493637"/>
                  <a:gd name="connsiteY47" fmla="*/ 865599 h 941139"/>
                  <a:gd name="connsiteX48" fmla="*/ 36719 w 1493637"/>
                  <a:gd name="connsiteY48" fmla="*/ 863230 h 941139"/>
                  <a:gd name="connsiteX49" fmla="*/ 38242 w 1493637"/>
                  <a:gd name="connsiteY49" fmla="*/ 863230 h 941139"/>
                  <a:gd name="connsiteX50" fmla="*/ 38242 w 1493637"/>
                  <a:gd name="connsiteY50" fmla="*/ 861661 h 941139"/>
                  <a:gd name="connsiteX51" fmla="*/ 39788 w 1493637"/>
                  <a:gd name="connsiteY51" fmla="*/ 861661 h 941139"/>
                  <a:gd name="connsiteX52" fmla="*/ 39788 w 1493637"/>
                  <a:gd name="connsiteY52" fmla="*/ 860861 h 941139"/>
                  <a:gd name="connsiteX53" fmla="*/ 41311 w 1493637"/>
                  <a:gd name="connsiteY53" fmla="*/ 860861 h 941139"/>
                  <a:gd name="connsiteX54" fmla="*/ 42846 w 1493637"/>
                  <a:gd name="connsiteY54" fmla="*/ 860861 h 941139"/>
                  <a:gd name="connsiteX55" fmla="*/ 42846 w 1493637"/>
                  <a:gd name="connsiteY55" fmla="*/ 857691 h 941139"/>
                  <a:gd name="connsiteX56" fmla="*/ 44381 w 1493637"/>
                  <a:gd name="connsiteY56" fmla="*/ 857691 h 941139"/>
                  <a:gd name="connsiteX57" fmla="*/ 44381 w 1493637"/>
                  <a:gd name="connsiteY57" fmla="*/ 855366 h 941139"/>
                  <a:gd name="connsiteX58" fmla="*/ 45915 w 1493637"/>
                  <a:gd name="connsiteY58" fmla="*/ 855366 h 941139"/>
                  <a:gd name="connsiteX59" fmla="*/ 45915 w 1493637"/>
                  <a:gd name="connsiteY59" fmla="*/ 853754 h 941139"/>
                  <a:gd name="connsiteX60" fmla="*/ 47450 w 1493637"/>
                  <a:gd name="connsiteY60" fmla="*/ 853754 h 941139"/>
                  <a:gd name="connsiteX61" fmla="*/ 47450 w 1493637"/>
                  <a:gd name="connsiteY61" fmla="*/ 849016 h 941139"/>
                  <a:gd name="connsiteX62" fmla="*/ 48984 w 1493637"/>
                  <a:gd name="connsiteY62" fmla="*/ 849016 h 941139"/>
                  <a:gd name="connsiteX63" fmla="*/ 48984 w 1493637"/>
                  <a:gd name="connsiteY63" fmla="*/ 845079 h 941139"/>
                  <a:gd name="connsiteX64" fmla="*/ 50474 w 1493637"/>
                  <a:gd name="connsiteY64" fmla="*/ 845079 h 941139"/>
                  <a:gd name="connsiteX65" fmla="*/ 50474 w 1493637"/>
                  <a:gd name="connsiteY65" fmla="*/ 841108 h 941139"/>
                  <a:gd name="connsiteX66" fmla="*/ 52009 w 1493637"/>
                  <a:gd name="connsiteY66" fmla="*/ 841108 h 941139"/>
                  <a:gd name="connsiteX67" fmla="*/ 52009 w 1493637"/>
                  <a:gd name="connsiteY67" fmla="*/ 837171 h 941139"/>
                  <a:gd name="connsiteX68" fmla="*/ 53544 w 1493637"/>
                  <a:gd name="connsiteY68" fmla="*/ 837171 h 941139"/>
                  <a:gd name="connsiteX69" fmla="*/ 53544 w 1493637"/>
                  <a:gd name="connsiteY69" fmla="*/ 834802 h 941139"/>
                  <a:gd name="connsiteX70" fmla="*/ 55078 w 1493637"/>
                  <a:gd name="connsiteY70" fmla="*/ 834802 h 941139"/>
                  <a:gd name="connsiteX71" fmla="*/ 55078 w 1493637"/>
                  <a:gd name="connsiteY71" fmla="*/ 831632 h 941139"/>
                  <a:gd name="connsiteX72" fmla="*/ 56613 w 1493637"/>
                  <a:gd name="connsiteY72" fmla="*/ 831632 h 941139"/>
                  <a:gd name="connsiteX73" fmla="*/ 56613 w 1493637"/>
                  <a:gd name="connsiteY73" fmla="*/ 827695 h 941139"/>
                  <a:gd name="connsiteX74" fmla="*/ 58147 w 1493637"/>
                  <a:gd name="connsiteY74" fmla="*/ 827695 h 941139"/>
                  <a:gd name="connsiteX75" fmla="*/ 58147 w 1493637"/>
                  <a:gd name="connsiteY75" fmla="*/ 826894 h 941139"/>
                  <a:gd name="connsiteX76" fmla="*/ 59671 w 1493637"/>
                  <a:gd name="connsiteY76" fmla="*/ 826894 h 941139"/>
                  <a:gd name="connsiteX77" fmla="*/ 59671 w 1493637"/>
                  <a:gd name="connsiteY77" fmla="*/ 826127 h 941139"/>
                  <a:gd name="connsiteX78" fmla="*/ 61205 w 1493637"/>
                  <a:gd name="connsiteY78" fmla="*/ 826127 h 941139"/>
                  <a:gd name="connsiteX79" fmla="*/ 61205 w 1493637"/>
                  <a:gd name="connsiteY79" fmla="*/ 822957 h 941139"/>
                  <a:gd name="connsiteX80" fmla="*/ 62740 w 1493637"/>
                  <a:gd name="connsiteY80" fmla="*/ 822957 h 941139"/>
                  <a:gd name="connsiteX81" fmla="*/ 62740 w 1493637"/>
                  <a:gd name="connsiteY81" fmla="*/ 820588 h 941139"/>
                  <a:gd name="connsiteX82" fmla="*/ 64275 w 1493637"/>
                  <a:gd name="connsiteY82" fmla="*/ 820588 h 941139"/>
                  <a:gd name="connsiteX83" fmla="*/ 64275 w 1493637"/>
                  <a:gd name="connsiteY83" fmla="*/ 815049 h 941139"/>
                  <a:gd name="connsiteX84" fmla="*/ 65798 w 1493637"/>
                  <a:gd name="connsiteY84" fmla="*/ 815049 h 941139"/>
                  <a:gd name="connsiteX85" fmla="*/ 65798 w 1493637"/>
                  <a:gd name="connsiteY85" fmla="*/ 811112 h 941139"/>
                  <a:gd name="connsiteX86" fmla="*/ 67299 w 1493637"/>
                  <a:gd name="connsiteY86" fmla="*/ 811112 h 941139"/>
                  <a:gd name="connsiteX87" fmla="*/ 67299 w 1493637"/>
                  <a:gd name="connsiteY87" fmla="*/ 807942 h 941139"/>
                  <a:gd name="connsiteX88" fmla="*/ 68834 w 1493637"/>
                  <a:gd name="connsiteY88" fmla="*/ 807942 h 941139"/>
                  <a:gd name="connsiteX89" fmla="*/ 68834 w 1493637"/>
                  <a:gd name="connsiteY89" fmla="*/ 803972 h 941139"/>
                  <a:gd name="connsiteX90" fmla="*/ 70368 w 1493637"/>
                  <a:gd name="connsiteY90" fmla="*/ 803972 h 941139"/>
                  <a:gd name="connsiteX91" fmla="*/ 70368 w 1493637"/>
                  <a:gd name="connsiteY91" fmla="*/ 801603 h 941139"/>
                  <a:gd name="connsiteX92" fmla="*/ 71903 w 1493637"/>
                  <a:gd name="connsiteY92" fmla="*/ 801603 h 941139"/>
                  <a:gd name="connsiteX93" fmla="*/ 71903 w 1493637"/>
                  <a:gd name="connsiteY93" fmla="*/ 798467 h 941139"/>
                  <a:gd name="connsiteX94" fmla="*/ 73438 w 1493637"/>
                  <a:gd name="connsiteY94" fmla="*/ 798467 h 941139"/>
                  <a:gd name="connsiteX95" fmla="*/ 73438 w 1493637"/>
                  <a:gd name="connsiteY95" fmla="*/ 796865 h 941139"/>
                  <a:gd name="connsiteX96" fmla="*/ 74972 w 1493637"/>
                  <a:gd name="connsiteY96" fmla="*/ 796865 h 941139"/>
                  <a:gd name="connsiteX97" fmla="*/ 74972 w 1493637"/>
                  <a:gd name="connsiteY97" fmla="*/ 796086 h 941139"/>
                  <a:gd name="connsiteX98" fmla="*/ 76496 w 1493637"/>
                  <a:gd name="connsiteY98" fmla="*/ 796086 h 941139"/>
                  <a:gd name="connsiteX99" fmla="*/ 76496 w 1493637"/>
                  <a:gd name="connsiteY99" fmla="*/ 790548 h 941139"/>
                  <a:gd name="connsiteX100" fmla="*/ 78030 w 1493637"/>
                  <a:gd name="connsiteY100" fmla="*/ 790548 h 941139"/>
                  <a:gd name="connsiteX101" fmla="*/ 78030 w 1493637"/>
                  <a:gd name="connsiteY101" fmla="*/ 788190 h 941139"/>
                  <a:gd name="connsiteX102" fmla="*/ 79565 w 1493637"/>
                  <a:gd name="connsiteY102" fmla="*/ 788190 h 941139"/>
                  <a:gd name="connsiteX103" fmla="*/ 79565 w 1493637"/>
                  <a:gd name="connsiteY103" fmla="*/ 787378 h 941139"/>
                  <a:gd name="connsiteX104" fmla="*/ 81099 w 1493637"/>
                  <a:gd name="connsiteY104" fmla="*/ 787378 h 941139"/>
                  <a:gd name="connsiteX105" fmla="*/ 81099 w 1493637"/>
                  <a:gd name="connsiteY105" fmla="*/ 782651 h 941139"/>
                  <a:gd name="connsiteX106" fmla="*/ 82634 w 1493637"/>
                  <a:gd name="connsiteY106" fmla="*/ 782651 h 941139"/>
                  <a:gd name="connsiteX107" fmla="*/ 82634 w 1493637"/>
                  <a:gd name="connsiteY107" fmla="*/ 781038 h 941139"/>
                  <a:gd name="connsiteX108" fmla="*/ 84157 w 1493637"/>
                  <a:gd name="connsiteY108" fmla="*/ 781038 h 941139"/>
                  <a:gd name="connsiteX109" fmla="*/ 84157 w 1493637"/>
                  <a:gd name="connsiteY109" fmla="*/ 779470 h 941139"/>
                  <a:gd name="connsiteX110" fmla="*/ 85659 w 1493637"/>
                  <a:gd name="connsiteY110" fmla="*/ 779470 h 941139"/>
                  <a:gd name="connsiteX111" fmla="*/ 85659 w 1493637"/>
                  <a:gd name="connsiteY111" fmla="*/ 777101 h 941139"/>
                  <a:gd name="connsiteX112" fmla="*/ 87193 w 1493637"/>
                  <a:gd name="connsiteY112" fmla="*/ 777101 h 941139"/>
                  <a:gd name="connsiteX113" fmla="*/ 87193 w 1493637"/>
                  <a:gd name="connsiteY113" fmla="*/ 772363 h 941139"/>
                  <a:gd name="connsiteX114" fmla="*/ 88728 w 1493637"/>
                  <a:gd name="connsiteY114" fmla="*/ 772363 h 941139"/>
                  <a:gd name="connsiteX115" fmla="*/ 88728 w 1493637"/>
                  <a:gd name="connsiteY115" fmla="*/ 768393 h 941139"/>
                  <a:gd name="connsiteX116" fmla="*/ 90262 w 1493637"/>
                  <a:gd name="connsiteY116" fmla="*/ 768393 h 941139"/>
                  <a:gd name="connsiteX117" fmla="*/ 90262 w 1493637"/>
                  <a:gd name="connsiteY117" fmla="*/ 764456 h 941139"/>
                  <a:gd name="connsiteX118" fmla="*/ 91786 w 1493637"/>
                  <a:gd name="connsiteY118" fmla="*/ 764456 h 941139"/>
                  <a:gd name="connsiteX119" fmla="*/ 91786 w 1493637"/>
                  <a:gd name="connsiteY119" fmla="*/ 762854 h 941139"/>
                  <a:gd name="connsiteX120" fmla="*/ 93332 w 1493637"/>
                  <a:gd name="connsiteY120" fmla="*/ 762854 h 941139"/>
                  <a:gd name="connsiteX121" fmla="*/ 93332 w 1493637"/>
                  <a:gd name="connsiteY121" fmla="*/ 760485 h 941139"/>
                  <a:gd name="connsiteX122" fmla="*/ 94855 w 1493637"/>
                  <a:gd name="connsiteY122" fmla="*/ 760485 h 941139"/>
                  <a:gd name="connsiteX123" fmla="*/ 94855 w 1493637"/>
                  <a:gd name="connsiteY123" fmla="*/ 758116 h 941139"/>
                  <a:gd name="connsiteX124" fmla="*/ 96390 w 1493637"/>
                  <a:gd name="connsiteY124" fmla="*/ 758116 h 941139"/>
                  <a:gd name="connsiteX125" fmla="*/ 96390 w 1493637"/>
                  <a:gd name="connsiteY125" fmla="*/ 755747 h 941139"/>
                  <a:gd name="connsiteX126" fmla="*/ 97924 w 1493637"/>
                  <a:gd name="connsiteY126" fmla="*/ 755747 h 941139"/>
                  <a:gd name="connsiteX127" fmla="*/ 97924 w 1493637"/>
                  <a:gd name="connsiteY127" fmla="*/ 750208 h 941139"/>
                  <a:gd name="connsiteX128" fmla="*/ 99459 w 1493637"/>
                  <a:gd name="connsiteY128" fmla="*/ 750208 h 941139"/>
                  <a:gd name="connsiteX129" fmla="*/ 99459 w 1493637"/>
                  <a:gd name="connsiteY129" fmla="*/ 745437 h 941139"/>
                  <a:gd name="connsiteX130" fmla="*/ 100993 w 1493637"/>
                  <a:gd name="connsiteY130" fmla="*/ 745437 h 941139"/>
                  <a:gd name="connsiteX131" fmla="*/ 100993 w 1493637"/>
                  <a:gd name="connsiteY131" fmla="*/ 743068 h 941139"/>
                  <a:gd name="connsiteX132" fmla="*/ 102483 w 1493637"/>
                  <a:gd name="connsiteY132" fmla="*/ 743068 h 941139"/>
                  <a:gd name="connsiteX133" fmla="*/ 102483 w 1493637"/>
                  <a:gd name="connsiteY133" fmla="*/ 741500 h 941139"/>
                  <a:gd name="connsiteX134" fmla="*/ 104018 w 1493637"/>
                  <a:gd name="connsiteY134" fmla="*/ 741500 h 941139"/>
                  <a:gd name="connsiteX135" fmla="*/ 104018 w 1493637"/>
                  <a:gd name="connsiteY135" fmla="*/ 735961 h 941139"/>
                  <a:gd name="connsiteX136" fmla="*/ 105553 w 1493637"/>
                  <a:gd name="connsiteY136" fmla="*/ 735961 h 941139"/>
                  <a:gd name="connsiteX137" fmla="*/ 105553 w 1493637"/>
                  <a:gd name="connsiteY137" fmla="*/ 734360 h 941139"/>
                  <a:gd name="connsiteX138" fmla="*/ 107087 w 1493637"/>
                  <a:gd name="connsiteY138" fmla="*/ 734360 h 941139"/>
                  <a:gd name="connsiteX139" fmla="*/ 107087 w 1493637"/>
                  <a:gd name="connsiteY139" fmla="*/ 731991 h 941139"/>
                  <a:gd name="connsiteX140" fmla="*/ 108622 w 1493637"/>
                  <a:gd name="connsiteY140" fmla="*/ 731991 h 941139"/>
                  <a:gd name="connsiteX141" fmla="*/ 108622 w 1493637"/>
                  <a:gd name="connsiteY141" fmla="*/ 727253 h 941139"/>
                  <a:gd name="connsiteX142" fmla="*/ 110145 w 1493637"/>
                  <a:gd name="connsiteY142" fmla="*/ 727253 h 941139"/>
                  <a:gd name="connsiteX143" fmla="*/ 110145 w 1493637"/>
                  <a:gd name="connsiteY143" fmla="*/ 725673 h 941139"/>
                  <a:gd name="connsiteX144" fmla="*/ 111680 w 1493637"/>
                  <a:gd name="connsiteY144" fmla="*/ 725673 h 941139"/>
                  <a:gd name="connsiteX145" fmla="*/ 111680 w 1493637"/>
                  <a:gd name="connsiteY145" fmla="*/ 720135 h 941139"/>
                  <a:gd name="connsiteX146" fmla="*/ 113214 w 1493637"/>
                  <a:gd name="connsiteY146" fmla="*/ 720135 h 941139"/>
                  <a:gd name="connsiteX147" fmla="*/ 113214 w 1493637"/>
                  <a:gd name="connsiteY147" fmla="*/ 716164 h 941139"/>
                  <a:gd name="connsiteX148" fmla="*/ 114749 w 1493637"/>
                  <a:gd name="connsiteY148" fmla="*/ 716164 h 941139"/>
                  <a:gd name="connsiteX149" fmla="*/ 114749 w 1493637"/>
                  <a:gd name="connsiteY149" fmla="*/ 713806 h 941139"/>
                  <a:gd name="connsiteX150" fmla="*/ 116284 w 1493637"/>
                  <a:gd name="connsiteY150" fmla="*/ 713806 h 941139"/>
                  <a:gd name="connsiteX151" fmla="*/ 116284 w 1493637"/>
                  <a:gd name="connsiteY151" fmla="*/ 711426 h 941139"/>
                  <a:gd name="connsiteX152" fmla="*/ 117818 w 1493637"/>
                  <a:gd name="connsiteY152" fmla="*/ 711426 h 941139"/>
                  <a:gd name="connsiteX153" fmla="*/ 117818 w 1493637"/>
                  <a:gd name="connsiteY153" fmla="*/ 710625 h 941139"/>
                  <a:gd name="connsiteX154" fmla="*/ 119342 w 1493637"/>
                  <a:gd name="connsiteY154" fmla="*/ 710625 h 941139"/>
                  <a:gd name="connsiteX155" fmla="*/ 119342 w 1493637"/>
                  <a:gd name="connsiteY155" fmla="*/ 709825 h 941139"/>
                  <a:gd name="connsiteX156" fmla="*/ 120843 w 1493637"/>
                  <a:gd name="connsiteY156" fmla="*/ 709825 h 941139"/>
                  <a:gd name="connsiteX157" fmla="*/ 120843 w 1493637"/>
                  <a:gd name="connsiteY157" fmla="*/ 707456 h 941139"/>
                  <a:gd name="connsiteX158" fmla="*/ 122377 w 1493637"/>
                  <a:gd name="connsiteY158" fmla="*/ 707456 h 941139"/>
                  <a:gd name="connsiteX159" fmla="*/ 122377 w 1493637"/>
                  <a:gd name="connsiteY159" fmla="*/ 705854 h 941139"/>
                  <a:gd name="connsiteX160" fmla="*/ 125447 w 1493637"/>
                  <a:gd name="connsiteY160" fmla="*/ 705854 h 941139"/>
                  <a:gd name="connsiteX161" fmla="*/ 125447 w 1493637"/>
                  <a:gd name="connsiteY161" fmla="*/ 701917 h 941139"/>
                  <a:gd name="connsiteX162" fmla="*/ 126970 w 1493637"/>
                  <a:gd name="connsiteY162" fmla="*/ 701917 h 941139"/>
                  <a:gd name="connsiteX163" fmla="*/ 126970 w 1493637"/>
                  <a:gd name="connsiteY163" fmla="*/ 700315 h 941139"/>
                  <a:gd name="connsiteX164" fmla="*/ 128516 w 1493637"/>
                  <a:gd name="connsiteY164" fmla="*/ 700315 h 941139"/>
                  <a:gd name="connsiteX165" fmla="*/ 128516 w 1493637"/>
                  <a:gd name="connsiteY165" fmla="*/ 697146 h 941139"/>
                  <a:gd name="connsiteX166" fmla="*/ 130039 w 1493637"/>
                  <a:gd name="connsiteY166" fmla="*/ 697146 h 941139"/>
                  <a:gd name="connsiteX167" fmla="*/ 130039 w 1493637"/>
                  <a:gd name="connsiteY167" fmla="*/ 695578 h 941139"/>
                  <a:gd name="connsiteX168" fmla="*/ 131574 w 1493637"/>
                  <a:gd name="connsiteY168" fmla="*/ 695578 h 941139"/>
                  <a:gd name="connsiteX169" fmla="*/ 131574 w 1493637"/>
                  <a:gd name="connsiteY169" fmla="*/ 691607 h 941139"/>
                  <a:gd name="connsiteX170" fmla="*/ 133108 w 1493637"/>
                  <a:gd name="connsiteY170" fmla="*/ 691607 h 941139"/>
                  <a:gd name="connsiteX171" fmla="*/ 133108 w 1493637"/>
                  <a:gd name="connsiteY171" fmla="*/ 690039 h 941139"/>
                  <a:gd name="connsiteX172" fmla="*/ 134643 w 1493637"/>
                  <a:gd name="connsiteY172" fmla="*/ 690039 h 941139"/>
                  <a:gd name="connsiteX173" fmla="*/ 134643 w 1493637"/>
                  <a:gd name="connsiteY173" fmla="*/ 686068 h 941139"/>
                  <a:gd name="connsiteX174" fmla="*/ 136178 w 1493637"/>
                  <a:gd name="connsiteY174" fmla="*/ 686068 h 941139"/>
                  <a:gd name="connsiteX175" fmla="*/ 136178 w 1493637"/>
                  <a:gd name="connsiteY175" fmla="*/ 683699 h 941139"/>
                  <a:gd name="connsiteX176" fmla="*/ 137701 w 1493637"/>
                  <a:gd name="connsiteY176" fmla="*/ 683699 h 941139"/>
                  <a:gd name="connsiteX177" fmla="*/ 137701 w 1493637"/>
                  <a:gd name="connsiteY177" fmla="*/ 681297 h 941139"/>
                  <a:gd name="connsiteX178" fmla="*/ 139202 w 1493637"/>
                  <a:gd name="connsiteY178" fmla="*/ 681297 h 941139"/>
                  <a:gd name="connsiteX179" fmla="*/ 139202 w 1493637"/>
                  <a:gd name="connsiteY179" fmla="*/ 680529 h 941139"/>
                  <a:gd name="connsiteX180" fmla="*/ 140737 w 1493637"/>
                  <a:gd name="connsiteY180" fmla="*/ 680529 h 941139"/>
                  <a:gd name="connsiteX181" fmla="*/ 140737 w 1493637"/>
                  <a:gd name="connsiteY181" fmla="*/ 679729 h 941139"/>
                  <a:gd name="connsiteX182" fmla="*/ 142271 w 1493637"/>
                  <a:gd name="connsiteY182" fmla="*/ 679729 h 941139"/>
                  <a:gd name="connsiteX183" fmla="*/ 142271 w 1493637"/>
                  <a:gd name="connsiteY183" fmla="*/ 675758 h 941139"/>
                  <a:gd name="connsiteX184" fmla="*/ 143806 w 1493637"/>
                  <a:gd name="connsiteY184" fmla="*/ 675758 h 941139"/>
                  <a:gd name="connsiteX185" fmla="*/ 143806 w 1493637"/>
                  <a:gd name="connsiteY185" fmla="*/ 673378 h 941139"/>
                  <a:gd name="connsiteX186" fmla="*/ 146875 w 1493637"/>
                  <a:gd name="connsiteY186" fmla="*/ 673378 h 941139"/>
                  <a:gd name="connsiteX187" fmla="*/ 148399 w 1493637"/>
                  <a:gd name="connsiteY187" fmla="*/ 673378 h 941139"/>
                  <a:gd name="connsiteX188" fmla="*/ 148399 w 1493637"/>
                  <a:gd name="connsiteY188" fmla="*/ 668607 h 941139"/>
                  <a:gd name="connsiteX189" fmla="*/ 149933 w 1493637"/>
                  <a:gd name="connsiteY189" fmla="*/ 668607 h 941139"/>
                  <a:gd name="connsiteX190" fmla="*/ 149933 w 1493637"/>
                  <a:gd name="connsiteY190" fmla="*/ 666238 h 941139"/>
                  <a:gd name="connsiteX191" fmla="*/ 151468 w 1493637"/>
                  <a:gd name="connsiteY191" fmla="*/ 666238 h 941139"/>
                  <a:gd name="connsiteX192" fmla="*/ 151468 w 1493637"/>
                  <a:gd name="connsiteY192" fmla="*/ 664636 h 941139"/>
                  <a:gd name="connsiteX193" fmla="*/ 154526 w 1493637"/>
                  <a:gd name="connsiteY193" fmla="*/ 664636 h 941139"/>
                  <a:gd name="connsiteX194" fmla="*/ 154526 w 1493637"/>
                  <a:gd name="connsiteY194" fmla="*/ 663068 h 941139"/>
                  <a:gd name="connsiteX195" fmla="*/ 156027 w 1493637"/>
                  <a:gd name="connsiteY195" fmla="*/ 663068 h 941139"/>
                  <a:gd name="connsiteX196" fmla="*/ 156027 w 1493637"/>
                  <a:gd name="connsiteY196" fmla="*/ 661466 h 941139"/>
                  <a:gd name="connsiteX197" fmla="*/ 157562 w 1493637"/>
                  <a:gd name="connsiteY197" fmla="*/ 661466 h 941139"/>
                  <a:gd name="connsiteX198" fmla="*/ 157562 w 1493637"/>
                  <a:gd name="connsiteY198" fmla="*/ 659898 h 941139"/>
                  <a:gd name="connsiteX199" fmla="*/ 159096 w 1493637"/>
                  <a:gd name="connsiteY199" fmla="*/ 659898 h 941139"/>
                  <a:gd name="connsiteX200" fmla="*/ 159096 w 1493637"/>
                  <a:gd name="connsiteY200" fmla="*/ 657496 h 941139"/>
                  <a:gd name="connsiteX201" fmla="*/ 160631 w 1493637"/>
                  <a:gd name="connsiteY201" fmla="*/ 657496 h 941139"/>
                  <a:gd name="connsiteX202" fmla="*/ 160631 w 1493637"/>
                  <a:gd name="connsiteY202" fmla="*/ 655928 h 941139"/>
                  <a:gd name="connsiteX203" fmla="*/ 162165 w 1493637"/>
                  <a:gd name="connsiteY203" fmla="*/ 655928 h 941139"/>
                  <a:gd name="connsiteX204" fmla="*/ 162165 w 1493637"/>
                  <a:gd name="connsiteY204" fmla="*/ 651156 h 941139"/>
                  <a:gd name="connsiteX205" fmla="*/ 163689 w 1493637"/>
                  <a:gd name="connsiteY205" fmla="*/ 651156 h 941139"/>
                  <a:gd name="connsiteX206" fmla="*/ 163689 w 1493637"/>
                  <a:gd name="connsiteY206" fmla="*/ 650356 h 941139"/>
                  <a:gd name="connsiteX207" fmla="*/ 165223 w 1493637"/>
                  <a:gd name="connsiteY207" fmla="*/ 650356 h 941139"/>
                  <a:gd name="connsiteX208" fmla="*/ 165223 w 1493637"/>
                  <a:gd name="connsiteY208" fmla="*/ 646385 h 941139"/>
                  <a:gd name="connsiteX209" fmla="*/ 166758 w 1493637"/>
                  <a:gd name="connsiteY209" fmla="*/ 646385 h 941139"/>
                  <a:gd name="connsiteX210" fmla="*/ 166758 w 1493637"/>
                  <a:gd name="connsiteY210" fmla="*/ 645584 h 941139"/>
                  <a:gd name="connsiteX211" fmla="*/ 168293 w 1493637"/>
                  <a:gd name="connsiteY211" fmla="*/ 645584 h 941139"/>
                  <a:gd name="connsiteX212" fmla="*/ 168293 w 1493637"/>
                  <a:gd name="connsiteY212" fmla="*/ 644016 h 941139"/>
                  <a:gd name="connsiteX213" fmla="*/ 169827 w 1493637"/>
                  <a:gd name="connsiteY213" fmla="*/ 644016 h 941139"/>
                  <a:gd name="connsiteX214" fmla="*/ 169827 w 1493637"/>
                  <a:gd name="connsiteY214" fmla="*/ 642415 h 941139"/>
                  <a:gd name="connsiteX215" fmla="*/ 171362 w 1493637"/>
                  <a:gd name="connsiteY215" fmla="*/ 642415 h 941139"/>
                  <a:gd name="connsiteX216" fmla="*/ 171362 w 1493637"/>
                  <a:gd name="connsiteY216" fmla="*/ 641603 h 941139"/>
                  <a:gd name="connsiteX217" fmla="*/ 172885 w 1493637"/>
                  <a:gd name="connsiteY217" fmla="*/ 641603 h 941139"/>
                  <a:gd name="connsiteX218" fmla="*/ 172885 w 1493637"/>
                  <a:gd name="connsiteY218" fmla="*/ 640034 h 941139"/>
                  <a:gd name="connsiteX219" fmla="*/ 174386 w 1493637"/>
                  <a:gd name="connsiteY219" fmla="*/ 640034 h 941139"/>
                  <a:gd name="connsiteX220" fmla="*/ 174386 w 1493637"/>
                  <a:gd name="connsiteY220" fmla="*/ 637632 h 941139"/>
                  <a:gd name="connsiteX221" fmla="*/ 175921 w 1493637"/>
                  <a:gd name="connsiteY221" fmla="*/ 637632 h 941139"/>
                  <a:gd name="connsiteX222" fmla="*/ 175921 w 1493637"/>
                  <a:gd name="connsiteY222" fmla="*/ 636876 h 941139"/>
                  <a:gd name="connsiteX223" fmla="*/ 177456 w 1493637"/>
                  <a:gd name="connsiteY223" fmla="*/ 636876 h 941139"/>
                  <a:gd name="connsiteX224" fmla="*/ 177456 w 1493637"/>
                  <a:gd name="connsiteY224" fmla="*/ 632093 h 941139"/>
                  <a:gd name="connsiteX225" fmla="*/ 178990 w 1493637"/>
                  <a:gd name="connsiteY225" fmla="*/ 632093 h 941139"/>
                  <a:gd name="connsiteX226" fmla="*/ 182059 w 1493637"/>
                  <a:gd name="connsiteY226" fmla="*/ 632093 h 941139"/>
                  <a:gd name="connsiteX227" fmla="*/ 182059 w 1493637"/>
                  <a:gd name="connsiteY227" fmla="*/ 628924 h 941139"/>
                  <a:gd name="connsiteX228" fmla="*/ 183583 w 1493637"/>
                  <a:gd name="connsiteY228" fmla="*/ 628924 h 941139"/>
                  <a:gd name="connsiteX229" fmla="*/ 183583 w 1493637"/>
                  <a:gd name="connsiteY229" fmla="*/ 627322 h 941139"/>
                  <a:gd name="connsiteX230" fmla="*/ 185117 w 1493637"/>
                  <a:gd name="connsiteY230" fmla="*/ 627322 h 941139"/>
                  <a:gd name="connsiteX231" fmla="*/ 185117 w 1493637"/>
                  <a:gd name="connsiteY231" fmla="*/ 623352 h 941139"/>
                  <a:gd name="connsiteX232" fmla="*/ 186652 w 1493637"/>
                  <a:gd name="connsiteY232" fmla="*/ 623352 h 941139"/>
                  <a:gd name="connsiteX233" fmla="*/ 186652 w 1493637"/>
                  <a:gd name="connsiteY233" fmla="*/ 622551 h 941139"/>
                  <a:gd name="connsiteX234" fmla="*/ 189721 w 1493637"/>
                  <a:gd name="connsiteY234" fmla="*/ 622551 h 941139"/>
                  <a:gd name="connsiteX235" fmla="*/ 189721 w 1493637"/>
                  <a:gd name="connsiteY235" fmla="*/ 619381 h 941139"/>
                  <a:gd name="connsiteX236" fmla="*/ 191211 w 1493637"/>
                  <a:gd name="connsiteY236" fmla="*/ 619381 h 941139"/>
                  <a:gd name="connsiteX237" fmla="*/ 191211 w 1493637"/>
                  <a:gd name="connsiteY237" fmla="*/ 618580 h 941139"/>
                  <a:gd name="connsiteX238" fmla="*/ 192746 w 1493637"/>
                  <a:gd name="connsiteY238" fmla="*/ 618580 h 941139"/>
                  <a:gd name="connsiteX239" fmla="*/ 192746 w 1493637"/>
                  <a:gd name="connsiteY239" fmla="*/ 616211 h 941139"/>
                  <a:gd name="connsiteX240" fmla="*/ 194280 w 1493637"/>
                  <a:gd name="connsiteY240" fmla="*/ 616211 h 941139"/>
                  <a:gd name="connsiteX241" fmla="*/ 194280 w 1493637"/>
                  <a:gd name="connsiteY241" fmla="*/ 614610 h 941139"/>
                  <a:gd name="connsiteX242" fmla="*/ 195815 w 1493637"/>
                  <a:gd name="connsiteY242" fmla="*/ 614610 h 941139"/>
                  <a:gd name="connsiteX243" fmla="*/ 195815 w 1493637"/>
                  <a:gd name="connsiteY243" fmla="*/ 613798 h 941139"/>
                  <a:gd name="connsiteX244" fmla="*/ 197350 w 1493637"/>
                  <a:gd name="connsiteY244" fmla="*/ 613798 h 941139"/>
                  <a:gd name="connsiteX245" fmla="*/ 197350 w 1493637"/>
                  <a:gd name="connsiteY245" fmla="*/ 612241 h 941139"/>
                  <a:gd name="connsiteX246" fmla="*/ 198873 w 1493637"/>
                  <a:gd name="connsiteY246" fmla="*/ 612241 h 941139"/>
                  <a:gd name="connsiteX247" fmla="*/ 198873 w 1493637"/>
                  <a:gd name="connsiteY247" fmla="*/ 609827 h 941139"/>
                  <a:gd name="connsiteX248" fmla="*/ 200408 w 1493637"/>
                  <a:gd name="connsiteY248" fmla="*/ 609827 h 941139"/>
                  <a:gd name="connsiteX249" fmla="*/ 200408 w 1493637"/>
                  <a:gd name="connsiteY249" fmla="*/ 608259 h 941139"/>
                  <a:gd name="connsiteX250" fmla="*/ 201942 w 1493637"/>
                  <a:gd name="connsiteY250" fmla="*/ 608259 h 941139"/>
                  <a:gd name="connsiteX251" fmla="*/ 201942 w 1493637"/>
                  <a:gd name="connsiteY251" fmla="*/ 607469 h 941139"/>
                  <a:gd name="connsiteX252" fmla="*/ 205011 w 1493637"/>
                  <a:gd name="connsiteY252" fmla="*/ 607469 h 941139"/>
                  <a:gd name="connsiteX253" fmla="*/ 205011 w 1493637"/>
                  <a:gd name="connsiteY253" fmla="*/ 605056 h 941139"/>
                  <a:gd name="connsiteX254" fmla="*/ 206546 w 1493637"/>
                  <a:gd name="connsiteY254" fmla="*/ 605056 h 941139"/>
                  <a:gd name="connsiteX255" fmla="*/ 206546 w 1493637"/>
                  <a:gd name="connsiteY255" fmla="*/ 601085 h 941139"/>
                  <a:gd name="connsiteX256" fmla="*/ 208069 w 1493637"/>
                  <a:gd name="connsiteY256" fmla="*/ 601085 h 941139"/>
                  <a:gd name="connsiteX257" fmla="*/ 209571 w 1493637"/>
                  <a:gd name="connsiteY257" fmla="*/ 601085 h 941139"/>
                  <a:gd name="connsiteX258" fmla="*/ 209571 w 1493637"/>
                  <a:gd name="connsiteY258" fmla="*/ 598683 h 941139"/>
                  <a:gd name="connsiteX259" fmla="*/ 211105 w 1493637"/>
                  <a:gd name="connsiteY259" fmla="*/ 598683 h 941139"/>
                  <a:gd name="connsiteX260" fmla="*/ 211105 w 1493637"/>
                  <a:gd name="connsiteY260" fmla="*/ 597115 h 941139"/>
                  <a:gd name="connsiteX261" fmla="*/ 212640 w 1493637"/>
                  <a:gd name="connsiteY261" fmla="*/ 597115 h 941139"/>
                  <a:gd name="connsiteX262" fmla="*/ 212640 w 1493637"/>
                  <a:gd name="connsiteY262" fmla="*/ 596314 h 941139"/>
                  <a:gd name="connsiteX263" fmla="*/ 214174 w 1493637"/>
                  <a:gd name="connsiteY263" fmla="*/ 596314 h 941139"/>
                  <a:gd name="connsiteX264" fmla="*/ 214174 w 1493637"/>
                  <a:gd name="connsiteY264" fmla="*/ 595513 h 941139"/>
                  <a:gd name="connsiteX265" fmla="*/ 215698 w 1493637"/>
                  <a:gd name="connsiteY265" fmla="*/ 595513 h 941139"/>
                  <a:gd name="connsiteX266" fmla="*/ 215698 w 1493637"/>
                  <a:gd name="connsiteY266" fmla="*/ 593912 h 941139"/>
                  <a:gd name="connsiteX267" fmla="*/ 217232 w 1493637"/>
                  <a:gd name="connsiteY267" fmla="*/ 593912 h 941139"/>
                  <a:gd name="connsiteX268" fmla="*/ 217232 w 1493637"/>
                  <a:gd name="connsiteY268" fmla="*/ 591543 h 941139"/>
                  <a:gd name="connsiteX269" fmla="*/ 218767 w 1493637"/>
                  <a:gd name="connsiteY269" fmla="*/ 591543 h 941139"/>
                  <a:gd name="connsiteX270" fmla="*/ 218767 w 1493637"/>
                  <a:gd name="connsiteY270" fmla="*/ 590742 h 941139"/>
                  <a:gd name="connsiteX271" fmla="*/ 221836 w 1493637"/>
                  <a:gd name="connsiteY271" fmla="*/ 590742 h 941139"/>
                  <a:gd name="connsiteX272" fmla="*/ 223371 w 1493637"/>
                  <a:gd name="connsiteY272" fmla="*/ 590742 h 941139"/>
                  <a:gd name="connsiteX273" fmla="*/ 223371 w 1493637"/>
                  <a:gd name="connsiteY273" fmla="*/ 589941 h 941139"/>
                  <a:gd name="connsiteX274" fmla="*/ 224905 w 1493637"/>
                  <a:gd name="connsiteY274" fmla="*/ 589941 h 941139"/>
                  <a:gd name="connsiteX275" fmla="*/ 224905 w 1493637"/>
                  <a:gd name="connsiteY275" fmla="*/ 589141 h 941139"/>
                  <a:gd name="connsiteX276" fmla="*/ 226395 w 1493637"/>
                  <a:gd name="connsiteY276" fmla="*/ 589141 h 941139"/>
                  <a:gd name="connsiteX277" fmla="*/ 226395 w 1493637"/>
                  <a:gd name="connsiteY277" fmla="*/ 586727 h 941139"/>
                  <a:gd name="connsiteX278" fmla="*/ 227930 w 1493637"/>
                  <a:gd name="connsiteY278" fmla="*/ 586727 h 941139"/>
                  <a:gd name="connsiteX279" fmla="*/ 229465 w 1493637"/>
                  <a:gd name="connsiteY279" fmla="*/ 586727 h 941139"/>
                  <a:gd name="connsiteX280" fmla="*/ 229465 w 1493637"/>
                  <a:gd name="connsiteY280" fmla="*/ 584358 h 941139"/>
                  <a:gd name="connsiteX281" fmla="*/ 230999 w 1493637"/>
                  <a:gd name="connsiteY281" fmla="*/ 584358 h 941139"/>
                  <a:gd name="connsiteX282" fmla="*/ 230999 w 1493637"/>
                  <a:gd name="connsiteY282" fmla="*/ 582756 h 941139"/>
                  <a:gd name="connsiteX283" fmla="*/ 234057 w 1493637"/>
                  <a:gd name="connsiteY283" fmla="*/ 582756 h 941139"/>
                  <a:gd name="connsiteX284" fmla="*/ 234057 w 1493637"/>
                  <a:gd name="connsiteY284" fmla="*/ 581967 h 941139"/>
                  <a:gd name="connsiteX285" fmla="*/ 235592 w 1493637"/>
                  <a:gd name="connsiteY285" fmla="*/ 581967 h 941139"/>
                  <a:gd name="connsiteX286" fmla="*/ 235592 w 1493637"/>
                  <a:gd name="connsiteY286" fmla="*/ 578753 h 941139"/>
                  <a:gd name="connsiteX287" fmla="*/ 237126 w 1493637"/>
                  <a:gd name="connsiteY287" fmla="*/ 578753 h 941139"/>
                  <a:gd name="connsiteX288" fmla="*/ 237126 w 1493637"/>
                  <a:gd name="connsiteY288" fmla="*/ 577184 h 941139"/>
                  <a:gd name="connsiteX289" fmla="*/ 238661 w 1493637"/>
                  <a:gd name="connsiteY289" fmla="*/ 577184 h 941139"/>
                  <a:gd name="connsiteX290" fmla="*/ 238661 w 1493637"/>
                  <a:gd name="connsiteY290" fmla="*/ 575583 h 941139"/>
                  <a:gd name="connsiteX291" fmla="*/ 241730 w 1493637"/>
                  <a:gd name="connsiteY291" fmla="*/ 575583 h 941139"/>
                  <a:gd name="connsiteX292" fmla="*/ 241730 w 1493637"/>
                  <a:gd name="connsiteY292" fmla="*/ 574782 h 941139"/>
                  <a:gd name="connsiteX293" fmla="*/ 243254 w 1493637"/>
                  <a:gd name="connsiteY293" fmla="*/ 574782 h 941139"/>
                  <a:gd name="connsiteX294" fmla="*/ 243254 w 1493637"/>
                  <a:gd name="connsiteY294" fmla="*/ 573981 h 941139"/>
                  <a:gd name="connsiteX295" fmla="*/ 244755 w 1493637"/>
                  <a:gd name="connsiteY295" fmla="*/ 573981 h 941139"/>
                  <a:gd name="connsiteX296" fmla="*/ 244755 w 1493637"/>
                  <a:gd name="connsiteY296" fmla="*/ 569977 h 941139"/>
                  <a:gd name="connsiteX297" fmla="*/ 246289 w 1493637"/>
                  <a:gd name="connsiteY297" fmla="*/ 569977 h 941139"/>
                  <a:gd name="connsiteX298" fmla="*/ 246289 w 1493637"/>
                  <a:gd name="connsiteY298" fmla="*/ 569210 h 941139"/>
                  <a:gd name="connsiteX299" fmla="*/ 247824 w 1493637"/>
                  <a:gd name="connsiteY299" fmla="*/ 569210 h 941139"/>
                  <a:gd name="connsiteX300" fmla="*/ 247824 w 1493637"/>
                  <a:gd name="connsiteY300" fmla="*/ 568409 h 941139"/>
                  <a:gd name="connsiteX301" fmla="*/ 249359 w 1493637"/>
                  <a:gd name="connsiteY301" fmla="*/ 568409 h 941139"/>
                  <a:gd name="connsiteX302" fmla="*/ 249359 w 1493637"/>
                  <a:gd name="connsiteY302" fmla="*/ 566808 h 941139"/>
                  <a:gd name="connsiteX303" fmla="*/ 250893 w 1493637"/>
                  <a:gd name="connsiteY303" fmla="*/ 566808 h 941139"/>
                  <a:gd name="connsiteX304" fmla="*/ 250893 w 1493637"/>
                  <a:gd name="connsiteY304" fmla="*/ 566007 h 941139"/>
                  <a:gd name="connsiteX305" fmla="*/ 252417 w 1493637"/>
                  <a:gd name="connsiteY305" fmla="*/ 566007 h 941139"/>
                  <a:gd name="connsiteX306" fmla="*/ 252417 w 1493637"/>
                  <a:gd name="connsiteY306" fmla="*/ 565206 h 941139"/>
                  <a:gd name="connsiteX307" fmla="*/ 253951 w 1493637"/>
                  <a:gd name="connsiteY307" fmla="*/ 565206 h 941139"/>
                  <a:gd name="connsiteX308" fmla="*/ 255486 w 1493637"/>
                  <a:gd name="connsiteY308" fmla="*/ 565206 h 941139"/>
                  <a:gd name="connsiteX309" fmla="*/ 255486 w 1493637"/>
                  <a:gd name="connsiteY309" fmla="*/ 563593 h 941139"/>
                  <a:gd name="connsiteX310" fmla="*/ 257020 w 1493637"/>
                  <a:gd name="connsiteY310" fmla="*/ 563593 h 941139"/>
                  <a:gd name="connsiteX311" fmla="*/ 257020 w 1493637"/>
                  <a:gd name="connsiteY311" fmla="*/ 559623 h 941139"/>
                  <a:gd name="connsiteX312" fmla="*/ 260089 w 1493637"/>
                  <a:gd name="connsiteY312" fmla="*/ 559623 h 941139"/>
                  <a:gd name="connsiteX313" fmla="*/ 260089 w 1493637"/>
                  <a:gd name="connsiteY313" fmla="*/ 558822 h 941139"/>
                  <a:gd name="connsiteX314" fmla="*/ 261580 w 1493637"/>
                  <a:gd name="connsiteY314" fmla="*/ 558822 h 941139"/>
                  <a:gd name="connsiteX315" fmla="*/ 261580 w 1493637"/>
                  <a:gd name="connsiteY315" fmla="*/ 556420 h 941139"/>
                  <a:gd name="connsiteX316" fmla="*/ 263114 w 1493637"/>
                  <a:gd name="connsiteY316" fmla="*/ 556420 h 941139"/>
                  <a:gd name="connsiteX317" fmla="*/ 263114 w 1493637"/>
                  <a:gd name="connsiteY317" fmla="*/ 553217 h 941139"/>
                  <a:gd name="connsiteX318" fmla="*/ 264649 w 1493637"/>
                  <a:gd name="connsiteY318" fmla="*/ 553217 h 941139"/>
                  <a:gd name="connsiteX319" fmla="*/ 264649 w 1493637"/>
                  <a:gd name="connsiteY319" fmla="*/ 551615 h 941139"/>
                  <a:gd name="connsiteX320" fmla="*/ 266183 w 1493637"/>
                  <a:gd name="connsiteY320" fmla="*/ 551615 h 941139"/>
                  <a:gd name="connsiteX321" fmla="*/ 266183 w 1493637"/>
                  <a:gd name="connsiteY321" fmla="*/ 550814 h 941139"/>
                  <a:gd name="connsiteX322" fmla="*/ 267718 w 1493637"/>
                  <a:gd name="connsiteY322" fmla="*/ 550814 h 941139"/>
                  <a:gd name="connsiteX323" fmla="*/ 267718 w 1493637"/>
                  <a:gd name="connsiteY323" fmla="*/ 550013 h 941139"/>
                  <a:gd name="connsiteX324" fmla="*/ 269241 w 1493637"/>
                  <a:gd name="connsiteY324" fmla="*/ 550013 h 941139"/>
                  <a:gd name="connsiteX325" fmla="*/ 269241 w 1493637"/>
                  <a:gd name="connsiteY325" fmla="*/ 549213 h 941139"/>
                  <a:gd name="connsiteX326" fmla="*/ 270776 w 1493637"/>
                  <a:gd name="connsiteY326" fmla="*/ 549213 h 941139"/>
                  <a:gd name="connsiteX327" fmla="*/ 270776 w 1493637"/>
                  <a:gd name="connsiteY327" fmla="*/ 548401 h 941139"/>
                  <a:gd name="connsiteX328" fmla="*/ 272311 w 1493637"/>
                  <a:gd name="connsiteY328" fmla="*/ 548401 h 941139"/>
                  <a:gd name="connsiteX329" fmla="*/ 272311 w 1493637"/>
                  <a:gd name="connsiteY329" fmla="*/ 545998 h 941139"/>
                  <a:gd name="connsiteX330" fmla="*/ 273845 w 1493637"/>
                  <a:gd name="connsiteY330" fmla="*/ 545998 h 941139"/>
                  <a:gd name="connsiteX331" fmla="*/ 273845 w 1493637"/>
                  <a:gd name="connsiteY331" fmla="*/ 543596 h 941139"/>
                  <a:gd name="connsiteX332" fmla="*/ 275380 w 1493637"/>
                  <a:gd name="connsiteY332" fmla="*/ 543596 h 941139"/>
                  <a:gd name="connsiteX333" fmla="*/ 275380 w 1493637"/>
                  <a:gd name="connsiteY333" fmla="*/ 542028 h 941139"/>
                  <a:gd name="connsiteX334" fmla="*/ 276903 w 1493637"/>
                  <a:gd name="connsiteY334" fmla="*/ 542028 h 941139"/>
                  <a:gd name="connsiteX335" fmla="*/ 276903 w 1493637"/>
                  <a:gd name="connsiteY335" fmla="*/ 541227 h 941139"/>
                  <a:gd name="connsiteX336" fmla="*/ 278449 w 1493637"/>
                  <a:gd name="connsiteY336" fmla="*/ 541227 h 941139"/>
                  <a:gd name="connsiteX337" fmla="*/ 278449 w 1493637"/>
                  <a:gd name="connsiteY337" fmla="*/ 540426 h 941139"/>
                  <a:gd name="connsiteX338" fmla="*/ 279939 w 1493637"/>
                  <a:gd name="connsiteY338" fmla="*/ 540426 h 941139"/>
                  <a:gd name="connsiteX339" fmla="*/ 279939 w 1493637"/>
                  <a:gd name="connsiteY339" fmla="*/ 538024 h 941139"/>
                  <a:gd name="connsiteX340" fmla="*/ 281474 w 1493637"/>
                  <a:gd name="connsiteY340" fmla="*/ 538024 h 941139"/>
                  <a:gd name="connsiteX341" fmla="*/ 281474 w 1493637"/>
                  <a:gd name="connsiteY341" fmla="*/ 536422 h 941139"/>
                  <a:gd name="connsiteX342" fmla="*/ 283008 w 1493637"/>
                  <a:gd name="connsiteY342" fmla="*/ 536422 h 941139"/>
                  <a:gd name="connsiteX343" fmla="*/ 283008 w 1493637"/>
                  <a:gd name="connsiteY343" fmla="*/ 534821 h 941139"/>
                  <a:gd name="connsiteX344" fmla="*/ 284532 w 1493637"/>
                  <a:gd name="connsiteY344" fmla="*/ 534821 h 941139"/>
                  <a:gd name="connsiteX345" fmla="*/ 284532 w 1493637"/>
                  <a:gd name="connsiteY345" fmla="*/ 534020 h 941139"/>
                  <a:gd name="connsiteX346" fmla="*/ 286077 w 1493637"/>
                  <a:gd name="connsiteY346" fmla="*/ 534020 h 941139"/>
                  <a:gd name="connsiteX347" fmla="*/ 286077 w 1493637"/>
                  <a:gd name="connsiteY347" fmla="*/ 533219 h 941139"/>
                  <a:gd name="connsiteX348" fmla="*/ 287601 w 1493637"/>
                  <a:gd name="connsiteY348" fmla="*/ 533219 h 941139"/>
                  <a:gd name="connsiteX349" fmla="*/ 287601 w 1493637"/>
                  <a:gd name="connsiteY349" fmla="*/ 529972 h 941139"/>
                  <a:gd name="connsiteX350" fmla="*/ 289135 w 1493637"/>
                  <a:gd name="connsiteY350" fmla="*/ 529972 h 941139"/>
                  <a:gd name="connsiteX351" fmla="*/ 289135 w 1493637"/>
                  <a:gd name="connsiteY351" fmla="*/ 528370 h 941139"/>
                  <a:gd name="connsiteX352" fmla="*/ 290670 w 1493637"/>
                  <a:gd name="connsiteY352" fmla="*/ 528370 h 941139"/>
                  <a:gd name="connsiteX353" fmla="*/ 290670 w 1493637"/>
                  <a:gd name="connsiteY353" fmla="*/ 524333 h 941139"/>
                  <a:gd name="connsiteX354" fmla="*/ 292205 w 1493637"/>
                  <a:gd name="connsiteY354" fmla="*/ 524333 h 941139"/>
                  <a:gd name="connsiteX355" fmla="*/ 292205 w 1493637"/>
                  <a:gd name="connsiteY355" fmla="*/ 521897 h 941139"/>
                  <a:gd name="connsiteX356" fmla="*/ 293739 w 1493637"/>
                  <a:gd name="connsiteY356" fmla="*/ 521897 h 941139"/>
                  <a:gd name="connsiteX357" fmla="*/ 293739 w 1493637"/>
                  <a:gd name="connsiteY357" fmla="*/ 520251 h 941139"/>
                  <a:gd name="connsiteX358" fmla="*/ 295274 w 1493637"/>
                  <a:gd name="connsiteY358" fmla="*/ 520251 h 941139"/>
                  <a:gd name="connsiteX359" fmla="*/ 295274 w 1493637"/>
                  <a:gd name="connsiteY359" fmla="*/ 519450 h 941139"/>
                  <a:gd name="connsiteX360" fmla="*/ 296797 w 1493637"/>
                  <a:gd name="connsiteY360" fmla="*/ 519450 h 941139"/>
                  <a:gd name="connsiteX361" fmla="*/ 296797 w 1493637"/>
                  <a:gd name="connsiteY361" fmla="*/ 517815 h 941139"/>
                  <a:gd name="connsiteX362" fmla="*/ 298298 w 1493637"/>
                  <a:gd name="connsiteY362" fmla="*/ 517815 h 941139"/>
                  <a:gd name="connsiteX363" fmla="*/ 298298 w 1493637"/>
                  <a:gd name="connsiteY363" fmla="*/ 517015 h 941139"/>
                  <a:gd name="connsiteX364" fmla="*/ 299833 w 1493637"/>
                  <a:gd name="connsiteY364" fmla="*/ 517015 h 941139"/>
                  <a:gd name="connsiteX365" fmla="*/ 299833 w 1493637"/>
                  <a:gd name="connsiteY365" fmla="*/ 516180 h 941139"/>
                  <a:gd name="connsiteX366" fmla="*/ 301368 w 1493637"/>
                  <a:gd name="connsiteY366" fmla="*/ 516180 h 941139"/>
                  <a:gd name="connsiteX367" fmla="*/ 302902 w 1493637"/>
                  <a:gd name="connsiteY367" fmla="*/ 516180 h 941139"/>
                  <a:gd name="connsiteX368" fmla="*/ 302902 w 1493637"/>
                  <a:gd name="connsiteY368" fmla="*/ 515380 h 941139"/>
                  <a:gd name="connsiteX369" fmla="*/ 304426 w 1493637"/>
                  <a:gd name="connsiteY369" fmla="*/ 515380 h 941139"/>
                  <a:gd name="connsiteX370" fmla="*/ 304426 w 1493637"/>
                  <a:gd name="connsiteY370" fmla="*/ 512866 h 941139"/>
                  <a:gd name="connsiteX371" fmla="*/ 305960 w 1493637"/>
                  <a:gd name="connsiteY371" fmla="*/ 512866 h 941139"/>
                  <a:gd name="connsiteX372" fmla="*/ 305960 w 1493637"/>
                  <a:gd name="connsiteY372" fmla="*/ 512032 h 941139"/>
                  <a:gd name="connsiteX373" fmla="*/ 307495 w 1493637"/>
                  <a:gd name="connsiteY373" fmla="*/ 512032 h 941139"/>
                  <a:gd name="connsiteX374" fmla="*/ 307495 w 1493637"/>
                  <a:gd name="connsiteY374" fmla="*/ 509563 h 941139"/>
                  <a:gd name="connsiteX375" fmla="*/ 309029 w 1493637"/>
                  <a:gd name="connsiteY375" fmla="*/ 509563 h 941139"/>
                  <a:gd name="connsiteX376" fmla="*/ 309029 w 1493637"/>
                  <a:gd name="connsiteY376" fmla="*/ 507884 h 941139"/>
                  <a:gd name="connsiteX377" fmla="*/ 310564 w 1493637"/>
                  <a:gd name="connsiteY377" fmla="*/ 507884 h 941139"/>
                  <a:gd name="connsiteX378" fmla="*/ 310564 w 1493637"/>
                  <a:gd name="connsiteY378" fmla="*/ 507049 h 941139"/>
                  <a:gd name="connsiteX379" fmla="*/ 312087 w 1493637"/>
                  <a:gd name="connsiteY379" fmla="*/ 507049 h 941139"/>
                  <a:gd name="connsiteX380" fmla="*/ 312087 w 1493637"/>
                  <a:gd name="connsiteY380" fmla="*/ 503702 h 941139"/>
                  <a:gd name="connsiteX381" fmla="*/ 313633 w 1493637"/>
                  <a:gd name="connsiteY381" fmla="*/ 503702 h 941139"/>
                  <a:gd name="connsiteX382" fmla="*/ 313633 w 1493637"/>
                  <a:gd name="connsiteY382" fmla="*/ 502834 h 941139"/>
                  <a:gd name="connsiteX383" fmla="*/ 315123 w 1493637"/>
                  <a:gd name="connsiteY383" fmla="*/ 502834 h 941139"/>
                  <a:gd name="connsiteX384" fmla="*/ 315123 w 1493637"/>
                  <a:gd name="connsiteY384" fmla="*/ 502000 h 941139"/>
                  <a:gd name="connsiteX385" fmla="*/ 316658 w 1493637"/>
                  <a:gd name="connsiteY385" fmla="*/ 502000 h 941139"/>
                  <a:gd name="connsiteX386" fmla="*/ 316658 w 1493637"/>
                  <a:gd name="connsiteY386" fmla="*/ 501155 h 941139"/>
                  <a:gd name="connsiteX387" fmla="*/ 318192 w 1493637"/>
                  <a:gd name="connsiteY387" fmla="*/ 501155 h 941139"/>
                  <a:gd name="connsiteX388" fmla="*/ 318192 w 1493637"/>
                  <a:gd name="connsiteY388" fmla="*/ 500287 h 941139"/>
                  <a:gd name="connsiteX389" fmla="*/ 319716 w 1493637"/>
                  <a:gd name="connsiteY389" fmla="*/ 500287 h 941139"/>
                  <a:gd name="connsiteX390" fmla="*/ 319716 w 1493637"/>
                  <a:gd name="connsiteY390" fmla="*/ 499453 h 941139"/>
                  <a:gd name="connsiteX391" fmla="*/ 321261 w 1493637"/>
                  <a:gd name="connsiteY391" fmla="*/ 499453 h 941139"/>
                  <a:gd name="connsiteX392" fmla="*/ 321261 w 1493637"/>
                  <a:gd name="connsiteY392" fmla="*/ 496917 h 941139"/>
                  <a:gd name="connsiteX393" fmla="*/ 322785 w 1493637"/>
                  <a:gd name="connsiteY393" fmla="*/ 496917 h 941139"/>
                  <a:gd name="connsiteX394" fmla="*/ 322785 w 1493637"/>
                  <a:gd name="connsiteY394" fmla="*/ 493469 h 941139"/>
                  <a:gd name="connsiteX395" fmla="*/ 324320 w 1493637"/>
                  <a:gd name="connsiteY395" fmla="*/ 493469 h 941139"/>
                  <a:gd name="connsiteX396" fmla="*/ 324320 w 1493637"/>
                  <a:gd name="connsiteY396" fmla="*/ 492591 h 941139"/>
                  <a:gd name="connsiteX397" fmla="*/ 327389 w 1493637"/>
                  <a:gd name="connsiteY397" fmla="*/ 492591 h 941139"/>
                  <a:gd name="connsiteX398" fmla="*/ 327389 w 1493637"/>
                  <a:gd name="connsiteY398" fmla="*/ 491723 h 941139"/>
                  <a:gd name="connsiteX399" fmla="*/ 328923 w 1493637"/>
                  <a:gd name="connsiteY399" fmla="*/ 491723 h 941139"/>
                  <a:gd name="connsiteX400" fmla="*/ 328923 w 1493637"/>
                  <a:gd name="connsiteY400" fmla="*/ 487397 h 941139"/>
                  <a:gd name="connsiteX401" fmla="*/ 330447 w 1493637"/>
                  <a:gd name="connsiteY401" fmla="*/ 487397 h 941139"/>
                  <a:gd name="connsiteX402" fmla="*/ 330447 w 1493637"/>
                  <a:gd name="connsiteY402" fmla="*/ 484783 h 941139"/>
                  <a:gd name="connsiteX403" fmla="*/ 331981 w 1493637"/>
                  <a:gd name="connsiteY403" fmla="*/ 484783 h 941139"/>
                  <a:gd name="connsiteX404" fmla="*/ 331981 w 1493637"/>
                  <a:gd name="connsiteY404" fmla="*/ 483916 h 941139"/>
                  <a:gd name="connsiteX405" fmla="*/ 333483 w 1493637"/>
                  <a:gd name="connsiteY405" fmla="*/ 483916 h 941139"/>
                  <a:gd name="connsiteX406" fmla="*/ 333483 w 1493637"/>
                  <a:gd name="connsiteY406" fmla="*/ 479567 h 941139"/>
                  <a:gd name="connsiteX407" fmla="*/ 335017 w 1493637"/>
                  <a:gd name="connsiteY407" fmla="*/ 479567 h 941139"/>
                  <a:gd name="connsiteX408" fmla="*/ 335017 w 1493637"/>
                  <a:gd name="connsiteY408" fmla="*/ 477788 h 941139"/>
                  <a:gd name="connsiteX409" fmla="*/ 338075 w 1493637"/>
                  <a:gd name="connsiteY409" fmla="*/ 477788 h 941139"/>
                  <a:gd name="connsiteX410" fmla="*/ 338075 w 1493637"/>
                  <a:gd name="connsiteY410" fmla="*/ 475174 h 941139"/>
                  <a:gd name="connsiteX411" fmla="*/ 339621 w 1493637"/>
                  <a:gd name="connsiteY411" fmla="*/ 475174 h 941139"/>
                  <a:gd name="connsiteX412" fmla="*/ 339621 w 1493637"/>
                  <a:gd name="connsiteY412" fmla="*/ 473394 h 941139"/>
                  <a:gd name="connsiteX413" fmla="*/ 341144 w 1493637"/>
                  <a:gd name="connsiteY413" fmla="*/ 473394 h 941139"/>
                  <a:gd name="connsiteX414" fmla="*/ 342679 w 1493637"/>
                  <a:gd name="connsiteY414" fmla="*/ 473394 h 941139"/>
                  <a:gd name="connsiteX415" fmla="*/ 342679 w 1493637"/>
                  <a:gd name="connsiteY415" fmla="*/ 471615 h 941139"/>
                  <a:gd name="connsiteX416" fmla="*/ 344214 w 1493637"/>
                  <a:gd name="connsiteY416" fmla="*/ 471615 h 941139"/>
                  <a:gd name="connsiteX417" fmla="*/ 344214 w 1493637"/>
                  <a:gd name="connsiteY417" fmla="*/ 469847 h 941139"/>
                  <a:gd name="connsiteX418" fmla="*/ 345748 w 1493637"/>
                  <a:gd name="connsiteY418" fmla="*/ 469847 h 941139"/>
                  <a:gd name="connsiteX419" fmla="*/ 345748 w 1493637"/>
                  <a:gd name="connsiteY419" fmla="*/ 468968 h 941139"/>
                  <a:gd name="connsiteX420" fmla="*/ 348806 w 1493637"/>
                  <a:gd name="connsiteY420" fmla="*/ 468968 h 941139"/>
                  <a:gd name="connsiteX421" fmla="*/ 348806 w 1493637"/>
                  <a:gd name="connsiteY421" fmla="*/ 468067 h 941139"/>
                  <a:gd name="connsiteX422" fmla="*/ 350307 w 1493637"/>
                  <a:gd name="connsiteY422" fmla="*/ 468067 h 941139"/>
                  <a:gd name="connsiteX423" fmla="*/ 350307 w 1493637"/>
                  <a:gd name="connsiteY423" fmla="*/ 467155 h 941139"/>
                  <a:gd name="connsiteX424" fmla="*/ 351842 w 1493637"/>
                  <a:gd name="connsiteY424" fmla="*/ 467155 h 941139"/>
                  <a:gd name="connsiteX425" fmla="*/ 353377 w 1493637"/>
                  <a:gd name="connsiteY425" fmla="*/ 467155 h 941139"/>
                  <a:gd name="connsiteX426" fmla="*/ 353377 w 1493637"/>
                  <a:gd name="connsiteY426" fmla="*/ 466287 h 941139"/>
                  <a:gd name="connsiteX427" fmla="*/ 354911 w 1493637"/>
                  <a:gd name="connsiteY427" fmla="*/ 466287 h 941139"/>
                  <a:gd name="connsiteX428" fmla="*/ 354911 w 1493637"/>
                  <a:gd name="connsiteY428" fmla="*/ 465387 h 941139"/>
                  <a:gd name="connsiteX429" fmla="*/ 356446 w 1493637"/>
                  <a:gd name="connsiteY429" fmla="*/ 465387 h 941139"/>
                  <a:gd name="connsiteX430" fmla="*/ 356446 w 1493637"/>
                  <a:gd name="connsiteY430" fmla="*/ 463574 h 941139"/>
                  <a:gd name="connsiteX431" fmla="*/ 357969 w 1493637"/>
                  <a:gd name="connsiteY431" fmla="*/ 463574 h 941139"/>
                  <a:gd name="connsiteX432" fmla="*/ 357969 w 1493637"/>
                  <a:gd name="connsiteY432" fmla="*/ 461750 h 941139"/>
                  <a:gd name="connsiteX433" fmla="*/ 359504 w 1493637"/>
                  <a:gd name="connsiteY433" fmla="*/ 461750 h 941139"/>
                  <a:gd name="connsiteX434" fmla="*/ 359504 w 1493637"/>
                  <a:gd name="connsiteY434" fmla="*/ 460849 h 941139"/>
                  <a:gd name="connsiteX435" fmla="*/ 361038 w 1493637"/>
                  <a:gd name="connsiteY435" fmla="*/ 460849 h 941139"/>
                  <a:gd name="connsiteX436" fmla="*/ 361038 w 1493637"/>
                  <a:gd name="connsiteY436" fmla="*/ 459036 h 941139"/>
                  <a:gd name="connsiteX437" fmla="*/ 362573 w 1493637"/>
                  <a:gd name="connsiteY437" fmla="*/ 459036 h 941139"/>
                  <a:gd name="connsiteX438" fmla="*/ 364108 w 1493637"/>
                  <a:gd name="connsiteY438" fmla="*/ 459036 h 941139"/>
                  <a:gd name="connsiteX439" fmla="*/ 364108 w 1493637"/>
                  <a:gd name="connsiteY439" fmla="*/ 458135 h 941139"/>
                  <a:gd name="connsiteX440" fmla="*/ 365631 w 1493637"/>
                  <a:gd name="connsiteY440" fmla="*/ 458135 h 941139"/>
                  <a:gd name="connsiteX441" fmla="*/ 365631 w 1493637"/>
                  <a:gd name="connsiteY441" fmla="*/ 454476 h 941139"/>
                  <a:gd name="connsiteX442" fmla="*/ 367177 w 1493637"/>
                  <a:gd name="connsiteY442" fmla="*/ 454476 h 941139"/>
                  <a:gd name="connsiteX443" fmla="*/ 368667 w 1493637"/>
                  <a:gd name="connsiteY443" fmla="*/ 454476 h 941139"/>
                  <a:gd name="connsiteX444" fmla="*/ 370201 w 1493637"/>
                  <a:gd name="connsiteY444" fmla="*/ 454476 h 941139"/>
                  <a:gd name="connsiteX445" fmla="*/ 370201 w 1493637"/>
                  <a:gd name="connsiteY445" fmla="*/ 453575 h 941139"/>
                  <a:gd name="connsiteX446" fmla="*/ 371736 w 1493637"/>
                  <a:gd name="connsiteY446" fmla="*/ 453575 h 941139"/>
                  <a:gd name="connsiteX447" fmla="*/ 371736 w 1493637"/>
                  <a:gd name="connsiteY447" fmla="*/ 452630 h 941139"/>
                  <a:gd name="connsiteX448" fmla="*/ 373259 w 1493637"/>
                  <a:gd name="connsiteY448" fmla="*/ 452630 h 941139"/>
                  <a:gd name="connsiteX449" fmla="*/ 373259 w 1493637"/>
                  <a:gd name="connsiteY449" fmla="*/ 449883 h 941139"/>
                  <a:gd name="connsiteX450" fmla="*/ 374805 w 1493637"/>
                  <a:gd name="connsiteY450" fmla="*/ 449883 h 941139"/>
                  <a:gd name="connsiteX451" fmla="*/ 374805 w 1493637"/>
                  <a:gd name="connsiteY451" fmla="*/ 448937 h 941139"/>
                  <a:gd name="connsiteX452" fmla="*/ 376329 w 1493637"/>
                  <a:gd name="connsiteY452" fmla="*/ 448937 h 941139"/>
                  <a:gd name="connsiteX453" fmla="*/ 376329 w 1493637"/>
                  <a:gd name="connsiteY453" fmla="*/ 447091 h 941139"/>
                  <a:gd name="connsiteX454" fmla="*/ 377863 w 1493637"/>
                  <a:gd name="connsiteY454" fmla="*/ 447091 h 941139"/>
                  <a:gd name="connsiteX455" fmla="*/ 380932 w 1493637"/>
                  <a:gd name="connsiteY455" fmla="*/ 447091 h 941139"/>
                  <a:gd name="connsiteX456" fmla="*/ 380932 w 1493637"/>
                  <a:gd name="connsiteY456" fmla="*/ 444266 h 941139"/>
                  <a:gd name="connsiteX457" fmla="*/ 382467 w 1493637"/>
                  <a:gd name="connsiteY457" fmla="*/ 444266 h 941139"/>
                  <a:gd name="connsiteX458" fmla="*/ 383990 w 1493637"/>
                  <a:gd name="connsiteY458" fmla="*/ 444266 h 941139"/>
                  <a:gd name="connsiteX459" fmla="*/ 385492 w 1493637"/>
                  <a:gd name="connsiteY459" fmla="*/ 444266 h 941139"/>
                  <a:gd name="connsiteX460" fmla="*/ 385492 w 1493637"/>
                  <a:gd name="connsiteY460" fmla="*/ 443321 h 941139"/>
                  <a:gd name="connsiteX461" fmla="*/ 387026 w 1493637"/>
                  <a:gd name="connsiteY461" fmla="*/ 443321 h 941139"/>
                  <a:gd name="connsiteX462" fmla="*/ 388561 w 1493637"/>
                  <a:gd name="connsiteY462" fmla="*/ 443321 h 941139"/>
                  <a:gd name="connsiteX463" fmla="*/ 388561 w 1493637"/>
                  <a:gd name="connsiteY463" fmla="*/ 441441 h 941139"/>
                  <a:gd name="connsiteX464" fmla="*/ 390095 w 1493637"/>
                  <a:gd name="connsiteY464" fmla="*/ 441441 h 941139"/>
                  <a:gd name="connsiteX465" fmla="*/ 390095 w 1493637"/>
                  <a:gd name="connsiteY465" fmla="*/ 440507 h 941139"/>
                  <a:gd name="connsiteX466" fmla="*/ 391619 w 1493637"/>
                  <a:gd name="connsiteY466" fmla="*/ 440507 h 941139"/>
                  <a:gd name="connsiteX467" fmla="*/ 391619 w 1493637"/>
                  <a:gd name="connsiteY467" fmla="*/ 438583 h 941139"/>
                  <a:gd name="connsiteX468" fmla="*/ 393153 w 1493637"/>
                  <a:gd name="connsiteY468" fmla="*/ 438583 h 941139"/>
                  <a:gd name="connsiteX469" fmla="*/ 393153 w 1493637"/>
                  <a:gd name="connsiteY469" fmla="*/ 437648 h 941139"/>
                  <a:gd name="connsiteX470" fmla="*/ 394688 w 1493637"/>
                  <a:gd name="connsiteY470" fmla="*/ 437648 h 941139"/>
                  <a:gd name="connsiteX471" fmla="*/ 394688 w 1493637"/>
                  <a:gd name="connsiteY471" fmla="*/ 436703 h 941139"/>
                  <a:gd name="connsiteX472" fmla="*/ 396223 w 1493637"/>
                  <a:gd name="connsiteY472" fmla="*/ 436703 h 941139"/>
                  <a:gd name="connsiteX473" fmla="*/ 397757 w 1493637"/>
                  <a:gd name="connsiteY473" fmla="*/ 436703 h 941139"/>
                  <a:gd name="connsiteX474" fmla="*/ 399292 w 1493637"/>
                  <a:gd name="connsiteY474" fmla="*/ 436703 h 941139"/>
                  <a:gd name="connsiteX475" fmla="*/ 399292 w 1493637"/>
                  <a:gd name="connsiteY475" fmla="*/ 435736 h 941139"/>
                  <a:gd name="connsiteX476" fmla="*/ 400815 w 1493637"/>
                  <a:gd name="connsiteY476" fmla="*/ 435736 h 941139"/>
                  <a:gd name="connsiteX477" fmla="*/ 400815 w 1493637"/>
                  <a:gd name="connsiteY477" fmla="*/ 432833 h 941139"/>
                  <a:gd name="connsiteX478" fmla="*/ 402350 w 1493637"/>
                  <a:gd name="connsiteY478" fmla="*/ 432833 h 941139"/>
                  <a:gd name="connsiteX479" fmla="*/ 402350 w 1493637"/>
                  <a:gd name="connsiteY479" fmla="*/ 431865 h 941139"/>
                  <a:gd name="connsiteX480" fmla="*/ 403851 w 1493637"/>
                  <a:gd name="connsiteY480" fmla="*/ 431865 h 941139"/>
                  <a:gd name="connsiteX481" fmla="*/ 405386 w 1493637"/>
                  <a:gd name="connsiteY481" fmla="*/ 431865 h 941139"/>
                  <a:gd name="connsiteX482" fmla="*/ 406920 w 1493637"/>
                  <a:gd name="connsiteY482" fmla="*/ 431865 h 941139"/>
                  <a:gd name="connsiteX483" fmla="*/ 406920 w 1493637"/>
                  <a:gd name="connsiteY483" fmla="*/ 428973 h 941139"/>
                  <a:gd name="connsiteX484" fmla="*/ 408444 w 1493637"/>
                  <a:gd name="connsiteY484" fmla="*/ 428973 h 941139"/>
                  <a:gd name="connsiteX485" fmla="*/ 408444 w 1493637"/>
                  <a:gd name="connsiteY485" fmla="*/ 427016 h 941139"/>
                  <a:gd name="connsiteX486" fmla="*/ 409978 w 1493637"/>
                  <a:gd name="connsiteY486" fmla="*/ 427016 h 941139"/>
                  <a:gd name="connsiteX487" fmla="*/ 411513 w 1493637"/>
                  <a:gd name="connsiteY487" fmla="*/ 427016 h 941139"/>
                  <a:gd name="connsiteX488" fmla="*/ 411513 w 1493637"/>
                  <a:gd name="connsiteY488" fmla="*/ 426048 h 941139"/>
                  <a:gd name="connsiteX489" fmla="*/ 413047 w 1493637"/>
                  <a:gd name="connsiteY489" fmla="*/ 426048 h 941139"/>
                  <a:gd name="connsiteX490" fmla="*/ 413047 w 1493637"/>
                  <a:gd name="connsiteY490" fmla="*/ 425070 h 941139"/>
                  <a:gd name="connsiteX491" fmla="*/ 414582 w 1493637"/>
                  <a:gd name="connsiteY491" fmla="*/ 425070 h 941139"/>
                  <a:gd name="connsiteX492" fmla="*/ 416117 w 1493637"/>
                  <a:gd name="connsiteY492" fmla="*/ 425070 h 941139"/>
                  <a:gd name="connsiteX493" fmla="*/ 416117 w 1493637"/>
                  <a:gd name="connsiteY493" fmla="*/ 424091 h 941139"/>
                  <a:gd name="connsiteX494" fmla="*/ 417651 w 1493637"/>
                  <a:gd name="connsiteY494" fmla="*/ 424091 h 941139"/>
                  <a:gd name="connsiteX495" fmla="*/ 419175 w 1493637"/>
                  <a:gd name="connsiteY495" fmla="*/ 424091 h 941139"/>
                  <a:gd name="connsiteX496" fmla="*/ 420709 w 1493637"/>
                  <a:gd name="connsiteY496" fmla="*/ 424091 h 941139"/>
                  <a:gd name="connsiteX497" fmla="*/ 420709 w 1493637"/>
                  <a:gd name="connsiteY497" fmla="*/ 423079 h 941139"/>
                  <a:gd name="connsiteX498" fmla="*/ 422210 w 1493637"/>
                  <a:gd name="connsiteY498" fmla="*/ 423079 h 941139"/>
                  <a:gd name="connsiteX499" fmla="*/ 422210 w 1493637"/>
                  <a:gd name="connsiteY499" fmla="*/ 422111 h 941139"/>
                  <a:gd name="connsiteX500" fmla="*/ 423745 w 1493637"/>
                  <a:gd name="connsiteY500" fmla="*/ 422111 h 941139"/>
                  <a:gd name="connsiteX501" fmla="*/ 423745 w 1493637"/>
                  <a:gd name="connsiteY501" fmla="*/ 421099 h 941139"/>
                  <a:gd name="connsiteX502" fmla="*/ 425280 w 1493637"/>
                  <a:gd name="connsiteY502" fmla="*/ 421099 h 941139"/>
                  <a:gd name="connsiteX503" fmla="*/ 425280 w 1493637"/>
                  <a:gd name="connsiteY503" fmla="*/ 420120 h 941139"/>
                  <a:gd name="connsiteX504" fmla="*/ 426803 w 1493637"/>
                  <a:gd name="connsiteY504" fmla="*/ 420120 h 941139"/>
                  <a:gd name="connsiteX505" fmla="*/ 428349 w 1493637"/>
                  <a:gd name="connsiteY505" fmla="*/ 420120 h 941139"/>
                  <a:gd name="connsiteX506" fmla="*/ 428349 w 1493637"/>
                  <a:gd name="connsiteY506" fmla="*/ 418096 h 941139"/>
                  <a:gd name="connsiteX507" fmla="*/ 429872 w 1493637"/>
                  <a:gd name="connsiteY507" fmla="*/ 418096 h 941139"/>
                  <a:gd name="connsiteX508" fmla="*/ 429872 w 1493637"/>
                  <a:gd name="connsiteY508" fmla="*/ 417128 h 941139"/>
                  <a:gd name="connsiteX509" fmla="*/ 431407 w 1493637"/>
                  <a:gd name="connsiteY509" fmla="*/ 417128 h 941139"/>
                  <a:gd name="connsiteX510" fmla="*/ 432941 w 1493637"/>
                  <a:gd name="connsiteY510" fmla="*/ 417128 h 941139"/>
                  <a:gd name="connsiteX511" fmla="*/ 432941 w 1493637"/>
                  <a:gd name="connsiteY511" fmla="*/ 414092 h 941139"/>
                  <a:gd name="connsiteX512" fmla="*/ 434476 w 1493637"/>
                  <a:gd name="connsiteY512" fmla="*/ 414092 h 941139"/>
                  <a:gd name="connsiteX513" fmla="*/ 434476 w 1493637"/>
                  <a:gd name="connsiteY513" fmla="*/ 412035 h 941139"/>
                  <a:gd name="connsiteX514" fmla="*/ 435999 w 1493637"/>
                  <a:gd name="connsiteY514" fmla="*/ 412035 h 941139"/>
                  <a:gd name="connsiteX515" fmla="*/ 435999 w 1493637"/>
                  <a:gd name="connsiteY515" fmla="*/ 410022 h 941139"/>
                  <a:gd name="connsiteX516" fmla="*/ 437534 w 1493637"/>
                  <a:gd name="connsiteY516" fmla="*/ 410022 h 941139"/>
                  <a:gd name="connsiteX517" fmla="*/ 437534 w 1493637"/>
                  <a:gd name="connsiteY517" fmla="*/ 407997 h 941139"/>
                  <a:gd name="connsiteX518" fmla="*/ 439035 w 1493637"/>
                  <a:gd name="connsiteY518" fmla="*/ 407997 h 941139"/>
                  <a:gd name="connsiteX519" fmla="*/ 439035 w 1493637"/>
                  <a:gd name="connsiteY519" fmla="*/ 406985 h 941139"/>
                  <a:gd name="connsiteX520" fmla="*/ 440570 w 1493637"/>
                  <a:gd name="connsiteY520" fmla="*/ 406985 h 941139"/>
                  <a:gd name="connsiteX521" fmla="*/ 440570 w 1493637"/>
                  <a:gd name="connsiteY521" fmla="*/ 404928 h 941139"/>
                  <a:gd name="connsiteX522" fmla="*/ 442104 w 1493637"/>
                  <a:gd name="connsiteY522" fmla="*/ 404928 h 941139"/>
                  <a:gd name="connsiteX523" fmla="*/ 442104 w 1493637"/>
                  <a:gd name="connsiteY523" fmla="*/ 401869 h 941139"/>
                  <a:gd name="connsiteX524" fmla="*/ 445162 w 1493637"/>
                  <a:gd name="connsiteY524" fmla="*/ 401869 h 941139"/>
                  <a:gd name="connsiteX525" fmla="*/ 445162 w 1493637"/>
                  <a:gd name="connsiteY525" fmla="*/ 400857 h 941139"/>
                  <a:gd name="connsiteX526" fmla="*/ 446697 w 1493637"/>
                  <a:gd name="connsiteY526" fmla="*/ 400857 h 941139"/>
                  <a:gd name="connsiteX527" fmla="*/ 448232 w 1493637"/>
                  <a:gd name="connsiteY527" fmla="*/ 400857 h 941139"/>
                  <a:gd name="connsiteX528" fmla="*/ 449766 w 1493637"/>
                  <a:gd name="connsiteY528" fmla="*/ 400857 h 941139"/>
                  <a:gd name="connsiteX529" fmla="*/ 451290 w 1493637"/>
                  <a:gd name="connsiteY529" fmla="*/ 400857 h 941139"/>
                  <a:gd name="connsiteX530" fmla="*/ 451290 w 1493637"/>
                  <a:gd name="connsiteY530" fmla="*/ 398766 h 941139"/>
                  <a:gd name="connsiteX531" fmla="*/ 452835 w 1493637"/>
                  <a:gd name="connsiteY531" fmla="*/ 398766 h 941139"/>
                  <a:gd name="connsiteX532" fmla="*/ 455893 w 1493637"/>
                  <a:gd name="connsiteY532" fmla="*/ 398766 h 941139"/>
                  <a:gd name="connsiteX533" fmla="*/ 455893 w 1493637"/>
                  <a:gd name="connsiteY533" fmla="*/ 397754 h 941139"/>
                  <a:gd name="connsiteX534" fmla="*/ 457395 w 1493637"/>
                  <a:gd name="connsiteY534" fmla="*/ 397754 h 941139"/>
                  <a:gd name="connsiteX535" fmla="*/ 457395 w 1493637"/>
                  <a:gd name="connsiteY535" fmla="*/ 396709 h 941139"/>
                  <a:gd name="connsiteX536" fmla="*/ 458929 w 1493637"/>
                  <a:gd name="connsiteY536" fmla="*/ 396709 h 941139"/>
                  <a:gd name="connsiteX537" fmla="*/ 458929 w 1493637"/>
                  <a:gd name="connsiteY537" fmla="*/ 394618 h 941139"/>
                  <a:gd name="connsiteX538" fmla="*/ 460464 w 1493637"/>
                  <a:gd name="connsiteY538" fmla="*/ 394618 h 941139"/>
                  <a:gd name="connsiteX539" fmla="*/ 460464 w 1493637"/>
                  <a:gd name="connsiteY539" fmla="*/ 393572 h 941139"/>
                  <a:gd name="connsiteX540" fmla="*/ 461987 w 1493637"/>
                  <a:gd name="connsiteY540" fmla="*/ 393572 h 941139"/>
                  <a:gd name="connsiteX541" fmla="*/ 461987 w 1493637"/>
                  <a:gd name="connsiteY541" fmla="*/ 391515 h 941139"/>
                  <a:gd name="connsiteX542" fmla="*/ 463522 w 1493637"/>
                  <a:gd name="connsiteY542" fmla="*/ 391515 h 941139"/>
                  <a:gd name="connsiteX543" fmla="*/ 463522 w 1493637"/>
                  <a:gd name="connsiteY543" fmla="*/ 390469 h 941139"/>
                  <a:gd name="connsiteX544" fmla="*/ 465056 w 1493637"/>
                  <a:gd name="connsiteY544" fmla="*/ 390469 h 941139"/>
                  <a:gd name="connsiteX545" fmla="*/ 465056 w 1493637"/>
                  <a:gd name="connsiteY545" fmla="*/ 389390 h 941139"/>
                  <a:gd name="connsiteX546" fmla="*/ 466591 w 1493637"/>
                  <a:gd name="connsiteY546" fmla="*/ 389390 h 941139"/>
                  <a:gd name="connsiteX547" fmla="*/ 466591 w 1493637"/>
                  <a:gd name="connsiteY547" fmla="*/ 387299 h 941139"/>
                  <a:gd name="connsiteX548" fmla="*/ 469660 w 1493637"/>
                  <a:gd name="connsiteY548" fmla="*/ 387299 h 941139"/>
                  <a:gd name="connsiteX549" fmla="*/ 469660 w 1493637"/>
                  <a:gd name="connsiteY549" fmla="*/ 386254 h 941139"/>
                  <a:gd name="connsiteX550" fmla="*/ 471195 w 1493637"/>
                  <a:gd name="connsiteY550" fmla="*/ 386254 h 941139"/>
                  <a:gd name="connsiteX551" fmla="*/ 471195 w 1493637"/>
                  <a:gd name="connsiteY551" fmla="*/ 384163 h 941139"/>
                  <a:gd name="connsiteX552" fmla="*/ 472718 w 1493637"/>
                  <a:gd name="connsiteY552" fmla="*/ 384163 h 941139"/>
                  <a:gd name="connsiteX553" fmla="*/ 472718 w 1493637"/>
                  <a:gd name="connsiteY553" fmla="*/ 383084 h 941139"/>
                  <a:gd name="connsiteX554" fmla="*/ 474219 w 1493637"/>
                  <a:gd name="connsiteY554" fmla="*/ 383084 h 941139"/>
                  <a:gd name="connsiteX555" fmla="*/ 474219 w 1493637"/>
                  <a:gd name="connsiteY555" fmla="*/ 379914 h 941139"/>
                  <a:gd name="connsiteX556" fmla="*/ 475754 w 1493637"/>
                  <a:gd name="connsiteY556" fmla="*/ 379914 h 941139"/>
                  <a:gd name="connsiteX557" fmla="*/ 475754 w 1493637"/>
                  <a:gd name="connsiteY557" fmla="*/ 378869 h 941139"/>
                  <a:gd name="connsiteX558" fmla="*/ 477289 w 1493637"/>
                  <a:gd name="connsiteY558" fmla="*/ 378869 h 941139"/>
                  <a:gd name="connsiteX559" fmla="*/ 478823 w 1493637"/>
                  <a:gd name="connsiteY559" fmla="*/ 378869 h 941139"/>
                  <a:gd name="connsiteX560" fmla="*/ 480347 w 1493637"/>
                  <a:gd name="connsiteY560" fmla="*/ 378869 h 941139"/>
                  <a:gd name="connsiteX561" fmla="*/ 481881 w 1493637"/>
                  <a:gd name="connsiteY561" fmla="*/ 378869 h 941139"/>
                  <a:gd name="connsiteX562" fmla="*/ 481881 w 1493637"/>
                  <a:gd name="connsiteY562" fmla="*/ 377824 h 941139"/>
                  <a:gd name="connsiteX563" fmla="*/ 483416 w 1493637"/>
                  <a:gd name="connsiteY563" fmla="*/ 377824 h 941139"/>
                  <a:gd name="connsiteX564" fmla="*/ 484950 w 1493637"/>
                  <a:gd name="connsiteY564" fmla="*/ 377824 h 941139"/>
                  <a:gd name="connsiteX565" fmla="*/ 484950 w 1493637"/>
                  <a:gd name="connsiteY565" fmla="*/ 375666 h 941139"/>
                  <a:gd name="connsiteX566" fmla="*/ 486485 w 1493637"/>
                  <a:gd name="connsiteY566" fmla="*/ 375666 h 941139"/>
                  <a:gd name="connsiteX567" fmla="*/ 486485 w 1493637"/>
                  <a:gd name="connsiteY567" fmla="*/ 374620 h 941139"/>
                  <a:gd name="connsiteX568" fmla="*/ 488019 w 1493637"/>
                  <a:gd name="connsiteY568" fmla="*/ 374620 h 941139"/>
                  <a:gd name="connsiteX569" fmla="*/ 488019 w 1493637"/>
                  <a:gd name="connsiteY569" fmla="*/ 372463 h 941139"/>
                  <a:gd name="connsiteX570" fmla="*/ 491078 w 1493637"/>
                  <a:gd name="connsiteY570" fmla="*/ 372463 h 941139"/>
                  <a:gd name="connsiteX571" fmla="*/ 491078 w 1493637"/>
                  <a:gd name="connsiteY571" fmla="*/ 371373 h 941139"/>
                  <a:gd name="connsiteX572" fmla="*/ 492579 w 1493637"/>
                  <a:gd name="connsiteY572" fmla="*/ 371373 h 941139"/>
                  <a:gd name="connsiteX573" fmla="*/ 494113 w 1493637"/>
                  <a:gd name="connsiteY573" fmla="*/ 371373 h 941139"/>
                  <a:gd name="connsiteX574" fmla="*/ 494113 w 1493637"/>
                  <a:gd name="connsiteY574" fmla="*/ 370294 h 941139"/>
                  <a:gd name="connsiteX575" fmla="*/ 495648 w 1493637"/>
                  <a:gd name="connsiteY575" fmla="*/ 370294 h 941139"/>
                  <a:gd name="connsiteX576" fmla="*/ 495648 w 1493637"/>
                  <a:gd name="connsiteY576" fmla="*/ 367058 h 941139"/>
                  <a:gd name="connsiteX577" fmla="*/ 497171 w 1493637"/>
                  <a:gd name="connsiteY577" fmla="*/ 367058 h 941139"/>
                  <a:gd name="connsiteX578" fmla="*/ 497171 w 1493637"/>
                  <a:gd name="connsiteY578" fmla="*/ 365979 h 941139"/>
                  <a:gd name="connsiteX579" fmla="*/ 498706 w 1493637"/>
                  <a:gd name="connsiteY579" fmla="*/ 365979 h 941139"/>
                  <a:gd name="connsiteX580" fmla="*/ 498706 w 1493637"/>
                  <a:gd name="connsiteY580" fmla="*/ 364900 h 941139"/>
                  <a:gd name="connsiteX581" fmla="*/ 500241 w 1493637"/>
                  <a:gd name="connsiteY581" fmla="*/ 364900 h 941139"/>
                  <a:gd name="connsiteX582" fmla="*/ 501775 w 1493637"/>
                  <a:gd name="connsiteY582" fmla="*/ 364900 h 941139"/>
                  <a:gd name="connsiteX583" fmla="*/ 503310 w 1493637"/>
                  <a:gd name="connsiteY583" fmla="*/ 364900 h 941139"/>
                  <a:gd name="connsiteX584" fmla="*/ 504833 w 1493637"/>
                  <a:gd name="connsiteY584" fmla="*/ 364900 h 941139"/>
                  <a:gd name="connsiteX585" fmla="*/ 506379 w 1493637"/>
                  <a:gd name="connsiteY585" fmla="*/ 364900 h 941139"/>
                  <a:gd name="connsiteX586" fmla="*/ 506379 w 1493637"/>
                  <a:gd name="connsiteY586" fmla="*/ 363821 h 941139"/>
                  <a:gd name="connsiteX587" fmla="*/ 507902 w 1493637"/>
                  <a:gd name="connsiteY587" fmla="*/ 363821 h 941139"/>
                  <a:gd name="connsiteX588" fmla="*/ 507902 w 1493637"/>
                  <a:gd name="connsiteY588" fmla="*/ 361630 h 941139"/>
                  <a:gd name="connsiteX589" fmla="*/ 510938 w 1493637"/>
                  <a:gd name="connsiteY589" fmla="*/ 361630 h 941139"/>
                  <a:gd name="connsiteX590" fmla="*/ 510938 w 1493637"/>
                  <a:gd name="connsiteY590" fmla="*/ 360507 h 941139"/>
                  <a:gd name="connsiteX591" fmla="*/ 512462 w 1493637"/>
                  <a:gd name="connsiteY591" fmla="*/ 360507 h 941139"/>
                  <a:gd name="connsiteX592" fmla="*/ 512462 w 1493637"/>
                  <a:gd name="connsiteY592" fmla="*/ 359428 h 941139"/>
                  <a:gd name="connsiteX593" fmla="*/ 514007 w 1493637"/>
                  <a:gd name="connsiteY593" fmla="*/ 359428 h 941139"/>
                  <a:gd name="connsiteX594" fmla="*/ 514007 w 1493637"/>
                  <a:gd name="connsiteY594" fmla="*/ 357237 h 941139"/>
                  <a:gd name="connsiteX595" fmla="*/ 515531 w 1493637"/>
                  <a:gd name="connsiteY595" fmla="*/ 357237 h 941139"/>
                  <a:gd name="connsiteX596" fmla="*/ 515531 w 1493637"/>
                  <a:gd name="connsiteY596" fmla="*/ 355001 h 941139"/>
                  <a:gd name="connsiteX597" fmla="*/ 517065 w 1493637"/>
                  <a:gd name="connsiteY597" fmla="*/ 355001 h 941139"/>
                  <a:gd name="connsiteX598" fmla="*/ 518600 w 1493637"/>
                  <a:gd name="connsiteY598" fmla="*/ 355001 h 941139"/>
                  <a:gd name="connsiteX599" fmla="*/ 518600 w 1493637"/>
                  <a:gd name="connsiteY599" fmla="*/ 352810 h 941139"/>
                  <a:gd name="connsiteX600" fmla="*/ 521669 w 1493637"/>
                  <a:gd name="connsiteY600" fmla="*/ 352810 h 941139"/>
                  <a:gd name="connsiteX601" fmla="*/ 523193 w 1493637"/>
                  <a:gd name="connsiteY601" fmla="*/ 352810 h 941139"/>
                  <a:gd name="connsiteX602" fmla="*/ 523193 w 1493637"/>
                  <a:gd name="connsiteY602" fmla="*/ 351687 h 941139"/>
                  <a:gd name="connsiteX603" fmla="*/ 524738 w 1493637"/>
                  <a:gd name="connsiteY603" fmla="*/ 351687 h 941139"/>
                  <a:gd name="connsiteX604" fmla="*/ 524738 w 1493637"/>
                  <a:gd name="connsiteY604" fmla="*/ 350575 h 941139"/>
                  <a:gd name="connsiteX605" fmla="*/ 526262 w 1493637"/>
                  <a:gd name="connsiteY605" fmla="*/ 350575 h 941139"/>
                  <a:gd name="connsiteX606" fmla="*/ 526262 w 1493637"/>
                  <a:gd name="connsiteY606" fmla="*/ 349463 h 941139"/>
                  <a:gd name="connsiteX607" fmla="*/ 527763 w 1493637"/>
                  <a:gd name="connsiteY607" fmla="*/ 349463 h 941139"/>
                  <a:gd name="connsiteX608" fmla="*/ 527763 w 1493637"/>
                  <a:gd name="connsiteY608" fmla="*/ 346082 h 941139"/>
                  <a:gd name="connsiteX609" fmla="*/ 529297 w 1493637"/>
                  <a:gd name="connsiteY609" fmla="*/ 346082 h 941139"/>
                  <a:gd name="connsiteX610" fmla="*/ 529297 w 1493637"/>
                  <a:gd name="connsiteY610" fmla="*/ 343813 h 941139"/>
                  <a:gd name="connsiteX611" fmla="*/ 530832 w 1493637"/>
                  <a:gd name="connsiteY611" fmla="*/ 343813 h 941139"/>
                  <a:gd name="connsiteX612" fmla="*/ 530832 w 1493637"/>
                  <a:gd name="connsiteY612" fmla="*/ 342700 h 941139"/>
                  <a:gd name="connsiteX613" fmla="*/ 532367 w 1493637"/>
                  <a:gd name="connsiteY613" fmla="*/ 342700 h 941139"/>
                  <a:gd name="connsiteX614" fmla="*/ 533890 w 1493637"/>
                  <a:gd name="connsiteY614" fmla="*/ 342700 h 941139"/>
                  <a:gd name="connsiteX615" fmla="*/ 533890 w 1493637"/>
                  <a:gd name="connsiteY615" fmla="*/ 341588 h 941139"/>
                  <a:gd name="connsiteX616" fmla="*/ 535425 w 1493637"/>
                  <a:gd name="connsiteY616" fmla="*/ 341588 h 941139"/>
                  <a:gd name="connsiteX617" fmla="*/ 536959 w 1493637"/>
                  <a:gd name="connsiteY617" fmla="*/ 341588 h 941139"/>
                  <a:gd name="connsiteX618" fmla="*/ 536959 w 1493637"/>
                  <a:gd name="connsiteY618" fmla="*/ 340443 h 941139"/>
                  <a:gd name="connsiteX619" fmla="*/ 538494 w 1493637"/>
                  <a:gd name="connsiteY619" fmla="*/ 340443 h 941139"/>
                  <a:gd name="connsiteX620" fmla="*/ 538494 w 1493637"/>
                  <a:gd name="connsiteY620" fmla="*/ 339286 h 941139"/>
                  <a:gd name="connsiteX621" fmla="*/ 540028 w 1493637"/>
                  <a:gd name="connsiteY621" fmla="*/ 339286 h 941139"/>
                  <a:gd name="connsiteX622" fmla="*/ 540028 w 1493637"/>
                  <a:gd name="connsiteY622" fmla="*/ 338174 h 941139"/>
                  <a:gd name="connsiteX623" fmla="*/ 541563 w 1493637"/>
                  <a:gd name="connsiteY623" fmla="*/ 338174 h 941139"/>
                  <a:gd name="connsiteX624" fmla="*/ 541563 w 1493637"/>
                  <a:gd name="connsiteY624" fmla="*/ 335872 h 941139"/>
                  <a:gd name="connsiteX625" fmla="*/ 543087 w 1493637"/>
                  <a:gd name="connsiteY625" fmla="*/ 335872 h 941139"/>
                  <a:gd name="connsiteX626" fmla="*/ 544621 w 1493637"/>
                  <a:gd name="connsiteY626" fmla="*/ 335872 h 941139"/>
                  <a:gd name="connsiteX627" fmla="*/ 544621 w 1493637"/>
                  <a:gd name="connsiteY627" fmla="*/ 333580 h 941139"/>
                  <a:gd name="connsiteX628" fmla="*/ 546122 w 1493637"/>
                  <a:gd name="connsiteY628" fmla="*/ 333580 h 941139"/>
                  <a:gd name="connsiteX629" fmla="*/ 547657 w 1493637"/>
                  <a:gd name="connsiteY629" fmla="*/ 333580 h 941139"/>
                  <a:gd name="connsiteX630" fmla="*/ 547657 w 1493637"/>
                  <a:gd name="connsiteY630" fmla="*/ 331278 h 941139"/>
                  <a:gd name="connsiteX631" fmla="*/ 549191 w 1493637"/>
                  <a:gd name="connsiteY631" fmla="*/ 331278 h 941139"/>
                  <a:gd name="connsiteX632" fmla="*/ 552250 w 1493637"/>
                  <a:gd name="connsiteY632" fmla="*/ 331278 h 941139"/>
                  <a:gd name="connsiteX633" fmla="*/ 552250 w 1493637"/>
                  <a:gd name="connsiteY633" fmla="*/ 328943 h 941139"/>
                  <a:gd name="connsiteX634" fmla="*/ 553784 w 1493637"/>
                  <a:gd name="connsiteY634" fmla="*/ 328943 h 941139"/>
                  <a:gd name="connsiteX635" fmla="*/ 555319 w 1493637"/>
                  <a:gd name="connsiteY635" fmla="*/ 328943 h 941139"/>
                  <a:gd name="connsiteX636" fmla="*/ 555319 w 1493637"/>
                  <a:gd name="connsiteY636" fmla="*/ 327797 h 941139"/>
                  <a:gd name="connsiteX637" fmla="*/ 556853 w 1493637"/>
                  <a:gd name="connsiteY637" fmla="*/ 327797 h 941139"/>
                  <a:gd name="connsiteX638" fmla="*/ 556853 w 1493637"/>
                  <a:gd name="connsiteY638" fmla="*/ 325428 h 941139"/>
                  <a:gd name="connsiteX639" fmla="*/ 558377 w 1493637"/>
                  <a:gd name="connsiteY639" fmla="*/ 325428 h 941139"/>
                  <a:gd name="connsiteX640" fmla="*/ 558377 w 1493637"/>
                  <a:gd name="connsiteY640" fmla="*/ 323048 h 941139"/>
                  <a:gd name="connsiteX641" fmla="*/ 559922 w 1493637"/>
                  <a:gd name="connsiteY641" fmla="*/ 323048 h 941139"/>
                  <a:gd name="connsiteX642" fmla="*/ 562947 w 1493637"/>
                  <a:gd name="connsiteY642" fmla="*/ 323048 h 941139"/>
                  <a:gd name="connsiteX643" fmla="*/ 562947 w 1493637"/>
                  <a:gd name="connsiteY643" fmla="*/ 320679 h 941139"/>
                  <a:gd name="connsiteX644" fmla="*/ 564482 w 1493637"/>
                  <a:gd name="connsiteY644" fmla="*/ 320679 h 941139"/>
                  <a:gd name="connsiteX645" fmla="*/ 566005 w 1493637"/>
                  <a:gd name="connsiteY645" fmla="*/ 320679 h 941139"/>
                  <a:gd name="connsiteX646" fmla="*/ 566005 w 1493637"/>
                  <a:gd name="connsiteY646" fmla="*/ 319500 h 941139"/>
                  <a:gd name="connsiteX647" fmla="*/ 567551 w 1493637"/>
                  <a:gd name="connsiteY647" fmla="*/ 319500 h 941139"/>
                  <a:gd name="connsiteX648" fmla="*/ 567551 w 1493637"/>
                  <a:gd name="connsiteY648" fmla="*/ 318310 h 941139"/>
                  <a:gd name="connsiteX649" fmla="*/ 569074 w 1493637"/>
                  <a:gd name="connsiteY649" fmla="*/ 318310 h 941139"/>
                  <a:gd name="connsiteX650" fmla="*/ 570609 w 1493637"/>
                  <a:gd name="connsiteY650" fmla="*/ 318310 h 941139"/>
                  <a:gd name="connsiteX651" fmla="*/ 573678 w 1493637"/>
                  <a:gd name="connsiteY651" fmla="*/ 318310 h 941139"/>
                  <a:gd name="connsiteX652" fmla="*/ 573678 w 1493637"/>
                  <a:gd name="connsiteY652" fmla="*/ 317098 h 941139"/>
                  <a:gd name="connsiteX653" fmla="*/ 575213 w 1493637"/>
                  <a:gd name="connsiteY653" fmla="*/ 317098 h 941139"/>
                  <a:gd name="connsiteX654" fmla="*/ 575213 w 1493637"/>
                  <a:gd name="connsiteY654" fmla="*/ 315874 h 941139"/>
                  <a:gd name="connsiteX655" fmla="*/ 576736 w 1493637"/>
                  <a:gd name="connsiteY655" fmla="*/ 315874 h 941139"/>
                  <a:gd name="connsiteX656" fmla="*/ 576736 w 1493637"/>
                  <a:gd name="connsiteY656" fmla="*/ 314695 h 941139"/>
                  <a:gd name="connsiteX657" fmla="*/ 578271 w 1493637"/>
                  <a:gd name="connsiteY657" fmla="*/ 314695 h 941139"/>
                  <a:gd name="connsiteX658" fmla="*/ 578271 w 1493637"/>
                  <a:gd name="connsiteY658" fmla="*/ 313472 h 941139"/>
                  <a:gd name="connsiteX659" fmla="*/ 579805 w 1493637"/>
                  <a:gd name="connsiteY659" fmla="*/ 313472 h 941139"/>
                  <a:gd name="connsiteX660" fmla="*/ 579805 w 1493637"/>
                  <a:gd name="connsiteY660" fmla="*/ 312260 h 941139"/>
                  <a:gd name="connsiteX661" fmla="*/ 581307 w 1493637"/>
                  <a:gd name="connsiteY661" fmla="*/ 312260 h 941139"/>
                  <a:gd name="connsiteX662" fmla="*/ 582841 w 1493637"/>
                  <a:gd name="connsiteY662" fmla="*/ 312260 h 941139"/>
                  <a:gd name="connsiteX663" fmla="*/ 582841 w 1493637"/>
                  <a:gd name="connsiteY663" fmla="*/ 309813 h 941139"/>
                  <a:gd name="connsiteX664" fmla="*/ 585899 w 1493637"/>
                  <a:gd name="connsiteY664" fmla="*/ 309813 h 941139"/>
                  <a:gd name="connsiteX665" fmla="*/ 585899 w 1493637"/>
                  <a:gd name="connsiteY665" fmla="*/ 307377 h 941139"/>
                  <a:gd name="connsiteX666" fmla="*/ 587434 w 1493637"/>
                  <a:gd name="connsiteY666" fmla="*/ 307377 h 941139"/>
                  <a:gd name="connsiteX667" fmla="*/ 588968 w 1493637"/>
                  <a:gd name="connsiteY667" fmla="*/ 307377 h 941139"/>
                  <a:gd name="connsiteX668" fmla="*/ 590503 w 1493637"/>
                  <a:gd name="connsiteY668" fmla="*/ 307377 h 941139"/>
                  <a:gd name="connsiteX669" fmla="*/ 592037 w 1493637"/>
                  <a:gd name="connsiteY669" fmla="*/ 307377 h 941139"/>
                  <a:gd name="connsiteX670" fmla="*/ 592037 w 1493637"/>
                  <a:gd name="connsiteY670" fmla="*/ 302428 h 941139"/>
                  <a:gd name="connsiteX671" fmla="*/ 595107 w 1493637"/>
                  <a:gd name="connsiteY671" fmla="*/ 302428 h 941139"/>
                  <a:gd name="connsiteX672" fmla="*/ 595107 w 1493637"/>
                  <a:gd name="connsiteY672" fmla="*/ 301171 h 941139"/>
                  <a:gd name="connsiteX673" fmla="*/ 596630 w 1493637"/>
                  <a:gd name="connsiteY673" fmla="*/ 301171 h 941139"/>
                  <a:gd name="connsiteX674" fmla="*/ 596630 w 1493637"/>
                  <a:gd name="connsiteY674" fmla="*/ 299914 h 941139"/>
                  <a:gd name="connsiteX675" fmla="*/ 598131 w 1493637"/>
                  <a:gd name="connsiteY675" fmla="*/ 299914 h 941139"/>
                  <a:gd name="connsiteX676" fmla="*/ 598131 w 1493637"/>
                  <a:gd name="connsiteY676" fmla="*/ 298658 h 941139"/>
                  <a:gd name="connsiteX677" fmla="*/ 599666 w 1493637"/>
                  <a:gd name="connsiteY677" fmla="*/ 298658 h 941139"/>
                  <a:gd name="connsiteX678" fmla="*/ 601189 w 1493637"/>
                  <a:gd name="connsiteY678" fmla="*/ 298658 h 941139"/>
                  <a:gd name="connsiteX679" fmla="*/ 602735 w 1493637"/>
                  <a:gd name="connsiteY679" fmla="*/ 298658 h 941139"/>
                  <a:gd name="connsiteX680" fmla="*/ 604258 w 1493637"/>
                  <a:gd name="connsiteY680" fmla="*/ 298658 h 941139"/>
                  <a:gd name="connsiteX681" fmla="*/ 604258 w 1493637"/>
                  <a:gd name="connsiteY681" fmla="*/ 297412 h 941139"/>
                  <a:gd name="connsiteX682" fmla="*/ 607328 w 1493637"/>
                  <a:gd name="connsiteY682" fmla="*/ 297412 h 941139"/>
                  <a:gd name="connsiteX683" fmla="*/ 607328 w 1493637"/>
                  <a:gd name="connsiteY683" fmla="*/ 294865 h 941139"/>
                  <a:gd name="connsiteX684" fmla="*/ 608862 w 1493637"/>
                  <a:gd name="connsiteY684" fmla="*/ 294865 h 941139"/>
                  <a:gd name="connsiteX685" fmla="*/ 610397 w 1493637"/>
                  <a:gd name="connsiteY685" fmla="*/ 294865 h 941139"/>
                  <a:gd name="connsiteX686" fmla="*/ 610397 w 1493637"/>
                  <a:gd name="connsiteY686" fmla="*/ 292329 h 941139"/>
                  <a:gd name="connsiteX687" fmla="*/ 611920 w 1493637"/>
                  <a:gd name="connsiteY687" fmla="*/ 292329 h 941139"/>
                  <a:gd name="connsiteX688" fmla="*/ 613466 w 1493637"/>
                  <a:gd name="connsiteY688" fmla="*/ 292329 h 941139"/>
                  <a:gd name="connsiteX689" fmla="*/ 616491 w 1493637"/>
                  <a:gd name="connsiteY689" fmla="*/ 292329 h 941139"/>
                  <a:gd name="connsiteX690" fmla="*/ 616491 w 1493637"/>
                  <a:gd name="connsiteY690" fmla="*/ 291028 h 941139"/>
                  <a:gd name="connsiteX691" fmla="*/ 618025 w 1493637"/>
                  <a:gd name="connsiteY691" fmla="*/ 291028 h 941139"/>
                  <a:gd name="connsiteX692" fmla="*/ 618025 w 1493637"/>
                  <a:gd name="connsiteY692" fmla="*/ 288459 h 941139"/>
                  <a:gd name="connsiteX693" fmla="*/ 619549 w 1493637"/>
                  <a:gd name="connsiteY693" fmla="*/ 288459 h 941139"/>
                  <a:gd name="connsiteX694" fmla="*/ 619549 w 1493637"/>
                  <a:gd name="connsiteY694" fmla="*/ 287135 h 941139"/>
                  <a:gd name="connsiteX695" fmla="*/ 621094 w 1493637"/>
                  <a:gd name="connsiteY695" fmla="*/ 287135 h 941139"/>
                  <a:gd name="connsiteX696" fmla="*/ 621094 w 1493637"/>
                  <a:gd name="connsiteY696" fmla="*/ 283231 h 941139"/>
                  <a:gd name="connsiteX697" fmla="*/ 622618 w 1493637"/>
                  <a:gd name="connsiteY697" fmla="*/ 283231 h 941139"/>
                  <a:gd name="connsiteX698" fmla="*/ 622618 w 1493637"/>
                  <a:gd name="connsiteY698" fmla="*/ 281941 h 941139"/>
                  <a:gd name="connsiteX699" fmla="*/ 624152 w 1493637"/>
                  <a:gd name="connsiteY699" fmla="*/ 281941 h 941139"/>
                  <a:gd name="connsiteX700" fmla="*/ 624152 w 1493637"/>
                  <a:gd name="connsiteY700" fmla="*/ 278004 h 941139"/>
                  <a:gd name="connsiteX701" fmla="*/ 627222 w 1493637"/>
                  <a:gd name="connsiteY701" fmla="*/ 278004 h 941139"/>
                  <a:gd name="connsiteX702" fmla="*/ 627222 w 1493637"/>
                  <a:gd name="connsiteY702" fmla="*/ 275357 h 941139"/>
                  <a:gd name="connsiteX703" fmla="*/ 628756 w 1493637"/>
                  <a:gd name="connsiteY703" fmla="*/ 275357 h 941139"/>
                  <a:gd name="connsiteX704" fmla="*/ 628756 w 1493637"/>
                  <a:gd name="connsiteY704" fmla="*/ 272710 h 941139"/>
                  <a:gd name="connsiteX705" fmla="*/ 630280 w 1493637"/>
                  <a:gd name="connsiteY705" fmla="*/ 272710 h 941139"/>
                  <a:gd name="connsiteX706" fmla="*/ 631814 w 1493637"/>
                  <a:gd name="connsiteY706" fmla="*/ 272710 h 941139"/>
                  <a:gd name="connsiteX707" fmla="*/ 633316 w 1493637"/>
                  <a:gd name="connsiteY707" fmla="*/ 272710 h 941139"/>
                  <a:gd name="connsiteX708" fmla="*/ 633316 w 1493637"/>
                  <a:gd name="connsiteY708" fmla="*/ 271387 h 941139"/>
                  <a:gd name="connsiteX709" fmla="*/ 634850 w 1493637"/>
                  <a:gd name="connsiteY709" fmla="*/ 271387 h 941139"/>
                  <a:gd name="connsiteX710" fmla="*/ 634850 w 1493637"/>
                  <a:gd name="connsiteY710" fmla="*/ 268728 h 941139"/>
                  <a:gd name="connsiteX711" fmla="*/ 636385 w 1493637"/>
                  <a:gd name="connsiteY711" fmla="*/ 268728 h 941139"/>
                  <a:gd name="connsiteX712" fmla="*/ 636385 w 1493637"/>
                  <a:gd name="connsiteY712" fmla="*/ 266048 h 941139"/>
                  <a:gd name="connsiteX713" fmla="*/ 637908 w 1493637"/>
                  <a:gd name="connsiteY713" fmla="*/ 266048 h 941139"/>
                  <a:gd name="connsiteX714" fmla="*/ 637908 w 1493637"/>
                  <a:gd name="connsiteY714" fmla="*/ 264736 h 941139"/>
                  <a:gd name="connsiteX715" fmla="*/ 639443 w 1493637"/>
                  <a:gd name="connsiteY715" fmla="*/ 264736 h 941139"/>
                  <a:gd name="connsiteX716" fmla="*/ 639443 w 1493637"/>
                  <a:gd name="connsiteY716" fmla="*/ 263368 h 941139"/>
                  <a:gd name="connsiteX717" fmla="*/ 640977 w 1493637"/>
                  <a:gd name="connsiteY717" fmla="*/ 263368 h 941139"/>
                  <a:gd name="connsiteX718" fmla="*/ 642512 w 1493637"/>
                  <a:gd name="connsiteY718" fmla="*/ 263368 h 941139"/>
                  <a:gd name="connsiteX719" fmla="*/ 644046 w 1493637"/>
                  <a:gd name="connsiteY719" fmla="*/ 263368 h 941139"/>
                  <a:gd name="connsiteX720" fmla="*/ 644046 w 1493637"/>
                  <a:gd name="connsiteY720" fmla="*/ 260687 h 941139"/>
                  <a:gd name="connsiteX721" fmla="*/ 645581 w 1493637"/>
                  <a:gd name="connsiteY721" fmla="*/ 260687 h 941139"/>
                  <a:gd name="connsiteX722" fmla="*/ 647105 w 1493637"/>
                  <a:gd name="connsiteY722" fmla="*/ 260687 h 941139"/>
                  <a:gd name="connsiteX723" fmla="*/ 647105 w 1493637"/>
                  <a:gd name="connsiteY723" fmla="*/ 259330 h 941139"/>
                  <a:gd name="connsiteX724" fmla="*/ 648639 w 1493637"/>
                  <a:gd name="connsiteY724" fmla="*/ 259330 h 941139"/>
                  <a:gd name="connsiteX725" fmla="*/ 648639 w 1493637"/>
                  <a:gd name="connsiteY725" fmla="*/ 257973 h 941139"/>
                  <a:gd name="connsiteX726" fmla="*/ 651675 w 1493637"/>
                  <a:gd name="connsiteY726" fmla="*/ 257973 h 941139"/>
                  <a:gd name="connsiteX727" fmla="*/ 653210 w 1493637"/>
                  <a:gd name="connsiteY727" fmla="*/ 257973 h 941139"/>
                  <a:gd name="connsiteX728" fmla="*/ 654733 w 1493637"/>
                  <a:gd name="connsiteY728" fmla="*/ 257973 h 941139"/>
                  <a:gd name="connsiteX729" fmla="*/ 654733 w 1493637"/>
                  <a:gd name="connsiteY729" fmla="*/ 256617 h 941139"/>
                  <a:gd name="connsiteX730" fmla="*/ 656267 w 1493637"/>
                  <a:gd name="connsiteY730" fmla="*/ 256617 h 941139"/>
                  <a:gd name="connsiteX731" fmla="*/ 662406 w 1493637"/>
                  <a:gd name="connsiteY731" fmla="*/ 256617 h 941139"/>
                  <a:gd name="connsiteX732" fmla="*/ 663940 w 1493637"/>
                  <a:gd name="connsiteY732" fmla="*/ 256617 h 941139"/>
                  <a:gd name="connsiteX733" fmla="*/ 665464 w 1493637"/>
                  <a:gd name="connsiteY733" fmla="*/ 256617 h 941139"/>
                  <a:gd name="connsiteX734" fmla="*/ 666999 w 1493637"/>
                  <a:gd name="connsiteY734" fmla="*/ 256617 h 941139"/>
                  <a:gd name="connsiteX735" fmla="*/ 666999 w 1493637"/>
                  <a:gd name="connsiteY735" fmla="*/ 255215 h 941139"/>
                  <a:gd name="connsiteX736" fmla="*/ 668533 w 1493637"/>
                  <a:gd name="connsiteY736" fmla="*/ 255215 h 941139"/>
                  <a:gd name="connsiteX737" fmla="*/ 670034 w 1493637"/>
                  <a:gd name="connsiteY737" fmla="*/ 255215 h 941139"/>
                  <a:gd name="connsiteX738" fmla="*/ 670034 w 1493637"/>
                  <a:gd name="connsiteY738" fmla="*/ 253825 h 941139"/>
                  <a:gd name="connsiteX739" fmla="*/ 671569 w 1493637"/>
                  <a:gd name="connsiteY739" fmla="*/ 253825 h 941139"/>
                  <a:gd name="connsiteX740" fmla="*/ 671569 w 1493637"/>
                  <a:gd name="connsiteY740" fmla="*/ 252435 h 941139"/>
                  <a:gd name="connsiteX741" fmla="*/ 673092 w 1493637"/>
                  <a:gd name="connsiteY741" fmla="*/ 252435 h 941139"/>
                  <a:gd name="connsiteX742" fmla="*/ 674627 w 1493637"/>
                  <a:gd name="connsiteY742" fmla="*/ 252435 h 941139"/>
                  <a:gd name="connsiteX743" fmla="*/ 674627 w 1493637"/>
                  <a:gd name="connsiteY743" fmla="*/ 251033 h 941139"/>
                  <a:gd name="connsiteX744" fmla="*/ 676161 w 1493637"/>
                  <a:gd name="connsiteY744" fmla="*/ 251033 h 941139"/>
                  <a:gd name="connsiteX745" fmla="*/ 677696 w 1493637"/>
                  <a:gd name="connsiteY745" fmla="*/ 251033 h 941139"/>
                  <a:gd name="connsiteX746" fmla="*/ 677696 w 1493637"/>
                  <a:gd name="connsiteY746" fmla="*/ 248208 h 941139"/>
                  <a:gd name="connsiteX747" fmla="*/ 682289 w 1493637"/>
                  <a:gd name="connsiteY747" fmla="*/ 248208 h 941139"/>
                  <a:gd name="connsiteX748" fmla="*/ 683823 w 1493637"/>
                  <a:gd name="connsiteY748" fmla="*/ 248208 h 941139"/>
                  <a:gd name="connsiteX749" fmla="*/ 685358 w 1493637"/>
                  <a:gd name="connsiteY749" fmla="*/ 248208 h 941139"/>
                  <a:gd name="connsiteX750" fmla="*/ 686859 w 1493637"/>
                  <a:gd name="connsiteY750" fmla="*/ 248208 h 941139"/>
                  <a:gd name="connsiteX751" fmla="*/ 686859 w 1493637"/>
                  <a:gd name="connsiteY751" fmla="*/ 245395 h 941139"/>
                  <a:gd name="connsiteX752" fmla="*/ 688394 w 1493637"/>
                  <a:gd name="connsiteY752" fmla="*/ 245395 h 941139"/>
                  <a:gd name="connsiteX753" fmla="*/ 688394 w 1493637"/>
                  <a:gd name="connsiteY753" fmla="*/ 243960 h 941139"/>
                  <a:gd name="connsiteX754" fmla="*/ 689917 w 1493637"/>
                  <a:gd name="connsiteY754" fmla="*/ 243960 h 941139"/>
                  <a:gd name="connsiteX755" fmla="*/ 689917 w 1493637"/>
                  <a:gd name="connsiteY755" fmla="*/ 241113 h 941139"/>
                  <a:gd name="connsiteX756" fmla="*/ 691452 w 1493637"/>
                  <a:gd name="connsiteY756" fmla="*/ 241113 h 941139"/>
                  <a:gd name="connsiteX757" fmla="*/ 692986 w 1493637"/>
                  <a:gd name="connsiteY757" fmla="*/ 241113 h 941139"/>
                  <a:gd name="connsiteX758" fmla="*/ 694521 w 1493637"/>
                  <a:gd name="connsiteY758" fmla="*/ 241113 h 941139"/>
                  <a:gd name="connsiteX759" fmla="*/ 696055 w 1493637"/>
                  <a:gd name="connsiteY759" fmla="*/ 241113 h 941139"/>
                  <a:gd name="connsiteX760" fmla="*/ 697579 w 1493637"/>
                  <a:gd name="connsiteY760" fmla="*/ 241113 h 941139"/>
                  <a:gd name="connsiteX761" fmla="*/ 699125 w 1493637"/>
                  <a:gd name="connsiteY761" fmla="*/ 241113 h 941139"/>
                  <a:gd name="connsiteX762" fmla="*/ 699125 w 1493637"/>
                  <a:gd name="connsiteY762" fmla="*/ 239678 h 941139"/>
                  <a:gd name="connsiteX763" fmla="*/ 703717 w 1493637"/>
                  <a:gd name="connsiteY763" fmla="*/ 239678 h 941139"/>
                  <a:gd name="connsiteX764" fmla="*/ 703717 w 1493637"/>
                  <a:gd name="connsiteY764" fmla="*/ 238254 h 941139"/>
                  <a:gd name="connsiteX765" fmla="*/ 705219 w 1493637"/>
                  <a:gd name="connsiteY765" fmla="*/ 238254 h 941139"/>
                  <a:gd name="connsiteX766" fmla="*/ 706753 w 1493637"/>
                  <a:gd name="connsiteY766" fmla="*/ 238254 h 941139"/>
                  <a:gd name="connsiteX767" fmla="*/ 708277 w 1493637"/>
                  <a:gd name="connsiteY767" fmla="*/ 238254 h 941139"/>
                  <a:gd name="connsiteX768" fmla="*/ 709811 w 1493637"/>
                  <a:gd name="connsiteY768" fmla="*/ 238254 h 941139"/>
                  <a:gd name="connsiteX769" fmla="*/ 712880 w 1493637"/>
                  <a:gd name="connsiteY769" fmla="*/ 238254 h 941139"/>
                  <a:gd name="connsiteX770" fmla="*/ 714415 w 1493637"/>
                  <a:gd name="connsiteY770" fmla="*/ 238254 h 941139"/>
                  <a:gd name="connsiteX771" fmla="*/ 715949 w 1493637"/>
                  <a:gd name="connsiteY771" fmla="*/ 238254 h 941139"/>
                  <a:gd name="connsiteX772" fmla="*/ 717484 w 1493637"/>
                  <a:gd name="connsiteY772" fmla="*/ 238254 h 941139"/>
                  <a:gd name="connsiteX773" fmla="*/ 719007 w 1493637"/>
                  <a:gd name="connsiteY773" fmla="*/ 238254 h 941139"/>
                  <a:gd name="connsiteX774" fmla="*/ 720542 w 1493637"/>
                  <a:gd name="connsiteY774" fmla="*/ 238254 h 941139"/>
                  <a:gd name="connsiteX775" fmla="*/ 725113 w 1493637"/>
                  <a:gd name="connsiteY775" fmla="*/ 238254 h 941139"/>
                  <a:gd name="connsiteX776" fmla="*/ 725113 w 1493637"/>
                  <a:gd name="connsiteY776" fmla="*/ 236753 h 941139"/>
                  <a:gd name="connsiteX777" fmla="*/ 726636 w 1493637"/>
                  <a:gd name="connsiteY777" fmla="*/ 236753 h 941139"/>
                  <a:gd name="connsiteX778" fmla="*/ 726636 w 1493637"/>
                  <a:gd name="connsiteY778" fmla="*/ 235251 h 941139"/>
                  <a:gd name="connsiteX779" fmla="*/ 728170 w 1493637"/>
                  <a:gd name="connsiteY779" fmla="*/ 235251 h 941139"/>
                  <a:gd name="connsiteX780" fmla="*/ 728170 w 1493637"/>
                  <a:gd name="connsiteY780" fmla="*/ 233750 h 941139"/>
                  <a:gd name="connsiteX781" fmla="*/ 729705 w 1493637"/>
                  <a:gd name="connsiteY781" fmla="*/ 233750 h 941139"/>
                  <a:gd name="connsiteX782" fmla="*/ 729705 w 1493637"/>
                  <a:gd name="connsiteY782" fmla="*/ 232260 h 941139"/>
                  <a:gd name="connsiteX783" fmla="*/ 731240 w 1493637"/>
                  <a:gd name="connsiteY783" fmla="*/ 232260 h 941139"/>
                  <a:gd name="connsiteX784" fmla="*/ 731240 w 1493637"/>
                  <a:gd name="connsiteY784" fmla="*/ 230758 h 941139"/>
                  <a:gd name="connsiteX785" fmla="*/ 732774 w 1493637"/>
                  <a:gd name="connsiteY785" fmla="*/ 230758 h 941139"/>
                  <a:gd name="connsiteX786" fmla="*/ 735832 w 1493637"/>
                  <a:gd name="connsiteY786" fmla="*/ 230758 h 941139"/>
                  <a:gd name="connsiteX787" fmla="*/ 737367 w 1493637"/>
                  <a:gd name="connsiteY787" fmla="*/ 230758 h 941139"/>
                  <a:gd name="connsiteX788" fmla="*/ 738901 w 1493637"/>
                  <a:gd name="connsiteY788" fmla="*/ 230758 h 941139"/>
                  <a:gd name="connsiteX789" fmla="*/ 740403 w 1493637"/>
                  <a:gd name="connsiteY789" fmla="*/ 230758 h 941139"/>
                  <a:gd name="connsiteX790" fmla="*/ 741937 w 1493637"/>
                  <a:gd name="connsiteY790" fmla="*/ 230758 h 941139"/>
                  <a:gd name="connsiteX791" fmla="*/ 744995 w 1493637"/>
                  <a:gd name="connsiteY791" fmla="*/ 230758 h 941139"/>
                  <a:gd name="connsiteX792" fmla="*/ 744995 w 1493637"/>
                  <a:gd name="connsiteY792" fmla="*/ 229190 h 941139"/>
                  <a:gd name="connsiteX793" fmla="*/ 746530 w 1493637"/>
                  <a:gd name="connsiteY793" fmla="*/ 229190 h 941139"/>
                  <a:gd name="connsiteX794" fmla="*/ 746530 w 1493637"/>
                  <a:gd name="connsiteY794" fmla="*/ 226120 h 941139"/>
                  <a:gd name="connsiteX795" fmla="*/ 748064 w 1493637"/>
                  <a:gd name="connsiteY795" fmla="*/ 226120 h 941139"/>
                  <a:gd name="connsiteX796" fmla="*/ 749599 w 1493637"/>
                  <a:gd name="connsiteY796" fmla="*/ 226120 h 941139"/>
                  <a:gd name="connsiteX797" fmla="*/ 749599 w 1493637"/>
                  <a:gd name="connsiteY797" fmla="*/ 224552 h 941139"/>
                  <a:gd name="connsiteX798" fmla="*/ 751122 w 1493637"/>
                  <a:gd name="connsiteY798" fmla="*/ 224552 h 941139"/>
                  <a:gd name="connsiteX799" fmla="*/ 752668 w 1493637"/>
                  <a:gd name="connsiteY799" fmla="*/ 224552 h 941139"/>
                  <a:gd name="connsiteX800" fmla="*/ 752668 w 1493637"/>
                  <a:gd name="connsiteY800" fmla="*/ 222995 h 941139"/>
                  <a:gd name="connsiteX801" fmla="*/ 754192 w 1493637"/>
                  <a:gd name="connsiteY801" fmla="*/ 222995 h 941139"/>
                  <a:gd name="connsiteX802" fmla="*/ 757228 w 1493637"/>
                  <a:gd name="connsiteY802" fmla="*/ 222995 h 941139"/>
                  <a:gd name="connsiteX803" fmla="*/ 758751 w 1493637"/>
                  <a:gd name="connsiteY803" fmla="*/ 222995 h 941139"/>
                  <a:gd name="connsiteX804" fmla="*/ 760297 w 1493637"/>
                  <a:gd name="connsiteY804" fmla="*/ 222995 h 941139"/>
                  <a:gd name="connsiteX805" fmla="*/ 761820 w 1493637"/>
                  <a:gd name="connsiteY805" fmla="*/ 222995 h 941139"/>
                  <a:gd name="connsiteX806" fmla="*/ 761820 w 1493637"/>
                  <a:gd name="connsiteY806" fmla="*/ 221427 h 941139"/>
                  <a:gd name="connsiteX807" fmla="*/ 763355 w 1493637"/>
                  <a:gd name="connsiteY807" fmla="*/ 221427 h 941139"/>
                  <a:gd name="connsiteX808" fmla="*/ 763355 w 1493637"/>
                  <a:gd name="connsiteY808" fmla="*/ 219825 h 941139"/>
                  <a:gd name="connsiteX809" fmla="*/ 766424 w 1493637"/>
                  <a:gd name="connsiteY809" fmla="*/ 219825 h 941139"/>
                  <a:gd name="connsiteX810" fmla="*/ 766424 w 1493637"/>
                  <a:gd name="connsiteY810" fmla="*/ 218246 h 941139"/>
                  <a:gd name="connsiteX811" fmla="*/ 767958 w 1493637"/>
                  <a:gd name="connsiteY811" fmla="*/ 218246 h 941139"/>
                  <a:gd name="connsiteX812" fmla="*/ 767958 w 1493637"/>
                  <a:gd name="connsiteY812" fmla="*/ 216644 h 941139"/>
                  <a:gd name="connsiteX813" fmla="*/ 769493 w 1493637"/>
                  <a:gd name="connsiteY813" fmla="*/ 216644 h 941139"/>
                  <a:gd name="connsiteX814" fmla="*/ 769493 w 1493637"/>
                  <a:gd name="connsiteY814" fmla="*/ 211906 h 941139"/>
                  <a:gd name="connsiteX815" fmla="*/ 771016 w 1493637"/>
                  <a:gd name="connsiteY815" fmla="*/ 211906 h 941139"/>
                  <a:gd name="connsiteX816" fmla="*/ 771016 w 1493637"/>
                  <a:gd name="connsiteY816" fmla="*/ 210305 h 941139"/>
                  <a:gd name="connsiteX817" fmla="*/ 772551 w 1493637"/>
                  <a:gd name="connsiteY817" fmla="*/ 210305 h 941139"/>
                  <a:gd name="connsiteX818" fmla="*/ 774086 w 1493637"/>
                  <a:gd name="connsiteY818" fmla="*/ 210305 h 941139"/>
                  <a:gd name="connsiteX819" fmla="*/ 778645 w 1493637"/>
                  <a:gd name="connsiteY819" fmla="*/ 210305 h 941139"/>
                  <a:gd name="connsiteX820" fmla="*/ 778645 w 1493637"/>
                  <a:gd name="connsiteY820" fmla="*/ 208703 h 941139"/>
                  <a:gd name="connsiteX821" fmla="*/ 780180 w 1493637"/>
                  <a:gd name="connsiteY821" fmla="*/ 208703 h 941139"/>
                  <a:gd name="connsiteX822" fmla="*/ 781714 w 1493637"/>
                  <a:gd name="connsiteY822" fmla="*/ 208703 h 941139"/>
                  <a:gd name="connsiteX823" fmla="*/ 784783 w 1493637"/>
                  <a:gd name="connsiteY823" fmla="*/ 208703 h 941139"/>
                  <a:gd name="connsiteX824" fmla="*/ 784783 w 1493637"/>
                  <a:gd name="connsiteY824" fmla="*/ 205467 h 941139"/>
                  <a:gd name="connsiteX825" fmla="*/ 786307 w 1493637"/>
                  <a:gd name="connsiteY825" fmla="*/ 205467 h 941139"/>
                  <a:gd name="connsiteX826" fmla="*/ 786307 w 1493637"/>
                  <a:gd name="connsiteY826" fmla="*/ 202219 h 941139"/>
                  <a:gd name="connsiteX827" fmla="*/ 789376 w 1493637"/>
                  <a:gd name="connsiteY827" fmla="*/ 202219 h 941139"/>
                  <a:gd name="connsiteX828" fmla="*/ 789376 w 1493637"/>
                  <a:gd name="connsiteY828" fmla="*/ 200618 h 941139"/>
                  <a:gd name="connsiteX829" fmla="*/ 790910 w 1493637"/>
                  <a:gd name="connsiteY829" fmla="*/ 200618 h 941139"/>
                  <a:gd name="connsiteX830" fmla="*/ 792445 w 1493637"/>
                  <a:gd name="connsiteY830" fmla="*/ 200618 h 941139"/>
                  <a:gd name="connsiteX831" fmla="*/ 793935 w 1493637"/>
                  <a:gd name="connsiteY831" fmla="*/ 200618 h 941139"/>
                  <a:gd name="connsiteX832" fmla="*/ 795481 w 1493637"/>
                  <a:gd name="connsiteY832" fmla="*/ 200618 h 941139"/>
                  <a:gd name="connsiteX833" fmla="*/ 797004 w 1493637"/>
                  <a:gd name="connsiteY833" fmla="*/ 200618 h 941139"/>
                  <a:gd name="connsiteX834" fmla="*/ 797004 w 1493637"/>
                  <a:gd name="connsiteY834" fmla="*/ 198983 h 941139"/>
                  <a:gd name="connsiteX835" fmla="*/ 800074 w 1493637"/>
                  <a:gd name="connsiteY835" fmla="*/ 198983 h 941139"/>
                  <a:gd name="connsiteX836" fmla="*/ 801608 w 1493637"/>
                  <a:gd name="connsiteY836" fmla="*/ 198983 h 941139"/>
                  <a:gd name="connsiteX837" fmla="*/ 803143 w 1493637"/>
                  <a:gd name="connsiteY837" fmla="*/ 198983 h 941139"/>
                  <a:gd name="connsiteX838" fmla="*/ 803143 w 1493637"/>
                  <a:gd name="connsiteY838" fmla="*/ 197314 h 941139"/>
                  <a:gd name="connsiteX839" fmla="*/ 804666 w 1493637"/>
                  <a:gd name="connsiteY839" fmla="*/ 197314 h 941139"/>
                  <a:gd name="connsiteX840" fmla="*/ 804666 w 1493637"/>
                  <a:gd name="connsiteY840" fmla="*/ 194000 h 941139"/>
                  <a:gd name="connsiteX841" fmla="*/ 806212 w 1493637"/>
                  <a:gd name="connsiteY841" fmla="*/ 194000 h 941139"/>
                  <a:gd name="connsiteX842" fmla="*/ 806212 w 1493637"/>
                  <a:gd name="connsiteY842" fmla="*/ 192332 h 941139"/>
                  <a:gd name="connsiteX843" fmla="*/ 810771 w 1493637"/>
                  <a:gd name="connsiteY843" fmla="*/ 192332 h 941139"/>
                  <a:gd name="connsiteX844" fmla="*/ 810771 w 1493637"/>
                  <a:gd name="connsiteY844" fmla="*/ 188984 h 941139"/>
                  <a:gd name="connsiteX845" fmla="*/ 812295 w 1493637"/>
                  <a:gd name="connsiteY845" fmla="*/ 188984 h 941139"/>
                  <a:gd name="connsiteX846" fmla="*/ 812295 w 1493637"/>
                  <a:gd name="connsiteY846" fmla="*/ 187316 h 941139"/>
                  <a:gd name="connsiteX847" fmla="*/ 813840 w 1493637"/>
                  <a:gd name="connsiteY847" fmla="*/ 187316 h 941139"/>
                  <a:gd name="connsiteX848" fmla="*/ 815364 w 1493637"/>
                  <a:gd name="connsiteY848" fmla="*/ 187316 h 941139"/>
                  <a:gd name="connsiteX849" fmla="*/ 816898 w 1493637"/>
                  <a:gd name="connsiteY849" fmla="*/ 187316 h 941139"/>
                  <a:gd name="connsiteX850" fmla="*/ 816898 w 1493637"/>
                  <a:gd name="connsiteY850" fmla="*/ 185603 h 941139"/>
                  <a:gd name="connsiteX851" fmla="*/ 818433 w 1493637"/>
                  <a:gd name="connsiteY851" fmla="*/ 185603 h 941139"/>
                  <a:gd name="connsiteX852" fmla="*/ 818433 w 1493637"/>
                  <a:gd name="connsiteY852" fmla="*/ 182222 h 941139"/>
                  <a:gd name="connsiteX853" fmla="*/ 823025 w 1493637"/>
                  <a:gd name="connsiteY853" fmla="*/ 182222 h 941139"/>
                  <a:gd name="connsiteX854" fmla="*/ 824560 w 1493637"/>
                  <a:gd name="connsiteY854" fmla="*/ 182222 h 941139"/>
                  <a:gd name="connsiteX855" fmla="*/ 826095 w 1493637"/>
                  <a:gd name="connsiteY855" fmla="*/ 182222 h 941139"/>
                  <a:gd name="connsiteX856" fmla="*/ 826095 w 1493637"/>
                  <a:gd name="connsiteY856" fmla="*/ 178808 h 941139"/>
                  <a:gd name="connsiteX857" fmla="*/ 827629 w 1493637"/>
                  <a:gd name="connsiteY857" fmla="*/ 178808 h 941139"/>
                  <a:gd name="connsiteX858" fmla="*/ 829130 w 1493637"/>
                  <a:gd name="connsiteY858" fmla="*/ 178808 h 941139"/>
                  <a:gd name="connsiteX859" fmla="*/ 829130 w 1493637"/>
                  <a:gd name="connsiteY859" fmla="*/ 177106 h 941139"/>
                  <a:gd name="connsiteX860" fmla="*/ 830654 w 1493637"/>
                  <a:gd name="connsiteY860" fmla="*/ 177106 h 941139"/>
                  <a:gd name="connsiteX861" fmla="*/ 830654 w 1493637"/>
                  <a:gd name="connsiteY861" fmla="*/ 175393 h 941139"/>
                  <a:gd name="connsiteX862" fmla="*/ 832189 w 1493637"/>
                  <a:gd name="connsiteY862" fmla="*/ 175393 h 941139"/>
                  <a:gd name="connsiteX863" fmla="*/ 833723 w 1493637"/>
                  <a:gd name="connsiteY863" fmla="*/ 175393 h 941139"/>
                  <a:gd name="connsiteX864" fmla="*/ 833723 w 1493637"/>
                  <a:gd name="connsiteY864" fmla="*/ 173658 h 941139"/>
                  <a:gd name="connsiteX865" fmla="*/ 835258 w 1493637"/>
                  <a:gd name="connsiteY865" fmla="*/ 173658 h 941139"/>
                  <a:gd name="connsiteX866" fmla="*/ 835258 w 1493637"/>
                  <a:gd name="connsiteY866" fmla="*/ 171945 h 941139"/>
                  <a:gd name="connsiteX867" fmla="*/ 836792 w 1493637"/>
                  <a:gd name="connsiteY867" fmla="*/ 171945 h 941139"/>
                  <a:gd name="connsiteX868" fmla="*/ 838327 w 1493637"/>
                  <a:gd name="connsiteY868" fmla="*/ 171945 h 941139"/>
                  <a:gd name="connsiteX869" fmla="*/ 839850 w 1493637"/>
                  <a:gd name="connsiteY869" fmla="*/ 171945 h 941139"/>
                  <a:gd name="connsiteX870" fmla="*/ 839850 w 1493637"/>
                  <a:gd name="connsiteY870" fmla="*/ 170166 h 941139"/>
                  <a:gd name="connsiteX871" fmla="*/ 842919 w 1493637"/>
                  <a:gd name="connsiteY871" fmla="*/ 170166 h 941139"/>
                  <a:gd name="connsiteX872" fmla="*/ 844454 w 1493637"/>
                  <a:gd name="connsiteY872" fmla="*/ 170166 h 941139"/>
                  <a:gd name="connsiteX873" fmla="*/ 845955 w 1493637"/>
                  <a:gd name="connsiteY873" fmla="*/ 170166 h 941139"/>
                  <a:gd name="connsiteX874" fmla="*/ 845955 w 1493637"/>
                  <a:gd name="connsiteY874" fmla="*/ 166651 h 941139"/>
                  <a:gd name="connsiteX875" fmla="*/ 847479 w 1493637"/>
                  <a:gd name="connsiteY875" fmla="*/ 166651 h 941139"/>
                  <a:gd name="connsiteX876" fmla="*/ 849024 w 1493637"/>
                  <a:gd name="connsiteY876" fmla="*/ 166651 h 941139"/>
                  <a:gd name="connsiteX877" fmla="*/ 849024 w 1493637"/>
                  <a:gd name="connsiteY877" fmla="*/ 164872 h 941139"/>
                  <a:gd name="connsiteX878" fmla="*/ 850548 w 1493637"/>
                  <a:gd name="connsiteY878" fmla="*/ 164872 h 941139"/>
                  <a:gd name="connsiteX879" fmla="*/ 850548 w 1493637"/>
                  <a:gd name="connsiteY879" fmla="*/ 163092 h 941139"/>
                  <a:gd name="connsiteX880" fmla="*/ 852083 w 1493637"/>
                  <a:gd name="connsiteY880" fmla="*/ 163092 h 941139"/>
                  <a:gd name="connsiteX881" fmla="*/ 852083 w 1493637"/>
                  <a:gd name="connsiteY881" fmla="*/ 161324 h 941139"/>
                  <a:gd name="connsiteX882" fmla="*/ 853617 w 1493637"/>
                  <a:gd name="connsiteY882" fmla="*/ 161324 h 941139"/>
                  <a:gd name="connsiteX883" fmla="*/ 855152 w 1493637"/>
                  <a:gd name="connsiteY883" fmla="*/ 161324 h 941139"/>
                  <a:gd name="connsiteX884" fmla="*/ 856686 w 1493637"/>
                  <a:gd name="connsiteY884" fmla="*/ 161324 h 941139"/>
                  <a:gd name="connsiteX885" fmla="*/ 856686 w 1493637"/>
                  <a:gd name="connsiteY885" fmla="*/ 159544 h 941139"/>
                  <a:gd name="connsiteX886" fmla="*/ 858210 w 1493637"/>
                  <a:gd name="connsiteY886" fmla="*/ 159544 h 941139"/>
                  <a:gd name="connsiteX887" fmla="*/ 858210 w 1493637"/>
                  <a:gd name="connsiteY887" fmla="*/ 157731 h 941139"/>
                  <a:gd name="connsiteX888" fmla="*/ 859744 w 1493637"/>
                  <a:gd name="connsiteY888" fmla="*/ 157731 h 941139"/>
                  <a:gd name="connsiteX889" fmla="*/ 859744 w 1493637"/>
                  <a:gd name="connsiteY889" fmla="*/ 155919 h 941139"/>
                  <a:gd name="connsiteX890" fmla="*/ 865838 w 1493637"/>
                  <a:gd name="connsiteY890" fmla="*/ 155919 h 941139"/>
                  <a:gd name="connsiteX891" fmla="*/ 867373 w 1493637"/>
                  <a:gd name="connsiteY891" fmla="*/ 155919 h 941139"/>
                  <a:gd name="connsiteX892" fmla="*/ 868907 w 1493637"/>
                  <a:gd name="connsiteY892" fmla="*/ 155919 h 941139"/>
                  <a:gd name="connsiteX893" fmla="*/ 870442 w 1493637"/>
                  <a:gd name="connsiteY893" fmla="*/ 155919 h 941139"/>
                  <a:gd name="connsiteX894" fmla="*/ 873511 w 1493637"/>
                  <a:gd name="connsiteY894" fmla="*/ 155919 h 941139"/>
                  <a:gd name="connsiteX895" fmla="*/ 873511 w 1493637"/>
                  <a:gd name="connsiteY895" fmla="*/ 154072 h 941139"/>
                  <a:gd name="connsiteX896" fmla="*/ 875034 w 1493637"/>
                  <a:gd name="connsiteY896" fmla="*/ 154072 h 941139"/>
                  <a:gd name="connsiteX897" fmla="*/ 876569 w 1493637"/>
                  <a:gd name="connsiteY897" fmla="*/ 154072 h 941139"/>
                  <a:gd name="connsiteX898" fmla="*/ 876569 w 1493637"/>
                  <a:gd name="connsiteY898" fmla="*/ 152226 h 941139"/>
                  <a:gd name="connsiteX899" fmla="*/ 878104 w 1493637"/>
                  <a:gd name="connsiteY899" fmla="*/ 152226 h 941139"/>
                  <a:gd name="connsiteX900" fmla="*/ 879638 w 1493637"/>
                  <a:gd name="connsiteY900" fmla="*/ 152226 h 941139"/>
                  <a:gd name="connsiteX901" fmla="*/ 879638 w 1493637"/>
                  <a:gd name="connsiteY901" fmla="*/ 150380 h 941139"/>
                  <a:gd name="connsiteX902" fmla="*/ 881139 w 1493637"/>
                  <a:gd name="connsiteY902" fmla="*/ 150380 h 941139"/>
                  <a:gd name="connsiteX903" fmla="*/ 887267 w 1493637"/>
                  <a:gd name="connsiteY903" fmla="*/ 150380 h 941139"/>
                  <a:gd name="connsiteX904" fmla="*/ 888801 w 1493637"/>
                  <a:gd name="connsiteY904" fmla="*/ 150380 h 941139"/>
                  <a:gd name="connsiteX905" fmla="*/ 890336 w 1493637"/>
                  <a:gd name="connsiteY905" fmla="*/ 150380 h 941139"/>
                  <a:gd name="connsiteX906" fmla="*/ 891870 w 1493637"/>
                  <a:gd name="connsiteY906" fmla="*/ 150380 h 941139"/>
                  <a:gd name="connsiteX907" fmla="*/ 891870 w 1493637"/>
                  <a:gd name="connsiteY907" fmla="*/ 148467 h 941139"/>
                  <a:gd name="connsiteX908" fmla="*/ 896463 w 1493637"/>
                  <a:gd name="connsiteY908" fmla="*/ 148467 h 941139"/>
                  <a:gd name="connsiteX909" fmla="*/ 896463 w 1493637"/>
                  <a:gd name="connsiteY909" fmla="*/ 146543 h 941139"/>
                  <a:gd name="connsiteX910" fmla="*/ 897998 w 1493637"/>
                  <a:gd name="connsiteY910" fmla="*/ 146543 h 941139"/>
                  <a:gd name="connsiteX911" fmla="*/ 899499 w 1493637"/>
                  <a:gd name="connsiteY911" fmla="*/ 146543 h 941139"/>
                  <a:gd name="connsiteX912" fmla="*/ 901022 w 1493637"/>
                  <a:gd name="connsiteY912" fmla="*/ 146543 h 941139"/>
                  <a:gd name="connsiteX913" fmla="*/ 902557 w 1493637"/>
                  <a:gd name="connsiteY913" fmla="*/ 146543 h 941139"/>
                  <a:gd name="connsiteX914" fmla="*/ 902557 w 1493637"/>
                  <a:gd name="connsiteY914" fmla="*/ 144563 h 941139"/>
                  <a:gd name="connsiteX915" fmla="*/ 904092 w 1493637"/>
                  <a:gd name="connsiteY915" fmla="*/ 144563 h 941139"/>
                  <a:gd name="connsiteX916" fmla="*/ 904092 w 1493637"/>
                  <a:gd name="connsiteY916" fmla="*/ 142606 h 941139"/>
                  <a:gd name="connsiteX917" fmla="*/ 907161 w 1493637"/>
                  <a:gd name="connsiteY917" fmla="*/ 142606 h 941139"/>
                  <a:gd name="connsiteX918" fmla="*/ 911753 w 1493637"/>
                  <a:gd name="connsiteY918" fmla="*/ 142606 h 941139"/>
                  <a:gd name="connsiteX919" fmla="*/ 913288 w 1493637"/>
                  <a:gd name="connsiteY919" fmla="*/ 142606 h 941139"/>
                  <a:gd name="connsiteX920" fmla="*/ 916357 w 1493637"/>
                  <a:gd name="connsiteY920" fmla="*/ 142606 h 941139"/>
                  <a:gd name="connsiteX921" fmla="*/ 916357 w 1493637"/>
                  <a:gd name="connsiteY921" fmla="*/ 140593 h 941139"/>
                  <a:gd name="connsiteX922" fmla="*/ 919382 w 1493637"/>
                  <a:gd name="connsiteY922" fmla="*/ 140593 h 941139"/>
                  <a:gd name="connsiteX923" fmla="*/ 920916 w 1493637"/>
                  <a:gd name="connsiteY923" fmla="*/ 140593 h 941139"/>
                  <a:gd name="connsiteX924" fmla="*/ 923985 w 1493637"/>
                  <a:gd name="connsiteY924" fmla="*/ 140593 h 941139"/>
                  <a:gd name="connsiteX925" fmla="*/ 925520 w 1493637"/>
                  <a:gd name="connsiteY925" fmla="*/ 140593 h 941139"/>
                  <a:gd name="connsiteX926" fmla="*/ 925520 w 1493637"/>
                  <a:gd name="connsiteY926" fmla="*/ 138568 h 941139"/>
                  <a:gd name="connsiteX927" fmla="*/ 928578 w 1493637"/>
                  <a:gd name="connsiteY927" fmla="*/ 138568 h 941139"/>
                  <a:gd name="connsiteX928" fmla="*/ 930113 w 1493637"/>
                  <a:gd name="connsiteY928" fmla="*/ 138568 h 941139"/>
                  <a:gd name="connsiteX929" fmla="*/ 931647 w 1493637"/>
                  <a:gd name="connsiteY929" fmla="*/ 138568 h 941139"/>
                  <a:gd name="connsiteX930" fmla="*/ 931647 w 1493637"/>
                  <a:gd name="connsiteY930" fmla="*/ 136511 h 941139"/>
                  <a:gd name="connsiteX931" fmla="*/ 933182 w 1493637"/>
                  <a:gd name="connsiteY931" fmla="*/ 136511 h 941139"/>
                  <a:gd name="connsiteX932" fmla="*/ 934683 w 1493637"/>
                  <a:gd name="connsiteY932" fmla="*/ 136511 h 941139"/>
                  <a:gd name="connsiteX933" fmla="*/ 934683 w 1493637"/>
                  <a:gd name="connsiteY933" fmla="*/ 134453 h 941139"/>
                  <a:gd name="connsiteX934" fmla="*/ 939276 w 1493637"/>
                  <a:gd name="connsiteY934" fmla="*/ 134453 h 941139"/>
                  <a:gd name="connsiteX935" fmla="*/ 940810 w 1493637"/>
                  <a:gd name="connsiteY935" fmla="*/ 134453 h 941139"/>
                  <a:gd name="connsiteX936" fmla="*/ 940810 w 1493637"/>
                  <a:gd name="connsiteY936" fmla="*/ 132329 h 941139"/>
                  <a:gd name="connsiteX937" fmla="*/ 942345 w 1493637"/>
                  <a:gd name="connsiteY937" fmla="*/ 132329 h 941139"/>
                  <a:gd name="connsiteX938" fmla="*/ 943879 w 1493637"/>
                  <a:gd name="connsiteY938" fmla="*/ 132329 h 941139"/>
                  <a:gd name="connsiteX939" fmla="*/ 945414 w 1493637"/>
                  <a:gd name="connsiteY939" fmla="*/ 132329 h 941139"/>
                  <a:gd name="connsiteX940" fmla="*/ 946937 w 1493637"/>
                  <a:gd name="connsiteY940" fmla="*/ 132329 h 941139"/>
                  <a:gd name="connsiteX941" fmla="*/ 946937 w 1493637"/>
                  <a:gd name="connsiteY941" fmla="*/ 130205 h 941139"/>
                  <a:gd name="connsiteX942" fmla="*/ 950007 w 1493637"/>
                  <a:gd name="connsiteY942" fmla="*/ 130205 h 941139"/>
                  <a:gd name="connsiteX943" fmla="*/ 951541 w 1493637"/>
                  <a:gd name="connsiteY943" fmla="*/ 130205 h 941139"/>
                  <a:gd name="connsiteX944" fmla="*/ 951541 w 1493637"/>
                  <a:gd name="connsiteY944" fmla="*/ 128047 h 941139"/>
                  <a:gd name="connsiteX945" fmla="*/ 953042 w 1493637"/>
                  <a:gd name="connsiteY945" fmla="*/ 128047 h 941139"/>
                  <a:gd name="connsiteX946" fmla="*/ 953042 w 1493637"/>
                  <a:gd name="connsiteY946" fmla="*/ 123765 h 941139"/>
                  <a:gd name="connsiteX947" fmla="*/ 954566 w 1493637"/>
                  <a:gd name="connsiteY947" fmla="*/ 123765 h 941139"/>
                  <a:gd name="connsiteX948" fmla="*/ 956100 w 1493637"/>
                  <a:gd name="connsiteY948" fmla="*/ 123765 h 941139"/>
                  <a:gd name="connsiteX949" fmla="*/ 959170 w 1493637"/>
                  <a:gd name="connsiteY949" fmla="*/ 123765 h 941139"/>
                  <a:gd name="connsiteX950" fmla="*/ 959170 w 1493637"/>
                  <a:gd name="connsiteY950" fmla="*/ 121563 h 941139"/>
                  <a:gd name="connsiteX951" fmla="*/ 960704 w 1493637"/>
                  <a:gd name="connsiteY951" fmla="*/ 121563 h 941139"/>
                  <a:gd name="connsiteX952" fmla="*/ 962239 w 1493637"/>
                  <a:gd name="connsiteY952" fmla="*/ 121563 h 941139"/>
                  <a:gd name="connsiteX953" fmla="*/ 963762 w 1493637"/>
                  <a:gd name="connsiteY953" fmla="*/ 121563 h 941139"/>
                  <a:gd name="connsiteX954" fmla="*/ 965297 w 1493637"/>
                  <a:gd name="connsiteY954" fmla="*/ 121563 h 941139"/>
                  <a:gd name="connsiteX955" fmla="*/ 965297 w 1493637"/>
                  <a:gd name="connsiteY955" fmla="*/ 119338 h 941139"/>
                  <a:gd name="connsiteX956" fmla="*/ 966831 w 1493637"/>
                  <a:gd name="connsiteY956" fmla="*/ 119338 h 941139"/>
                  <a:gd name="connsiteX957" fmla="*/ 972925 w 1493637"/>
                  <a:gd name="connsiteY957" fmla="*/ 119338 h 941139"/>
                  <a:gd name="connsiteX958" fmla="*/ 972925 w 1493637"/>
                  <a:gd name="connsiteY958" fmla="*/ 114879 h 941139"/>
                  <a:gd name="connsiteX959" fmla="*/ 974460 w 1493637"/>
                  <a:gd name="connsiteY959" fmla="*/ 114879 h 941139"/>
                  <a:gd name="connsiteX960" fmla="*/ 975994 w 1493637"/>
                  <a:gd name="connsiteY960" fmla="*/ 114879 h 941139"/>
                  <a:gd name="connsiteX961" fmla="*/ 975994 w 1493637"/>
                  <a:gd name="connsiteY961" fmla="*/ 112576 h 941139"/>
                  <a:gd name="connsiteX962" fmla="*/ 977529 w 1493637"/>
                  <a:gd name="connsiteY962" fmla="*/ 112576 h 941139"/>
                  <a:gd name="connsiteX963" fmla="*/ 980598 w 1493637"/>
                  <a:gd name="connsiteY963" fmla="*/ 112576 h 941139"/>
                  <a:gd name="connsiteX964" fmla="*/ 980598 w 1493637"/>
                  <a:gd name="connsiteY964" fmla="*/ 110274 h 941139"/>
                  <a:gd name="connsiteX965" fmla="*/ 982122 w 1493637"/>
                  <a:gd name="connsiteY965" fmla="*/ 110274 h 941139"/>
                  <a:gd name="connsiteX966" fmla="*/ 983656 w 1493637"/>
                  <a:gd name="connsiteY966" fmla="*/ 110274 h 941139"/>
                  <a:gd name="connsiteX967" fmla="*/ 985191 w 1493637"/>
                  <a:gd name="connsiteY967" fmla="*/ 110274 h 941139"/>
                  <a:gd name="connsiteX968" fmla="*/ 986725 w 1493637"/>
                  <a:gd name="connsiteY968" fmla="*/ 110274 h 941139"/>
                  <a:gd name="connsiteX969" fmla="*/ 988227 w 1493637"/>
                  <a:gd name="connsiteY969" fmla="*/ 110274 h 941139"/>
                  <a:gd name="connsiteX970" fmla="*/ 992819 w 1493637"/>
                  <a:gd name="connsiteY970" fmla="*/ 110274 h 941139"/>
                  <a:gd name="connsiteX971" fmla="*/ 994354 w 1493637"/>
                  <a:gd name="connsiteY971" fmla="*/ 110274 h 941139"/>
                  <a:gd name="connsiteX972" fmla="*/ 995888 w 1493637"/>
                  <a:gd name="connsiteY972" fmla="*/ 110274 h 941139"/>
                  <a:gd name="connsiteX973" fmla="*/ 997412 w 1493637"/>
                  <a:gd name="connsiteY973" fmla="*/ 110274 h 941139"/>
                  <a:gd name="connsiteX974" fmla="*/ 998958 w 1493637"/>
                  <a:gd name="connsiteY974" fmla="*/ 110274 h 941139"/>
                  <a:gd name="connsiteX975" fmla="*/ 1005040 w 1493637"/>
                  <a:gd name="connsiteY975" fmla="*/ 110274 h 941139"/>
                  <a:gd name="connsiteX976" fmla="*/ 1006586 w 1493637"/>
                  <a:gd name="connsiteY976" fmla="*/ 110274 h 941139"/>
                  <a:gd name="connsiteX977" fmla="*/ 1008109 w 1493637"/>
                  <a:gd name="connsiteY977" fmla="*/ 110274 h 941139"/>
                  <a:gd name="connsiteX978" fmla="*/ 1008109 w 1493637"/>
                  <a:gd name="connsiteY978" fmla="*/ 107905 h 941139"/>
                  <a:gd name="connsiteX979" fmla="*/ 1009644 w 1493637"/>
                  <a:gd name="connsiteY979" fmla="*/ 107905 h 941139"/>
                  <a:gd name="connsiteX980" fmla="*/ 1009644 w 1493637"/>
                  <a:gd name="connsiteY980" fmla="*/ 105503 h 941139"/>
                  <a:gd name="connsiteX981" fmla="*/ 1015782 w 1493637"/>
                  <a:gd name="connsiteY981" fmla="*/ 105503 h 941139"/>
                  <a:gd name="connsiteX982" fmla="*/ 1017306 w 1493637"/>
                  <a:gd name="connsiteY982" fmla="*/ 105503 h 941139"/>
                  <a:gd name="connsiteX983" fmla="*/ 1018840 w 1493637"/>
                  <a:gd name="connsiteY983" fmla="*/ 105503 h 941139"/>
                  <a:gd name="connsiteX984" fmla="*/ 1018840 w 1493637"/>
                  <a:gd name="connsiteY984" fmla="*/ 103100 h 941139"/>
                  <a:gd name="connsiteX985" fmla="*/ 1020375 w 1493637"/>
                  <a:gd name="connsiteY985" fmla="*/ 103100 h 941139"/>
                  <a:gd name="connsiteX986" fmla="*/ 1020375 w 1493637"/>
                  <a:gd name="connsiteY986" fmla="*/ 100665 h 941139"/>
                  <a:gd name="connsiteX987" fmla="*/ 1023411 w 1493637"/>
                  <a:gd name="connsiteY987" fmla="*/ 100665 h 941139"/>
                  <a:gd name="connsiteX988" fmla="*/ 1023411 w 1493637"/>
                  <a:gd name="connsiteY988" fmla="*/ 98185 h 941139"/>
                  <a:gd name="connsiteX989" fmla="*/ 1024934 w 1493637"/>
                  <a:gd name="connsiteY989" fmla="*/ 98185 h 941139"/>
                  <a:gd name="connsiteX990" fmla="*/ 1026469 w 1493637"/>
                  <a:gd name="connsiteY990" fmla="*/ 98185 h 941139"/>
                  <a:gd name="connsiteX991" fmla="*/ 1028003 w 1493637"/>
                  <a:gd name="connsiteY991" fmla="*/ 98185 h 941139"/>
                  <a:gd name="connsiteX992" fmla="*/ 1029538 w 1493637"/>
                  <a:gd name="connsiteY992" fmla="*/ 98185 h 941139"/>
                  <a:gd name="connsiteX993" fmla="*/ 1031073 w 1493637"/>
                  <a:gd name="connsiteY993" fmla="*/ 98185 h 941139"/>
                  <a:gd name="connsiteX994" fmla="*/ 1034142 w 1493637"/>
                  <a:gd name="connsiteY994" fmla="*/ 98185 h 941139"/>
                  <a:gd name="connsiteX995" fmla="*/ 1035665 w 1493637"/>
                  <a:gd name="connsiteY995" fmla="*/ 98185 h 941139"/>
                  <a:gd name="connsiteX996" fmla="*/ 1037200 w 1493637"/>
                  <a:gd name="connsiteY996" fmla="*/ 98185 h 941139"/>
                  <a:gd name="connsiteX997" fmla="*/ 1040269 w 1493637"/>
                  <a:gd name="connsiteY997" fmla="*/ 98185 h 941139"/>
                  <a:gd name="connsiteX998" fmla="*/ 1041770 w 1493637"/>
                  <a:gd name="connsiteY998" fmla="*/ 98185 h 941139"/>
                  <a:gd name="connsiteX999" fmla="*/ 1041770 w 1493637"/>
                  <a:gd name="connsiteY999" fmla="*/ 95615 h 941139"/>
                  <a:gd name="connsiteX1000" fmla="*/ 1046363 w 1493637"/>
                  <a:gd name="connsiteY1000" fmla="*/ 95615 h 941139"/>
                  <a:gd name="connsiteX1001" fmla="*/ 1047897 w 1493637"/>
                  <a:gd name="connsiteY1001" fmla="*/ 95615 h 941139"/>
                  <a:gd name="connsiteX1002" fmla="*/ 1047897 w 1493637"/>
                  <a:gd name="connsiteY1002" fmla="*/ 93002 h 941139"/>
                  <a:gd name="connsiteX1003" fmla="*/ 1049432 w 1493637"/>
                  <a:gd name="connsiteY1003" fmla="*/ 93002 h 941139"/>
                  <a:gd name="connsiteX1004" fmla="*/ 1050956 w 1493637"/>
                  <a:gd name="connsiteY1004" fmla="*/ 93002 h 941139"/>
                  <a:gd name="connsiteX1005" fmla="*/ 1055559 w 1493637"/>
                  <a:gd name="connsiteY1005" fmla="*/ 93002 h 941139"/>
                  <a:gd name="connsiteX1006" fmla="*/ 1057094 w 1493637"/>
                  <a:gd name="connsiteY1006" fmla="*/ 93002 h 941139"/>
                  <a:gd name="connsiteX1007" fmla="*/ 1057094 w 1493637"/>
                  <a:gd name="connsiteY1007" fmla="*/ 90344 h 941139"/>
                  <a:gd name="connsiteX1008" fmla="*/ 1058584 w 1493637"/>
                  <a:gd name="connsiteY1008" fmla="*/ 90344 h 941139"/>
                  <a:gd name="connsiteX1009" fmla="*/ 1060118 w 1493637"/>
                  <a:gd name="connsiteY1009" fmla="*/ 90344 h 941139"/>
                  <a:gd name="connsiteX1010" fmla="*/ 1061653 w 1493637"/>
                  <a:gd name="connsiteY1010" fmla="*/ 90344 h 941139"/>
                  <a:gd name="connsiteX1011" fmla="*/ 1063188 w 1493637"/>
                  <a:gd name="connsiteY1011" fmla="*/ 90344 h 941139"/>
                  <a:gd name="connsiteX1012" fmla="*/ 1064722 w 1493637"/>
                  <a:gd name="connsiteY1012" fmla="*/ 90344 h 941139"/>
                  <a:gd name="connsiteX1013" fmla="*/ 1067780 w 1493637"/>
                  <a:gd name="connsiteY1013" fmla="*/ 90344 h 941139"/>
                  <a:gd name="connsiteX1014" fmla="*/ 1069315 w 1493637"/>
                  <a:gd name="connsiteY1014" fmla="*/ 90344 h 941139"/>
                  <a:gd name="connsiteX1015" fmla="*/ 1072384 w 1493637"/>
                  <a:gd name="connsiteY1015" fmla="*/ 90344 h 941139"/>
                  <a:gd name="connsiteX1016" fmla="*/ 1073919 w 1493637"/>
                  <a:gd name="connsiteY1016" fmla="*/ 90344 h 941139"/>
                  <a:gd name="connsiteX1017" fmla="*/ 1075453 w 1493637"/>
                  <a:gd name="connsiteY1017" fmla="*/ 90344 h 941139"/>
                  <a:gd name="connsiteX1018" fmla="*/ 1075453 w 1493637"/>
                  <a:gd name="connsiteY1018" fmla="*/ 87530 h 941139"/>
                  <a:gd name="connsiteX1019" fmla="*/ 1080012 w 1493637"/>
                  <a:gd name="connsiteY1019" fmla="*/ 87530 h 941139"/>
                  <a:gd name="connsiteX1020" fmla="*/ 1081547 w 1493637"/>
                  <a:gd name="connsiteY1020" fmla="*/ 87530 h 941139"/>
                  <a:gd name="connsiteX1021" fmla="*/ 1083082 w 1493637"/>
                  <a:gd name="connsiteY1021" fmla="*/ 87530 h 941139"/>
                  <a:gd name="connsiteX1022" fmla="*/ 1089209 w 1493637"/>
                  <a:gd name="connsiteY1022" fmla="*/ 87530 h 941139"/>
                  <a:gd name="connsiteX1023" fmla="*/ 1090743 w 1493637"/>
                  <a:gd name="connsiteY1023" fmla="*/ 87530 h 941139"/>
                  <a:gd name="connsiteX1024" fmla="*/ 1092278 w 1493637"/>
                  <a:gd name="connsiteY1024" fmla="*/ 87530 h 941139"/>
                  <a:gd name="connsiteX1025" fmla="*/ 1093768 w 1493637"/>
                  <a:gd name="connsiteY1025" fmla="*/ 87530 h 941139"/>
                  <a:gd name="connsiteX1026" fmla="*/ 1093768 w 1493637"/>
                  <a:gd name="connsiteY1026" fmla="*/ 84594 h 941139"/>
                  <a:gd name="connsiteX1027" fmla="*/ 1095314 w 1493637"/>
                  <a:gd name="connsiteY1027" fmla="*/ 84594 h 941139"/>
                  <a:gd name="connsiteX1028" fmla="*/ 1096837 w 1493637"/>
                  <a:gd name="connsiteY1028" fmla="*/ 84594 h 941139"/>
                  <a:gd name="connsiteX1029" fmla="*/ 1096837 w 1493637"/>
                  <a:gd name="connsiteY1029" fmla="*/ 81635 h 941139"/>
                  <a:gd name="connsiteX1030" fmla="*/ 1098372 w 1493637"/>
                  <a:gd name="connsiteY1030" fmla="*/ 81635 h 941139"/>
                  <a:gd name="connsiteX1031" fmla="*/ 1101441 w 1493637"/>
                  <a:gd name="connsiteY1031" fmla="*/ 81635 h 941139"/>
                  <a:gd name="connsiteX1032" fmla="*/ 1101441 w 1493637"/>
                  <a:gd name="connsiteY1032" fmla="*/ 72649 h 941139"/>
                  <a:gd name="connsiteX1033" fmla="*/ 1102976 w 1493637"/>
                  <a:gd name="connsiteY1033" fmla="*/ 72649 h 941139"/>
                  <a:gd name="connsiteX1034" fmla="*/ 1104499 w 1493637"/>
                  <a:gd name="connsiteY1034" fmla="*/ 72649 h 941139"/>
                  <a:gd name="connsiteX1035" fmla="*/ 1106034 w 1493637"/>
                  <a:gd name="connsiteY1035" fmla="*/ 72649 h 941139"/>
                  <a:gd name="connsiteX1036" fmla="*/ 1109103 w 1493637"/>
                  <a:gd name="connsiteY1036" fmla="*/ 72649 h 941139"/>
                  <a:gd name="connsiteX1037" fmla="*/ 1110626 w 1493637"/>
                  <a:gd name="connsiteY1037" fmla="*/ 72649 h 941139"/>
                  <a:gd name="connsiteX1038" fmla="*/ 1112127 w 1493637"/>
                  <a:gd name="connsiteY1038" fmla="*/ 72649 h 941139"/>
                  <a:gd name="connsiteX1039" fmla="*/ 1113662 w 1493637"/>
                  <a:gd name="connsiteY1039" fmla="*/ 72649 h 941139"/>
                  <a:gd name="connsiteX1040" fmla="*/ 1113662 w 1493637"/>
                  <a:gd name="connsiteY1040" fmla="*/ 69512 h 941139"/>
                  <a:gd name="connsiteX1041" fmla="*/ 1115197 w 1493637"/>
                  <a:gd name="connsiteY1041" fmla="*/ 69512 h 941139"/>
                  <a:gd name="connsiteX1042" fmla="*/ 1116731 w 1493637"/>
                  <a:gd name="connsiteY1042" fmla="*/ 69512 h 941139"/>
                  <a:gd name="connsiteX1043" fmla="*/ 1121324 w 1493637"/>
                  <a:gd name="connsiteY1043" fmla="*/ 69512 h 941139"/>
                  <a:gd name="connsiteX1044" fmla="*/ 1121324 w 1493637"/>
                  <a:gd name="connsiteY1044" fmla="*/ 66309 h 941139"/>
                  <a:gd name="connsiteX1045" fmla="*/ 1122858 w 1493637"/>
                  <a:gd name="connsiteY1045" fmla="*/ 66309 h 941139"/>
                  <a:gd name="connsiteX1046" fmla="*/ 1124393 w 1493637"/>
                  <a:gd name="connsiteY1046" fmla="*/ 66309 h 941139"/>
                  <a:gd name="connsiteX1047" fmla="*/ 1125928 w 1493637"/>
                  <a:gd name="connsiteY1047" fmla="*/ 66309 h 941139"/>
                  <a:gd name="connsiteX1048" fmla="*/ 1127462 w 1493637"/>
                  <a:gd name="connsiteY1048" fmla="*/ 66309 h 941139"/>
                  <a:gd name="connsiteX1049" fmla="*/ 1133556 w 1493637"/>
                  <a:gd name="connsiteY1049" fmla="*/ 66309 h 941139"/>
                  <a:gd name="connsiteX1050" fmla="*/ 1135091 w 1493637"/>
                  <a:gd name="connsiteY1050" fmla="*/ 66309 h 941139"/>
                  <a:gd name="connsiteX1051" fmla="*/ 1136625 w 1493637"/>
                  <a:gd name="connsiteY1051" fmla="*/ 66309 h 941139"/>
                  <a:gd name="connsiteX1052" fmla="*/ 1138160 w 1493637"/>
                  <a:gd name="connsiteY1052" fmla="*/ 66309 h 941139"/>
                  <a:gd name="connsiteX1053" fmla="*/ 1138160 w 1493637"/>
                  <a:gd name="connsiteY1053" fmla="*/ 62895 h 941139"/>
                  <a:gd name="connsiteX1054" fmla="*/ 1142752 w 1493637"/>
                  <a:gd name="connsiteY1054" fmla="*/ 62895 h 941139"/>
                  <a:gd name="connsiteX1055" fmla="*/ 1144287 w 1493637"/>
                  <a:gd name="connsiteY1055" fmla="*/ 62895 h 941139"/>
                  <a:gd name="connsiteX1056" fmla="*/ 1145822 w 1493637"/>
                  <a:gd name="connsiteY1056" fmla="*/ 62895 h 941139"/>
                  <a:gd name="connsiteX1057" fmla="*/ 1145822 w 1493637"/>
                  <a:gd name="connsiteY1057" fmla="*/ 59413 h 941139"/>
                  <a:gd name="connsiteX1058" fmla="*/ 1147312 w 1493637"/>
                  <a:gd name="connsiteY1058" fmla="*/ 59413 h 941139"/>
                  <a:gd name="connsiteX1059" fmla="*/ 1148857 w 1493637"/>
                  <a:gd name="connsiteY1059" fmla="*/ 59413 h 941139"/>
                  <a:gd name="connsiteX1060" fmla="*/ 1150381 w 1493637"/>
                  <a:gd name="connsiteY1060" fmla="*/ 59413 h 941139"/>
                  <a:gd name="connsiteX1061" fmla="*/ 1153450 w 1493637"/>
                  <a:gd name="connsiteY1061" fmla="*/ 59413 h 941139"/>
                  <a:gd name="connsiteX1062" fmla="*/ 1153450 w 1493637"/>
                  <a:gd name="connsiteY1062" fmla="*/ 55821 h 941139"/>
                  <a:gd name="connsiteX1063" fmla="*/ 1154985 w 1493637"/>
                  <a:gd name="connsiteY1063" fmla="*/ 55821 h 941139"/>
                  <a:gd name="connsiteX1064" fmla="*/ 1156508 w 1493637"/>
                  <a:gd name="connsiteY1064" fmla="*/ 55821 h 941139"/>
                  <a:gd name="connsiteX1065" fmla="*/ 1158043 w 1493637"/>
                  <a:gd name="connsiteY1065" fmla="*/ 55821 h 941139"/>
                  <a:gd name="connsiteX1066" fmla="*/ 1159577 w 1493637"/>
                  <a:gd name="connsiteY1066" fmla="*/ 55821 h 941139"/>
                  <a:gd name="connsiteX1067" fmla="*/ 1164170 w 1493637"/>
                  <a:gd name="connsiteY1067" fmla="*/ 55821 h 941139"/>
                  <a:gd name="connsiteX1068" fmla="*/ 1165671 w 1493637"/>
                  <a:gd name="connsiteY1068" fmla="*/ 55821 h 941139"/>
                  <a:gd name="connsiteX1069" fmla="*/ 1167206 w 1493637"/>
                  <a:gd name="connsiteY1069" fmla="*/ 55821 h 941139"/>
                  <a:gd name="connsiteX1070" fmla="*/ 1168740 w 1493637"/>
                  <a:gd name="connsiteY1070" fmla="*/ 55821 h 941139"/>
                  <a:gd name="connsiteX1071" fmla="*/ 1170275 w 1493637"/>
                  <a:gd name="connsiteY1071" fmla="*/ 55821 h 941139"/>
                  <a:gd name="connsiteX1072" fmla="*/ 1176402 w 1493637"/>
                  <a:gd name="connsiteY1072" fmla="*/ 55821 h 941139"/>
                  <a:gd name="connsiteX1073" fmla="*/ 1177937 w 1493637"/>
                  <a:gd name="connsiteY1073" fmla="*/ 55821 h 941139"/>
                  <a:gd name="connsiteX1074" fmla="*/ 1179471 w 1493637"/>
                  <a:gd name="connsiteY1074" fmla="*/ 55821 h 941139"/>
                  <a:gd name="connsiteX1075" fmla="*/ 1181006 w 1493637"/>
                  <a:gd name="connsiteY1075" fmla="*/ 55821 h 941139"/>
                  <a:gd name="connsiteX1076" fmla="*/ 1184030 w 1493637"/>
                  <a:gd name="connsiteY1076" fmla="*/ 55821 h 941139"/>
                  <a:gd name="connsiteX1077" fmla="*/ 1184030 w 1493637"/>
                  <a:gd name="connsiteY1077" fmla="*/ 51784 h 941139"/>
                  <a:gd name="connsiteX1078" fmla="*/ 1187100 w 1493637"/>
                  <a:gd name="connsiteY1078" fmla="*/ 51784 h 941139"/>
                  <a:gd name="connsiteX1079" fmla="*/ 1188634 w 1493637"/>
                  <a:gd name="connsiteY1079" fmla="*/ 51784 h 941139"/>
                  <a:gd name="connsiteX1080" fmla="*/ 1190169 w 1493637"/>
                  <a:gd name="connsiteY1080" fmla="*/ 51784 h 941139"/>
                  <a:gd name="connsiteX1081" fmla="*/ 1191703 w 1493637"/>
                  <a:gd name="connsiteY1081" fmla="*/ 51784 h 941139"/>
                  <a:gd name="connsiteX1082" fmla="*/ 1196296 w 1493637"/>
                  <a:gd name="connsiteY1082" fmla="*/ 51784 h 941139"/>
                  <a:gd name="connsiteX1083" fmla="*/ 1197831 w 1493637"/>
                  <a:gd name="connsiteY1083" fmla="*/ 51784 h 941139"/>
                  <a:gd name="connsiteX1084" fmla="*/ 1199354 w 1493637"/>
                  <a:gd name="connsiteY1084" fmla="*/ 51784 h 941139"/>
                  <a:gd name="connsiteX1085" fmla="*/ 1200855 w 1493637"/>
                  <a:gd name="connsiteY1085" fmla="*/ 51784 h 941139"/>
                  <a:gd name="connsiteX1086" fmla="*/ 1200855 w 1493637"/>
                  <a:gd name="connsiteY1086" fmla="*/ 47357 h 941139"/>
                  <a:gd name="connsiteX1087" fmla="*/ 1202390 w 1493637"/>
                  <a:gd name="connsiteY1087" fmla="*/ 47357 h 941139"/>
                  <a:gd name="connsiteX1088" fmla="*/ 1206994 w 1493637"/>
                  <a:gd name="connsiteY1088" fmla="*/ 47357 h 941139"/>
                  <a:gd name="connsiteX1089" fmla="*/ 1208528 w 1493637"/>
                  <a:gd name="connsiteY1089" fmla="*/ 47357 h 941139"/>
                  <a:gd name="connsiteX1090" fmla="*/ 1210052 w 1493637"/>
                  <a:gd name="connsiteY1090" fmla="*/ 47357 h 941139"/>
                  <a:gd name="connsiteX1091" fmla="*/ 1211586 w 1493637"/>
                  <a:gd name="connsiteY1091" fmla="*/ 47357 h 941139"/>
                  <a:gd name="connsiteX1092" fmla="*/ 1217680 w 1493637"/>
                  <a:gd name="connsiteY1092" fmla="*/ 47357 h 941139"/>
                  <a:gd name="connsiteX1093" fmla="*/ 1219215 w 1493637"/>
                  <a:gd name="connsiteY1093" fmla="*/ 47357 h 941139"/>
                  <a:gd name="connsiteX1094" fmla="*/ 1220749 w 1493637"/>
                  <a:gd name="connsiteY1094" fmla="*/ 47357 h 941139"/>
                  <a:gd name="connsiteX1095" fmla="*/ 1222284 w 1493637"/>
                  <a:gd name="connsiteY1095" fmla="*/ 47357 h 941139"/>
                  <a:gd name="connsiteX1096" fmla="*/ 1223818 w 1493637"/>
                  <a:gd name="connsiteY1096" fmla="*/ 47357 h 941139"/>
                  <a:gd name="connsiteX1097" fmla="*/ 1225342 w 1493637"/>
                  <a:gd name="connsiteY1097" fmla="*/ 47357 h 941139"/>
                  <a:gd name="connsiteX1098" fmla="*/ 1225342 w 1493637"/>
                  <a:gd name="connsiteY1098" fmla="*/ 42508 h 941139"/>
                  <a:gd name="connsiteX1099" fmla="*/ 1228411 w 1493637"/>
                  <a:gd name="connsiteY1099" fmla="*/ 42508 h 941139"/>
                  <a:gd name="connsiteX1100" fmla="*/ 1231480 w 1493637"/>
                  <a:gd name="connsiteY1100" fmla="*/ 42508 h 941139"/>
                  <a:gd name="connsiteX1101" fmla="*/ 1233015 w 1493637"/>
                  <a:gd name="connsiteY1101" fmla="*/ 42508 h 941139"/>
                  <a:gd name="connsiteX1102" fmla="*/ 1234549 w 1493637"/>
                  <a:gd name="connsiteY1102" fmla="*/ 42508 h 941139"/>
                  <a:gd name="connsiteX1103" fmla="*/ 1239109 w 1493637"/>
                  <a:gd name="connsiteY1103" fmla="*/ 42508 h 941139"/>
                  <a:gd name="connsiteX1104" fmla="*/ 1242178 w 1493637"/>
                  <a:gd name="connsiteY1104" fmla="*/ 42508 h 941139"/>
                  <a:gd name="connsiteX1105" fmla="*/ 1243701 w 1493637"/>
                  <a:gd name="connsiteY1105" fmla="*/ 42508 h 941139"/>
                  <a:gd name="connsiteX1106" fmla="*/ 1243701 w 1493637"/>
                  <a:gd name="connsiteY1106" fmla="*/ 37214 h 941139"/>
                  <a:gd name="connsiteX1107" fmla="*/ 1245236 w 1493637"/>
                  <a:gd name="connsiteY1107" fmla="*/ 37214 h 941139"/>
                  <a:gd name="connsiteX1108" fmla="*/ 1249840 w 1493637"/>
                  <a:gd name="connsiteY1108" fmla="*/ 37214 h 941139"/>
                  <a:gd name="connsiteX1109" fmla="*/ 1251374 w 1493637"/>
                  <a:gd name="connsiteY1109" fmla="*/ 37214 h 941139"/>
                  <a:gd name="connsiteX1110" fmla="*/ 1252875 w 1493637"/>
                  <a:gd name="connsiteY1110" fmla="*/ 37214 h 941139"/>
                  <a:gd name="connsiteX1111" fmla="*/ 1255933 w 1493637"/>
                  <a:gd name="connsiteY1111" fmla="*/ 37214 h 941139"/>
                  <a:gd name="connsiteX1112" fmla="*/ 1260526 w 1493637"/>
                  <a:gd name="connsiteY1112" fmla="*/ 37214 h 941139"/>
                  <a:gd name="connsiteX1113" fmla="*/ 1260526 w 1493637"/>
                  <a:gd name="connsiteY1113" fmla="*/ 31364 h 941139"/>
                  <a:gd name="connsiteX1114" fmla="*/ 1262072 w 1493637"/>
                  <a:gd name="connsiteY1114" fmla="*/ 31364 h 941139"/>
                  <a:gd name="connsiteX1115" fmla="*/ 1263595 w 1493637"/>
                  <a:gd name="connsiteY1115" fmla="*/ 31364 h 941139"/>
                  <a:gd name="connsiteX1116" fmla="*/ 1263595 w 1493637"/>
                  <a:gd name="connsiteY1116" fmla="*/ 25302 h 941139"/>
                  <a:gd name="connsiteX1117" fmla="*/ 1265130 w 1493637"/>
                  <a:gd name="connsiteY1117" fmla="*/ 25302 h 941139"/>
                  <a:gd name="connsiteX1118" fmla="*/ 1266664 w 1493637"/>
                  <a:gd name="connsiteY1118" fmla="*/ 25302 h 941139"/>
                  <a:gd name="connsiteX1119" fmla="*/ 1271224 w 1493637"/>
                  <a:gd name="connsiteY1119" fmla="*/ 25302 h 941139"/>
                  <a:gd name="connsiteX1120" fmla="*/ 1272758 w 1493637"/>
                  <a:gd name="connsiteY1120" fmla="*/ 25302 h 941139"/>
                  <a:gd name="connsiteX1121" fmla="*/ 1274293 w 1493637"/>
                  <a:gd name="connsiteY1121" fmla="*/ 25302 h 941139"/>
                  <a:gd name="connsiteX1122" fmla="*/ 1274293 w 1493637"/>
                  <a:gd name="connsiteY1122" fmla="*/ 18640 h 941139"/>
                  <a:gd name="connsiteX1123" fmla="*/ 1275827 w 1493637"/>
                  <a:gd name="connsiteY1123" fmla="*/ 18640 h 941139"/>
                  <a:gd name="connsiteX1124" fmla="*/ 1277362 w 1493637"/>
                  <a:gd name="connsiteY1124" fmla="*/ 18640 h 941139"/>
                  <a:gd name="connsiteX1125" fmla="*/ 1283489 w 1493637"/>
                  <a:gd name="connsiteY1125" fmla="*/ 18640 h 941139"/>
                  <a:gd name="connsiteX1126" fmla="*/ 1285024 w 1493637"/>
                  <a:gd name="connsiteY1126" fmla="*/ 18640 h 941139"/>
                  <a:gd name="connsiteX1127" fmla="*/ 1286558 w 1493637"/>
                  <a:gd name="connsiteY1127" fmla="*/ 18640 h 941139"/>
                  <a:gd name="connsiteX1128" fmla="*/ 1288082 w 1493637"/>
                  <a:gd name="connsiteY1128" fmla="*/ 18640 h 941139"/>
                  <a:gd name="connsiteX1129" fmla="*/ 1292652 w 1493637"/>
                  <a:gd name="connsiteY1129" fmla="*/ 18640 h 941139"/>
                  <a:gd name="connsiteX1130" fmla="*/ 1294187 w 1493637"/>
                  <a:gd name="connsiteY1130" fmla="*/ 18640 h 941139"/>
                  <a:gd name="connsiteX1131" fmla="*/ 1295721 w 1493637"/>
                  <a:gd name="connsiteY1131" fmla="*/ 18640 h 941139"/>
                  <a:gd name="connsiteX1132" fmla="*/ 1297245 w 1493637"/>
                  <a:gd name="connsiteY1132" fmla="*/ 18640 h 941139"/>
                  <a:gd name="connsiteX1133" fmla="*/ 1298779 w 1493637"/>
                  <a:gd name="connsiteY1133" fmla="*/ 18640 h 941139"/>
                  <a:gd name="connsiteX1134" fmla="*/ 1303383 w 1493637"/>
                  <a:gd name="connsiteY1134" fmla="*/ 18640 h 941139"/>
                  <a:gd name="connsiteX1135" fmla="*/ 1304918 w 1493637"/>
                  <a:gd name="connsiteY1135" fmla="*/ 18640 h 941139"/>
                  <a:gd name="connsiteX1136" fmla="*/ 1306408 w 1493637"/>
                  <a:gd name="connsiteY1136" fmla="*/ 18640 h 941139"/>
                  <a:gd name="connsiteX1137" fmla="*/ 1307942 w 1493637"/>
                  <a:gd name="connsiteY1137" fmla="*/ 18640 h 941139"/>
                  <a:gd name="connsiteX1138" fmla="*/ 1309477 w 1493637"/>
                  <a:gd name="connsiteY1138" fmla="*/ 18640 h 941139"/>
                  <a:gd name="connsiteX1139" fmla="*/ 1315615 w 1493637"/>
                  <a:gd name="connsiteY1139" fmla="*/ 18640 h 941139"/>
                  <a:gd name="connsiteX1140" fmla="*/ 1317139 w 1493637"/>
                  <a:gd name="connsiteY1140" fmla="*/ 18640 h 941139"/>
                  <a:gd name="connsiteX1141" fmla="*/ 1318673 w 1493637"/>
                  <a:gd name="connsiteY1141" fmla="*/ 18640 h 941139"/>
                  <a:gd name="connsiteX1142" fmla="*/ 1320208 w 1493637"/>
                  <a:gd name="connsiteY1142" fmla="*/ 18640 h 941139"/>
                  <a:gd name="connsiteX1143" fmla="*/ 1324767 w 1493637"/>
                  <a:gd name="connsiteY1143" fmla="*/ 18640 h 941139"/>
                  <a:gd name="connsiteX1144" fmla="*/ 1326302 w 1493637"/>
                  <a:gd name="connsiteY1144" fmla="*/ 18640 h 941139"/>
                  <a:gd name="connsiteX1145" fmla="*/ 1327836 w 1493637"/>
                  <a:gd name="connsiteY1145" fmla="*/ 18640 h 941139"/>
                  <a:gd name="connsiteX1146" fmla="*/ 1329371 w 1493637"/>
                  <a:gd name="connsiteY1146" fmla="*/ 18640 h 941139"/>
                  <a:gd name="connsiteX1147" fmla="*/ 1330906 w 1493637"/>
                  <a:gd name="connsiteY1147" fmla="*/ 18640 h 941139"/>
                  <a:gd name="connsiteX1148" fmla="*/ 1335498 w 1493637"/>
                  <a:gd name="connsiteY1148" fmla="*/ 18640 h 941139"/>
                  <a:gd name="connsiteX1149" fmla="*/ 1337033 w 1493637"/>
                  <a:gd name="connsiteY1149" fmla="*/ 18640 h 941139"/>
                  <a:gd name="connsiteX1150" fmla="*/ 1340102 w 1493637"/>
                  <a:gd name="connsiteY1150" fmla="*/ 18640 h 941139"/>
                  <a:gd name="connsiteX1151" fmla="*/ 1341603 w 1493637"/>
                  <a:gd name="connsiteY1151" fmla="*/ 18640 h 941139"/>
                  <a:gd name="connsiteX1152" fmla="*/ 1347730 w 1493637"/>
                  <a:gd name="connsiteY1152" fmla="*/ 18640 h 941139"/>
                  <a:gd name="connsiteX1153" fmla="*/ 1349254 w 1493637"/>
                  <a:gd name="connsiteY1153" fmla="*/ 18640 h 941139"/>
                  <a:gd name="connsiteX1154" fmla="*/ 1350788 w 1493637"/>
                  <a:gd name="connsiteY1154" fmla="*/ 18640 h 941139"/>
                  <a:gd name="connsiteX1155" fmla="*/ 1352323 w 1493637"/>
                  <a:gd name="connsiteY1155" fmla="*/ 18640 h 941139"/>
                  <a:gd name="connsiteX1156" fmla="*/ 1358461 w 1493637"/>
                  <a:gd name="connsiteY1156" fmla="*/ 18640 h 941139"/>
                  <a:gd name="connsiteX1157" fmla="*/ 1359951 w 1493637"/>
                  <a:gd name="connsiteY1157" fmla="*/ 18640 h 941139"/>
                  <a:gd name="connsiteX1158" fmla="*/ 1361486 w 1493637"/>
                  <a:gd name="connsiteY1158" fmla="*/ 18640 h 941139"/>
                  <a:gd name="connsiteX1159" fmla="*/ 1363021 w 1493637"/>
                  <a:gd name="connsiteY1159" fmla="*/ 18640 h 941139"/>
                  <a:gd name="connsiteX1160" fmla="*/ 1367613 w 1493637"/>
                  <a:gd name="connsiteY1160" fmla="*/ 18640 h 941139"/>
                  <a:gd name="connsiteX1161" fmla="*/ 1370682 w 1493637"/>
                  <a:gd name="connsiteY1161" fmla="*/ 18640 h 941139"/>
                  <a:gd name="connsiteX1162" fmla="*/ 1372217 w 1493637"/>
                  <a:gd name="connsiteY1162" fmla="*/ 18640 h 941139"/>
                  <a:gd name="connsiteX1163" fmla="*/ 1373752 w 1493637"/>
                  <a:gd name="connsiteY1163" fmla="*/ 18640 h 941139"/>
                  <a:gd name="connsiteX1164" fmla="*/ 1375286 w 1493637"/>
                  <a:gd name="connsiteY1164" fmla="*/ 18640 h 941139"/>
                  <a:gd name="connsiteX1165" fmla="*/ 1375286 w 1493637"/>
                  <a:gd name="connsiteY1165" fmla="*/ 0 h 941139"/>
                  <a:gd name="connsiteX1166" fmla="*/ 1493637 w 1493637"/>
                  <a:gd name="connsiteY1166" fmla="*/ 3697 h 941139"/>
                  <a:gd name="connsiteX0" fmla="*/ 0 w 1491184"/>
                  <a:gd name="connsiteY0" fmla="*/ 941139 h 941139"/>
                  <a:gd name="connsiteX1" fmla="*/ 1535 w 1491184"/>
                  <a:gd name="connsiteY1" fmla="*/ 941139 h 941139"/>
                  <a:gd name="connsiteX2" fmla="*/ 1535 w 1491184"/>
                  <a:gd name="connsiteY2" fmla="*/ 940338 h 941139"/>
                  <a:gd name="connsiteX3" fmla="*/ 3069 w 1491184"/>
                  <a:gd name="connsiteY3" fmla="*/ 940338 h 941139"/>
                  <a:gd name="connsiteX4" fmla="*/ 3069 w 1491184"/>
                  <a:gd name="connsiteY4" fmla="*/ 937202 h 941139"/>
                  <a:gd name="connsiteX5" fmla="*/ 4604 w 1491184"/>
                  <a:gd name="connsiteY5" fmla="*/ 937202 h 941139"/>
                  <a:gd name="connsiteX6" fmla="*/ 4604 w 1491184"/>
                  <a:gd name="connsiteY6" fmla="*/ 935634 h 941139"/>
                  <a:gd name="connsiteX7" fmla="*/ 6127 w 1491184"/>
                  <a:gd name="connsiteY7" fmla="*/ 935634 h 941139"/>
                  <a:gd name="connsiteX8" fmla="*/ 6127 w 1491184"/>
                  <a:gd name="connsiteY8" fmla="*/ 932497 h 941139"/>
                  <a:gd name="connsiteX9" fmla="*/ 7662 w 1491184"/>
                  <a:gd name="connsiteY9" fmla="*/ 932497 h 941139"/>
                  <a:gd name="connsiteX10" fmla="*/ 7662 w 1491184"/>
                  <a:gd name="connsiteY10" fmla="*/ 930128 h 941139"/>
                  <a:gd name="connsiteX11" fmla="*/ 9196 w 1491184"/>
                  <a:gd name="connsiteY11" fmla="*/ 930128 h 941139"/>
                  <a:gd name="connsiteX12" fmla="*/ 9196 w 1491184"/>
                  <a:gd name="connsiteY12" fmla="*/ 926191 h 941139"/>
                  <a:gd name="connsiteX13" fmla="*/ 10731 w 1491184"/>
                  <a:gd name="connsiteY13" fmla="*/ 926191 h 941139"/>
                  <a:gd name="connsiteX14" fmla="*/ 10731 w 1491184"/>
                  <a:gd name="connsiteY14" fmla="*/ 922254 h 941139"/>
                  <a:gd name="connsiteX15" fmla="*/ 12266 w 1491184"/>
                  <a:gd name="connsiteY15" fmla="*/ 922254 h 941139"/>
                  <a:gd name="connsiteX16" fmla="*/ 12266 w 1491184"/>
                  <a:gd name="connsiteY16" fmla="*/ 915180 h 941139"/>
                  <a:gd name="connsiteX17" fmla="*/ 13800 w 1491184"/>
                  <a:gd name="connsiteY17" fmla="*/ 915180 h 941139"/>
                  <a:gd name="connsiteX18" fmla="*/ 13800 w 1491184"/>
                  <a:gd name="connsiteY18" fmla="*/ 908874 h 941139"/>
                  <a:gd name="connsiteX19" fmla="*/ 15290 w 1491184"/>
                  <a:gd name="connsiteY19" fmla="*/ 908874 h 941139"/>
                  <a:gd name="connsiteX20" fmla="*/ 15290 w 1491184"/>
                  <a:gd name="connsiteY20" fmla="*/ 904170 h 941139"/>
                  <a:gd name="connsiteX21" fmla="*/ 16825 w 1491184"/>
                  <a:gd name="connsiteY21" fmla="*/ 904170 h 941139"/>
                  <a:gd name="connsiteX22" fmla="*/ 16825 w 1491184"/>
                  <a:gd name="connsiteY22" fmla="*/ 903369 h 941139"/>
                  <a:gd name="connsiteX23" fmla="*/ 18359 w 1491184"/>
                  <a:gd name="connsiteY23" fmla="*/ 903369 h 941139"/>
                  <a:gd name="connsiteX24" fmla="*/ 18359 w 1491184"/>
                  <a:gd name="connsiteY24" fmla="*/ 901801 h 941139"/>
                  <a:gd name="connsiteX25" fmla="*/ 19894 w 1491184"/>
                  <a:gd name="connsiteY25" fmla="*/ 901801 h 941139"/>
                  <a:gd name="connsiteX26" fmla="*/ 19894 w 1491184"/>
                  <a:gd name="connsiteY26" fmla="*/ 900232 h 941139"/>
                  <a:gd name="connsiteX27" fmla="*/ 21429 w 1491184"/>
                  <a:gd name="connsiteY27" fmla="*/ 900232 h 941139"/>
                  <a:gd name="connsiteX28" fmla="*/ 21429 w 1491184"/>
                  <a:gd name="connsiteY28" fmla="*/ 893926 h 941139"/>
                  <a:gd name="connsiteX29" fmla="*/ 22952 w 1491184"/>
                  <a:gd name="connsiteY29" fmla="*/ 893926 h 941139"/>
                  <a:gd name="connsiteX30" fmla="*/ 22952 w 1491184"/>
                  <a:gd name="connsiteY30" fmla="*/ 887653 h 941139"/>
                  <a:gd name="connsiteX31" fmla="*/ 24487 w 1491184"/>
                  <a:gd name="connsiteY31" fmla="*/ 887653 h 941139"/>
                  <a:gd name="connsiteX32" fmla="*/ 24487 w 1491184"/>
                  <a:gd name="connsiteY32" fmla="*/ 885296 h 941139"/>
                  <a:gd name="connsiteX33" fmla="*/ 26021 w 1491184"/>
                  <a:gd name="connsiteY33" fmla="*/ 885296 h 941139"/>
                  <a:gd name="connsiteX34" fmla="*/ 26021 w 1491184"/>
                  <a:gd name="connsiteY34" fmla="*/ 883716 h 941139"/>
                  <a:gd name="connsiteX35" fmla="*/ 27556 w 1491184"/>
                  <a:gd name="connsiteY35" fmla="*/ 883716 h 941139"/>
                  <a:gd name="connsiteX36" fmla="*/ 27556 w 1491184"/>
                  <a:gd name="connsiteY36" fmla="*/ 880547 h 941139"/>
                  <a:gd name="connsiteX37" fmla="*/ 29090 w 1491184"/>
                  <a:gd name="connsiteY37" fmla="*/ 880547 h 941139"/>
                  <a:gd name="connsiteX38" fmla="*/ 29090 w 1491184"/>
                  <a:gd name="connsiteY38" fmla="*/ 878211 h 941139"/>
                  <a:gd name="connsiteX39" fmla="*/ 30614 w 1491184"/>
                  <a:gd name="connsiteY39" fmla="*/ 878211 h 941139"/>
                  <a:gd name="connsiteX40" fmla="*/ 30614 w 1491184"/>
                  <a:gd name="connsiteY40" fmla="*/ 877421 h 941139"/>
                  <a:gd name="connsiteX41" fmla="*/ 32115 w 1491184"/>
                  <a:gd name="connsiteY41" fmla="*/ 877421 h 941139"/>
                  <a:gd name="connsiteX42" fmla="*/ 32115 w 1491184"/>
                  <a:gd name="connsiteY42" fmla="*/ 873484 h 941139"/>
                  <a:gd name="connsiteX43" fmla="*/ 33650 w 1491184"/>
                  <a:gd name="connsiteY43" fmla="*/ 873484 h 941139"/>
                  <a:gd name="connsiteX44" fmla="*/ 33650 w 1491184"/>
                  <a:gd name="connsiteY44" fmla="*/ 867167 h 941139"/>
                  <a:gd name="connsiteX45" fmla="*/ 35184 w 1491184"/>
                  <a:gd name="connsiteY45" fmla="*/ 867167 h 941139"/>
                  <a:gd name="connsiteX46" fmla="*/ 35184 w 1491184"/>
                  <a:gd name="connsiteY46" fmla="*/ 865599 h 941139"/>
                  <a:gd name="connsiteX47" fmla="*/ 36719 w 1491184"/>
                  <a:gd name="connsiteY47" fmla="*/ 865599 h 941139"/>
                  <a:gd name="connsiteX48" fmla="*/ 36719 w 1491184"/>
                  <a:gd name="connsiteY48" fmla="*/ 863230 h 941139"/>
                  <a:gd name="connsiteX49" fmla="*/ 38242 w 1491184"/>
                  <a:gd name="connsiteY49" fmla="*/ 863230 h 941139"/>
                  <a:gd name="connsiteX50" fmla="*/ 38242 w 1491184"/>
                  <a:gd name="connsiteY50" fmla="*/ 861661 h 941139"/>
                  <a:gd name="connsiteX51" fmla="*/ 39788 w 1491184"/>
                  <a:gd name="connsiteY51" fmla="*/ 861661 h 941139"/>
                  <a:gd name="connsiteX52" fmla="*/ 39788 w 1491184"/>
                  <a:gd name="connsiteY52" fmla="*/ 860861 h 941139"/>
                  <a:gd name="connsiteX53" fmla="*/ 41311 w 1491184"/>
                  <a:gd name="connsiteY53" fmla="*/ 860861 h 941139"/>
                  <a:gd name="connsiteX54" fmla="*/ 42846 w 1491184"/>
                  <a:gd name="connsiteY54" fmla="*/ 860861 h 941139"/>
                  <a:gd name="connsiteX55" fmla="*/ 42846 w 1491184"/>
                  <a:gd name="connsiteY55" fmla="*/ 857691 h 941139"/>
                  <a:gd name="connsiteX56" fmla="*/ 44381 w 1491184"/>
                  <a:gd name="connsiteY56" fmla="*/ 857691 h 941139"/>
                  <a:gd name="connsiteX57" fmla="*/ 44381 w 1491184"/>
                  <a:gd name="connsiteY57" fmla="*/ 855366 h 941139"/>
                  <a:gd name="connsiteX58" fmla="*/ 45915 w 1491184"/>
                  <a:gd name="connsiteY58" fmla="*/ 855366 h 941139"/>
                  <a:gd name="connsiteX59" fmla="*/ 45915 w 1491184"/>
                  <a:gd name="connsiteY59" fmla="*/ 853754 h 941139"/>
                  <a:gd name="connsiteX60" fmla="*/ 47450 w 1491184"/>
                  <a:gd name="connsiteY60" fmla="*/ 853754 h 941139"/>
                  <a:gd name="connsiteX61" fmla="*/ 47450 w 1491184"/>
                  <a:gd name="connsiteY61" fmla="*/ 849016 h 941139"/>
                  <a:gd name="connsiteX62" fmla="*/ 48984 w 1491184"/>
                  <a:gd name="connsiteY62" fmla="*/ 849016 h 941139"/>
                  <a:gd name="connsiteX63" fmla="*/ 48984 w 1491184"/>
                  <a:gd name="connsiteY63" fmla="*/ 845079 h 941139"/>
                  <a:gd name="connsiteX64" fmla="*/ 50474 w 1491184"/>
                  <a:gd name="connsiteY64" fmla="*/ 845079 h 941139"/>
                  <a:gd name="connsiteX65" fmla="*/ 50474 w 1491184"/>
                  <a:gd name="connsiteY65" fmla="*/ 841108 h 941139"/>
                  <a:gd name="connsiteX66" fmla="*/ 52009 w 1491184"/>
                  <a:gd name="connsiteY66" fmla="*/ 841108 h 941139"/>
                  <a:gd name="connsiteX67" fmla="*/ 52009 w 1491184"/>
                  <a:gd name="connsiteY67" fmla="*/ 837171 h 941139"/>
                  <a:gd name="connsiteX68" fmla="*/ 53544 w 1491184"/>
                  <a:gd name="connsiteY68" fmla="*/ 837171 h 941139"/>
                  <a:gd name="connsiteX69" fmla="*/ 53544 w 1491184"/>
                  <a:gd name="connsiteY69" fmla="*/ 834802 h 941139"/>
                  <a:gd name="connsiteX70" fmla="*/ 55078 w 1491184"/>
                  <a:gd name="connsiteY70" fmla="*/ 834802 h 941139"/>
                  <a:gd name="connsiteX71" fmla="*/ 55078 w 1491184"/>
                  <a:gd name="connsiteY71" fmla="*/ 831632 h 941139"/>
                  <a:gd name="connsiteX72" fmla="*/ 56613 w 1491184"/>
                  <a:gd name="connsiteY72" fmla="*/ 831632 h 941139"/>
                  <a:gd name="connsiteX73" fmla="*/ 56613 w 1491184"/>
                  <a:gd name="connsiteY73" fmla="*/ 827695 h 941139"/>
                  <a:gd name="connsiteX74" fmla="*/ 58147 w 1491184"/>
                  <a:gd name="connsiteY74" fmla="*/ 827695 h 941139"/>
                  <a:gd name="connsiteX75" fmla="*/ 58147 w 1491184"/>
                  <a:gd name="connsiteY75" fmla="*/ 826894 h 941139"/>
                  <a:gd name="connsiteX76" fmla="*/ 59671 w 1491184"/>
                  <a:gd name="connsiteY76" fmla="*/ 826894 h 941139"/>
                  <a:gd name="connsiteX77" fmla="*/ 59671 w 1491184"/>
                  <a:gd name="connsiteY77" fmla="*/ 826127 h 941139"/>
                  <a:gd name="connsiteX78" fmla="*/ 61205 w 1491184"/>
                  <a:gd name="connsiteY78" fmla="*/ 826127 h 941139"/>
                  <a:gd name="connsiteX79" fmla="*/ 61205 w 1491184"/>
                  <a:gd name="connsiteY79" fmla="*/ 822957 h 941139"/>
                  <a:gd name="connsiteX80" fmla="*/ 62740 w 1491184"/>
                  <a:gd name="connsiteY80" fmla="*/ 822957 h 941139"/>
                  <a:gd name="connsiteX81" fmla="*/ 62740 w 1491184"/>
                  <a:gd name="connsiteY81" fmla="*/ 820588 h 941139"/>
                  <a:gd name="connsiteX82" fmla="*/ 64275 w 1491184"/>
                  <a:gd name="connsiteY82" fmla="*/ 820588 h 941139"/>
                  <a:gd name="connsiteX83" fmla="*/ 64275 w 1491184"/>
                  <a:gd name="connsiteY83" fmla="*/ 815049 h 941139"/>
                  <a:gd name="connsiteX84" fmla="*/ 65798 w 1491184"/>
                  <a:gd name="connsiteY84" fmla="*/ 815049 h 941139"/>
                  <a:gd name="connsiteX85" fmla="*/ 65798 w 1491184"/>
                  <a:gd name="connsiteY85" fmla="*/ 811112 h 941139"/>
                  <a:gd name="connsiteX86" fmla="*/ 67299 w 1491184"/>
                  <a:gd name="connsiteY86" fmla="*/ 811112 h 941139"/>
                  <a:gd name="connsiteX87" fmla="*/ 67299 w 1491184"/>
                  <a:gd name="connsiteY87" fmla="*/ 807942 h 941139"/>
                  <a:gd name="connsiteX88" fmla="*/ 68834 w 1491184"/>
                  <a:gd name="connsiteY88" fmla="*/ 807942 h 941139"/>
                  <a:gd name="connsiteX89" fmla="*/ 68834 w 1491184"/>
                  <a:gd name="connsiteY89" fmla="*/ 803972 h 941139"/>
                  <a:gd name="connsiteX90" fmla="*/ 70368 w 1491184"/>
                  <a:gd name="connsiteY90" fmla="*/ 803972 h 941139"/>
                  <a:gd name="connsiteX91" fmla="*/ 70368 w 1491184"/>
                  <a:gd name="connsiteY91" fmla="*/ 801603 h 941139"/>
                  <a:gd name="connsiteX92" fmla="*/ 71903 w 1491184"/>
                  <a:gd name="connsiteY92" fmla="*/ 801603 h 941139"/>
                  <a:gd name="connsiteX93" fmla="*/ 71903 w 1491184"/>
                  <a:gd name="connsiteY93" fmla="*/ 798467 h 941139"/>
                  <a:gd name="connsiteX94" fmla="*/ 73438 w 1491184"/>
                  <a:gd name="connsiteY94" fmla="*/ 798467 h 941139"/>
                  <a:gd name="connsiteX95" fmla="*/ 73438 w 1491184"/>
                  <a:gd name="connsiteY95" fmla="*/ 796865 h 941139"/>
                  <a:gd name="connsiteX96" fmla="*/ 74972 w 1491184"/>
                  <a:gd name="connsiteY96" fmla="*/ 796865 h 941139"/>
                  <a:gd name="connsiteX97" fmla="*/ 74972 w 1491184"/>
                  <a:gd name="connsiteY97" fmla="*/ 796086 h 941139"/>
                  <a:gd name="connsiteX98" fmla="*/ 76496 w 1491184"/>
                  <a:gd name="connsiteY98" fmla="*/ 796086 h 941139"/>
                  <a:gd name="connsiteX99" fmla="*/ 76496 w 1491184"/>
                  <a:gd name="connsiteY99" fmla="*/ 790548 h 941139"/>
                  <a:gd name="connsiteX100" fmla="*/ 78030 w 1491184"/>
                  <a:gd name="connsiteY100" fmla="*/ 790548 h 941139"/>
                  <a:gd name="connsiteX101" fmla="*/ 78030 w 1491184"/>
                  <a:gd name="connsiteY101" fmla="*/ 788190 h 941139"/>
                  <a:gd name="connsiteX102" fmla="*/ 79565 w 1491184"/>
                  <a:gd name="connsiteY102" fmla="*/ 788190 h 941139"/>
                  <a:gd name="connsiteX103" fmla="*/ 79565 w 1491184"/>
                  <a:gd name="connsiteY103" fmla="*/ 787378 h 941139"/>
                  <a:gd name="connsiteX104" fmla="*/ 81099 w 1491184"/>
                  <a:gd name="connsiteY104" fmla="*/ 787378 h 941139"/>
                  <a:gd name="connsiteX105" fmla="*/ 81099 w 1491184"/>
                  <a:gd name="connsiteY105" fmla="*/ 782651 h 941139"/>
                  <a:gd name="connsiteX106" fmla="*/ 82634 w 1491184"/>
                  <a:gd name="connsiteY106" fmla="*/ 782651 h 941139"/>
                  <a:gd name="connsiteX107" fmla="*/ 82634 w 1491184"/>
                  <a:gd name="connsiteY107" fmla="*/ 781038 h 941139"/>
                  <a:gd name="connsiteX108" fmla="*/ 84157 w 1491184"/>
                  <a:gd name="connsiteY108" fmla="*/ 781038 h 941139"/>
                  <a:gd name="connsiteX109" fmla="*/ 84157 w 1491184"/>
                  <a:gd name="connsiteY109" fmla="*/ 779470 h 941139"/>
                  <a:gd name="connsiteX110" fmla="*/ 85659 w 1491184"/>
                  <a:gd name="connsiteY110" fmla="*/ 779470 h 941139"/>
                  <a:gd name="connsiteX111" fmla="*/ 85659 w 1491184"/>
                  <a:gd name="connsiteY111" fmla="*/ 777101 h 941139"/>
                  <a:gd name="connsiteX112" fmla="*/ 87193 w 1491184"/>
                  <a:gd name="connsiteY112" fmla="*/ 777101 h 941139"/>
                  <a:gd name="connsiteX113" fmla="*/ 87193 w 1491184"/>
                  <a:gd name="connsiteY113" fmla="*/ 772363 h 941139"/>
                  <a:gd name="connsiteX114" fmla="*/ 88728 w 1491184"/>
                  <a:gd name="connsiteY114" fmla="*/ 772363 h 941139"/>
                  <a:gd name="connsiteX115" fmla="*/ 88728 w 1491184"/>
                  <a:gd name="connsiteY115" fmla="*/ 768393 h 941139"/>
                  <a:gd name="connsiteX116" fmla="*/ 90262 w 1491184"/>
                  <a:gd name="connsiteY116" fmla="*/ 768393 h 941139"/>
                  <a:gd name="connsiteX117" fmla="*/ 90262 w 1491184"/>
                  <a:gd name="connsiteY117" fmla="*/ 764456 h 941139"/>
                  <a:gd name="connsiteX118" fmla="*/ 91786 w 1491184"/>
                  <a:gd name="connsiteY118" fmla="*/ 764456 h 941139"/>
                  <a:gd name="connsiteX119" fmla="*/ 91786 w 1491184"/>
                  <a:gd name="connsiteY119" fmla="*/ 762854 h 941139"/>
                  <a:gd name="connsiteX120" fmla="*/ 93332 w 1491184"/>
                  <a:gd name="connsiteY120" fmla="*/ 762854 h 941139"/>
                  <a:gd name="connsiteX121" fmla="*/ 93332 w 1491184"/>
                  <a:gd name="connsiteY121" fmla="*/ 760485 h 941139"/>
                  <a:gd name="connsiteX122" fmla="*/ 94855 w 1491184"/>
                  <a:gd name="connsiteY122" fmla="*/ 760485 h 941139"/>
                  <a:gd name="connsiteX123" fmla="*/ 94855 w 1491184"/>
                  <a:gd name="connsiteY123" fmla="*/ 758116 h 941139"/>
                  <a:gd name="connsiteX124" fmla="*/ 96390 w 1491184"/>
                  <a:gd name="connsiteY124" fmla="*/ 758116 h 941139"/>
                  <a:gd name="connsiteX125" fmla="*/ 96390 w 1491184"/>
                  <a:gd name="connsiteY125" fmla="*/ 755747 h 941139"/>
                  <a:gd name="connsiteX126" fmla="*/ 97924 w 1491184"/>
                  <a:gd name="connsiteY126" fmla="*/ 755747 h 941139"/>
                  <a:gd name="connsiteX127" fmla="*/ 97924 w 1491184"/>
                  <a:gd name="connsiteY127" fmla="*/ 750208 h 941139"/>
                  <a:gd name="connsiteX128" fmla="*/ 99459 w 1491184"/>
                  <a:gd name="connsiteY128" fmla="*/ 750208 h 941139"/>
                  <a:gd name="connsiteX129" fmla="*/ 99459 w 1491184"/>
                  <a:gd name="connsiteY129" fmla="*/ 745437 h 941139"/>
                  <a:gd name="connsiteX130" fmla="*/ 100993 w 1491184"/>
                  <a:gd name="connsiteY130" fmla="*/ 745437 h 941139"/>
                  <a:gd name="connsiteX131" fmla="*/ 100993 w 1491184"/>
                  <a:gd name="connsiteY131" fmla="*/ 743068 h 941139"/>
                  <a:gd name="connsiteX132" fmla="*/ 102483 w 1491184"/>
                  <a:gd name="connsiteY132" fmla="*/ 743068 h 941139"/>
                  <a:gd name="connsiteX133" fmla="*/ 102483 w 1491184"/>
                  <a:gd name="connsiteY133" fmla="*/ 741500 h 941139"/>
                  <a:gd name="connsiteX134" fmla="*/ 104018 w 1491184"/>
                  <a:gd name="connsiteY134" fmla="*/ 741500 h 941139"/>
                  <a:gd name="connsiteX135" fmla="*/ 104018 w 1491184"/>
                  <a:gd name="connsiteY135" fmla="*/ 735961 h 941139"/>
                  <a:gd name="connsiteX136" fmla="*/ 105553 w 1491184"/>
                  <a:gd name="connsiteY136" fmla="*/ 735961 h 941139"/>
                  <a:gd name="connsiteX137" fmla="*/ 105553 w 1491184"/>
                  <a:gd name="connsiteY137" fmla="*/ 734360 h 941139"/>
                  <a:gd name="connsiteX138" fmla="*/ 107087 w 1491184"/>
                  <a:gd name="connsiteY138" fmla="*/ 734360 h 941139"/>
                  <a:gd name="connsiteX139" fmla="*/ 107087 w 1491184"/>
                  <a:gd name="connsiteY139" fmla="*/ 731991 h 941139"/>
                  <a:gd name="connsiteX140" fmla="*/ 108622 w 1491184"/>
                  <a:gd name="connsiteY140" fmla="*/ 731991 h 941139"/>
                  <a:gd name="connsiteX141" fmla="*/ 108622 w 1491184"/>
                  <a:gd name="connsiteY141" fmla="*/ 727253 h 941139"/>
                  <a:gd name="connsiteX142" fmla="*/ 110145 w 1491184"/>
                  <a:gd name="connsiteY142" fmla="*/ 727253 h 941139"/>
                  <a:gd name="connsiteX143" fmla="*/ 110145 w 1491184"/>
                  <a:gd name="connsiteY143" fmla="*/ 725673 h 941139"/>
                  <a:gd name="connsiteX144" fmla="*/ 111680 w 1491184"/>
                  <a:gd name="connsiteY144" fmla="*/ 725673 h 941139"/>
                  <a:gd name="connsiteX145" fmla="*/ 111680 w 1491184"/>
                  <a:gd name="connsiteY145" fmla="*/ 720135 h 941139"/>
                  <a:gd name="connsiteX146" fmla="*/ 113214 w 1491184"/>
                  <a:gd name="connsiteY146" fmla="*/ 720135 h 941139"/>
                  <a:gd name="connsiteX147" fmla="*/ 113214 w 1491184"/>
                  <a:gd name="connsiteY147" fmla="*/ 716164 h 941139"/>
                  <a:gd name="connsiteX148" fmla="*/ 114749 w 1491184"/>
                  <a:gd name="connsiteY148" fmla="*/ 716164 h 941139"/>
                  <a:gd name="connsiteX149" fmla="*/ 114749 w 1491184"/>
                  <a:gd name="connsiteY149" fmla="*/ 713806 h 941139"/>
                  <a:gd name="connsiteX150" fmla="*/ 116284 w 1491184"/>
                  <a:gd name="connsiteY150" fmla="*/ 713806 h 941139"/>
                  <a:gd name="connsiteX151" fmla="*/ 116284 w 1491184"/>
                  <a:gd name="connsiteY151" fmla="*/ 711426 h 941139"/>
                  <a:gd name="connsiteX152" fmla="*/ 117818 w 1491184"/>
                  <a:gd name="connsiteY152" fmla="*/ 711426 h 941139"/>
                  <a:gd name="connsiteX153" fmla="*/ 117818 w 1491184"/>
                  <a:gd name="connsiteY153" fmla="*/ 710625 h 941139"/>
                  <a:gd name="connsiteX154" fmla="*/ 119342 w 1491184"/>
                  <a:gd name="connsiteY154" fmla="*/ 710625 h 941139"/>
                  <a:gd name="connsiteX155" fmla="*/ 119342 w 1491184"/>
                  <a:gd name="connsiteY155" fmla="*/ 709825 h 941139"/>
                  <a:gd name="connsiteX156" fmla="*/ 120843 w 1491184"/>
                  <a:gd name="connsiteY156" fmla="*/ 709825 h 941139"/>
                  <a:gd name="connsiteX157" fmla="*/ 120843 w 1491184"/>
                  <a:gd name="connsiteY157" fmla="*/ 707456 h 941139"/>
                  <a:gd name="connsiteX158" fmla="*/ 122377 w 1491184"/>
                  <a:gd name="connsiteY158" fmla="*/ 707456 h 941139"/>
                  <a:gd name="connsiteX159" fmla="*/ 122377 w 1491184"/>
                  <a:gd name="connsiteY159" fmla="*/ 705854 h 941139"/>
                  <a:gd name="connsiteX160" fmla="*/ 125447 w 1491184"/>
                  <a:gd name="connsiteY160" fmla="*/ 705854 h 941139"/>
                  <a:gd name="connsiteX161" fmla="*/ 125447 w 1491184"/>
                  <a:gd name="connsiteY161" fmla="*/ 701917 h 941139"/>
                  <a:gd name="connsiteX162" fmla="*/ 126970 w 1491184"/>
                  <a:gd name="connsiteY162" fmla="*/ 701917 h 941139"/>
                  <a:gd name="connsiteX163" fmla="*/ 126970 w 1491184"/>
                  <a:gd name="connsiteY163" fmla="*/ 700315 h 941139"/>
                  <a:gd name="connsiteX164" fmla="*/ 128516 w 1491184"/>
                  <a:gd name="connsiteY164" fmla="*/ 700315 h 941139"/>
                  <a:gd name="connsiteX165" fmla="*/ 128516 w 1491184"/>
                  <a:gd name="connsiteY165" fmla="*/ 697146 h 941139"/>
                  <a:gd name="connsiteX166" fmla="*/ 130039 w 1491184"/>
                  <a:gd name="connsiteY166" fmla="*/ 697146 h 941139"/>
                  <a:gd name="connsiteX167" fmla="*/ 130039 w 1491184"/>
                  <a:gd name="connsiteY167" fmla="*/ 695578 h 941139"/>
                  <a:gd name="connsiteX168" fmla="*/ 131574 w 1491184"/>
                  <a:gd name="connsiteY168" fmla="*/ 695578 h 941139"/>
                  <a:gd name="connsiteX169" fmla="*/ 131574 w 1491184"/>
                  <a:gd name="connsiteY169" fmla="*/ 691607 h 941139"/>
                  <a:gd name="connsiteX170" fmla="*/ 133108 w 1491184"/>
                  <a:gd name="connsiteY170" fmla="*/ 691607 h 941139"/>
                  <a:gd name="connsiteX171" fmla="*/ 133108 w 1491184"/>
                  <a:gd name="connsiteY171" fmla="*/ 690039 h 941139"/>
                  <a:gd name="connsiteX172" fmla="*/ 134643 w 1491184"/>
                  <a:gd name="connsiteY172" fmla="*/ 690039 h 941139"/>
                  <a:gd name="connsiteX173" fmla="*/ 134643 w 1491184"/>
                  <a:gd name="connsiteY173" fmla="*/ 686068 h 941139"/>
                  <a:gd name="connsiteX174" fmla="*/ 136178 w 1491184"/>
                  <a:gd name="connsiteY174" fmla="*/ 686068 h 941139"/>
                  <a:gd name="connsiteX175" fmla="*/ 136178 w 1491184"/>
                  <a:gd name="connsiteY175" fmla="*/ 683699 h 941139"/>
                  <a:gd name="connsiteX176" fmla="*/ 137701 w 1491184"/>
                  <a:gd name="connsiteY176" fmla="*/ 683699 h 941139"/>
                  <a:gd name="connsiteX177" fmla="*/ 137701 w 1491184"/>
                  <a:gd name="connsiteY177" fmla="*/ 681297 h 941139"/>
                  <a:gd name="connsiteX178" fmla="*/ 139202 w 1491184"/>
                  <a:gd name="connsiteY178" fmla="*/ 681297 h 941139"/>
                  <a:gd name="connsiteX179" fmla="*/ 139202 w 1491184"/>
                  <a:gd name="connsiteY179" fmla="*/ 680529 h 941139"/>
                  <a:gd name="connsiteX180" fmla="*/ 140737 w 1491184"/>
                  <a:gd name="connsiteY180" fmla="*/ 680529 h 941139"/>
                  <a:gd name="connsiteX181" fmla="*/ 140737 w 1491184"/>
                  <a:gd name="connsiteY181" fmla="*/ 679729 h 941139"/>
                  <a:gd name="connsiteX182" fmla="*/ 142271 w 1491184"/>
                  <a:gd name="connsiteY182" fmla="*/ 679729 h 941139"/>
                  <a:gd name="connsiteX183" fmla="*/ 142271 w 1491184"/>
                  <a:gd name="connsiteY183" fmla="*/ 675758 h 941139"/>
                  <a:gd name="connsiteX184" fmla="*/ 143806 w 1491184"/>
                  <a:gd name="connsiteY184" fmla="*/ 675758 h 941139"/>
                  <a:gd name="connsiteX185" fmla="*/ 143806 w 1491184"/>
                  <a:gd name="connsiteY185" fmla="*/ 673378 h 941139"/>
                  <a:gd name="connsiteX186" fmla="*/ 146875 w 1491184"/>
                  <a:gd name="connsiteY186" fmla="*/ 673378 h 941139"/>
                  <a:gd name="connsiteX187" fmla="*/ 148399 w 1491184"/>
                  <a:gd name="connsiteY187" fmla="*/ 673378 h 941139"/>
                  <a:gd name="connsiteX188" fmla="*/ 148399 w 1491184"/>
                  <a:gd name="connsiteY188" fmla="*/ 668607 h 941139"/>
                  <a:gd name="connsiteX189" fmla="*/ 149933 w 1491184"/>
                  <a:gd name="connsiteY189" fmla="*/ 668607 h 941139"/>
                  <a:gd name="connsiteX190" fmla="*/ 149933 w 1491184"/>
                  <a:gd name="connsiteY190" fmla="*/ 666238 h 941139"/>
                  <a:gd name="connsiteX191" fmla="*/ 151468 w 1491184"/>
                  <a:gd name="connsiteY191" fmla="*/ 666238 h 941139"/>
                  <a:gd name="connsiteX192" fmla="*/ 151468 w 1491184"/>
                  <a:gd name="connsiteY192" fmla="*/ 664636 h 941139"/>
                  <a:gd name="connsiteX193" fmla="*/ 154526 w 1491184"/>
                  <a:gd name="connsiteY193" fmla="*/ 664636 h 941139"/>
                  <a:gd name="connsiteX194" fmla="*/ 154526 w 1491184"/>
                  <a:gd name="connsiteY194" fmla="*/ 663068 h 941139"/>
                  <a:gd name="connsiteX195" fmla="*/ 156027 w 1491184"/>
                  <a:gd name="connsiteY195" fmla="*/ 663068 h 941139"/>
                  <a:gd name="connsiteX196" fmla="*/ 156027 w 1491184"/>
                  <a:gd name="connsiteY196" fmla="*/ 661466 h 941139"/>
                  <a:gd name="connsiteX197" fmla="*/ 157562 w 1491184"/>
                  <a:gd name="connsiteY197" fmla="*/ 661466 h 941139"/>
                  <a:gd name="connsiteX198" fmla="*/ 157562 w 1491184"/>
                  <a:gd name="connsiteY198" fmla="*/ 659898 h 941139"/>
                  <a:gd name="connsiteX199" fmla="*/ 159096 w 1491184"/>
                  <a:gd name="connsiteY199" fmla="*/ 659898 h 941139"/>
                  <a:gd name="connsiteX200" fmla="*/ 159096 w 1491184"/>
                  <a:gd name="connsiteY200" fmla="*/ 657496 h 941139"/>
                  <a:gd name="connsiteX201" fmla="*/ 160631 w 1491184"/>
                  <a:gd name="connsiteY201" fmla="*/ 657496 h 941139"/>
                  <a:gd name="connsiteX202" fmla="*/ 160631 w 1491184"/>
                  <a:gd name="connsiteY202" fmla="*/ 655928 h 941139"/>
                  <a:gd name="connsiteX203" fmla="*/ 162165 w 1491184"/>
                  <a:gd name="connsiteY203" fmla="*/ 655928 h 941139"/>
                  <a:gd name="connsiteX204" fmla="*/ 162165 w 1491184"/>
                  <a:gd name="connsiteY204" fmla="*/ 651156 h 941139"/>
                  <a:gd name="connsiteX205" fmla="*/ 163689 w 1491184"/>
                  <a:gd name="connsiteY205" fmla="*/ 651156 h 941139"/>
                  <a:gd name="connsiteX206" fmla="*/ 163689 w 1491184"/>
                  <a:gd name="connsiteY206" fmla="*/ 650356 h 941139"/>
                  <a:gd name="connsiteX207" fmla="*/ 165223 w 1491184"/>
                  <a:gd name="connsiteY207" fmla="*/ 650356 h 941139"/>
                  <a:gd name="connsiteX208" fmla="*/ 165223 w 1491184"/>
                  <a:gd name="connsiteY208" fmla="*/ 646385 h 941139"/>
                  <a:gd name="connsiteX209" fmla="*/ 166758 w 1491184"/>
                  <a:gd name="connsiteY209" fmla="*/ 646385 h 941139"/>
                  <a:gd name="connsiteX210" fmla="*/ 166758 w 1491184"/>
                  <a:gd name="connsiteY210" fmla="*/ 645584 h 941139"/>
                  <a:gd name="connsiteX211" fmla="*/ 168293 w 1491184"/>
                  <a:gd name="connsiteY211" fmla="*/ 645584 h 941139"/>
                  <a:gd name="connsiteX212" fmla="*/ 168293 w 1491184"/>
                  <a:gd name="connsiteY212" fmla="*/ 644016 h 941139"/>
                  <a:gd name="connsiteX213" fmla="*/ 169827 w 1491184"/>
                  <a:gd name="connsiteY213" fmla="*/ 644016 h 941139"/>
                  <a:gd name="connsiteX214" fmla="*/ 169827 w 1491184"/>
                  <a:gd name="connsiteY214" fmla="*/ 642415 h 941139"/>
                  <a:gd name="connsiteX215" fmla="*/ 171362 w 1491184"/>
                  <a:gd name="connsiteY215" fmla="*/ 642415 h 941139"/>
                  <a:gd name="connsiteX216" fmla="*/ 171362 w 1491184"/>
                  <a:gd name="connsiteY216" fmla="*/ 641603 h 941139"/>
                  <a:gd name="connsiteX217" fmla="*/ 172885 w 1491184"/>
                  <a:gd name="connsiteY217" fmla="*/ 641603 h 941139"/>
                  <a:gd name="connsiteX218" fmla="*/ 172885 w 1491184"/>
                  <a:gd name="connsiteY218" fmla="*/ 640034 h 941139"/>
                  <a:gd name="connsiteX219" fmla="*/ 174386 w 1491184"/>
                  <a:gd name="connsiteY219" fmla="*/ 640034 h 941139"/>
                  <a:gd name="connsiteX220" fmla="*/ 174386 w 1491184"/>
                  <a:gd name="connsiteY220" fmla="*/ 637632 h 941139"/>
                  <a:gd name="connsiteX221" fmla="*/ 175921 w 1491184"/>
                  <a:gd name="connsiteY221" fmla="*/ 637632 h 941139"/>
                  <a:gd name="connsiteX222" fmla="*/ 175921 w 1491184"/>
                  <a:gd name="connsiteY222" fmla="*/ 636876 h 941139"/>
                  <a:gd name="connsiteX223" fmla="*/ 177456 w 1491184"/>
                  <a:gd name="connsiteY223" fmla="*/ 636876 h 941139"/>
                  <a:gd name="connsiteX224" fmla="*/ 177456 w 1491184"/>
                  <a:gd name="connsiteY224" fmla="*/ 632093 h 941139"/>
                  <a:gd name="connsiteX225" fmla="*/ 178990 w 1491184"/>
                  <a:gd name="connsiteY225" fmla="*/ 632093 h 941139"/>
                  <a:gd name="connsiteX226" fmla="*/ 182059 w 1491184"/>
                  <a:gd name="connsiteY226" fmla="*/ 632093 h 941139"/>
                  <a:gd name="connsiteX227" fmla="*/ 182059 w 1491184"/>
                  <a:gd name="connsiteY227" fmla="*/ 628924 h 941139"/>
                  <a:gd name="connsiteX228" fmla="*/ 183583 w 1491184"/>
                  <a:gd name="connsiteY228" fmla="*/ 628924 h 941139"/>
                  <a:gd name="connsiteX229" fmla="*/ 183583 w 1491184"/>
                  <a:gd name="connsiteY229" fmla="*/ 627322 h 941139"/>
                  <a:gd name="connsiteX230" fmla="*/ 185117 w 1491184"/>
                  <a:gd name="connsiteY230" fmla="*/ 627322 h 941139"/>
                  <a:gd name="connsiteX231" fmla="*/ 185117 w 1491184"/>
                  <a:gd name="connsiteY231" fmla="*/ 623352 h 941139"/>
                  <a:gd name="connsiteX232" fmla="*/ 186652 w 1491184"/>
                  <a:gd name="connsiteY232" fmla="*/ 623352 h 941139"/>
                  <a:gd name="connsiteX233" fmla="*/ 186652 w 1491184"/>
                  <a:gd name="connsiteY233" fmla="*/ 622551 h 941139"/>
                  <a:gd name="connsiteX234" fmla="*/ 189721 w 1491184"/>
                  <a:gd name="connsiteY234" fmla="*/ 622551 h 941139"/>
                  <a:gd name="connsiteX235" fmla="*/ 189721 w 1491184"/>
                  <a:gd name="connsiteY235" fmla="*/ 619381 h 941139"/>
                  <a:gd name="connsiteX236" fmla="*/ 191211 w 1491184"/>
                  <a:gd name="connsiteY236" fmla="*/ 619381 h 941139"/>
                  <a:gd name="connsiteX237" fmla="*/ 191211 w 1491184"/>
                  <a:gd name="connsiteY237" fmla="*/ 618580 h 941139"/>
                  <a:gd name="connsiteX238" fmla="*/ 192746 w 1491184"/>
                  <a:gd name="connsiteY238" fmla="*/ 618580 h 941139"/>
                  <a:gd name="connsiteX239" fmla="*/ 192746 w 1491184"/>
                  <a:gd name="connsiteY239" fmla="*/ 616211 h 941139"/>
                  <a:gd name="connsiteX240" fmla="*/ 194280 w 1491184"/>
                  <a:gd name="connsiteY240" fmla="*/ 616211 h 941139"/>
                  <a:gd name="connsiteX241" fmla="*/ 194280 w 1491184"/>
                  <a:gd name="connsiteY241" fmla="*/ 614610 h 941139"/>
                  <a:gd name="connsiteX242" fmla="*/ 195815 w 1491184"/>
                  <a:gd name="connsiteY242" fmla="*/ 614610 h 941139"/>
                  <a:gd name="connsiteX243" fmla="*/ 195815 w 1491184"/>
                  <a:gd name="connsiteY243" fmla="*/ 613798 h 941139"/>
                  <a:gd name="connsiteX244" fmla="*/ 197350 w 1491184"/>
                  <a:gd name="connsiteY244" fmla="*/ 613798 h 941139"/>
                  <a:gd name="connsiteX245" fmla="*/ 197350 w 1491184"/>
                  <a:gd name="connsiteY245" fmla="*/ 612241 h 941139"/>
                  <a:gd name="connsiteX246" fmla="*/ 198873 w 1491184"/>
                  <a:gd name="connsiteY246" fmla="*/ 612241 h 941139"/>
                  <a:gd name="connsiteX247" fmla="*/ 198873 w 1491184"/>
                  <a:gd name="connsiteY247" fmla="*/ 609827 h 941139"/>
                  <a:gd name="connsiteX248" fmla="*/ 200408 w 1491184"/>
                  <a:gd name="connsiteY248" fmla="*/ 609827 h 941139"/>
                  <a:gd name="connsiteX249" fmla="*/ 200408 w 1491184"/>
                  <a:gd name="connsiteY249" fmla="*/ 608259 h 941139"/>
                  <a:gd name="connsiteX250" fmla="*/ 201942 w 1491184"/>
                  <a:gd name="connsiteY250" fmla="*/ 608259 h 941139"/>
                  <a:gd name="connsiteX251" fmla="*/ 201942 w 1491184"/>
                  <a:gd name="connsiteY251" fmla="*/ 607469 h 941139"/>
                  <a:gd name="connsiteX252" fmla="*/ 205011 w 1491184"/>
                  <a:gd name="connsiteY252" fmla="*/ 607469 h 941139"/>
                  <a:gd name="connsiteX253" fmla="*/ 205011 w 1491184"/>
                  <a:gd name="connsiteY253" fmla="*/ 605056 h 941139"/>
                  <a:gd name="connsiteX254" fmla="*/ 206546 w 1491184"/>
                  <a:gd name="connsiteY254" fmla="*/ 605056 h 941139"/>
                  <a:gd name="connsiteX255" fmla="*/ 206546 w 1491184"/>
                  <a:gd name="connsiteY255" fmla="*/ 601085 h 941139"/>
                  <a:gd name="connsiteX256" fmla="*/ 208069 w 1491184"/>
                  <a:gd name="connsiteY256" fmla="*/ 601085 h 941139"/>
                  <a:gd name="connsiteX257" fmla="*/ 209571 w 1491184"/>
                  <a:gd name="connsiteY257" fmla="*/ 601085 h 941139"/>
                  <a:gd name="connsiteX258" fmla="*/ 209571 w 1491184"/>
                  <a:gd name="connsiteY258" fmla="*/ 598683 h 941139"/>
                  <a:gd name="connsiteX259" fmla="*/ 211105 w 1491184"/>
                  <a:gd name="connsiteY259" fmla="*/ 598683 h 941139"/>
                  <a:gd name="connsiteX260" fmla="*/ 211105 w 1491184"/>
                  <a:gd name="connsiteY260" fmla="*/ 597115 h 941139"/>
                  <a:gd name="connsiteX261" fmla="*/ 212640 w 1491184"/>
                  <a:gd name="connsiteY261" fmla="*/ 597115 h 941139"/>
                  <a:gd name="connsiteX262" fmla="*/ 212640 w 1491184"/>
                  <a:gd name="connsiteY262" fmla="*/ 596314 h 941139"/>
                  <a:gd name="connsiteX263" fmla="*/ 214174 w 1491184"/>
                  <a:gd name="connsiteY263" fmla="*/ 596314 h 941139"/>
                  <a:gd name="connsiteX264" fmla="*/ 214174 w 1491184"/>
                  <a:gd name="connsiteY264" fmla="*/ 595513 h 941139"/>
                  <a:gd name="connsiteX265" fmla="*/ 215698 w 1491184"/>
                  <a:gd name="connsiteY265" fmla="*/ 595513 h 941139"/>
                  <a:gd name="connsiteX266" fmla="*/ 215698 w 1491184"/>
                  <a:gd name="connsiteY266" fmla="*/ 593912 h 941139"/>
                  <a:gd name="connsiteX267" fmla="*/ 217232 w 1491184"/>
                  <a:gd name="connsiteY267" fmla="*/ 593912 h 941139"/>
                  <a:gd name="connsiteX268" fmla="*/ 217232 w 1491184"/>
                  <a:gd name="connsiteY268" fmla="*/ 591543 h 941139"/>
                  <a:gd name="connsiteX269" fmla="*/ 218767 w 1491184"/>
                  <a:gd name="connsiteY269" fmla="*/ 591543 h 941139"/>
                  <a:gd name="connsiteX270" fmla="*/ 218767 w 1491184"/>
                  <a:gd name="connsiteY270" fmla="*/ 590742 h 941139"/>
                  <a:gd name="connsiteX271" fmla="*/ 221836 w 1491184"/>
                  <a:gd name="connsiteY271" fmla="*/ 590742 h 941139"/>
                  <a:gd name="connsiteX272" fmla="*/ 223371 w 1491184"/>
                  <a:gd name="connsiteY272" fmla="*/ 590742 h 941139"/>
                  <a:gd name="connsiteX273" fmla="*/ 223371 w 1491184"/>
                  <a:gd name="connsiteY273" fmla="*/ 589941 h 941139"/>
                  <a:gd name="connsiteX274" fmla="*/ 224905 w 1491184"/>
                  <a:gd name="connsiteY274" fmla="*/ 589941 h 941139"/>
                  <a:gd name="connsiteX275" fmla="*/ 224905 w 1491184"/>
                  <a:gd name="connsiteY275" fmla="*/ 589141 h 941139"/>
                  <a:gd name="connsiteX276" fmla="*/ 226395 w 1491184"/>
                  <a:gd name="connsiteY276" fmla="*/ 589141 h 941139"/>
                  <a:gd name="connsiteX277" fmla="*/ 226395 w 1491184"/>
                  <a:gd name="connsiteY277" fmla="*/ 586727 h 941139"/>
                  <a:gd name="connsiteX278" fmla="*/ 227930 w 1491184"/>
                  <a:gd name="connsiteY278" fmla="*/ 586727 h 941139"/>
                  <a:gd name="connsiteX279" fmla="*/ 229465 w 1491184"/>
                  <a:gd name="connsiteY279" fmla="*/ 586727 h 941139"/>
                  <a:gd name="connsiteX280" fmla="*/ 229465 w 1491184"/>
                  <a:gd name="connsiteY280" fmla="*/ 584358 h 941139"/>
                  <a:gd name="connsiteX281" fmla="*/ 230999 w 1491184"/>
                  <a:gd name="connsiteY281" fmla="*/ 584358 h 941139"/>
                  <a:gd name="connsiteX282" fmla="*/ 230999 w 1491184"/>
                  <a:gd name="connsiteY282" fmla="*/ 582756 h 941139"/>
                  <a:gd name="connsiteX283" fmla="*/ 234057 w 1491184"/>
                  <a:gd name="connsiteY283" fmla="*/ 582756 h 941139"/>
                  <a:gd name="connsiteX284" fmla="*/ 234057 w 1491184"/>
                  <a:gd name="connsiteY284" fmla="*/ 581967 h 941139"/>
                  <a:gd name="connsiteX285" fmla="*/ 235592 w 1491184"/>
                  <a:gd name="connsiteY285" fmla="*/ 581967 h 941139"/>
                  <a:gd name="connsiteX286" fmla="*/ 235592 w 1491184"/>
                  <a:gd name="connsiteY286" fmla="*/ 578753 h 941139"/>
                  <a:gd name="connsiteX287" fmla="*/ 237126 w 1491184"/>
                  <a:gd name="connsiteY287" fmla="*/ 578753 h 941139"/>
                  <a:gd name="connsiteX288" fmla="*/ 237126 w 1491184"/>
                  <a:gd name="connsiteY288" fmla="*/ 577184 h 941139"/>
                  <a:gd name="connsiteX289" fmla="*/ 238661 w 1491184"/>
                  <a:gd name="connsiteY289" fmla="*/ 577184 h 941139"/>
                  <a:gd name="connsiteX290" fmla="*/ 238661 w 1491184"/>
                  <a:gd name="connsiteY290" fmla="*/ 575583 h 941139"/>
                  <a:gd name="connsiteX291" fmla="*/ 241730 w 1491184"/>
                  <a:gd name="connsiteY291" fmla="*/ 575583 h 941139"/>
                  <a:gd name="connsiteX292" fmla="*/ 241730 w 1491184"/>
                  <a:gd name="connsiteY292" fmla="*/ 574782 h 941139"/>
                  <a:gd name="connsiteX293" fmla="*/ 243254 w 1491184"/>
                  <a:gd name="connsiteY293" fmla="*/ 574782 h 941139"/>
                  <a:gd name="connsiteX294" fmla="*/ 243254 w 1491184"/>
                  <a:gd name="connsiteY294" fmla="*/ 573981 h 941139"/>
                  <a:gd name="connsiteX295" fmla="*/ 244755 w 1491184"/>
                  <a:gd name="connsiteY295" fmla="*/ 573981 h 941139"/>
                  <a:gd name="connsiteX296" fmla="*/ 244755 w 1491184"/>
                  <a:gd name="connsiteY296" fmla="*/ 569977 h 941139"/>
                  <a:gd name="connsiteX297" fmla="*/ 246289 w 1491184"/>
                  <a:gd name="connsiteY297" fmla="*/ 569977 h 941139"/>
                  <a:gd name="connsiteX298" fmla="*/ 246289 w 1491184"/>
                  <a:gd name="connsiteY298" fmla="*/ 569210 h 941139"/>
                  <a:gd name="connsiteX299" fmla="*/ 247824 w 1491184"/>
                  <a:gd name="connsiteY299" fmla="*/ 569210 h 941139"/>
                  <a:gd name="connsiteX300" fmla="*/ 247824 w 1491184"/>
                  <a:gd name="connsiteY300" fmla="*/ 568409 h 941139"/>
                  <a:gd name="connsiteX301" fmla="*/ 249359 w 1491184"/>
                  <a:gd name="connsiteY301" fmla="*/ 568409 h 941139"/>
                  <a:gd name="connsiteX302" fmla="*/ 249359 w 1491184"/>
                  <a:gd name="connsiteY302" fmla="*/ 566808 h 941139"/>
                  <a:gd name="connsiteX303" fmla="*/ 250893 w 1491184"/>
                  <a:gd name="connsiteY303" fmla="*/ 566808 h 941139"/>
                  <a:gd name="connsiteX304" fmla="*/ 250893 w 1491184"/>
                  <a:gd name="connsiteY304" fmla="*/ 566007 h 941139"/>
                  <a:gd name="connsiteX305" fmla="*/ 252417 w 1491184"/>
                  <a:gd name="connsiteY305" fmla="*/ 566007 h 941139"/>
                  <a:gd name="connsiteX306" fmla="*/ 252417 w 1491184"/>
                  <a:gd name="connsiteY306" fmla="*/ 565206 h 941139"/>
                  <a:gd name="connsiteX307" fmla="*/ 253951 w 1491184"/>
                  <a:gd name="connsiteY307" fmla="*/ 565206 h 941139"/>
                  <a:gd name="connsiteX308" fmla="*/ 255486 w 1491184"/>
                  <a:gd name="connsiteY308" fmla="*/ 565206 h 941139"/>
                  <a:gd name="connsiteX309" fmla="*/ 255486 w 1491184"/>
                  <a:gd name="connsiteY309" fmla="*/ 563593 h 941139"/>
                  <a:gd name="connsiteX310" fmla="*/ 257020 w 1491184"/>
                  <a:gd name="connsiteY310" fmla="*/ 563593 h 941139"/>
                  <a:gd name="connsiteX311" fmla="*/ 257020 w 1491184"/>
                  <a:gd name="connsiteY311" fmla="*/ 559623 h 941139"/>
                  <a:gd name="connsiteX312" fmla="*/ 260089 w 1491184"/>
                  <a:gd name="connsiteY312" fmla="*/ 559623 h 941139"/>
                  <a:gd name="connsiteX313" fmla="*/ 260089 w 1491184"/>
                  <a:gd name="connsiteY313" fmla="*/ 558822 h 941139"/>
                  <a:gd name="connsiteX314" fmla="*/ 261580 w 1491184"/>
                  <a:gd name="connsiteY314" fmla="*/ 558822 h 941139"/>
                  <a:gd name="connsiteX315" fmla="*/ 261580 w 1491184"/>
                  <a:gd name="connsiteY315" fmla="*/ 556420 h 941139"/>
                  <a:gd name="connsiteX316" fmla="*/ 263114 w 1491184"/>
                  <a:gd name="connsiteY316" fmla="*/ 556420 h 941139"/>
                  <a:gd name="connsiteX317" fmla="*/ 263114 w 1491184"/>
                  <a:gd name="connsiteY317" fmla="*/ 553217 h 941139"/>
                  <a:gd name="connsiteX318" fmla="*/ 264649 w 1491184"/>
                  <a:gd name="connsiteY318" fmla="*/ 553217 h 941139"/>
                  <a:gd name="connsiteX319" fmla="*/ 264649 w 1491184"/>
                  <a:gd name="connsiteY319" fmla="*/ 551615 h 941139"/>
                  <a:gd name="connsiteX320" fmla="*/ 266183 w 1491184"/>
                  <a:gd name="connsiteY320" fmla="*/ 551615 h 941139"/>
                  <a:gd name="connsiteX321" fmla="*/ 266183 w 1491184"/>
                  <a:gd name="connsiteY321" fmla="*/ 550814 h 941139"/>
                  <a:gd name="connsiteX322" fmla="*/ 267718 w 1491184"/>
                  <a:gd name="connsiteY322" fmla="*/ 550814 h 941139"/>
                  <a:gd name="connsiteX323" fmla="*/ 267718 w 1491184"/>
                  <a:gd name="connsiteY323" fmla="*/ 550013 h 941139"/>
                  <a:gd name="connsiteX324" fmla="*/ 269241 w 1491184"/>
                  <a:gd name="connsiteY324" fmla="*/ 550013 h 941139"/>
                  <a:gd name="connsiteX325" fmla="*/ 269241 w 1491184"/>
                  <a:gd name="connsiteY325" fmla="*/ 549213 h 941139"/>
                  <a:gd name="connsiteX326" fmla="*/ 270776 w 1491184"/>
                  <a:gd name="connsiteY326" fmla="*/ 549213 h 941139"/>
                  <a:gd name="connsiteX327" fmla="*/ 270776 w 1491184"/>
                  <a:gd name="connsiteY327" fmla="*/ 548401 h 941139"/>
                  <a:gd name="connsiteX328" fmla="*/ 272311 w 1491184"/>
                  <a:gd name="connsiteY328" fmla="*/ 548401 h 941139"/>
                  <a:gd name="connsiteX329" fmla="*/ 272311 w 1491184"/>
                  <a:gd name="connsiteY329" fmla="*/ 545998 h 941139"/>
                  <a:gd name="connsiteX330" fmla="*/ 273845 w 1491184"/>
                  <a:gd name="connsiteY330" fmla="*/ 545998 h 941139"/>
                  <a:gd name="connsiteX331" fmla="*/ 273845 w 1491184"/>
                  <a:gd name="connsiteY331" fmla="*/ 543596 h 941139"/>
                  <a:gd name="connsiteX332" fmla="*/ 275380 w 1491184"/>
                  <a:gd name="connsiteY332" fmla="*/ 543596 h 941139"/>
                  <a:gd name="connsiteX333" fmla="*/ 275380 w 1491184"/>
                  <a:gd name="connsiteY333" fmla="*/ 542028 h 941139"/>
                  <a:gd name="connsiteX334" fmla="*/ 276903 w 1491184"/>
                  <a:gd name="connsiteY334" fmla="*/ 542028 h 941139"/>
                  <a:gd name="connsiteX335" fmla="*/ 276903 w 1491184"/>
                  <a:gd name="connsiteY335" fmla="*/ 541227 h 941139"/>
                  <a:gd name="connsiteX336" fmla="*/ 278449 w 1491184"/>
                  <a:gd name="connsiteY336" fmla="*/ 541227 h 941139"/>
                  <a:gd name="connsiteX337" fmla="*/ 278449 w 1491184"/>
                  <a:gd name="connsiteY337" fmla="*/ 540426 h 941139"/>
                  <a:gd name="connsiteX338" fmla="*/ 279939 w 1491184"/>
                  <a:gd name="connsiteY338" fmla="*/ 540426 h 941139"/>
                  <a:gd name="connsiteX339" fmla="*/ 279939 w 1491184"/>
                  <a:gd name="connsiteY339" fmla="*/ 538024 h 941139"/>
                  <a:gd name="connsiteX340" fmla="*/ 281474 w 1491184"/>
                  <a:gd name="connsiteY340" fmla="*/ 538024 h 941139"/>
                  <a:gd name="connsiteX341" fmla="*/ 281474 w 1491184"/>
                  <a:gd name="connsiteY341" fmla="*/ 536422 h 941139"/>
                  <a:gd name="connsiteX342" fmla="*/ 283008 w 1491184"/>
                  <a:gd name="connsiteY342" fmla="*/ 536422 h 941139"/>
                  <a:gd name="connsiteX343" fmla="*/ 283008 w 1491184"/>
                  <a:gd name="connsiteY343" fmla="*/ 534821 h 941139"/>
                  <a:gd name="connsiteX344" fmla="*/ 284532 w 1491184"/>
                  <a:gd name="connsiteY344" fmla="*/ 534821 h 941139"/>
                  <a:gd name="connsiteX345" fmla="*/ 284532 w 1491184"/>
                  <a:gd name="connsiteY345" fmla="*/ 534020 h 941139"/>
                  <a:gd name="connsiteX346" fmla="*/ 286077 w 1491184"/>
                  <a:gd name="connsiteY346" fmla="*/ 534020 h 941139"/>
                  <a:gd name="connsiteX347" fmla="*/ 286077 w 1491184"/>
                  <a:gd name="connsiteY347" fmla="*/ 533219 h 941139"/>
                  <a:gd name="connsiteX348" fmla="*/ 287601 w 1491184"/>
                  <a:gd name="connsiteY348" fmla="*/ 533219 h 941139"/>
                  <a:gd name="connsiteX349" fmla="*/ 287601 w 1491184"/>
                  <a:gd name="connsiteY349" fmla="*/ 529972 h 941139"/>
                  <a:gd name="connsiteX350" fmla="*/ 289135 w 1491184"/>
                  <a:gd name="connsiteY350" fmla="*/ 529972 h 941139"/>
                  <a:gd name="connsiteX351" fmla="*/ 289135 w 1491184"/>
                  <a:gd name="connsiteY351" fmla="*/ 528370 h 941139"/>
                  <a:gd name="connsiteX352" fmla="*/ 290670 w 1491184"/>
                  <a:gd name="connsiteY352" fmla="*/ 528370 h 941139"/>
                  <a:gd name="connsiteX353" fmla="*/ 290670 w 1491184"/>
                  <a:gd name="connsiteY353" fmla="*/ 524333 h 941139"/>
                  <a:gd name="connsiteX354" fmla="*/ 292205 w 1491184"/>
                  <a:gd name="connsiteY354" fmla="*/ 524333 h 941139"/>
                  <a:gd name="connsiteX355" fmla="*/ 292205 w 1491184"/>
                  <a:gd name="connsiteY355" fmla="*/ 521897 h 941139"/>
                  <a:gd name="connsiteX356" fmla="*/ 293739 w 1491184"/>
                  <a:gd name="connsiteY356" fmla="*/ 521897 h 941139"/>
                  <a:gd name="connsiteX357" fmla="*/ 293739 w 1491184"/>
                  <a:gd name="connsiteY357" fmla="*/ 520251 h 941139"/>
                  <a:gd name="connsiteX358" fmla="*/ 295274 w 1491184"/>
                  <a:gd name="connsiteY358" fmla="*/ 520251 h 941139"/>
                  <a:gd name="connsiteX359" fmla="*/ 295274 w 1491184"/>
                  <a:gd name="connsiteY359" fmla="*/ 519450 h 941139"/>
                  <a:gd name="connsiteX360" fmla="*/ 296797 w 1491184"/>
                  <a:gd name="connsiteY360" fmla="*/ 519450 h 941139"/>
                  <a:gd name="connsiteX361" fmla="*/ 296797 w 1491184"/>
                  <a:gd name="connsiteY361" fmla="*/ 517815 h 941139"/>
                  <a:gd name="connsiteX362" fmla="*/ 298298 w 1491184"/>
                  <a:gd name="connsiteY362" fmla="*/ 517815 h 941139"/>
                  <a:gd name="connsiteX363" fmla="*/ 298298 w 1491184"/>
                  <a:gd name="connsiteY363" fmla="*/ 517015 h 941139"/>
                  <a:gd name="connsiteX364" fmla="*/ 299833 w 1491184"/>
                  <a:gd name="connsiteY364" fmla="*/ 517015 h 941139"/>
                  <a:gd name="connsiteX365" fmla="*/ 299833 w 1491184"/>
                  <a:gd name="connsiteY365" fmla="*/ 516180 h 941139"/>
                  <a:gd name="connsiteX366" fmla="*/ 301368 w 1491184"/>
                  <a:gd name="connsiteY366" fmla="*/ 516180 h 941139"/>
                  <a:gd name="connsiteX367" fmla="*/ 302902 w 1491184"/>
                  <a:gd name="connsiteY367" fmla="*/ 516180 h 941139"/>
                  <a:gd name="connsiteX368" fmla="*/ 302902 w 1491184"/>
                  <a:gd name="connsiteY368" fmla="*/ 515380 h 941139"/>
                  <a:gd name="connsiteX369" fmla="*/ 304426 w 1491184"/>
                  <a:gd name="connsiteY369" fmla="*/ 515380 h 941139"/>
                  <a:gd name="connsiteX370" fmla="*/ 304426 w 1491184"/>
                  <a:gd name="connsiteY370" fmla="*/ 512866 h 941139"/>
                  <a:gd name="connsiteX371" fmla="*/ 305960 w 1491184"/>
                  <a:gd name="connsiteY371" fmla="*/ 512866 h 941139"/>
                  <a:gd name="connsiteX372" fmla="*/ 305960 w 1491184"/>
                  <a:gd name="connsiteY372" fmla="*/ 512032 h 941139"/>
                  <a:gd name="connsiteX373" fmla="*/ 307495 w 1491184"/>
                  <a:gd name="connsiteY373" fmla="*/ 512032 h 941139"/>
                  <a:gd name="connsiteX374" fmla="*/ 307495 w 1491184"/>
                  <a:gd name="connsiteY374" fmla="*/ 509563 h 941139"/>
                  <a:gd name="connsiteX375" fmla="*/ 309029 w 1491184"/>
                  <a:gd name="connsiteY375" fmla="*/ 509563 h 941139"/>
                  <a:gd name="connsiteX376" fmla="*/ 309029 w 1491184"/>
                  <a:gd name="connsiteY376" fmla="*/ 507884 h 941139"/>
                  <a:gd name="connsiteX377" fmla="*/ 310564 w 1491184"/>
                  <a:gd name="connsiteY377" fmla="*/ 507884 h 941139"/>
                  <a:gd name="connsiteX378" fmla="*/ 310564 w 1491184"/>
                  <a:gd name="connsiteY378" fmla="*/ 507049 h 941139"/>
                  <a:gd name="connsiteX379" fmla="*/ 312087 w 1491184"/>
                  <a:gd name="connsiteY379" fmla="*/ 507049 h 941139"/>
                  <a:gd name="connsiteX380" fmla="*/ 312087 w 1491184"/>
                  <a:gd name="connsiteY380" fmla="*/ 503702 h 941139"/>
                  <a:gd name="connsiteX381" fmla="*/ 313633 w 1491184"/>
                  <a:gd name="connsiteY381" fmla="*/ 503702 h 941139"/>
                  <a:gd name="connsiteX382" fmla="*/ 313633 w 1491184"/>
                  <a:gd name="connsiteY382" fmla="*/ 502834 h 941139"/>
                  <a:gd name="connsiteX383" fmla="*/ 315123 w 1491184"/>
                  <a:gd name="connsiteY383" fmla="*/ 502834 h 941139"/>
                  <a:gd name="connsiteX384" fmla="*/ 315123 w 1491184"/>
                  <a:gd name="connsiteY384" fmla="*/ 502000 h 941139"/>
                  <a:gd name="connsiteX385" fmla="*/ 316658 w 1491184"/>
                  <a:gd name="connsiteY385" fmla="*/ 502000 h 941139"/>
                  <a:gd name="connsiteX386" fmla="*/ 316658 w 1491184"/>
                  <a:gd name="connsiteY386" fmla="*/ 501155 h 941139"/>
                  <a:gd name="connsiteX387" fmla="*/ 318192 w 1491184"/>
                  <a:gd name="connsiteY387" fmla="*/ 501155 h 941139"/>
                  <a:gd name="connsiteX388" fmla="*/ 318192 w 1491184"/>
                  <a:gd name="connsiteY388" fmla="*/ 500287 h 941139"/>
                  <a:gd name="connsiteX389" fmla="*/ 319716 w 1491184"/>
                  <a:gd name="connsiteY389" fmla="*/ 500287 h 941139"/>
                  <a:gd name="connsiteX390" fmla="*/ 319716 w 1491184"/>
                  <a:gd name="connsiteY390" fmla="*/ 499453 h 941139"/>
                  <a:gd name="connsiteX391" fmla="*/ 321261 w 1491184"/>
                  <a:gd name="connsiteY391" fmla="*/ 499453 h 941139"/>
                  <a:gd name="connsiteX392" fmla="*/ 321261 w 1491184"/>
                  <a:gd name="connsiteY392" fmla="*/ 496917 h 941139"/>
                  <a:gd name="connsiteX393" fmla="*/ 322785 w 1491184"/>
                  <a:gd name="connsiteY393" fmla="*/ 496917 h 941139"/>
                  <a:gd name="connsiteX394" fmla="*/ 322785 w 1491184"/>
                  <a:gd name="connsiteY394" fmla="*/ 493469 h 941139"/>
                  <a:gd name="connsiteX395" fmla="*/ 324320 w 1491184"/>
                  <a:gd name="connsiteY395" fmla="*/ 493469 h 941139"/>
                  <a:gd name="connsiteX396" fmla="*/ 324320 w 1491184"/>
                  <a:gd name="connsiteY396" fmla="*/ 492591 h 941139"/>
                  <a:gd name="connsiteX397" fmla="*/ 327389 w 1491184"/>
                  <a:gd name="connsiteY397" fmla="*/ 492591 h 941139"/>
                  <a:gd name="connsiteX398" fmla="*/ 327389 w 1491184"/>
                  <a:gd name="connsiteY398" fmla="*/ 491723 h 941139"/>
                  <a:gd name="connsiteX399" fmla="*/ 328923 w 1491184"/>
                  <a:gd name="connsiteY399" fmla="*/ 491723 h 941139"/>
                  <a:gd name="connsiteX400" fmla="*/ 328923 w 1491184"/>
                  <a:gd name="connsiteY400" fmla="*/ 487397 h 941139"/>
                  <a:gd name="connsiteX401" fmla="*/ 330447 w 1491184"/>
                  <a:gd name="connsiteY401" fmla="*/ 487397 h 941139"/>
                  <a:gd name="connsiteX402" fmla="*/ 330447 w 1491184"/>
                  <a:gd name="connsiteY402" fmla="*/ 484783 h 941139"/>
                  <a:gd name="connsiteX403" fmla="*/ 331981 w 1491184"/>
                  <a:gd name="connsiteY403" fmla="*/ 484783 h 941139"/>
                  <a:gd name="connsiteX404" fmla="*/ 331981 w 1491184"/>
                  <a:gd name="connsiteY404" fmla="*/ 483916 h 941139"/>
                  <a:gd name="connsiteX405" fmla="*/ 333483 w 1491184"/>
                  <a:gd name="connsiteY405" fmla="*/ 483916 h 941139"/>
                  <a:gd name="connsiteX406" fmla="*/ 333483 w 1491184"/>
                  <a:gd name="connsiteY406" fmla="*/ 479567 h 941139"/>
                  <a:gd name="connsiteX407" fmla="*/ 335017 w 1491184"/>
                  <a:gd name="connsiteY407" fmla="*/ 479567 h 941139"/>
                  <a:gd name="connsiteX408" fmla="*/ 335017 w 1491184"/>
                  <a:gd name="connsiteY408" fmla="*/ 477788 h 941139"/>
                  <a:gd name="connsiteX409" fmla="*/ 338075 w 1491184"/>
                  <a:gd name="connsiteY409" fmla="*/ 477788 h 941139"/>
                  <a:gd name="connsiteX410" fmla="*/ 338075 w 1491184"/>
                  <a:gd name="connsiteY410" fmla="*/ 475174 h 941139"/>
                  <a:gd name="connsiteX411" fmla="*/ 339621 w 1491184"/>
                  <a:gd name="connsiteY411" fmla="*/ 475174 h 941139"/>
                  <a:gd name="connsiteX412" fmla="*/ 339621 w 1491184"/>
                  <a:gd name="connsiteY412" fmla="*/ 473394 h 941139"/>
                  <a:gd name="connsiteX413" fmla="*/ 341144 w 1491184"/>
                  <a:gd name="connsiteY413" fmla="*/ 473394 h 941139"/>
                  <a:gd name="connsiteX414" fmla="*/ 342679 w 1491184"/>
                  <a:gd name="connsiteY414" fmla="*/ 473394 h 941139"/>
                  <a:gd name="connsiteX415" fmla="*/ 342679 w 1491184"/>
                  <a:gd name="connsiteY415" fmla="*/ 471615 h 941139"/>
                  <a:gd name="connsiteX416" fmla="*/ 344214 w 1491184"/>
                  <a:gd name="connsiteY416" fmla="*/ 471615 h 941139"/>
                  <a:gd name="connsiteX417" fmla="*/ 344214 w 1491184"/>
                  <a:gd name="connsiteY417" fmla="*/ 469847 h 941139"/>
                  <a:gd name="connsiteX418" fmla="*/ 345748 w 1491184"/>
                  <a:gd name="connsiteY418" fmla="*/ 469847 h 941139"/>
                  <a:gd name="connsiteX419" fmla="*/ 345748 w 1491184"/>
                  <a:gd name="connsiteY419" fmla="*/ 468968 h 941139"/>
                  <a:gd name="connsiteX420" fmla="*/ 348806 w 1491184"/>
                  <a:gd name="connsiteY420" fmla="*/ 468968 h 941139"/>
                  <a:gd name="connsiteX421" fmla="*/ 348806 w 1491184"/>
                  <a:gd name="connsiteY421" fmla="*/ 468067 h 941139"/>
                  <a:gd name="connsiteX422" fmla="*/ 350307 w 1491184"/>
                  <a:gd name="connsiteY422" fmla="*/ 468067 h 941139"/>
                  <a:gd name="connsiteX423" fmla="*/ 350307 w 1491184"/>
                  <a:gd name="connsiteY423" fmla="*/ 467155 h 941139"/>
                  <a:gd name="connsiteX424" fmla="*/ 351842 w 1491184"/>
                  <a:gd name="connsiteY424" fmla="*/ 467155 h 941139"/>
                  <a:gd name="connsiteX425" fmla="*/ 353377 w 1491184"/>
                  <a:gd name="connsiteY425" fmla="*/ 467155 h 941139"/>
                  <a:gd name="connsiteX426" fmla="*/ 353377 w 1491184"/>
                  <a:gd name="connsiteY426" fmla="*/ 466287 h 941139"/>
                  <a:gd name="connsiteX427" fmla="*/ 354911 w 1491184"/>
                  <a:gd name="connsiteY427" fmla="*/ 466287 h 941139"/>
                  <a:gd name="connsiteX428" fmla="*/ 354911 w 1491184"/>
                  <a:gd name="connsiteY428" fmla="*/ 465387 h 941139"/>
                  <a:gd name="connsiteX429" fmla="*/ 356446 w 1491184"/>
                  <a:gd name="connsiteY429" fmla="*/ 465387 h 941139"/>
                  <a:gd name="connsiteX430" fmla="*/ 356446 w 1491184"/>
                  <a:gd name="connsiteY430" fmla="*/ 463574 h 941139"/>
                  <a:gd name="connsiteX431" fmla="*/ 357969 w 1491184"/>
                  <a:gd name="connsiteY431" fmla="*/ 463574 h 941139"/>
                  <a:gd name="connsiteX432" fmla="*/ 357969 w 1491184"/>
                  <a:gd name="connsiteY432" fmla="*/ 461750 h 941139"/>
                  <a:gd name="connsiteX433" fmla="*/ 359504 w 1491184"/>
                  <a:gd name="connsiteY433" fmla="*/ 461750 h 941139"/>
                  <a:gd name="connsiteX434" fmla="*/ 359504 w 1491184"/>
                  <a:gd name="connsiteY434" fmla="*/ 460849 h 941139"/>
                  <a:gd name="connsiteX435" fmla="*/ 361038 w 1491184"/>
                  <a:gd name="connsiteY435" fmla="*/ 460849 h 941139"/>
                  <a:gd name="connsiteX436" fmla="*/ 361038 w 1491184"/>
                  <a:gd name="connsiteY436" fmla="*/ 459036 h 941139"/>
                  <a:gd name="connsiteX437" fmla="*/ 362573 w 1491184"/>
                  <a:gd name="connsiteY437" fmla="*/ 459036 h 941139"/>
                  <a:gd name="connsiteX438" fmla="*/ 364108 w 1491184"/>
                  <a:gd name="connsiteY438" fmla="*/ 459036 h 941139"/>
                  <a:gd name="connsiteX439" fmla="*/ 364108 w 1491184"/>
                  <a:gd name="connsiteY439" fmla="*/ 458135 h 941139"/>
                  <a:gd name="connsiteX440" fmla="*/ 365631 w 1491184"/>
                  <a:gd name="connsiteY440" fmla="*/ 458135 h 941139"/>
                  <a:gd name="connsiteX441" fmla="*/ 365631 w 1491184"/>
                  <a:gd name="connsiteY441" fmla="*/ 454476 h 941139"/>
                  <a:gd name="connsiteX442" fmla="*/ 367177 w 1491184"/>
                  <a:gd name="connsiteY442" fmla="*/ 454476 h 941139"/>
                  <a:gd name="connsiteX443" fmla="*/ 368667 w 1491184"/>
                  <a:gd name="connsiteY443" fmla="*/ 454476 h 941139"/>
                  <a:gd name="connsiteX444" fmla="*/ 370201 w 1491184"/>
                  <a:gd name="connsiteY444" fmla="*/ 454476 h 941139"/>
                  <a:gd name="connsiteX445" fmla="*/ 370201 w 1491184"/>
                  <a:gd name="connsiteY445" fmla="*/ 453575 h 941139"/>
                  <a:gd name="connsiteX446" fmla="*/ 371736 w 1491184"/>
                  <a:gd name="connsiteY446" fmla="*/ 453575 h 941139"/>
                  <a:gd name="connsiteX447" fmla="*/ 371736 w 1491184"/>
                  <a:gd name="connsiteY447" fmla="*/ 452630 h 941139"/>
                  <a:gd name="connsiteX448" fmla="*/ 373259 w 1491184"/>
                  <a:gd name="connsiteY448" fmla="*/ 452630 h 941139"/>
                  <a:gd name="connsiteX449" fmla="*/ 373259 w 1491184"/>
                  <a:gd name="connsiteY449" fmla="*/ 449883 h 941139"/>
                  <a:gd name="connsiteX450" fmla="*/ 374805 w 1491184"/>
                  <a:gd name="connsiteY450" fmla="*/ 449883 h 941139"/>
                  <a:gd name="connsiteX451" fmla="*/ 374805 w 1491184"/>
                  <a:gd name="connsiteY451" fmla="*/ 448937 h 941139"/>
                  <a:gd name="connsiteX452" fmla="*/ 376329 w 1491184"/>
                  <a:gd name="connsiteY452" fmla="*/ 448937 h 941139"/>
                  <a:gd name="connsiteX453" fmla="*/ 376329 w 1491184"/>
                  <a:gd name="connsiteY453" fmla="*/ 447091 h 941139"/>
                  <a:gd name="connsiteX454" fmla="*/ 377863 w 1491184"/>
                  <a:gd name="connsiteY454" fmla="*/ 447091 h 941139"/>
                  <a:gd name="connsiteX455" fmla="*/ 380932 w 1491184"/>
                  <a:gd name="connsiteY455" fmla="*/ 447091 h 941139"/>
                  <a:gd name="connsiteX456" fmla="*/ 380932 w 1491184"/>
                  <a:gd name="connsiteY456" fmla="*/ 444266 h 941139"/>
                  <a:gd name="connsiteX457" fmla="*/ 382467 w 1491184"/>
                  <a:gd name="connsiteY457" fmla="*/ 444266 h 941139"/>
                  <a:gd name="connsiteX458" fmla="*/ 383990 w 1491184"/>
                  <a:gd name="connsiteY458" fmla="*/ 444266 h 941139"/>
                  <a:gd name="connsiteX459" fmla="*/ 385492 w 1491184"/>
                  <a:gd name="connsiteY459" fmla="*/ 444266 h 941139"/>
                  <a:gd name="connsiteX460" fmla="*/ 385492 w 1491184"/>
                  <a:gd name="connsiteY460" fmla="*/ 443321 h 941139"/>
                  <a:gd name="connsiteX461" fmla="*/ 387026 w 1491184"/>
                  <a:gd name="connsiteY461" fmla="*/ 443321 h 941139"/>
                  <a:gd name="connsiteX462" fmla="*/ 388561 w 1491184"/>
                  <a:gd name="connsiteY462" fmla="*/ 443321 h 941139"/>
                  <a:gd name="connsiteX463" fmla="*/ 388561 w 1491184"/>
                  <a:gd name="connsiteY463" fmla="*/ 441441 h 941139"/>
                  <a:gd name="connsiteX464" fmla="*/ 390095 w 1491184"/>
                  <a:gd name="connsiteY464" fmla="*/ 441441 h 941139"/>
                  <a:gd name="connsiteX465" fmla="*/ 390095 w 1491184"/>
                  <a:gd name="connsiteY465" fmla="*/ 440507 h 941139"/>
                  <a:gd name="connsiteX466" fmla="*/ 391619 w 1491184"/>
                  <a:gd name="connsiteY466" fmla="*/ 440507 h 941139"/>
                  <a:gd name="connsiteX467" fmla="*/ 391619 w 1491184"/>
                  <a:gd name="connsiteY467" fmla="*/ 438583 h 941139"/>
                  <a:gd name="connsiteX468" fmla="*/ 393153 w 1491184"/>
                  <a:gd name="connsiteY468" fmla="*/ 438583 h 941139"/>
                  <a:gd name="connsiteX469" fmla="*/ 393153 w 1491184"/>
                  <a:gd name="connsiteY469" fmla="*/ 437648 h 941139"/>
                  <a:gd name="connsiteX470" fmla="*/ 394688 w 1491184"/>
                  <a:gd name="connsiteY470" fmla="*/ 437648 h 941139"/>
                  <a:gd name="connsiteX471" fmla="*/ 394688 w 1491184"/>
                  <a:gd name="connsiteY471" fmla="*/ 436703 h 941139"/>
                  <a:gd name="connsiteX472" fmla="*/ 396223 w 1491184"/>
                  <a:gd name="connsiteY472" fmla="*/ 436703 h 941139"/>
                  <a:gd name="connsiteX473" fmla="*/ 397757 w 1491184"/>
                  <a:gd name="connsiteY473" fmla="*/ 436703 h 941139"/>
                  <a:gd name="connsiteX474" fmla="*/ 399292 w 1491184"/>
                  <a:gd name="connsiteY474" fmla="*/ 436703 h 941139"/>
                  <a:gd name="connsiteX475" fmla="*/ 399292 w 1491184"/>
                  <a:gd name="connsiteY475" fmla="*/ 435736 h 941139"/>
                  <a:gd name="connsiteX476" fmla="*/ 400815 w 1491184"/>
                  <a:gd name="connsiteY476" fmla="*/ 435736 h 941139"/>
                  <a:gd name="connsiteX477" fmla="*/ 400815 w 1491184"/>
                  <a:gd name="connsiteY477" fmla="*/ 432833 h 941139"/>
                  <a:gd name="connsiteX478" fmla="*/ 402350 w 1491184"/>
                  <a:gd name="connsiteY478" fmla="*/ 432833 h 941139"/>
                  <a:gd name="connsiteX479" fmla="*/ 402350 w 1491184"/>
                  <a:gd name="connsiteY479" fmla="*/ 431865 h 941139"/>
                  <a:gd name="connsiteX480" fmla="*/ 403851 w 1491184"/>
                  <a:gd name="connsiteY480" fmla="*/ 431865 h 941139"/>
                  <a:gd name="connsiteX481" fmla="*/ 405386 w 1491184"/>
                  <a:gd name="connsiteY481" fmla="*/ 431865 h 941139"/>
                  <a:gd name="connsiteX482" fmla="*/ 406920 w 1491184"/>
                  <a:gd name="connsiteY482" fmla="*/ 431865 h 941139"/>
                  <a:gd name="connsiteX483" fmla="*/ 406920 w 1491184"/>
                  <a:gd name="connsiteY483" fmla="*/ 428973 h 941139"/>
                  <a:gd name="connsiteX484" fmla="*/ 408444 w 1491184"/>
                  <a:gd name="connsiteY484" fmla="*/ 428973 h 941139"/>
                  <a:gd name="connsiteX485" fmla="*/ 408444 w 1491184"/>
                  <a:gd name="connsiteY485" fmla="*/ 427016 h 941139"/>
                  <a:gd name="connsiteX486" fmla="*/ 409978 w 1491184"/>
                  <a:gd name="connsiteY486" fmla="*/ 427016 h 941139"/>
                  <a:gd name="connsiteX487" fmla="*/ 411513 w 1491184"/>
                  <a:gd name="connsiteY487" fmla="*/ 427016 h 941139"/>
                  <a:gd name="connsiteX488" fmla="*/ 411513 w 1491184"/>
                  <a:gd name="connsiteY488" fmla="*/ 426048 h 941139"/>
                  <a:gd name="connsiteX489" fmla="*/ 413047 w 1491184"/>
                  <a:gd name="connsiteY489" fmla="*/ 426048 h 941139"/>
                  <a:gd name="connsiteX490" fmla="*/ 413047 w 1491184"/>
                  <a:gd name="connsiteY490" fmla="*/ 425070 h 941139"/>
                  <a:gd name="connsiteX491" fmla="*/ 414582 w 1491184"/>
                  <a:gd name="connsiteY491" fmla="*/ 425070 h 941139"/>
                  <a:gd name="connsiteX492" fmla="*/ 416117 w 1491184"/>
                  <a:gd name="connsiteY492" fmla="*/ 425070 h 941139"/>
                  <a:gd name="connsiteX493" fmla="*/ 416117 w 1491184"/>
                  <a:gd name="connsiteY493" fmla="*/ 424091 h 941139"/>
                  <a:gd name="connsiteX494" fmla="*/ 417651 w 1491184"/>
                  <a:gd name="connsiteY494" fmla="*/ 424091 h 941139"/>
                  <a:gd name="connsiteX495" fmla="*/ 419175 w 1491184"/>
                  <a:gd name="connsiteY495" fmla="*/ 424091 h 941139"/>
                  <a:gd name="connsiteX496" fmla="*/ 420709 w 1491184"/>
                  <a:gd name="connsiteY496" fmla="*/ 424091 h 941139"/>
                  <a:gd name="connsiteX497" fmla="*/ 420709 w 1491184"/>
                  <a:gd name="connsiteY497" fmla="*/ 423079 h 941139"/>
                  <a:gd name="connsiteX498" fmla="*/ 422210 w 1491184"/>
                  <a:gd name="connsiteY498" fmla="*/ 423079 h 941139"/>
                  <a:gd name="connsiteX499" fmla="*/ 422210 w 1491184"/>
                  <a:gd name="connsiteY499" fmla="*/ 422111 h 941139"/>
                  <a:gd name="connsiteX500" fmla="*/ 423745 w 1491184"/>
                  <a:gd name="connsiteY500" fmla="*/ 422111 h 941139"/>
                  <a:gd name="connsiteX501" fmla="*/ 423745 w 1491184"/>
                  <a:gd name="connsiteY501" fmla="*/ 421099 h 941139"/>
                  <a:gd name="connsiteX502" fmla="*/ 425280 w 1491184"/>
                  <a:gd name="connsiteY502" fmla="*/ 421099 h 941139"/>
                  <a:gd name="connsiteX503" fmla="*/ 425280 w 1491184"/>
                  <a:gd name="connsiteY503" fmla="*/ 420120 h 941139"/>
                  <a:gd name="connsiteX504" fmla="*/ 426803 w 1491184"/>
                  <a:gd name="connsiteY504" fmla="*/ 420120 h 941139"/>
                  <a:gd name="connsiteX505" fmla="*/ 428349 w 1491184"/>
                  <a:gd name="connsiteY505" fmla="*/ 420120 h 941139"/>
                  <a:gd name="connsiteX506" fmla="*/ 428349 w 1491184"/>
                  <a:gd name="connsiteY506" fmla="*/ 418096 h 941139"/>
                  <a:gd name="connsiteX507" fmla="*/ 429872 w 1491184"/>
                  <a:gd name="connsiteY507" fmla="*/ 418096 h 941139"/>
                  <a:gd name="connsiteX508" fmla="*/ 429872 w 1491184"/>
                  <a:gd name="connsiteY508" fmla="*/ 417128 h 941139"/>
                  <a:gd name="connsiteX509" fmla="*/ 431407 w 1491184"/>
                  <a:gd name="connsiteY509" fmla="*/ 417128 h 941139"/>
                  <a:gd name="connsiteX510" fmla="*/ 432941 w 1491184"/>
                  <a:gd name="connsiteY510" fmla="*/ 417128 h 941139"/>
                  <a:gd name="connsiteX511" fmla="*/ 432941 w 1491184"/>
                  <a:gd name="connsiteY511" fmla="*/ 414092 h 941139"/>
                  <a:gd name="connsiteX512" fmla="*/ 434476 w 1491184"/>
                  <a:gd name="connsiteY512" fmla="*/ 414092 h 941139"/>
                  <a:gd name="connsiteX513" fmla="*/ 434476 w 1491184"/>
                  <a:gd name="connsiteY513" fmla="*/ 412035 h 941139"/>
                  <a:gd name="connsiteX514" fmla="*/ 435999 w 1491184"/>
                  <a:gd name="connsiteY514" fmla="*/ 412035 h 941139"/>
                  <a:gd name="connsiteX515" fmla="*/ 435999 w 1491184"/>
                  <a:gd name="connsiteY515" fmla="*/ 410022 h 941139"/>
                  <a:gd name="connsiteX516" fmla="*/ 437534 w 1491184"/>
                  <a:gd name="connsiteY516" fmla="*/ 410022 h 941139"/>
                  <a:gd name="connsiteX517" fmla="*/ 437534 w 1491184"/>
                  <a:gd name="connsiteY517" fmla="*/ 407997 h 941139"/>
                  <a:gd name="connsiteX518" fmla="*/ 439035 w 1491184"/>
                  <a:gd name="connsiteY518" fmla="*/ 407997 h 941139"/>
                  <a:gd name="connsiteX519" fmla="*/ 439035 w 1491184"/>
                  <a:gd name="connsiteY519" fmla="*/ 406985 h 941139"/>
                  <a:gd name="connsiteX520" fmla="*/ 440570 w 1491184"/>
                  <a:gd name="connsiteY520" fmla="*/ 406985 h 941139"/>
                  <a:gd name="connsiteX521" fmla="*/ 440570 w 1491184"/>
                  <a:gd name="connsiteY521" fmla="*/ 404928 h 941139"/>
                  <a:gd name="connsiteX522" fmla="*/ 442104 w 1491184"/>
                  <a:gd name="connsiteY522" fmla="*/ 404928 h 941139"/>
                  <a:gd name="connsiteX523" fmla="*/ 442104 w 1491184"/>
                  <a:gd name="connsiteY523" fmla="*/ 401869 h 941139"/>
                  <a:gd name="connsiteX524" fmla="*/ 445162 w 1491184"/>
                  <a:gd name="connsiteY524" fmla="*/ 401869 h 941139"/>
                  <a:gd name="connsiteX525" fmla="*/ 445162 w 1491184"/>
                  <a:gd name="connsiteY525" fmla="*/ 400857 h 941139"/>
                  <a:gd name="connsiteX526" fmla="*/ 446697 w 1491184"/>
                  <a:gd name="connsiteY526" fmla="*/ 400857 h 941139"/>
                  <a:gd name="connsiteX527" fmla="*/ 448232 w 1491184"/>
                  <a:gd name="connsiteY527" fmla="*/ 400857 h 941139"/>
                  <a:gd name="connsiteX528" fmla="*/ 449766 w 1491184"/>
                  <a:gd name="connsiteY528" fmla="*/ 400857 h 941139"/>
                  <a:gd name="connsiteX529" fmla="*/ 451290 w 1491184"/>
                  <a:gd name="connsiteY529" fmla="*/ 400857 h 941139"/>
                  <a:gd name="connsiteX530" fmla="*/ 451290 w 1491184"/>
                  <a:gd name="connsiteY530" fmla="*/ 398766 h 941139"/>
                  <a:gd name="connsiteX531" fmla="*/ 452835 w 1491184"/>
                  <a:gd name="connsiteY531" fmla="*/ 398766 h 941139"/>
                  <a:gd name="connsiteX532" fmla="*/ 455893 w 1491184"/>
                  <a:gd name="connsiteY532" fmla="*/ 398766 h 941139"/>
                  <a:gd name="connsiteX533" fmla="*/ 455893 w 1491184"/>
                  <a:gd name="connsiteY533" fmla="*/ 397754 h 941139"/>
                  <a:gd name="connsiteX534" fmla="*/ 457395 w 1491184"/>
                  <a:gd name="connsiteY534" fmla="*/ 397754 h 941139"/>
                  <a:gd name="connsiteX535" fmla="*/ 457395 w 1491184"/>
                  <a:gd name="connsiteY535" fmla="*/ 396709 h 941139"/>
                  <a:gd name="connsiteX536" fmla="*/ 458929 w 1491184"/>
                  <a:gd name="connsiteY536" fmla="*/ 396709 h 941139"/>
                  <a:gd name="connsiteX537" fmla="*/ 458929 w 1491184"/>
                  <a:gd name="connsiteY537" fmla="*/ 394618 h 941139"/>
                  <a:gd name="connsiteX538" fmla="*/ 460464 w 1491184"/>
                  <a:gd name="connsiteY538" fmla="*/ 394618 h 941139"/>
                  <a:gd name="connsiteX539" fmla="*/ 460464 w 1491184"/>
                  <a:gd name="connsiteY539" fmla="*/ 393572 h 941139"/>
                  <a:gd name="connsiteX540" fmla="*/ 461987 w 1491184"/>
                  <a:gd name="connsiteY540" fmla="*/ 393572 h 941139"/>
                  <a:gd name="connsiteX541" fmla="*/ 461987 w 1491184"/>
                  <a:gd name="connsiteY541" fmla="*/ 391515 h 941139"/>
                  <a:gd name="connsiteX542" fmla="*/ 463522 w 1491184"/>
                  <a:gd name="connsiteY542" fmla="*/ 391515 h 941139"/>
                  <a:gd name="connsiteX543" fmla="*/ 463522 w 1491184"/>
                  <a:gd name="connsiteY543" fmla="*/ 390469 h 941139"/>
                  <a:gd name="connsiteX544" fmla="*/ 465056 w 1491184"/>
                  <a:gd name="connsiteY544" fmla="*/ 390469 h 941139"/>
                  <a:gd name="connsiteX545" fmla="*/ 465056 w 1491184"/>
                  <a:gd name="connsiteY545" fmla="*/ 389390 h 941139"/>
                  <a:gd name="connsiteX546" fmla="*/ 466591 w 1491184"/>
                  <a:gd name="connsiteY546" fmla="*/ 389390 h 941139"/>
                  <a:gd name="connsiteX547" fmla="*/ 466591 w 1491184"/>
                  <a:gd name="connsiteY547" fmla="*/ 387299 h 941139"/>
                  <a:gd name="connsiteX548" fmla="*/ 469660 w 1491184"/>
                  <a:gd name="connsiteY548" fmla="*/ 387299 h 941139"/>
                  <a:gd name="connsiteX549" fmla="*/ 469660 w 1491184"/>
                  <a:gd name="connsiteY549" fmla="*/ 386254 h 941139"/>
                  <a:gd name="connsiteX550" fmla="*/ 471195 w 1491184"/>
                  <a:gd name="connsiteY550" fmla="*/ 386254 h 941139"/>
                  <a:gd name="connsiteX551" fmla="*/ 471195 w 1491184"/>
                  <a:gd name="connsiteY551" fmla="*/ 384163 h 941139"/>
                  <a:gd name="connsiteX552" fmla="*/ 472718 w 1491184"/>
                  <a:gd name="connsiteY552" fmla="*/ 384163 h 941139"/>
                  <a:gd name="connsiteX553" fmla="*/ 472718 w 1491184"/>
                  <a:gd name="connsiteY553" fmla="*/ 383084 h 941139"/>
                  <a:gd name="connsiteX554" fmla="*/ 474219 w 1491184"/>
                  <a:gd name="connsiteY554" fmla="*/ 383084 h 941139"/>
                  <a:gd name="connsiteX555" fmla="*/ 474219 w 1491184"/>
                  <a:gd name="connsiteY555" fmla="*/ 379914 h 941139"/>
                  <a:gd name="connsiteX556" fmla="*/ 475754 w 1491184"/>
                  <a:gd name="connsiteY556" fmla="*/ 379914 h 941139"/>
                  <a:gd name="connsiteX557" fmla="*/ 475754 w 1491184"/>
                  <a:gd name="connsiteY557" fmla="*/ 378869 h 941139"/>
                  <a:gd name="connsiteX558" fmla="*/ 477289 w 1491184"/>
                  <a:gd name="connsiteY558" fmla="*/ 378869 h 941139"/>
                  <a:gd name="connsiteX559" fmla="*/ 478823 w 1491184"/>
                  <a:gd name="connsiteY559" fmla="*/ 378869 h 941139"/>
                  <a:gd name="connsiteX560" fmla="*/ 480347 w 1491184"/>
                  <a:gd name="connsiteY560" fmla="*/ 378869 h 941139"/>
                  <a:gd name="connsiteX561" fmla="*/ 481881 w 1491184"/>
                  <a:gd name="connsiteY561" fmla="*/ 378869 h 941139"/>
                  <a:gd name="connsiteX562" fmla="*/ 481881 w 1491184"/>
                  <a:gd name="connsiteY562" fmla="*/ 377824 h 941139"/>
                  <a:gd name="connsiteX563" fmla="*/ 483416 w 1491184"/>
                  <a:gd name="connsiteY563" fmla="*/ 377824 h 941139"/>
                  <a:gd name="connsiteX564" fmla="*/ 484950 w 1491184"/>
                  <a:gd name="connsiteY564" fmla="*/ 377824 h 941139"/>
                  <a:gd name="connsiteX565" fmla="*/ 484950 w 1491184"/>
                  <a:gd name="connsiteY565" fmla="*/ 375666 h 941139"/>
                  <a:gd name="connsiteX566" fmla="*/ 486485 w 1491184"/>
                  <a:gd name="connsiteY566" fmla="*/ 375666 h 941139"/>
                  <a:gd name="connsiteX567" fmla="*/ 486485 w 1491184"/>
                  <a:gd name="connsiteY567" fmla="*/ 374620 h 941139"/>
                  <a:gd name="connsiteX568" fmla="*/ 488019 w 1491184"/>
                  <a:gd name="connsiteY568" fmla="*/ 374620 h 941139"/>
                  <a:gd name="connsiteX569" fmla="*/ 488019 w 1491184"/>
                  <a:gd name="connsiteY569" fmla="*/ 372463 h 941139"/>
                  <a:gd name="connsiteX570" fmla="*/ 491078 w 1491184"/>
                  <a:gd name="connsiteY570" fmla="*/ 372463 h 941139"/>
                  <a:gd name="connsiteX571" fmla="*/ 491078 w 1491184"/>
                  <a:gd name="connsiteY571" fmla="*/ 371373 h 941139"/>
                  <a:gd name="connsiteX572" fmla="*/ 492579 w 1491184"/>
                  <a:gd name="connsiteY572" fmla="*/ 371373 h 941139"/>
                  <a:gd name="connsiteX573" fmla="*/ 494113 w 1491184"/>
                  <a:gd name="connsiteY573" fmla="*/ 371373 h 941139"/>
                  <a:gd name="connsiteX574" fmla="*/ 494113 w 1491184"/>
                  <a:gd name="connsiteY574" fmla="*/ 370294 h 941139"/>
                  <a:gd name="connsiteX575" fmla="*/ 495648 w 1491184"/>
                  <a:gd name="connsiteY575" fmla="*/ 370294 h 941139"/>
                  <a:gd name="connsiteX576" fmla="*/ 495648 w 1491184"/>
                  <a:gd name="connsiteY576" fmla="*/ 367058 h 941139"/>
                  <a:gd name="connsiteX577" fmla="*/ 497171 w 1491184"/>
                  <a:gd name="connsiteY577" fmla="*/ 367058 h 941139"/>
                  <a:gd name="connsiteX578" fmla="*/ 497171 w 1491184"/>
                  <a:gd name="connsiteY578" fmla="*/ 365979 h 941139"/>
                  <a:gd name="connsiteX579" fmla="*/ 498706 w 1491184"/>
                  <a:gd name="connsiteY579" fmla="*/ 365979 h 941139"/>
                  <a:gd name="connsiteX580" fmla="*/ 498706 w 1491184"/>
                  <a:gd name="connsiteY580" fmla="*/ 364900 h 941139"/>
                  <a:gd name="connsiteX581" fmla="*/ 500241 w 1491184"/>
                  <a:gd name="connsiteY581" fmla="*/ 364900 h 941139"/>
                  <a:gd name="connsiteX582" fmla="*/ 501775 w 1491184"/>
                  <a:gd name="connsiteY582" fmla="*/ 364900 h 941139"/>
                  <a:gd name="connsiteX583" fmla="*/ 503310 w 1491184"/>
                  <a:gd name="connsiteY583" fmla="*/ 364900 h 941139"/>
                  <a:gd name="connsiteX584" fmla="*/ 504833 w 1491184"/>
                  <a:gd name="connsiteY584" fmla="*/ 364900 h 941139"/>
                  <a:gd name="connsiteX585" fmla="*/ 506379 w 1491184"/>
                  <a:gd name="connsiteY585" fmla="*/ 364900 h 941139"/>
                  <a:gd name="connsiteX586" fmla="*/ 506379 w 1491184"/>
                  <a:gd name="connsiteY586" fmla="*/ 363821 h 941139"/>
                  <a:gd name="connsiteX587" fmla="*/ 507902 w 1491184"/>
                  <a:gd name="connsiteY587" fmla="*/ 363821 h 941139"/>
                  <a:gd name="connsiteX588" fmla="*/ 507902 w 1491184"/>
                  <a:gd name="connsiteY588" fmla="*/ 361630 h 941139"/>
                  <a:gd name="connsiteX589" fmla="*/ 510938 w 1491184"/>
                  <a:gd name="connsiteY589" fmla="*/ 361630 h 941139"/>
                  <a:gd name="connsiteX590" fmla="*/ 510938 w 1491184"/>
                  <a:gd name="connsiteY590" fmla="*/ 360507 h 941139"/>
                  <a:gd name="connsiteX591" fmla="*/ 512462 w 1491184"/>
                  <a:gd name="connsiteY591" fmla="*/ 360507 h 941139"/>
                  <a:gd name="connsiteX592" fmla="*/ 512462 w 1491184"/>
                  <a:gd name="connsiteY592" fmla="*/ 359428 h 941139"/>
                  <a:gd name="connsiteX593" fmla="*/ 514007 w 1491184"/>
                  <a:gd name="connsiteY593" fmla="*/ 359428 h 941139"/>
                  <a:gd name="connsiteX594" fmla="*/ 514007 w 1491184"/>
                  <a:gd name="connsiteY594" fmla="*/ 357237 h 941139"/>
                  <a:gd name="connsiteX595" fmla="*/ 515531 w 1491184"/>
                  <a:gd name="connsiteY595" fmla="*/ 357237 h 941139"/>
                  <a:gd name="connsiteX596" fmla="*/ 515531 w 1491184"/>
                  <a:gd name="connsiteY596" fmla="*/ 355001 h 941139"/>
                  <a:gd name="connsiteX597" fmla="*/ 517065 w 1491184"/>
                  <a:gd name="connsiteY597" fmla="*/ 355001 h 941139"/>
                  <a:gd name="connsiteX598" fmla="*/ 518600 w 1491184"/>
                  <a:gd name="connsiteY598" fmla="*/ 355001 h 941139"/>
                  <a:gd name="connsiteX599" fmla="*/ 518600 w 1491184"/>
                  <a:gd name="connsiteY599" fmla="*/ 352810 h 941139"/>
                  <a:gd name="connsiteX600" fmla="*/ 521669 w 1491184"/>
                  <a:gd name="connsiteY600" fmla="*/ 352810 h 941139"/>
                  <a:gd name="connsiteX601" fmla="*/ 523193 w 1491184"/>
                  <a:gd name="connsiteY601" fmla="*/ 352810 h 941139"/>
                  <a:gd name="connsiteX602" fmla="*/ 523193 w 1491184"/>
                  <a:gd name="connsiteY602" fmla="*/ 351687 h 941139"/>
                  <a:gd name="connsiteX603" fmla="*/ 524738 w 1491184"/>
                  <a:gd name="connsiteY603" fmla="*/ 351687 h 941139"/>
                  <a:gd name="connsiteX604" fmla="*/ 524738 w 1491184"/>
                  <a:gd name="connsiteY604" fmla="*/ 350575 h 941139"/>
                  <a:gd name="connsiteX605" fmla="*/ 526262 w 1491184"/>
                  <a:gd name="connsiteY605" fmla="*/ 350575 h 941139"/>
                  <a:gd name="connsiteX606" fmla="*/ 526262 w 1491184"/>
                  <a:gd name="connsiteY606" fmla="*/ 349463 h 941139"/>
                  <a:gd name="connsiteX607" fmla="*/ 527763 w 1491184"/>
                  <a:gd name="connsiteY607" fmla="*/ 349463 h 941139"/>
                  <a:gd name="connsiteX608" fmla="*/ 527763 w 1491184"/>
                  <a:gd name="connsiteY608" fmla="*/ 346082 h 941139"/>
                  <a:gd name="connsiteX609" fmla="*/ 529297 w 1491184"/>
                  <a:gd name="connsiteY609" fmla="*/ 346082 h 941139"/>
                  <a:gd name="connsiteX610" fmla="*/ 529297 w 1491184"/>
                  <a:gd name="connsiteY610" fmla="*/ 343813 h 941139"/>
                  <a:gd name="connsiteX611" fmla="*/ 530832 w 1491184"/>
                  <a:gd name="connsiteY611" fmla="*/ 343813 h 941139"/>
                  <a:gd name="connsiteX612" fmla="*/ 530832 w 1491184"/>
                  <a:gd name="connsiteY612" fmla="*/ 342700 h 941139"/>
                  <a:gd name="connsiteX613" fmla="*/ 532367 w 1491184"/>
                  <a:gd name="connsiteY613" fmla="*/ 342700 h 941139"/>
                  <a:gd name="connsiteX614" fmla="*/ 533890 w 1491184"/>
                  <a:gd name="connsiteY614" fmla="*/ 342700 h 941139"/>
                  <a:gd name="connsiteX615" fmla="*/ 533890 w 1491184"/>
                  <a:gd name="connsiteY615" fmla="*/ 341588 h 941139"/>
                  <a:gd name="connsiteX616" fmla="*/ 535425 w 1491184"/>
                  <a:gd name="connsiteY616" fmla="*/ 341588 h 941139"/>
                  <a:gd name="connsiteX617" fmla="*/ 536959 w 1491184"/>
                  <a:gd name="connsiteY617" fmla="*/ 341588 h 941139"/>
                  <a:gd name="connsiteX618" fmla="*/ 536959 w 1491184"/>
                  <a:gd name="connsiteY618" fmla="*/ 340443 h 941139"/>
                  <a:gd name="connsiteX619" fmla="*/ 538494 w 1491184"/>
                  <a:gd name="connsiteY619" fmla="*/ 340443 h 941139"/>
                  <a:gd name="connsiteX620" fmla="*/ 538494 w 1491184"/>
                  <a:gd name="connsiteY620" fmla="*/ 339286 h 941139"/>
                  <a:gd name="connsiteX621" fmla="*/ 540028 w 1491184"/>
                  <a:gd name="connsiteY621" fmla="*/ 339286 h 941139"/>
                  <a:gd name="connsiteX622" fmla="*/ 540028 w 1491184"/>
                  <a:gd name="connsiteY622" fmla="*/ 338174 h 941139"/>
                  <a:gd name="connsiteX623" fmla="*/ 541563 w 1491184"/>
                  <a:gd name="connsiteY623" fmla="*/ 338174 h 941139"/>
                  <a:gd name="connsiteX624" fmla="*/ 541563 w 1491184"/>
                  <a:gd name="connsiteY624" fmla="*/ 335872 h 941139"/>
                  <a:gd name="connsiteX625" fmla="*/ 543087 w 1491184"/>
                  <a:gd name="connsiteY625" fmla="*/ 335872 h 941139"/>
                  <a:gd name="connsiteX626" fmla="*/ 544621 w 1491184"/>
                  <a:gd name="connsiteY626" fmla="*/ 335872 h 941139"/>
                  <a:gd name="connsiteX627" fmla="*/ 544621 w 1491184"/>
                  <a:gd name="connsiteY627" fmla="*/ 333580 h 941139"/>
                  <a:gd name="connsiteX628" fmla="*/ 546122 w 1491184"/>
                  <a:gd name="connsiteY628" fmla="*/ 333580 h 941139"/>
                  <a:gd name="connsiteX629" fmla="*/ 547657 w 1491184"/>
                  <a:gd name="connsiteY629" fmla="*/ 333580 h 941139"/>
                  <a:gd name="connsiteX630" fmla="*/ 547657 w 1491184"/>
                  <a:gd name="connsiteY630" fmla="*/ 331278 h 941139"/>
                  <a:gd name="connsiteX631" fmla="*/ 549191 w 1491184"/>
                  <a:gd name="connsiteY631" fmla="*/ 331278 h 941139"/>
                  <a:gd name="connsiteX632" fmla="*/ 552250 w 1491184"/>
                  <a:gd name="connsiteY632" fmla="*/ 331278 h 941139"/>
                  <a:gd name="connsiteX633" fmla="*/ 552250 w 1491184"/>
                  <a:gd name="connsiteY633" fmla="*/ 328943 h 941139"/>
                  <a:gd name="connsiteX634" fmla="*/ 553784 w 1491184"/>
                  <a:gd name="connsiteY634" fmla="*/ 328943 h 941139"/>
                  <a:gd name="connsiteX635" fmla="*/ 555319 w 1491184"/>
                  <a:gd name="connsiteY635" fmla="*/ 328943 h 941139"/>
                  <a:gd name="connsiteX636" fmla="*/ 555319 w 1491184"/>
                  <a:gd name="connsiteY636" fmla="*/ 327797 h 941139"/>
                  <a:gd name="connsiteX637" fmla="*/ 556853 w 1491184"/>
                  <a:gd name="connsiteY637" fmla="*/ 327797 h 941139"/>
                  <a:gd name="connsiteX638" fmla="*/ 556853 w 1491184"/>
                  <a:gd name="connsiteY638" fmla="*/ 325428 h 941139"/>
                  <a:gd name="connsiteX639" fmla="*/ 558377 w 1491184"/>
                  <a:gd name="connsiteY639" fmla="*/ 325428 h 941139"/>
                  <a:gd name="connsiteX640" fmla="*/ 558377 w 1491184"/>
                  <a:gd name="connsiteY640" fmla="*/ 323048 h 941139"/>
                  <a:gd name="connsiteX641" fmla="*/ 559922 w 1491184"/>
                  <a:gd name="connsiteY641" fmla="*/ 323048 h 941139"/>
                  <a:gd name="connsiteX642" fmla="*/ 562947 w 1491184"/>
                  <a:gd name="connsiteY642" fmla="*/ 323048 h 941139"/>
                  <a:gd name="connsiteX643" fmla="*/ 562947 w 1491184"/>
                  <a:gd name="connsiteY643" fmla="*/ 320679 h 941139"/>
                  <a:gd name="connsiteX644" fmla="*/ 564482 w 1491184"/>
                  <a:gd name="connsiteY644" fmla="*/ 320679 h 941139"/>
                  <a:gd name="connsiteX645" fmla="*/ 566005 w 1491184"/>
                  <a:gd name="connsiteY645" fmla="*/ 320679 h 941139"/>
                  <a:gd name="connsiteX646" fmla="*/ 566005 w 1491184"/>
                  <a:gd name="connsiteY646" fmla="*/ 319500 h 941139"/>
                  <a:gd name="connsiteX647" fmla="*/ 567551 w 1491184"/>
                  <a:gd name="connsiteY647" fmla="*/ 319500 h 941139"/>
                  <a:gd name="connsiteX648" fmla="*/ 567551 w 1491184"/>
                  <a:gd name="connsiteY648" fmla="*/ 318310 h 941139"/>
                  <a:gd name="connsiteX649" fmla="*/ 569074 w 1491184"/>
                  <a:gd name="connsiteY649" fmla="*/ 318310 h 941139"/>
                  <a:gd name="connsiteX650" fmla="*/ 570609 w 1491184"/>
                  <a:gd name="connsiteY650" fmla="*/ 318310 h 941139"/>
                  <a:gd name="connsiteX651" fmla="*/ 573678 w 1491184"/>
                  <a:gd name="connsiteY651" fmla="*/ 318310 h 941139"/>
                  <a:gd name="connsiteX652" fmla="*/ 573678 w 1491184"/>
                  <a:gd name="connsiteY652" fmla="*/ 317098 h 941139"/>
                  <a:gd name="connsiteX653" fmla="*/ 575213 w 1491184"/>
                  <a:gd name="connsiteY653" fmla="*/ 317098 h 941139"/>
                  <a:gd name="connsiteX654" fmla="*/ 575213 w 1491184"/>
                  <a:gd name="connsiteY654" fmla="*/ 315874 h 941139"/>
                  <a:gd name="connsiteX655" fmla="*/ 576736 w 1491184"/>
                  <a:gd name="connsiteY655" fmla="*/ 315874 h 941139"/>
                  <a:gd name="connsiteX656" fmla="*/ 576736 w 1491184"/>
                  <a:gd name="connsiteY656" fmla="*/ 314695 h 941139"/>
                  <a:gd name="connsiteX657" fmla="*/ 578271 w 1491184"/>
                  <a:gd name="connsiteY657" fmla="*/ 314695 h 941139"/>
                  <a:gd name="connsiteX658" fmla="*/ 578271 w 1491184"/>
                  <a:gd name="connsiteY658" fmla="*/ 313472 h 941139"/>
                  <a:gd name="connsiteX659" fmla="*/ 579805 w 1491184"/>
                  <a:gd name="connsiteY659" fmla="*/ 313472 h 941139"/>
                  <a:gd name="connsiteX660" fmla="*/ 579805 w 1491184"/>
                  <a:gd name="connsiteY660" fmla="*/ 312260 h 941139"/>
                  <a:gd name="connsiteX661" fmla="*/ 581307 w 1491184"/>
                  <a:gd name="connsiteY661" fmla="*/ 312260 h 941139"/>
                  <a:gd name="connsiteX662" fmla="*/ 582841 w 1491184"/>
                  <a:gd name="connsiteY662" fmla="*/ 312260 h 941139"/>
                  <a:gd name="connsiteX663" fmla="*/ 582841 w 1491184"/>
                  <a:gd name="connsiteY663" fmla="*/ 309813 h 941139"/>
                  <a:gd name="connsiteX664" fmla="*/ 585899 w 1491184"/>
                  <a:gd name="connsiteY664" fmla="*/ 309813 h 941139"/>
                  <a:gd name="connsiteX665" fmla="*/ 585899 w 1491184"/>
                  <a:gd name="connsiteY665" fmla="*/ 307377 h 941139"/>
                  <a:gd name="connsiteX666" fmla="*/ 587434 w 1491184"/>
                  <a:gd name="connsiteY666" fmla="*/ 307377 h 941139"/>
                  <a:gd name="connsiteX667" fmla="*/ 588968 w 1491184"/>
                  <a:gd name="connsiteY667" fmla="*/ 307377 h 941139"/>
                  <a:gd name="connsiteX668" fmla="*/ 590503 w 1491184"/>
                  <a:gd name="connsiteY668" fmla="*/ 307377 h 941139"/>
                  <a:gd name="connsiteX669" fmla="*/ 592037 w 1491184"/>
                  <a:gd name="connsiteY669" fmla="*/ 307377 h 941139"/>
                  <a:gd name="connsiteX670" fmla="*/ 592037 w 1491184"/>
                  <a:gd name="connsiteY670" fmla="*/ 302428 h 941139"/>
                  <a:gd name="connsiteX671" fmla="*/ 595107 w 1491184"/>
                  <a:gd name="connsiteY671" fmla="*/ 302428 h 941139"/>
                  <a:gd name="connsiteX672" fmla="*/ 595107 w 1491184"/>
                  <a:gd name="connsiteY672" fmla="*/ 301171 h 941139"/>
                  <a:gd name="connsiteX673" fmla="*/ 596630 w 1491184"/>
                  <a:gd name="connsiteY673" fmla="*/ 301171 h 941139"/>
                  <a:gd name="connsiteX674" fmla="*/ 596630 w 1491184"/>
                  <a:gd name="connsiteY674" fmla="*/ 299914 h 941139"/>
                  <a:gd name="connsiteX675" fmla="*/ 598131 w 1491184"/>
                  <a:gd name="connsiteY675" fmla="*/ 299914 h 941139"/>
                  <a:gd name="connsiteX676" fmla="*/ 598131 w 1491184"/>
                  <a:gd name="connsiteY676" fmla="*/ 298658 h 941139"/>
                  <a:gd name="connsiteX677" fmla="*/ 599666 w 1491184"/>
                  <a:gd name="connsiteY677" fmla="*/ 298658 h 941139"/>
                  <a:gd name="connsiteX678" fmla="*/ 601189 w 1491184"/>
                  <a:gd name="connsiteY678" fmla="*/ 298658 h 941139"/>
                  <a:gd name="connsiteX679" fmla="*/ 602735 w 1491184"/>
                  <a:gd name="connsiteY679" fmla="*/ 298658 h 941139"/>
                  <a:gd name="connsiteX680" fmla="*/ 604258 w 1491184"/>
                  <a:gd name="connsiteY680" fmla="*/ 298658 h 941139"/>
                  <a:gd name="connsiteX681" fmla="*/ 604258 w 1491184"/>
                  <a:gd name="connsiteY681" fmla="*/ 297412 h 941139"/>
                  <a:gd name="connsiteX682" fmla="*/ 607328 w 1491184"/>
                  <a:gd name="connsiteY682" fmla="*/ 297412 h 941139"/>
                  <a:gd name="connsiteX683" fmla="*/ 607328 w 1491184"/>
                  <a:gd name="connsiteY683" fmla="*/ 294865 h 941139"/>
                  <a:gd name="connsiteX684" fmla="*/ 608862 w 1491184"/>
                  <a:gd name="connsiteY684" fmla="*/ 294865 h 941139"/>
                  <a:gd name="connsiteX685" fmla="*/ 610397 w 1491184"/>
                  <a:gd name="connsiteY685" fmla="*/ 294865 h 941139"/>
                  <a:gd name="connsiteX686" fmla="*/ 610397 w 1491184"/>
                  <a:gd name="connsiteY686" fmla="*/ 292329 h 941139"/>
                  <a:gd name="connsiteX687" fmla="*/ 611920 w 1491184"/>
                  <a:gd name="connsiteY687" fmla="*/ 292329 h 941139"/>
                  <a:gd name="connsiteX688" fmla="*/ 613466 w 1491184"/>
                  <a:gd name="connsiteY688" fmla="*/ 292329 h 941139"/>
                  <a:gd name="connsiteX689" fmla="*/ 616491 w 1491184"/>
                  <a:gd name="connsiteY689" fmla="*/ 292329 h 941139"/>
                  <a:gd name="connsiteX690" fmla="*/ 616491 w 1491184"/>
                  <a:gd name="connsiteY690" fmla="*/ 291028 h 941139"/>
                  <a:gd name="connsiteX691" fmla="*/ 618025 w 1491184"/>
                  <a:gd name="connsiteY691" fmla="*/ 291028 h 941139"/>
                  <a:gd name="connsiteX692" fmla="*/ 618025 w 1491184"/>
                  <a:gd name="connsiteY692" fmla="*/ 288459 h 941139"/>
                  <a:gd name="connsiteX693" fmla="*/ 619549 w 1491184"/>
                  <a:gd name="connsiteY693" fmla="*/ 288459 h 941139"/>
                  <a:gd name="connsiteX694" fmla="*/ 619549 w 1491184"/>
                  <a:gd name="connsiteY694" fmla="*/ 287135 h 941139"/>
                  <a:gd name="connsiteX695" fmla="*/ 621094 w 1491184"/>
                  <a:gd name="connsiteY695" fmla="*/ 287135 h 941139"/>
                  <a:gd name="connsiteX696" fmla="*/ 621094 w 1491184"/>
                  <a:gd name="connsiteY696" fmla="*/ 283231 h 941139"/>
                  <a:gd name="connsiteX697" fmla="*/ 622618 w 1491184"/>
                  <a:gd name="connsiteY697" fmla="*/ 283231 h 941139"/>
                  <a:gd name="connsiteX698" fmla="*/ 622618 w 1491184"/>
                  <a:gd name="connsiteY698" fmla="*/ 281941 h 941139"/>
                  <a:gd name="connsiteX699" fmla="*/ 624152 w 1491184"/>
                  <a:gd name="connsiteY699" fmla="*/ 281941 h 941139"/>
                  <a:gd name="connsiteX700" fmla="*/ 624152 w 1491184"/>
                  <a:gd name="connsiteY700" fmla="*/ 278004 h 941139"/>
                  <a:gd name="connsiteX701" fmla="*/ 627222 w 1491184"/>
                  <a:gd name="connsiteY701" fmla="*/ 278004 h 941139"/>
                  <a:gd name="connsiteX702" fmla="*/ 627222 w 1491184"/>
                  <a:gd name="connsiteY702" fmla="*/ 275357 h 941139"/>
                  <a:gd name="connsiteX703" fmla="*/ 628756 w 1491184"/>
                  <a:gd name="connsiteY703" fmla="*/ 275357 h 941139"/>
                  <a:gd name="connsiteX704" fmla="*/ 628756 w 1491184"/>
                  <a:gd name="connsiteY704" fmla="*/ 272710 h 941139"/>
                  <a:gd name="connsiteX705" fmla="*/ 630280 w 1491184"/>
                  <a:gd name="connsiteY705" fmla="*/ 272710 h 941139"/>
                  <a:gd name="connsiteX706" fmla="*/ 631814 w 1491184"/>
                  <a:gd name="connsiteY706" fmla="*/ 272710 h 941139"/>
                  <a:gd name="connsiteX707" fmla="*/ 633316 w 1491184"/>
                  <a:gd name="connsiteY707" fmla="*/ 272710 h 941139"/>
                  <a:gd name="connsiteX708" fmla="*/ 633316 w 1491184"/>
                  <a:gd name="connsiteY708" fmla="*/ 271387 h 941139"/>
                  <a:gd name="connsiteX709" fmla="*/ 634850 w 1491184"/>
                  <a:gd name="connsiteY709" fmla="*/ 271387 h 941139"/>
                  <a:gd name="connsiteX710" fmla="*/ 634850 w 1491184"/>
                  <a:gd name="connsiteY710" fmla="*/ 268728 h 941139"/>
                  <a:gd name="connsiteX711" fmla="*/ 636385 w 1491184"/>
                  <a:gd name="connsiteY711" fmla="*/ 268728 h 941139"/>
                  <a:gd name="connsiteX712" fmla="*/ 636385 w 1491184"/>
                  <a:gd name="connsiteY712" fmla="*/ 266048 h 941139"/>
                  <a:gd name="connsiteX713" fmla="*/ 637908 w 1491184"/>
                  <a:gd name="connsiteY713" fmla="*/ 266048 h 941139"/>
                  <a:gd name="connsiteX714" fmla="*/ 637908 w 1491184"/>
                  <a:gd name="connsiteY714" fmla="*/ 264736 h 941139"/>
                  <a:gd name="connsiteX715" fmla="*/ 639443 w 1491184"/>
                  <a:gd name="connsiteY715" fmla="*/ 264736 h 941139"/>
                  <a:gd name="connsiteX716" fmla="*/ 639443 w 1491184"/>
                  <a:gd name="connsiteY716" fmla="*/ 263368 h 941139"/>
                  <a:gd name="connsiteX717" fmla="*/ 640977 w 1491184"/>
                  <a:gd name="connsiteY717" fmla="*/ 263368 h 941139"/>
                  <a:gd name="connsiteX718" fmla="*/ 642512 w 1491184"/>
                  <a:gd name="connsiteY718" fmla="*/ 263368 h 941139"/>
                  <a:gd name="connsiteX719" fmla="*/ 644046 w 1491184"/>
                  <a:gd name="connsiteY719" fmla="*/ 263368 h 941139"/>
                  <a:gd name="connsiteX720" fmla="*/ 644046 w 1491184"/>
                  <a:gd name="connsiteY720" fmla="*/ 260687 h 941139"/>
                  <a:gd name="connsiteX721" fmla="*/ 645581 w 1491184"/>
                  <a:gd name="connsiteY721" fmla="*/ 260687 h 941139"/>
                  <a:gd name="connsiteX722" fmla="*/ 647105 w 1491184"/>
                  <a:gd name="connsiteY722" fmla="*/ 260687 h 941139"/>
                  <a:gd name="connsiteX723" fmla="*/ 647105 w 1491184"/>
                  <a:gd name="connsiteY723" fmla="*/ 259330 h 941139"/>
                  <a:gd name="connsiteX724" fmla="*/ 648639 w 1491184"/>
                  <a:gd name="connsiteY724" fmla="*/ 259330 h 941139"/>
                  <a:gd name="connsiteX725" fmla="*/ 648639 w 1491184"/>
                  <a:gd name="connsiteY725" fmla="*/ 257973 h 941139"/>
                  <a:gd name="connsiteX726" fmla="*/ 651675 w 1491184"/>
                  <a:gd name="connsiteY726" fmla="*/ 257973 h 941139"/>
                  <a:gd name="connsiteX727" fmla="*/ 653210 w 1491184"/>
                  <a:gd name="connsiteY727" fmla="*/ 257973 h 941139"/>
                  <a:gd name="connsiteX728" fmla="*/ 654733 w 1491184"/>
                  <a:gd name="connsiteY728" fmla="*/ 257973 h 941139"/>
                  <a:gd name="connsiteX729" fmla="*/ 654733 w 1491184"/>
                  <a:gd name="connsiteY729" fmla="*/ 256617 h 941139"/>
                  <a:gd name="connsiteX730" fmla="*/ 656267 w 1491184"/>
                  <a:gd name="connsiteY730" fmla="*/ 256617 h 941139"/>
                  <a:gd name="connsiteX731" fmla="*/ 662406 w 1491184"/>
                  <a:gd name="connsiteY731" fmla="*/ 256617 h 941139"/>
                  <a:gd name="connsiteX732" fmla="*/ 663940 w 1491184"/>
                  <a:gd name="connsiteY732" fmla="*/ 256617 h 941139"/>
                  <a:gd name="connsiteX733" fmla="*/ 665464 w 1491184"/>
                  <a:gd name="connsiteY733" fmla="*/ 256617 h 941139"/>
                  <a:gd name="connsiteX734" fmla="*/ 666999 w 1491184"/>
                  <a:gd name="connsiteY734" fmla="*/ 256617 h 941139"/>
                  <a:gd name="connsiteX735" fmla="*/ 666999 w 1491184"/>
                  <a:gd name="connsiteY735" fmla="*/ 255215 h 941139"/>
                  <a:gd name="connsiteX736" fmla="*/ 668533 w 1491184"/>
                  <a:gd name="connsiteY736" fmla="*/ 255215 h 941139"/>
                  <a:gd name="connsiteX737" fmla="*/ 670034 w 1491184"/>
                  <a:gd name="connsiteY737" fmla="*/ 255215 h 941139"/>
                  <a:gd name="connsiteX738" fmla="*/ 670034 w 1491184"/>
                  <a:gd name="connsiteY738" fmla="*/ 253825 h 941139"/>
                  <a:gd name="connsiteX739" fmla="*/ 671569 w 1491184"/>
                  <a:gd name="connsiteY739" fmla="*/ 253825 h 941139"/>
                  <a:gd name="connsiteX740" fmla="*/ 671569 w 1491184"/>
                  <a:gd name="connsiteY740" fmla="*/ 252435 h 941139"/>
                  <a:gd name="connsiteX741" fmla="*/ 673092 w 1491184"/>
                  <a:gd name="connsiteY741" fmla="*/ 252435 h 941139"/>
                  <a:gd name="connsiteX742" fmla="*/ 674627 w 1491184"/>
                  <a:gd name="connsiteY742" fmla="*/ 252435 h 941139"/>
                  <a:gd name="connsiteX743" fmla="*/ 674627 w 1491184"/>
                  <a:gd name="connsiteY743" fmla="*/ 251033 h 941139"/>
                  <a:gd name="connsiteX744" fmla="*/ 676161 w 1491184"/>
                  <a:gd name="connsiteY744" fmla="*/ 251033 h 941139"/>
                  <a:gd name="connsiteX745" fmla="*/ 677696 w 1491184"/>
                  <a:gd name="connsiteY745" fmla="*/ 251033 h 941139"/>
                  <a:gd name="connsiteX746" fmla="*/ 677696 w 1491184"/>
                  <a:gd name="connsiteY746" fmla="*/ 248208 h 941139"/>
                  <a:gd name="connsiteX747" fmla="*/ 682289 w 1491184"/>
                  <a:gd name="connsiteY747" fmla="*/ 248208 h 941139"/>
                  <a:gd name="connsiteX748" fmla="*/ 683823 w 1491184"/>
                  <a:gd name="connsiteY748" fmla="*/ 248208 h 941139"/>
                  <a:gd name="connsiteX749" fmla="*/ 685358 w 1491184"/>
                  <a:gd name="connsiteY749" fmla="*/ 248208 h 941139"/>
                  <a:gd name="connsiteX750" fmla="*/ 686859 w 1491184"/>
                  <a:gd name="connsiteY750" fmla="*/ 248208 h 941139"/>
                  <a:gd name="connsiteX751" fmla="*/ 686859 w 1491184"/>
                  <a:gd name="connsiteY751" fmla="*/ 245395 h 941139"/>
                  <a:gd name="connsiteX752" fmla="*/ 688394 w 1491184"/>
                  <a:gd name="connsiteY752" fmla="*/ 245395 h 941139"/>
                  <a:gd name="connsiteX753" fmla="*/ 688394 w 1491184"/>
                  <a:gd name="connsiteY753" fmla="*/ 243960 h 941139"/>
                  <a:gd name="connsiteX754" fmla="*/ 689917 w 1491184"/>
                  <a:gd name="connsiteY754" fmla="*/ 243960 h 941139"/>
                  <a:gd name="connsiteX755" fmla="*/ 689917 w 1491184"/>
                  <a:gd name="connsiteY755" fmla="*/ 241113 h 941139"/>
                  <a:gd name="connsiteX756" fmla="*/ 691452 w 1491184"/>
                  <a:gd name="connsiteY756" fmla="*/ 241113 h 941139"/>
                  <a:gd name="connsiteX757" fmla="*/ 692986 w 1491184"/>
                  <a:gd name="connsiteY757" fmla="*/ 241113 h 941139"/>
                  <a:gd name="connsiteX758" fmla="*/ 694521 w 1491184"/>
                  <a:gd name="connsiteY758" fmla="*/ 241113 h 941139"/>
                  <a:gd name="connsiteX759" fmla="*/ 696055 w 1491184"/>
                  <a:gd name="connsiteY759" fmla="*/ 241113 h 941139"/>
                  <a:gd name="connsiteX760" fmla="*/ 697579 w 1491184"/>
                  <a:gd name="connsiteY760" fmla="*/ 241113 h 941139"/>
                  <a:gd name="connsiteX761" fmla="*/ 699125 w 1491184"/>
                  <a:gd name="connsiteY761" fmla="*/ 241113 h 941139"/>
                  <a:gd name="connsiteX762" fmla="*/ 699125 w 1491184"/>
                  <a:gd name="connsiteY762" fmla="*/ 239678 h 941139"/>
                  <a:gd name="connsiteX763" fmla="*/ 703717 w 1491184"/>
                  <a:gd name="connsiteY763" fmla="*/ 239678 h 941139"/>
                  <a:gd name="connsiteX764" fmla="*/ 703717 w 1491184"/>
                  <a:gd name="connsiteY764" fmla="*/ 238254 h 941139"/>
                  <a:gd name="connsiteX765" fmla="*/ 705219 w 1491184"/>
                  <a:gd name="connsiteY765" fmla="*/ 238254 h 941139"/>
                  <a:gd name="connsiteX766" fmla="*/ 706753 w 1491184"/>
                  <a:gd name="connsiteY766" fmla="*/ 238254 h 941139"/>
                  <a:gd name="connsiteX767" fmla="*/ 708277 w 1491184"/>
                  <a:gd name="connsiteY767" fmla="*/ 238254 h 941139"/>
                  <a:gd name="connsiteX768" fmla="*/ 709811 w 1491184"/>
                  <a:gd name="connsiteY768" fmla="*/ 238254 h 941139"/>
                  <a:gd name="connsiteX769" fmla="*/ 712880 w 1491184"/>
                  <a:gd name="connsiteY769" fmla="*/ 238254 h 941139"/>
                  <a:gd name="connsiteX770" fmla="*/ 714415 w 1491184"/>
                  <a:gd name="connsiteY770" fmla="*/ 238254 h 941139"/>
                  <a:gd name="connsiteX771" fmla="*/ 715949 w 1491184"/>
                  <a:gd name="connsiteY771" fmla="*/ 238254 h 941139"/>
                  <a:gd name="connsiteX772" fmla="*/ 717484 w 1491184"/>
                  <a:gd name="connsiteY772" fmla="*/ 238254 h 941139"/>
                  <a:gd name="connsiteX773" fmla="*/ 719007 w 1491184"/>
                  <a:gd name="connsiteY773" fmla="*/ 238254 h 941139"/>
                  <a:gd name="connsiteX774" fmla="*/ 720542 w 1491184"/>
                  <a:gd name="connsiteY774" fmla="*/ 238254 h 941139"/>
                  <a:gd name="connsiteX775" fmla="*/ 725113 w 1491184"/>
                  <a:gd name="connsiteY775" fmla="*/ 238254 h 941139"/>
                  <a:gd name="connsiteX776" fmla="*/ 725113 w 1491184"/>
                  <a:gd name="connsiteY776" fmla="*/ 236753 h 941139"/>
                  <a:gd name="connsiteX777" fmla="*/ 726636 w 1491184"/>
                  <a:gd name="connsiteY777" fmla="*/ 236753 h 941139"/>
                  <a:gd name="connsiteX778" fmla="*/ 726636 w 1491184"/>
                  <a:gd name="connsiteY778" fmla="*/ 235251 h 941139"/>
                  <a:gd name="connsiteX779" fmla="*/ 728170 w 1491184"/>
                  <a:gd name="connsiteY779" fmla="*/ 235251 h 941139"/>
                  <a:gd name="connsiteX780" fmla="*/ 728170 w 1491184"/>
                  <a:gd name="connsiteY780" fmla="*/ 233750 h 941139"/>
                  <a:gd name="connsiteX781" fmla="*/ 729705 w 1491184"/>
                  <a:gd name="connsiteY781" fmla="*/ 233750 h 941139"/>
                  <a:gd name="connsiteX782" fmla="*/ 729705 w 1491184"/>
                  <a:gd name="connsiteY782" fmla="*/ 232260 h 941139"/>
                  <a:gd name="connsiteX783" fmla="*/ 731240 w 1491184"/>
                  <a:gd name="connsiteY783" fmla="*/ 232260 h 941139"/>
                  <a:gd name="connsiteX784" fmla="*/ 731240 w 1491184"/>
                  <a:gd name="connsiteY784" fmla="*/ 230758 h 941139"/>
                  <a:gd name="connsiteX785" fmla="*/ 732774 w 1491184"/>
                  <a:gd name="connsiteY785" fmla="*/ 230758 h 941139"/>
                  <a:gd name="connsiteX786" fmla="*/ 735832 w 1491184"/>
                  <a:gd name="connsiteY786" fmla="*/ 230758 h 941139"/>
                  <a:gd name="connsiteX787" fmla="*/ 737367 w 1491184"/>
                  <a:gd name="connsiteY787" fmla="*/ 230758 h 941139"/>
                  <a:gd name="connsiteX788" fmla="*/ 738901 w 1491184"/>
                  <a:gd name="connsiteY788" fmla="*/ 230758 h 941139"/>
                  <a:gd name="connsiteX789" fmla="*/ 740403 w 1491184"/>
                  <a:gd name="connsiteY789" fmla="*/ 230758 h 941139"/>
                  <a:gd name="connsiteX790" fmla="*/ 741937 w 1491184"/>
                  <a:gd name="connsiteY790" fmla="*/ 230758 h 941139"/>
                  <a:gd name="connsiteX791" fmla="*/ 744995 w 1491184"/>
                  <a:gd name="connsiteY791" fmla="*/ 230758 h 941139"/>
                  <a:gd name="connsiteX792" fmla="*/ 744995 w 1491184"/>
                  <a:gd name="connsiteY792" fmla="*/ 229190 h 941139"/>
                  <a:gd name="connsiteX793" fmla="*/ 746530 w 1491184"/>
                  <a:gd name="connsiteY793" fmla="*/ 229190 h 941139"/>
                  <a:gd name="connsiteX794" fmla="*/ 746530 w 1491184"/>
                  <a:gd name="connsiteY794" fmla="*/ 226120 h 941139"/>
                  <a:gd name="connsiteX795" fmla="*/ 748064 w 1491184"/>
                  <a:gd name="connsiteY795" fmla="*/ 226120 h 941139"/>
                  <a:gd name="connsiteX796" fmla="*/ 749599 w 1491184"/>
                  <a:gd name="connsiteY796" fmla="*/ 226120 h 941139"/>
                  <a:gd name="connsiteX797" fmla="*/ 749599 w 1491184"/>
                  <a:gd name="connsiteY797" fmla="*/ 224552 h 941139"/>
                  <a:gd name="connsiteX798" fmla="*/ 751122 w 1491184"/>
                  <a:gd name="connsiteY798" fmla="*/ 224552 h 941139"/>
                  <a:gd name="connsiteX799" fmla="*/ 752668 w 1491184"/>
                  <a:gd name="connsiteY799" fmla="*/ 224552 h 941139"/>
                  <a:gd name="connsiteX800" fmla="*/ 752668 w 1491184"/>
                  <a:gd name="connsiteY800" fmla="*/ 222995 h 941139"/>
                  <a:gd name="connsiteX801" fmla="*/ 754192 w 1491184"/>
                  <a:gd name="connsiteY801" fmla="*/ 222995 h 941139"/>
                  <a:gd name="connsiteX802" fmla="*/ 757228 w 1491184"/>
                  <a:gd name="connsiteY802" fmla="*/ 222995 h 941139"/>
                  <a:gd name="connsiteX803" fmla="*/ 758751 w 1491184"/>
                  <a:gd name="connsiteY803" fmla="*/ 222995 h 941139"/>
                  <a:gd name="connsiteX804" fmla="*/ 760297 w 1491184"/>
                  <a:gd name="connsiteY804" fmla="*/ 222995 h 941139"/>
                  <a:gd name="connsiteX805" fmla="*/ 761820 w 1491184"/>
                  <a:gd name="connsiteY805" fmla="*/ 222995 h 941139"/>
                  <a:gd name="connsiteX806" fmla="*/ 761820 w 1491184"/>
                  <a:gd name="connsiteY806" fmla="*/ 221427 h 941139"/>
                  <a:gd name="connsiteX807" fmla="*/ 763355 w 1491184"/>
                  <a:gd name="connsiteY807" fmla="*/ 221427 h 941139"/>
                  <a:gd name="connsiteX808" fmla="*/ 763355 w 1491184"/>
                  <a:gd name="connsiteY808" fmla="*/ 219825 h 941139"/>
                  <a:gd name="connsiteX809" fmla="*/ 766424 w 1491184"/>
                  <a:gd name="connsiteY809" fmla="*/ 219825 h 941139"/>
                  <a:gd name="connsiteX810" fmla="*/ 766424 w 1491184"/>
                  <a:gd name="connsiteY810" fmla="*/ 218246 h 941139"/>
                  <a:gd name="connsiteX811" fmla="*/ 767958 w 1491184"/>
                  <a:gd name="connsiteY811" fmla="*/ 218246 h 941139"/>
                  <a:gd name="connsiteX812" fmla="*/ 767958 w 1491184"/>
                  <a:gd name="connsiteY812" fmla="*/ 216644 h 941139"/>
                  <a:gd name="connsiteX813" fmla="*/ 769493 w 1491184"/>
                  <a:gd name="connsiteY813" fmla="*/ 216644 h 941139"/>
                  <a:gd name="connsiteX814" fmla="*/ 769493 w 1491184"/>
                  <a:gd name="connsiteY814" fmla="*/ 211906 h 941139"/>
                  <a:gd name="connsiteX815" fmla="*/ 771016 w 1491184"/>
                  <a:gd name="connsiteY815" fmla="*/ 211906 h 941139"/>
                  <a:gd name="connsiteX816" fmla="*/ 771016 w 1491184"/>
                  <a:gd name="connsiteY816" fmla="*/ 210305 h 941139"/>
                  <a:gd name="connsiteX817" fmla="*/ 772551 w 1491184"/>
                  <a:gd name="connsiteY817" fmla="*/ 210305 h 941139"/>
                  <a:gd name="connsiteX818" fmla="*/ 774086 w 1491184"/>
                  <a:gd name="connsiteY818" fmla="*/ 210305 h 941139"/>
                  <a:gd name="connsiteX819" fmla="*/ 778645 w 1491184"/>
                  <a:gd name="connsiteY819" fmla="*/ 210305 h 941139"/>
                  <a:gd name="connsiteX820" fmla="*/ 778645 w 1491184"/>
                  <a:gd name="connsiteY820" fmla="*/ 208703 h 941139"/>
                  <a:gd name="connsiteX821" fmla="*/ 780180 w 1491184"/>
                  <a:gd name="connsiteY821" fmla="*/ 208703 h 941139"/>
                  <a:gd name="connsiteX822" fmla="*/ 781714 w 1491184"/>
                  <a:gd name="connsiteY822" fmla="*/ 208703 h 941139"/>
                  <a:gd name="connsiteX823" fmla="*/ 784783 w 1491184"/>
                  <a:gd name="connsiteY823" fmla="*/ 208703 h 941139"/>
                  <a:gd name="connsiteX824" fmla="*/ 784783 w 1491184"/>
                  <a:gd name="connsiteY824" fmla="*/ 205467 h 941139"/>
                  <a:gd name="connsiteX825" fmla="*/ 786307 w 1491184"/>
                  <a:gd name="connsiteY825" fmla="*/ 205467 h 941139"/>
                  <a:gd name="connsiteX826" fmla="*/ 786307 w 1491184"/>
                  <a:gd name="connsiteY826" fmla="*/ 202219 h 941139"/>
                  <a:gd name="connsiteX827" fmla="*/ 789376 w 1491184"/>
                  <a:gd name="connsiteY827" fmla="*/ 202219 h 941139"/>
                  <a:gd name="connsiteX828" fmla="*/ 789376 w 1491184"/>
                  <a:gd name="connsiteY828" fmla="*/ 200618 h 941139"/>
                  <a:gd name="connsiteX829" fmla="*/ 790910 w 1491184"/>
                  <a:gd name="connsiteY829" fmla="*/ 200618 h 941139"/>
                  <a:gd name="connsiteX830" fmla="*/ 792445 w 1491184"/>
                  <a:gd name="connsiteY830" fmla="*/ 200618 h 941139"/>
                  <a:gd name="connsiteX831" fmla="*/ 793935 w 1491184"/>
                  <a:gd name="connsiteY831" fmla="*/ 200618 h 941139"/>
                  <a:gd name="connsiteX832" fmla="*/ 795481 w 1491184"/>
                  <a:gd name="connsiteY832" fmla="*/ 200618 h 941139"/>
                  <a:gd name="connsiteX833" fmla="*/ 797004 w 1491184"/>
                  <a:gd name="connsiteY833" fmla="*/ 200618 h 941139"/>
                  <a:gd name="connsiteX834" fmla="*/ 797004 w 1491184"/>
                  <a:gd name="connsiteY834" fmla="*/ 198983 h 941139"/>
                  <a:gd name="connsiteX835" fmla="*/ 800074 w 1491184"/>
                  <a:gd name="connsiteY835" fmla="*/ 198983 h 941139"/>
                  <a:gd name="connsiteX836" fmla="*/ 801608 w 1491184"/>
                  <a:gd name="connsiteY836" fmla="*/ 198983 h 941139"/>
                  <a:gd name="connsiteX837" fmla="*/ 803143 w 1491184"/>
                  <a:gd name="connsiteY837" fmla="*/ 198983 h 941139"/>
                  <a:gd name="connsiteX838" fmla="*/ 803143 w 1491184"/>
                  <a:gd name="connsiteY838" fmla="*/ 197314 h 941139"/>
                  <a:gd name="connsiteX839" fmla="*/ 804666 w 1491184"/>
                  <a:gd name="connsiteY839" fmla="*/ 197314 h 941139"/>
                  <a:gd name="connsiteX840" fmla="*/ 804666 w 1491184"/>
                  <a:gd name="connsiteY840" fmla="*/ 194000 h 941139"/>
                  <a:gd name="connsiteX841" fmla="*/ 806212 w 1491184"/>
                  <a:gd name="connsiteY841" fmla="*/ 194000 h 941139"/>
                  <a:gd name="connsiteX842" fmla="*/ 806212 w 1491184"/>
                  <a:gd name="connsiteY842" fmla="*/ 192332 h 941139"/>
                  <a:gd name="connsiteX843" fmla="*/ 810771 w 1491184"/>
                  <a:gd name="connsiteY843" fmla="*/ 192332 h 941139"/>
                  <a:gd name="connsiteX844" fmla="*/ 810771 w 1491184"/>
                  <a:gd name="connsiteY844" fmla="*/ 188984 h 941139"/>
                  <a:gd name="connsiteX845" fmla="*/ 812295 w 1491184"/>
                  <a:gd name="connsiteY845" fmla="*/ 188984 h 941139"/>
                  <a:gd name="connsiteX846" fmla="*/ 812295 w 1491184"/>
                  <a:gd name="connsiteY846" fmla="*/ 187316 h 941139"/>
                  <a:gd name="connsiteX847" fmla="*/ 813840 w 1491184"/>
                  <a:gd name="connsiteY847" fmla="*/ 187316 h 941139"/>
                  <a:gd name="connsiteX848" fmla="*/ 815364 w 1491184"/>
                  <a:gd name="connsiteY848" fmla="*/ 187316 h 941139"/>
                  <a:gd name="connsiteX849" fmla="*/ 816898 w 1491184"/>
                  <a:gd name="connsiteY849" fmla="*/ 187316 h 941139"/>
                  <a:gd name="connsiteX850" fmla="*/ 816898 w 1491184"/>
                  <a:gd name="connsiteY850" fmla="*/ 185603 h 941139"/>
                  <a:gd name="connsiteX851" fmla="*/ 818433 w 1491184"/>
                  <a:gd name="connsiteY851" fmla="*/ 185603 h 941139"/>
                  <a:gd name="connsiteX852" fmla="*/ 818433 w 1491184"/>
                  <a:gd name="connsiteY852" fmla="*/ 182222 h 941139"/>
                  <a:gd name="connsiteX853" fmla="*/ 823025 w 1491184"/>
                  <a:gd name="connsiteY853" fmla="*/ 182222 h 941139"/>
                  <a:gd name="connsiteX854" fmla="*/ 824560 w 1491184"/>
                  <a:gd name="connsiteY854" fmla="*/ 182222 h 941139"/>
                  <a:gd name="connsiteX855" fmla="*/ 826095 w 1491184"/>
                  <a:gd name="connsiteY855" fmla="*/ 182222 h 941139"/>
                  <a:gd name="connsiteX856" fmla="*/ 826095 w 1491184"/>
                  <a:gd name="connsiteY856" fmla="*/ 178808 h 941139"/>
                  <a:gd name="connsiteX857" fmla="*/ 827629 w 1491184"/>
                  <a:gd name="connsiteY857" fmla="*/ 178808 h 941139"/>
                  <a:gd name="connsiteX858" fmla="*/ 829130 w 1491184"/>
                  <a:gd name="connsiteY858" fmla="*/ 178808 h 941139"/>
                  <a:gd name="connsiteX859" fmla="*/ 829130 w 1491184"/>
                  <a:gd name="connsiteY859" fmla="*/ 177106 h 941139"/>
                  <a:gd name="connsiteX860" fmla="*/ 830654 w 1491184"/>
                  <a:gd name="connsiteY860" fmla="*/ 177106 h 941139"/>
                  <a:gd name="connsiteX861" fmla="*/ 830654 w 1491184"/>
                  <a:gd name="connsiteY861" fmla="*/ 175393 h 941139"/>
                  <a:gd name="connsiteX862" fmla="*/ 832189 w 1491184"/>
                  <a:gd name="connsiteY862" fmla="*/ 175393 h 941139"/>
                  <a:gd name="connsiteX863" fmla="*/ 833723 w 1491184"/>
                  <a:gd name="connsiteY863" fmla="*/ 175393 h 941139"/>
                  <a:gd name="connsiteX864" fmla="*/ 833723 w 1491184"/>
                  <a:gd name="connsiteY864" fmla="*/ 173658 h 941139"/>
                  <a:gd name="connsiteX865" fmla="*/ 835258 w 1491184"/>
                  <a:gd name="connsiteY865" fmla="*/ 173658 h 941139"/>
                  <a:gd name="connsiteX866" fmla="*/ 835258 w 1491184"/>
                  <a:gd name="connsiteY866" fmla="*/ 171945 h 941139"/>
                  <a:gd name="connsiteX867" fmla="*/ 836792 w 1491184"/>
                  <a:gd name="connsiteY867" fmla="*/ 171945 h 941139"/>
                  <a:gd name="connsiteX868" fmla="*/ 838327 w 1491184"/>
                  <a:gd name="connsiteY868" fmla="*/ 171945 h 941139"/>
                  <a:gd name="connsiteX869" fmla="*/ 839850 w 1491184"/>
                  <a:gd name="connsiteY869" fmla="*/ 171945 h 941139"/>
                  <a:gd name="connsiteX870" fmla="*/ 839850 w 1491184"/>
                  <a:gd name="connsiteY870" fmla="*/ 170166 h 941139"/>
                  <a:gd name="connsiteX871" fmla="*/ 842919 w 1491184"/>
                  <a:gd name="connsiteY871" fmla="*/ 170166 h 941139"/>
                  <a:gd name="connsiteX872" fmla="*/ 844454 w 1491184"/>
                  <a:gd name="connsiteY872" fmla="*/ 170166 h 941139"/>
                  <a:gd name="connsiteX873" fmla="*/ 845955 w 1491184"/>
                  <a:gd name="connsiteY873" fmla="*/ 170166 h 941139"/>
                  <a:gd name="connsiteX874" fmla="*/ 845955 w 1491184"/>
                  <a:gd name="connsiteY874" fmla="*/ 166651 h 941139"/>
                  <a:gd name="connsiteX875" fmla="*/ 847479 w 1491184"/>
                  <a:gd name="connsiteY875" fmla="*/ 166651 h 941139"/>
                  <a:gd name="connsiteX876" fmla="*/ 849024 w 1491184"/>
                  <a:gd name="connsiteY876" fmla="*/ 166651 h 941139"/>
                  <a:gd name="connsiteX877" fmla="*/ 849024 w 1491184"/>
                  <a:gd name="connsiteY877" fmla="*/ 164872 h 941139"/>
                  <a:gd name="connsiteX878" fmla="*/ 850548 w 1491184"/>
                  <a:gd name="connsiteY878" fmla="*/ 164872 h 941139"/>
                  <a:gd name="connsiteX879" fmla="*/ 850548 w 1491184"/>
                  <a:gd name="connsiteY879" fmla="*/ 163092 h 941139"/>
                  <a:gd name="connsiteX880" fmla="*/ 852083 w 1491184"/>
                  <a:gd name="connsiteY880" fmla="*/ 163092 h 941139"/>
                  <a:gd name="connsiteX881" fmla="*/ 852083 w 1491184"/>
                  <a:gd name="connsiteY881" fmla="*/ 161324 h 941139"/>
                  <a:gd name="connsiteX882" fmla="*/ 853617 w 1491184"/>
                  <a:gd name="connsiteY882" fmla="*/ 161324 h 941139"/>
                  <a:gd name="connsiteX883" fmla="*/ 855152 w 1491184"/>
                  <a:gd name="connsiteY883" fmla="*/ 161324 h 941139"/>
                  <a:gd name="connsiteX884" fmla="*/ 856686 w 1491184"/>
                  <a:gd name="connsiteY884" fmla="*/ 161324 h 941139"/>
                  <a:gd name="connsiteX885" fmla="*/ 856686 w 1491184"/>
                  <a:gd name="connsiteY885" fmla="*/ 159544 h 941139"/>
                  <a:gd name="connsiteX886" fmla="*/ 858210 w 1491184"/>
                  <a:gd name="connsiteY886" fmla="*/ 159544 h 941139"/>
                  <a:gd name="connsiteX887" fmla="*/ 858210 w 1491184"/>
                  <a:gd name="connsiteY887" fmla="*/ 157731 h 941139"/>
                  <a:gd name="connsiteX888" fmla="*/ 859744 w 1491184"/>
                  <a:gd name="connsiteY888" fmla="*/ 157731 h 941139"/>
                  <a:gd name="connsiteX889" fmla="*/ 859744 w 1491184"/>
                  <a:gd name="connsiteY889" fmla="*/ 155919 h 941139"/>
                  <a:gd name="connsiteX890" fmla="*/ 865838 w 1491184"/>
                  <a:gd name="connsiteY890" fmla="*/ 155919 h 941139"/>
                  <a:gd name="connsiteX891" fmla="*/ 867373 w 1491184"/>
                  <a:gd name="connsiteY891" fmla="*/ 155919 h 941139"/>
                  <a:gd name="connsiteX892" fmla="*/ 868907 w 1491184"/>
                  <a:gd name="connsiteY892" fmla="*/ 155919 h 941139"/>
                  <a:gd name="connsiteX893" fmla="*/ 870442 w 1491184"/>
                  <a:gd name="connsiteY893" fmla="*/ 155919 h 941139"/>
                  <a:gd name="connsiteX894" fmla="*/ 873511 w 1491184"/>
                  <a:gd name="connsiteY894" fmla="*/ 155919 h 941139"/>
                  <a:gd name="connsiteX895" fmla="*/ 873511 w 1491184"/>
                  <a:gd name="connsiteY895" fmla="*/ 154072 h 941139"/>
                  <a:gd name="connsiteX896" fmla="*/ 875034 w 1491184"/>
                  <a:gd name="connsiteY896" fmla="*/ 154072 h 941139"/>
                  <a:gd name="connsiteX897" fmla="*/ 876569 w 1491184"/>
                  <a:gd name="connsiteY897" fmla="*/ 154072 h 941139"/>
                  <a:gd name="connsiteX898" fmla="*/ 876569 w 1491184"/>
                  <a:gd name="connsiteY898" fmla="*/ 152226 h 941139"/>
                  <a:gd name="connsiteX899" fmla="*/ 878104 w 1491184"/>
                  <a:gd name="connsiteY899" fmla="*/ 152226 h 941139"/>
                  <a:gd name="connsiteX900" fmla="*/ 879638 w 1491184"/>
                  <a:gd name="connsiteY900" fmla="*/ 152226 h 941139"/>
                  <a:gd name="connsiteX901" fmla="*/ 879638 w 1491184"/>
                  <a:gd name="connsiteY901" fmla="*/ 150380 h 941139"/>
                  <a:gd name="connsiteX902" fmla="*/ 881139 w 1491184"/>
                  <a:gd name="connsiteY902" fmla="*/ 150380 h 941139"/>
                  <a:gd name="connsiteX903" fmla="*/ 887267 w 1491184"/>
                  <a:gd name="connsiteY903" fmla="*/ 150380 h 941139"/>
                  <a:gd name="connsiteX904" fmla="*/ 888801 w 1491184"/>
                  <a:gd name="connsiteY904" fmla="*/ 150380 h 941139"/>
                  <a:gd name="connsiteX905" fmla="*/ 890336 w 1491184"/>
                  <a:gd name="connsiteY905" fmla="*/ 150380 h 941139"/>
                  <a:gd name="connsiteX906" fmla="*/ 891870 w 1491184"/>
                  <a:gd name="connsiteY906" fmla="*/ 150380 h 941139"/>
                  <a:gd name="connsiteX907" fmla="*/ 891870 w 1491184"/>
                  <a:gd name="connsiteY907" fmla="*/ 148467 h 941139"/>
                  <a:gd name="connsiteX908" fmla="*/ 896463 w 1491184"/>
                  <a:gd name="connsiteY908" fmla="*/ 148467 h 941139"/>
                  <a:gd name="connsiteX909" fmla="*/ 896463 w 1491184"/>
                  <a:gd name="connsiteY909" fmla="*/ 146543 h 941139"/>
                  <a:gd name="connsiteX910" fmla="*/ 897998 w 1491184"/>
                  <a:gd name="connsiteY910" fmla="*/ 146543 h 941139"/>
                  <a:gd name="connsiteX911" fmla="*/ 899499 w 1491184"/>
                  <a:gd name="connsiteY911" fmla="*/ 146543 h 941139"/>
                  <a:gd name="connsiteX912" fmla="*/ 901022 w 1491184"/>
                  <a:gd name="connsiteY912" fmla="*/ 146543 h 941139"/>
                  <a:gd name="connsiteX913" fmla="*/ 902557 w 1491184"/>
                  <a:gd name="connsiteY913" fmla="*/ 146543 h 941139"/>
                  <a:gd name="connsiteX914" fmla="*/ 902557 w 1491184"/>
                  <a:gd name="connsiteY914" fmla="*/ 144563 h 941139"/>
                  <a:gd name="connsiteX915" fmla="*/ 904092 w 1491184"/>
                  <a:gd name="connsiteY915" fmla="*/ 144563 h 941139"/>
                  <a:gd name="connsiteX916" fmla="*/ 904092 w 1491184"/>
                  <a:gd name="connsiteY916" fmla="*/ 142606 h 941139"/>
                  <a:gd name="connsiteX917" fmla="*/ 907161 w 1491184"/>
                  <a:gd name="connsiteY917" fmla="*/ 142606 h 941139"/>
                  <a:gd name="connsiteX918" fmla="*/ 911753 w 1491184"/>
                  <a:gd name="connsiteY918" fmla="*/ 142606 h 941139"/>
                  <a:gd name="connsiteX919" fmla="*/ 913288 w 1491184"/>
                  <a:gd name="connsiteY919" fmla="*/ 142606 h 941139"/>
                  <a:gd name="connsiteX920" fmla="*/ 916357 w 1491184"/>
                  <a:gd name="connsiteY920" fmla="*/ 142606 h 941139"/>
                  <a:gd name="connsiteX921" fmla="*/ 916357 w 1491184"/>
                  <a:gd name="connsiteY921" fmla="*/ 140593 h 941139"/>
                  <a:gd name="connsiteX922" fmla="*/ 919382 w 1491184"/>
                  <a:gd name="connsiteY922" fmla="*/ 140593 h 941139"/>
                  <a:gd name="connsiteX923" fmla="*/ 920916 w 1491184"/>
                  <a:gd name="connsiteY923" fmla="*/ 140593 h 941139"/>
                  <a:gd name="connsiteX924" fmla="*/ 923985 w 1491184"/>
                  <a:gd name="connsiteY924" fmla="*/ 140593 h 941139"/>
                  <a:gd name="connsiteX925" fmla="*/ 925520 w 1491184"/>
                  <a:gd name="connsiteY925" fmla="*/ 140593 h 941139"/>
                  <a:gd name="connsiteX926" fmla="*/ 925520 w 1491184"/>
                  <a:gd name="connsiteY926" fmla="*/ 138568 h 941139"/>
                  <a:gd name="connsiteX927" fmla="*/ 928578 w 1491184"/>
                  <a:gd name="connsiteY927" fmla="*/ 138568 h 941139"/>
                  <a:gd name="connsiteX928" fmla="*/ 930113 w 1491184"/>
                  <a:gd name="connsiteY928" fmla="*/ 138568 h 941139"/>
                  <a:gd name="connsiteX929" fmla="*/ 931647 w 1491184"/>
                  <a:gd name="connsiteY929" fmla="*/ 138568 h 941139"/>
                  <a:gd name="connsiteX930" fmla="*/ 931647 w 1491184"/>
                  <a:gd name="connsiteY930" fmla="*/ 136511 h 941139"/>
                  <a:gd name="connsiteX931" fmla="*/ 933182 w 1491184"/>
                  <a:gd name="connsiteY931" fmla="*/ 136511 h 941139"/>
                  <a:gd name="connsiteX932" fmla="*/ 934683 w 1491184"/>
                  <a:gd name="connsiteY932" fmla="*/ 136511 h 941139"/>
                  <a:gd name="connsiteX933" fmla="*/ 934683 w 1491184"/>
                  <a:gd name="connsiteY933" fmla="*/ 134453 h 941139"/>
                  <a:gd name="connsiteX934" fmla="*/ 939276 w 1491184"/>
                  <a:gd name="connsiteY934" fmla="*/ 134453 h 941139"/>
                  <a:gd name="connsiteX935" fmla="*/ 940810 w 1491184"/>
                  <a:gd name="connsiteY935" fmla="*/ 134453 h 941139"/>
                  <a:gd name="connsiteX936" fmla="*/ 940810 w 1491184"/>
                  <a:gd name="connsiteY936" fmla="*/ 132329 h 941139"/>
                  <a:gd name="connsiteX937" fmla="*/ 942345 w 1491184"/>
                  <a:gd name="connsiteY937" fmla="*/ 132329 h 941139"/>
                  <a:gd name="connsiteX938" fmla="*/ 943879 w 1491184"/>
                  <a:gd name="connsiteY938" fmla="*/ 132329 h 941139"/>
                  <a:gd name="connsiteX939" fmla="*/ 945414 w 1491184"/>
                  <a:gd name="connsiteY939" fmla="*/ 132329 h 941139"/>
                  <a:gd name="connsiteX940" fmla="*/ 946937 w 1491184"/>
                  <a:gd name="connsiteY940" fmla="*/ 132329 h 941139"/>
                  <a:gd name="connsiteX941" fmla="*/ 946937 w 1491184"/>
                  <a:gd name="connsiteY941" fmla="*/ 130205 h 941139"/>
                  <a:gd name="connsiteX942" fmla="*/ 950007 w 1491184"/>
                  <a:gd name="connsiteY942" fmla="*/ 130205 h 941139"/>
                  <a:gd name="connsiteX943" fmla="*/ 951541 w 1491184"/>
                  <a:gd name="connsiteY943" fmla="*/ 130205 h 941139"/>
                  <a:gd name="connsiteX944" fmla="*/ 951541 w 1491184"/>
                  <a:gd name="connsiteY944" fmla="*/ 128047 h 941139"/>
                  <a:gd name="connsiteX945" fmla="*/ 953042 w 1491184"/>
                  <a:gd name="connsiteY945" fmla="*/ 128047 h 941139"/>
                  <a:gd name="connsiteX946" fmla="*/ 953042 w 1491184"/>
                  <a:gd name="connsiteY946" fmla="*/ 123765 h 941139"/>
                  <a:gd name="connsiteX947" fmla="*/ 954566 w 1491184"/>
                  <a:gd name="connsiteY947" fmla="*/ 123765 h 941139"/>
                  <a:gd name="connsiteX948" fmla="*/ 956100 w 1491184"/>
                  <a:gd name="connsiteY948" fmla="*/ 123765 h 941139"/>
                  <a:gd name="connsiteX949" fmla="*/ 959170 w 1491184"/>
                  <a:gd name="connsiteY949" fmla="*/ 123765 h 941139"/>
                  <a:gd name="connsiteX950" fmla="*/ 959170 w 1491184"/>
                  <a:gd name="connsiteY950" fmla="*/ 121563 h 941139"/>
                  <a:gd name="connsiteX951" fmla="*/ 960704 w 1491184"/>
                  <a:gd name="connsiteY951" fmla="*/ 121563 h 941139"/>
                  <a:gd name="connsiteX952" fmla="*/ 962239 w 1491184"/>
                  <a:gd name="connsiteY952" fmla="*/ 121563 h 941139"/>
                  <a:gd name="connsiteX953" fmla="*/ 963762 w 1491184"/>
                  <a:gd name="connsiteY953" fmla="*/ 121563 h 941139"/>
                  <a:gd name="connsiteX954" fmla="*/ 965297 w 1491184"/>
                  <a:gd name="connsiteY954" fmla="*/ 121563 h 941139"/>
                  <a:gd name="connsiteX955" fmla="*/ 965297 w 1491184"/>
                  <a:gd name="connsiteY955" fmla="*/ 119338 h 941139"/>
                  <a:gd name="connsiteX956" fmla="*/ 966831 w 1491184"/>
                  <a:gd name="connsiteY956" fmla="*/ 119338 h 941139"/>
                  <a:gd name="connsiteX957" fmla="*/ 972925 w 1491184"/>
                  <a:gd name="connsiteY957" fmla="*/ 119338 h 941139"/>
                  <a:gd name="connsiteX958" fmla="*/ 972925 w 1491184"/>
                  <a:gd name="connsiteY958" fmla="*/ 114879 h 941139"/>
                  <a:gd name="connsiteX959" fmla="*/ 974460 w 1491184"/>
                  <a:gd name="connsiteY959" fmla="*/ 114879 h 941139"/>
                  <a:gd name="connsiteX960" fmla="*/ 975994 w 1491184"/>
                  <a:gd name="connsiteY960" fmla="*/ 114879 h 941139"/>
                  <a:gd name="connsiteX961" fmla="*/ 975994 w 1491184"/>
                  <a:gd name="connsiteY961" fmla="*/ 112576 h 941139"/>
                  <a:gd name="connsiteX962" fmla="*/ 977529 w 1491184"/>
                  <a:gd name="connsiteY962" fmla="*/ 112576 h 941139"/>
                  <a:gd name="connsiteX963" fmla="*/ 980598 w 1491184"/>
                  <a:gd name="connsiteY963" fmla="*/ 112576 h 941139"/>
                  <a:gd name="connsiteX964" fmla="*/ 980598 w 1491184"/>
                  <a:gd name="connsiteY964" fmla="*/ 110274 h 941139"/>
                  <a:gd name="connsiteX965" fmla="*/ 982122 w 1491184"/>
                  <a:gd name="connsiteY965" fmla="*/ 110274 h 941139"/>
                  <a:gd name="connsiteX966" fmla="*/ 983656 w 1491184"/>
                  <a:gd name="connsiteY966" fmla="*/ 110274 h 941139"/>
                  <a:gd name="connsiteX967" fmla="*/ 985191 w 1491184"/>
                  <a:gd name="connsiteY967" fmla="*/ 110274 h 941139"/>
                  <a:gd name="connsiteX968" fmla="*/ 986725 w 1491184"/>
                  <a:gd name="connsiteY968" fmla="*/ 110274 h 941139"/>
                  <a:gd name="connsiteX969" fmla="*/ 988227 w 1491184"/>
                  <a:gd name="connsiteY969" fmla="*/ 110274 h 941139"/>
                  <a:gd name="connsiteX970" fmla="*/ 992819 w 1491184"/>
                  <a:gd name="connsiteY970" fmla="*/ 110274 h 941139"/>
                  <a:gd name="connsiteX971" fmla="*/ 994354 w 1491184"/>
                  <a:gd name="connsiteY971" fmla="*/ 110274 h 941139"/>
                  <a:gd name="connsiteX972" fmla="*/ 995888 w 1491184"/>
                  <a:gd name="connsiteY972" fmla="*/ 110274 h 941139"/>
                  <a:gd name="connsiteX973" fmla="*/ 997412 w 1491184"/>
                  <a:gd name="connsiteY973" fmla="*/ 110274 h 941139"/>
                  <a:gd name="connsiteX974" fmla="*/ 998958 w 1491184"/>
                  <a:gd name="connsiteY974" fmla="*/ 110274 h 941139"/>
                  <a:gd name="connsiteX975" fmla="*/ 1005040 w 1491184"/>
                  <a:gd name="connsiteY975" fmla="*/ 110274 h 941139"/>
                  <a:gd name="connsiteX976" fmla="*/ 1006586 w 1491184"/>
                  <a:gd name="connsiteY976" fmla="*/ 110274 h 941139"/>
                  <a:gd name="connsiteX977" fmla="*/ 1008109 w 1491184"/>
                  <a:gd name="connsiteY977" fmla="*/ 110274 h 941139"/>
                  <a:gd name="connsiteX978" fmla="*/ 1008109 w 1491184"/>
                  <a:gd name="connsiteY978" fmla="*/ 107905 h 941139"/>
                  <a:gd name="connsiteX979" fmla="*/ 1009644 w 1491184"/>
                  <a:gd name="connsiteY979" fmla="*/ 107905 h 941139"/>
                  <a:gd name="connsiteX980" fmla="*/ 1009644 w 1491184"/>
                  <a:gd name="connsiteY980" fmla="*/ 105503 h 941139"/>
                  <a:gd name="connsiteX981" fmla="*/ 1015782 w 1491184"/>
                  <a:gd name="connsiteY981" fmla="*/ 105503 h 941139"/>
                  <a:gd name="connsiteX982" fmla="*/ 1017306 w 1491184"/>
                  <a:gd name="connsiteY982" fmla="*/ 105503 h 941139"/>
                  <a:gd name="connsiteX983" fmla="*/ 1018840 w 1491184"/>
                  <a:gd name="connsiteY983" fmla="*/ 105503 h 941139"/>
                  <a:gd name="connsiteX984" fmla="*/ 1018840 w 1491184"/>
                  <a:gd name="connsiteY984" fmla="*/ 103100 h 941139"/>
                  <a:gd name="connsiteX985" fmla="*/ 1020375 w 1491184"/>
                  <a:gd name="connsiteY985" fmla="*/ 103100 h 941139"/>
                  <a:gd name="connsiteX986" fmla="*/ 1020375 w 1491184"/>
                  <a:gd name="connsiteY986" fmla="*/ 100665 h 941139"/>
                  <a:gd name="connsiteX987" fmla="*/ 1023411 w 1491184"/>
                  <a:gd name="connsiteY987" fmla="*/ 100665 h 941139"/>
                  <a:gd name="connsiteX988" fmla="*/ 1023411 w 1491184"/>
                  <a:gd name="connsiteY988" fmla="*/ 98185 h 941139"/>
                  <a:gd name="connsiteX989" fmla="*/ 1024934 w 1491184"/>
                  <a:gd name="connsiteY989" fmla="*/ 98185 h 941139"/>
                  <a:gd name="connsiteX990" fmla="*/ 1026469 w 1491184"/>
                  <a:gd name="connsiteY990" fmla="*/ 98185 h 941139"/>
                  <a:gd name="connsiteX991" fmla="*/ 1028003 w 1491184"/>
                  <a:gd name="connsiteY991" fmla="*/ 98185 h 941139"/>
                  <a:gd name="connsiteX992" fmla="*/ 1029538 w 1491184"/>
                  <a:gd name="connsiteY992" fmla="*/ 98185 h 941139"/>
                  <a:gd name="connsiteX993" fmla="*/ 1031073 w 1491184"/>
                  <a:gd name="connsiteY993" fmla="*/ 98185 h 941139"/>
                  <a:gd name="connsiteX994" fmla="*/ 1034142 w 1491184"/>
                  <a:gd name="connsiteY994" fmla="*/ 98185 h 941139"/>
                  <a:gd name="connsiteX995" fmla="*/ 1035665 w 1491184"/>
                  <a:gd name="connsiteY995" fmla="*/ 98185 h 941139"/>
                  <a:gd name="connsiteX996" fmla="*/ 1037200 w 1491184"/>
                  <a:gd name="connsiteY996" fmla="*/ 98185 h 941139"/>
                  <a:gd name="connsiteX997" fmla="*/ 1040269 w 1491184"/>
                  <a:gd name="connsiteY997" fmla="*/ 98185 h 941139"/>
                  <a:gd name="connsiteX998" fmla="*/ 1041770 w 1491184"/>
                  <a:gd name="connsiteY998" fmla="*/ 98185 h 941139"/>
                  <a:gd name="connsiteX999" fmla="*/ 1041770 w 1491184"/>
                  <a:gd name="connsiteY999" fmla="*/ 95615 h 941139"/>
                  <a:gd name="connsiteX1000" fmla="*/ 1046363 w 1491184"/>
                  <a:gd name="connsiteY1000" fmla="*/ 95615 h 941139"/>
                  <a:gd name="connsiteX1001" fmla="*/ 1047897 w 1491184"/>
                  <a:gd name="connsiteY1001" fmla="*/ 95615 h 941139"/>
                  <a:gd name="connsiteX1002" fmla="*/ 1047897 w 1491184"/>
                  <a:gd name="connsiteY1002" fmla="*/ 93002 h 941139"/>
                  <a:gd name="connsiteX1003" fmla="*/ 1049432 w 1491184"/>
                  <a:gd name="connsiteY1003" fmla="*/ 93002 h 941139"/>
                  <a:gd name="connsiteX1004" fmla="*/ 1050956 w 1491184"/>
                  <a:gd name="connsiteY1004" fmla="*/ 93002 h 941139"/>
                  <a:gd name="connsiteX1005" fmla="*/ 1055559 w 1491184"/>
                  <a:gd name="connsiteY1005" fmla="*/ 93002 h 941139"/>
                  <a:gd name="connsiteX1006" fmla="*/ 1057094 w 1491184"/>
                  <a:gd name="connsiteY1006" fmla="*/ 93002 h 941139"/>
                  <a:gd name="connsiteX1007" fmla="*/ 1057094 w 1491184"/>
                  <a:gd name="connsiteY1007" fmla="*/ 90344 h 941139"/>
                  <a:gd name="connsiteX1008" fmla="*/ 1058584 w 1491184"/>
                  <a:gd name="connsiteY1008" fmla="*/ 90344 h 941139"/>
                  <a:gd name="connsiteX1009" fmla="*/ 1060118 w 1491184"/>
                  <a:gd name="connsiteY1009" fmla="*/ 90344 h 941139"/>
                  <a:gd name="connsiteX1010" fmla="*/ 1061653 w 1491184"/>
                  <a:gd name="connsiteY1010" fmla="*/ 90344 h 941139"/>
                  <a:gd name="connsiteX1011" fmla="*/ 1063188 w 1491184"/>
                  <a:gd name="connsiteY1011" fmla="*/ 90344 h 941139"/>
                  <a:gd name="connsiteX1012" fmla="*/ 1064722 w 1491184"/>
                  <a:gd name="connsiteY1012" fmla="*/ 90344 h 941139"/>
                  <a:gd name="connsiteX1013" fmla="*/ 1067780 w 1491184"/>
                  <a:gd name="connsiteY1013" fmla="*/ 90344 h 941139"/>
                  <a:gd name="connsiteX1014" fmla="*/ 1069315 w 1491184"/>
                  <a:gd name="connsiteY1014" fmla="*/ 90344 h 941139"/>
                  <a:gd name="connsiteX1015" fmla="*/ 1072384 w 1491184"/>
                  <a:gd name="connsiteY1015" fmla="*/ 90344 h 941139"/>
                  <a:gd name="connsiteX1016" fmla="*/ 1073919 w 1491184"/>
                  <a:gd name="connsiteY1016" fmla="*/ 90344 h 941139"/>
                  <a:gd name="connsiteX1017" fmla="*/ 1075453 w 1491184"/>
                  <a:gd name="connsiteY1017" fmla="*/ 90344 h 941139"/>
                  <a:gd name="connsiteX1018" fmla="*/ 1075453 w 1491184"/>
                  <a:gd name="connsiteY1018" fmla="*/ 87530 h 941139"/>
                  <a:gd name="connsiteX1019" fmla="*/ 1080012 w 1491184"/>
                  <a:gd name="connsiteY1019" fmla="*/ 87530 h 941139"/>
                  <a:gd name="connsiteX1020" fmla="*/ 1081547 w 1491184"/>
                  <a:gd name="connsiteY1020" fmla="*/ 87530 h 941139"/>
                  <a:gd name="connsiteX1021" fmla="*/ 1083082 w 1491184"/>
                  <a:gd name="connsiteY1021" fmla="*/ 87530 h 941139"/>
                  <a:gd name="connsiteX1022" fmla="*/ 1089209 w 1491184"/>
                  <a:gd name="connsiteY1022" fmla="*/ 87530 h 941139"/>
                  <a:gd name="connsiteX1023" fmla="*/ 1090743 w 1491184"/>
                  <a:gd name="connsiteY1023" fmla="*/ 87530 h 941139"/>
                  <a:gd name="connsiteX1024" fmla="*/ 1092278 w 1491184"/>
                  <a:gd name="connsiteY1024" fmla="*/ 87530 h 941139"/>
                  <a:gd name="connsiteX1025" fmla="*/ 1093768 w 1491184"/>
                  <a:gd name="connsiteY1025" fmla="*/ 87530 h 941139"/>
                  <a:gd name="connsiteX1026" fmla="*/ 1093768 w 1491184"/>
                  <a:gd name="connsiteY1026" fmla="*/ 84594 h 941139"/>
                  <a:gd name="connsiteX1027" fmla="*/ 1095314 w 1491184"/>
                  <a:gd name="connsiteY1027" fmla="*/ 84594 h 941139"/>
                  <a:gd name="connsiteX1028" fmla="*/ 1096837 w 1491184"/>
                  <a:gd name="connsiteY1028" fmla="*/ 84594 h 941139"/>
                  <a:gd name="connsiteX1029" fmla="*/ 1096837 w 1491184"/>
                  <a:gd name="connsiteY1029" fmla="*/ 81635 h 941139"/>
                  <a:gd name="connsiteX1030" fmla="*/ 1098372 w 1491184"/>
                  <a:gd name="connsiteY1030" fmla="*/ 81635 h 941139"/>
                  <a:gd name="connsiteX1031" fmla="*/ 1101441 w 1491184"/>
                  <a:gd name="connsiteY1031" fmla="*/ 81635 h 941139"/>
                  <a:gd name="connsiteX1032" fmla="*/ 1101441 w 1491184"/>
                  <a:gd name="connsiteY1032" fmla="*/ 72649 h 941139"/>
                  <a:gd name="connsiteX1033" fmla="*/ 1102976 w 1491184"/>
                  <a:gd name="connsiteY1033" fmla="*/ 72649 h 941139"/>
                  <a:gd name="connsiteX1034" fmla="*/ 1104499 w 1491184"/>
                  <a:gd name="connsiteY1034" fmla="*/ 72649 h 941139"/>
                  <a:gd name="connsiteX1035" fmla="*/ 1106034 w 1491184"/>
                  <a:gd name="connsiteY1035" fmla="*/ 72649 h 941139"/>
                  <a:gd name="connsiteX1036" fmla="*/ 1109103 w 1491184"/>
                  <a:gd name="connsiteY1036" fmla="*/ 72649 h 941139"/>
                  <a:gd name="connsiteX1037" fmla="*/ 1110626 w 1491184"/>
                  <a:gd name="connsiteY1037" fmla="*/ 72649 h 941139"/>
                  <a:gd name="connsiteX1038" fmla="*/ 1112127 w 1491184"/>
                  <a:gd name="connsiteY1038" fmla="*/ 72649 h 941139"/>
                  <a:gd name="connsiteX1039" fmla="*/ 1113662 w 1491184"/>
                  <a:gd name="connsiteY1039" fmla="*/ 72649 h 941139"/>
                  <a:gd name="connsiteX1040" fmla="*/ 1113662 w 1491184"/>
                  <a:gd name="connsiteY1040" fmla="*/ 69512 h 941139"/>
                  <a:gd name="connsiteX1041" fmla="*/ 1115197 w 1491184"/>
                  <a:gd name="connsiteY1041" fmla="*/ 69512 h 941139"/>
                  <a:gd name="connsiteX1042" fmla="*/ 1116731 w 1491184"/>
                  <a:gd name="connsiteY1042" fmla="*/ 69512 h 941139"/>
                  <a:gd name="connsiteX1043" fmla="*/ 1121324 w 1491184"/>
                  <a:gd name="connsiteY1043" fmla="*/ 69512 h 941139"/>
                  <a:gd name="connsiteX1044" fmla="*/ 1121324 w 1491184"/>
                  <a:gd name="connsiteY1044" fmla="*/ 66309 h 941139"/>
                  <a:gd name="connsiteX1045" fmla="*/ 1122858 w 1491184"/>
                  <a:gd name="connsiteY1045" fmla="*/ 66309 h 941139"/>
                  <a:gd name="connsiteX1046" fmla="*/ 1124393 w 1491184"/>
                  <a:gd name="connsiteY1046" fmla="*/ 66309 h 941139"/>
                  <a:gd name="connsiteX1047" fmla="*/ 1125928 w 1491184"/>
                  <a:gd name="connsiteY1047" fmla="*/ 66309 h 941139"/>
                  <a:gd name="connsiteX1048" fmla="*/ 1127462 w 1491184"/>
                  <a:gd name="connsiteY1048" fmla="*/ 66309 h 941139"/>
                  <a:gd name="connsiteX1049" fmla="*/ 1133556 w 1491184"/>
                  <a:gd name="connsiteY1049" fmla="*/ 66309 h 941139"/>
                  <a:gd name="connsiteX1050" fmla="*/ 1135091 w 1491184"/>
                  <a:gd name="connsiteY1050" fmla="*/ 66309 h 941139"/>
                  <a:gd name="connsiteX1051" fmla="*/ 1136625 w 1491184"/>
                  <a:gd name="connsiteY1051" fmla="*/ 66309 h 941139"/>
                  <a:gd name="connsiteX1052" fmla="*/ 1138160 w 1491184"/>
                  <a:gd name="connsiteY1052" fmla="*/ 66309 h 941139"/>
                  <a:gd name="connsiteX1053" fmla="*/ 1138160 w 1491184"/>
                  <a:gd name="connsiteY1053" fmla="*/ 62895 h 941139"/>
                  <a:gd name="connsiteX1054" fmla="*/ 1142752 w 1491184"/>
                  <a:gd name="connsiteY1054" fmla="*/ 62895 h 941139"/>
                  <a:gd name="connsiteX1055" fmla="*/ 1144287 w 1491184"/>
                  <a:gd name="connsiteY1055" fmla="*/ 62895 h 941139"/>
                  <a:gd name="connsiteX1056" fmla="*/ 1145822 w 1491184"/>
                  <a:gd name="connsiteY1056" fmla="*/ 62895 h 941139"/>
                  <a:gd name="connsiteX1057" fmla="*/ 1145822 w 1491184"/>
                  <a:gd name="connsiteY1057" fmla="*/ 59413 h 941139"/>
                  <a:gd name="connsiteX1058" fmla="*/ 1147312 w 1491184"/>
                  <a:gd name="connsiteY1058" fmla="*/ 59413 h 941139"/>
                  <a:gd name="connsiteX1059" fmla="*/ 1148857 w 1491184"/>
                  <a:gd name="connsiteY1059" fmla="*/ 59413 h 941139"/>
                  <a:gd name="connsiteX1060" fmla="*/ 1150381 w 1491184"/>
                  <a:gd name="connsiteY1060" fmla="*/ 59413 h 941139"/>
                  <a:gd name="connsiteX1061" fmla="*/ 1153450 w 1491184"/>
                  <a:gd name="connsiteY1061" fmla="*/ 59413 h 941139"/>
                  <a:gd name="connsiteX1062" fmla="*/ 1153450 w 1491184"/>
                  <a:gd name="connsiteY1062" fmla="*/ 55821 h 941139"/>
                  <a:gd name="connsiteX1063" fmla="*/ 1154985 w 1491184"/>
                  <a:gd name="connsiteY1063" fmla="*/ 55821 h 941139"/>
                  <a:gd name="connsiteX1064" fmla="*/ 1156508 w 1491184"/>
                  <a:gd name="connsiteY1064" fmla="*/ 55821 h 941139"/>
                  <a:gd name="connsiteX1065" fmla="*/ 1158043 w 1491184"/>
                  <a:gd name="connsiteY1065" fmla="*/ 55821 h 941139"/>
                  <a:gd name="connsiteX1066" fmla="*/ 1159577 w 1491184"/>
                  <a:gd name="connsiteY1066" fmla="*/ 55821 h 941139"/>
                  <a:gd name="connsiteX1067" fmla="*/ 1164170 w 1491184"/>
                  <a:gd name="connsiteY1067" fmla="*/ 55821 h 941139"/>
                  <a:gd name="connsiteX1068" fmla="*/ 1165671 w 1491184"/>
                  <a:gd name="connsiteY1068" fmla="*/ 55821 h 941139"/>
                  <a:gd name="connsiteX1069" fmla="*/ 1167206 w 1491184"/>
                  <a:gd name="connsiteY1069" fmla="*/ 55821 h 941139"/>
                  <a:gd name="connsiteX1070" fmla="*/ 1168740 w 1491184"/>
                  <a:gd name="connsiteY1070" fmla="*/ 55821 h 941139"/>
                  <a:gd name="connsiteX1071" fmla="*/ 1170275 w 1491184"/>
                  <a:gd name="connsiteY1071" fmla="*/ 55821 h 941139"/>
                  <a:gd name="connsiteX1072" fmla="*/ 1176402 w 1491184"/>
                  <a:gd name="connsiteY1072" fmla="*/ 55821 h 941139"/>
                  <a:gd name="connsiteX1073" fmla="*/ 1177937 w 1491184"/>
                  <a:gd name="connsiteY1073" fmla="*/ 55821 h 941139"/>
                  <a:gd name="connsiteX1074" fmla="*/ 1179471 w 1491184"/>
                  <a:gd name="connsiteY1074" fmla="*/ 55821 h 941139"/>
                  <a:gd name="connsiteX1075" fmla="*/ 1181006 w 1491184"/>
                  <a:gd name="connsiteY1075" fmla="*/ 55821 h 941139"/>
                  <a:gd name="connsiteX1076" fmla="*/ 1184030 w 1491184"/>
                  <a:gd name="connsiteY1076" fmla="*/ 55821 h 941139"/>
                  <a:gd name="connsiteX1077" fmla="*/ 1184030 w 1491184"/>
                  <a:gd name="connsiteY1077" fmla="*/ 51784 h 941139"/>
                  <a:gd name="connsiteX1078" fmla="*/ 1187100 w 1491184"/>
                  <a:gd name="connsiteY1078" fmla="*/ 51784 h 941139"/>
                  <a:gd name="connsiteX1079" fmla="*/ 1188634 w 1491184"/>
                  <a:gd name="connsiteY1079" fmla="*/ 51784 h 941139"/>
                  <a:gd name="connsiteX1080" fmla="*/ 1190169 w 1491184"/>
                  <a:gd name="connsiteY1080" fmla="*/ 51784 h 941139"/>
                  <a:gd name="connsiteX1081" fmla="*/ 1191703 w 1491184"/>
                  <a:gd name="connsiteY1081" fmla="*/ 51784 h 941139"/>
                  <a:gd name="connsiteX1082" fmla="*/ 1196296 w 1491184"/>
                  <a:gd name="connsiteY1082" fmla="*/ 51784 h 941139"/>
                  <a:gd name="connsiteX1083" fmla="*/ 1197831 w 1491184"/>
                  <a:gd name="connsiteY1083" fmla="*/ 51784 h 941139"/>
                  <a:gd name="connsiteX1084" fmla="*/ 1199354 w 1491184"/>
                  <a:gd name="connsiteY1084" fmla="*/ 51784 h 941139"/>
                  <a:gd name="connsiteX1085" fmla="*/ 1200855 w 1491184"/>
                  <a:gd name="connsiteY1085" fmla="*/ 51784 h 941139"/>
                  <a:gd name="connsiteX1086" fmla="*/ 1200855 w 1491184"/>
                  <a:gd name="connsiteY1086" fmla="*/ 47357 h 941139"/>
                  <a:gd name="connsiteX1087" fmla="*/ 1202390 w 1491184"/>
                  <a:gd name="connsiteY1087" fmla="*/ 47357 h 941139"/>
                  <a:gd name="connsiteX1088" fmla="*/ 1206994 w 1491184"/>
                  <a:gd name="connsiteY1088" fmla="*/ 47357 h 941139"/>
                  <a:gd name="connsiteX1089" fmla="*/ 1208528 w 1491184"/>
                  <a:gd name="connsiteY1089" fmla="*/ 47357 h 941139"/>
                  <a:gd name="connsiteX1090" fmla="*/ 1210052 w 1491184"/>
                  <a:gd name="connsiteY1090" fmla="*/ 47357 h 941139"/>
                  <a:gd name="connsiteX1091" fmla="*/ 1211586 w 1491184"/>
                  <a:gd name="connsiteY1091" fmla="*/ 47357 h 941139"/>
                  <a:gd name="connsiteX1092" fmla="*/ 1217680 w 1491184"/>
                  <a:gd name="connsiteY1092" fmla="*/ 47357 h 941139"/>
                  <a:gd name="connsiteX1093" fmla="*/ 1219215 w 1491184"/>
                  <a:gd name="connsiteY1093" fmla="*/ 47357 h 941139"/>
                  <a:gd name="connsiteX1094" fmla="*/ 1220749 w 1491184"/>
                  <a:gd name="connsiteY1094" fmla="*/ 47357 h 941139"/>
                  <a:gd name="connsiteX1095" fmla="*/ 1222284 w 1491184"/>
                  <a:gd name="connsiteY1095" fmla="*/ 47357 h 941139"/>
                  <a:gd name="connsiteX1096" fmla="*/ 1223818 w 1491184"/>
                  <a:gd name="connsiteY1096" fmla="*/ 47357 h 941139"/>
                  <a:gd name="connsiteX1097" fmla="*/ 1225342 w 1491184"/>
                  <a:gd name="connsiteY1097" fmla="*/ 47357 h 941139"/>
                  <a:gd name="connsiteX1098" fmla="*/ 1225342 w 1491184"/>
                  <a:gd name="connsiteY1098" fmla="*/ 42508 h 941139"/>
                  <a:gd name="connsiteX1099" fmla="*/ 1228411 w 1491184"/>
                  <a:gd name="connsiteY1099" fmla="*/ 42508 h 941139"/>
                  <a:gd name="connsiteX1100" fmla="*/ 1231480 w 1491184"/>
                  <a:gd name="connsiteY1100" fmla="*/ 42508 h 941139"/>
                  <a:gd name="connsiteX1101" fmla="*/ 1233015 w 1491184"/>
                  <a:gd name="connsiteY1101" fmla="*/ 42508 h 941139"/>
                  <a:gd name="connsiteX1102" fmla="*/ 1234549 w 1491184"/>
                  <a:gd name="connsiteY1102" fmla="*/ 42508 h 941139"/>
                  <a:gd name="connsiteX1103" fmla="*/ 1239109 w 1491184"/>
                  <a:gd name="connsiteY1103" fmla="*/ 42508 h 941139"/>
                  <a:gd name="connsiteX1104" fmla="*/ 1242178 w 1491184"/>
                  <a:gd name="connsiteY1104" fmla="*/ 42508 h 941139"/>
                  <a:gd name="connsiteX1105" fmla="*/ 1243701 w 1491184"/>
                  <a:gd name="connsiteY1105" fmla="*/ 42508 h 941139"/>
                  <a:gd name="connsiteX1106" fmla="*/ 1243701 w 1491184"/>
                  <a:gd name="connsiteY1106" fmla="*/ 37214 h 941139"/>
                  <a:gd name="connsiteX1107" fmla="*/ 1245236 w 1491184"/>
                  <a:gd name="connsiteY1107" fmla="*/ 37214 h 941139"/>
                  <a:gd name="connsiteX1108" fmla="*/ 1249840 w 1491184"/>
                  <a:gd name="connsiteY1108" fmla="*/ 37214 h 941139"/>
                  <a:gd name="connsiteX1109" fmla="*/ 1251374 w 1491184"/>
                  <a:gd name="connsiteY1109" fmla="*/ 37214 h 941139"/>
                  <a:gd name="connsiteX1110" fmla="*/ 1252875 w 1491184"/>
                  <a:gd name="connsiteY1110" fmla="*/ 37214 h 941139"/>
                  <a:gd name="connsiteX1111" fmla="*/ 1255933 w 1491184"/>
                  <a:gd name="connsiteY1111" fmla="*/ 37214 h 941139"/>
                  <a:gd name="connsiteX1112" fmla="*/ 1260526 w 1491184"/>
                  <a:gd name="connsiteY1112" fmla="*/ 37214 h 941139"/>
                  <a:gd name="connsiteX1113" fmla="*/ 1260526 w 1491184"/>
                  <a:gd name="connsiteY1113" fmla="*/ 31364 h 941139"/>
                  <a:gd name="connsiteX1114" fmla="*/ 1262072 w 1491184"/>
                  <a:gd name="connsiteY1114" fmla="*/ 31364 h 941139"/>
                  <a:gd name="connsiteX1115" fmla="*/ 1263595 w 1491184"/>
                  <a:gd name="connsiteY1115" fmla="*/ 31364 h 941139"/>
                  <a:gd name="connsiteX1116" fmla="*/ 1263595 w 1491184"/>
                  <a:gd name="connsiteY1116" fmla="*/ 25302 h 941139"/>
                  <a:gd name="connsiteX1117" fmla="*/ 1265130 w 1491184"/>
                  <a:gd name="connsiteY1117" fmla="*/ 25302 h 941139"/>
                  <a:gd name="connsiteX1118" fmla="*/ 1266664 w 1491184"/>
                  <a:gd name="connsiteY1118" fmla="*/ 25302 h 941139"/>
                  <a:gd name="connsiteX1119" fmla="*/ 1271224 w 1491184"/>
                  <a:gd name="connsiteY1119" fmla="*/ 25302 h 941139"/>
                  <a:gd name="connsiteX1120" fmla="*/ 1272758 w 1491184"/>
                  <a:gd name="connsiteY1120" fmla="*/ 25302 h 941139"/>
                  <a:gd name="connsiteX1121" fmla="*/ 1274293 w 1491184"/>
                  <a:gd name="connsiteY1121" fmla="*/ 25302 h 941139"/>
                  <a:gd name="connsiteX1122" fmla="*/ 1274293 w 1491184"/>
                  <a:gd name="connsiteY1122" fmla="*/ 18640 h 941139"/>
                  <a:gd name="connsiteX1123" fmla="*/ 1275827 w 1491184"/>
                  <a:gd name="connsiteY1123" fmla="*/ 18640 h 941139"/>
                  <a:gd name="connsiteX1124" fmla="*/ 1277362 w 1491184"/>
                  <a:gd name="connsiteY1124" fmla="*/ 18640 h 941139"/>
                  <a:gd name="connsiteX1125" fmla="*/ 1283489 w 1491184"/>
                  <a:gd name="connsiteY1125" fmla="*/ 18640 h 941139"/>
                  <a:gd name="connsiteX1126" fmla="*/ 1285024 w 1491184"/>
                  <a:gd name="connsiteY1126" fmla="*/ 18640 h 941139"/>
                  <a:gd name="connsiteX1127" fmla="*/ 1286558 w 1491184"/>
                  <a:gd name="connsiteY1127" fmla="*/ 18640 h 941139"/>
                  <a:gd name="connsiteX1128" fmla="*/ 1288082 w 1491184"/>
                  <a:gd name="connsiteY1128" fmla="*/ 18640 h 941139"/>
                  <a:gd name="connsiteX1129" fmla="*/ 1292652 w 1491184"/>
                  <a:gd name="connsiteY1129" fmla="*/ 18640 h 941139"/>
                  <a:gd name="connsiteX1130" fmla="*/ 1294187 w 1491184"/>
                  <a:gd name="connsiteY1130" fmla="*/ 18640 h 941139"/>
                  <a:gd name="connsiteX1131" fmla="*/ 1295721 w 1491184"/>
                  <a:gd name="connsiteY1131" fmla="*/ 18640 h 941139"/>
                  <a:gd name="connsiteX1132" fmla="*/ 1297245 w 1491184"/>
                  <a:gd name="connsiteY1132" fmla="*/ 18640 h 941139"/>
                  <a:gd name="connsiteX1133" fmla="*/ 1298779 w 1491184"/>
                  <a:gd name="connsiteY1133" fmla="*/ 18640 h 941139"/>
                  <a:gd name="connsiteX1134" fmla="*/ 1303383 w 1491184"/>
                  <a:gd name="connsiteY1134" fmla="*/ 18640 h 941139"/>
                  <a:gd name="connsiteX1135" fmla="*/ 1304918 w 1491184"/>
                  <a:gd name="connsiteY1135" fmla="*/ 18640 h 941139"/>
                  <a:gd name="connsiteX1136" fmla="*/ 1306408 w 1491184"/>
                  <a:gd name="connsiteY1136" fmla="*/ 18640 h 941139"/>
                  <a:gd name="connsiteX1137" fmla="*/ 1307942 w 1491184"/>
                  <a:gd name="connsiteY1137" fmla="*/ 18640 h 941139"/>
                  <a:gd name="connsiteX1138" fmla="*/ 1309477 w 1491184"/>
                  <a:gd name="connsiteY1138" fmla="*/ 18640 h 941139"/>
                  <a:gd name="connsiteX1139" fmla="*/ 1315615 w 1491184"/>
                  <a:gd name="connsiteY1139" fmla="*/ 18640 h 941139"/>
                  <a:gd name="connsiteX1140" fmla="*/ 1317139 w 1491184"/>
                  <a:gd name="connsiteY1140" fmla="*/ 18640 h 941139"/>
                  <a:gd name="connsiteX1141" fmla="*/ 1318673 w 1491184"/>
                  <a:gd name="connsiteY1141" fmla="*/ 18640 h 941139"/>
                  <a:gd name="connsiteX1142" fmla="*/ 1320208 w 1491184"/>
                  <a:gd name="connsiteY1142" fmla="*/ 18640 h 941139"/>
                  <a:gd name="connsiteX1143" fmla="*/ 1324767 w 1491184"/>
                  <a:gd name="connsiteY1143" fmla="*/ 18640 h 941139"/>
                  <a:gd name="connsiteX1144" fmla="*/ 1326302 w 1491184"/>
                  <a:gd name="connsiteY1144" fmla="*/ 18640 h 941139"/>
                  <a:gd name="connsiteX1145" fmla="*/ 1327836 w 1491184"/>
                  <a:gd name="connsiteY1145" fmla="*/ 18640 h 941139"/>
                  <a:gd name="connsiteX1146" fmla="*/ 1329371 w 1491184"/>
                  <a:gd name="connsiteY1146" fmla="*/ 18640 h 941139"/>
                  <a:gd name="connsiteX1147" fmla="*/ 1330906 w 1491184"/>
                  <a:gd name="connsiteY1147" fmla="*/ 18640 h 941139"/>
                  <a:gd name="connsiteX1148" fmla="*/ 1335498 w 1491184"/>
                  <a:gd name="connsiteY1148" fmla="*/ 18640 h 941139"/>
                  <a:gd name="connsiteX1149" fmla="*/ 1337033 w 1491184"/>
                  <a:gd name="connsiteY1149" fmla="*/ 18640 h 941139"/>
                  <a:gd name="connsiteX1150" fmla="*/ 1340102 w 1491184"/>
                  <a:gd name="connsiteY1150" fmla="*/ 18640 h 941139"/>
                  <a:gd name="connsiteX1151" fmla="*/ 1341603 w 1491184"/>
                  <a:gd name="connsiteY1151" fmla="*/ 18640 h 941139"/>
                  <a:gd name="connsiteX1152" fmla="*/ 1347730 w 1491184"/>
                  <a:gd name="connsiteY1152" fmla="*/ 18640 h 941139"/>
                  <a:gd name="connsiteX1153" fmla="*/ 1349254 w 1491184"/>
                  <a:gd name="connsiteY1153" fmla="*/ 18640 h 941139"/>
                  <a:gd name="connsiteX1154" fmla="*/ 1350788 w 1491184"/>
                  <a:gd name="connsiteY1154" fmla="*/ 18640 h 941139"/>
                  <a:gd name="connsiteX1155" fmla="*/ 1352323 w 1491184"/>
                  <a:gd name="connsiteY1155" fmla="*/ 18640 h 941139"/>
                  <a:gd name="connsiteX1156" fmla="*/ 1358461 w 1491184"/>
                  <a:gd name="connsiteY1156" fmla="*/ 18640 h 941139"/>
                  <a:gd name="connsiteX1157" fmla="*/ 1359951 w 1491184"/>
                  <a:gd name="connsiteY1157" fmla="*/ 18640 h 941139"/>
                  <a:gd name="connsiteX1158" fmla="*/ 1361486 w 1491184"/>
                  <a:gd name="connsiteY1158" fmla="*/ 18640 h 941139"/>
                  <a:gd name="connsiteX1159" fmla="*/ 1363021 w 1491184"/>
                  <a:gd name="connsiteY1159" fmla="*/ 18640 h 941139"/>
                  <a:gd name="connsiteX1160" fmla="*/ 1367613 w 1491184"/>
                  <a:gd name="connsiteY1160" fmla="*/ 18640 h 941139"/>
                  <a:gd name="connsiteX1161" fmla="*/ 1370682 w 1491184"/>
                  <a:gd name="connsiteY1161" fmla="*/ 18640 h 941139"/>
                  <a:gd name="connsiteX1162" fmla="*/ 1372217 w 1491184"/>
                  <a:gd name="connsiteY1162" fmla="*/ 18640 h 941139"/>
                  <a:gd name="connsiteX1163" fmla="*/ 1373752 w 1491184"/>
                  <a:gd name="connsiteY1163" fmla="*/ 18640 h 941139"/>
                  <a:gd name="connsiteX1164" fmla="*/ 1375286 w 1491184"/>
                  <a:gd name="connsiteY1164" fmla="*/ 18640 h 941139"/>
                  <a:gd name="connsiteX1165" fmla="*/ 1375286 w 1491184"/>
                  <a:gd name="connsiteY1165" fmla="*/ 0 h 941139"/>
                  <a:gd name="connsiteX1166" fmla="*/ 1491184 w 1491184"/>
                  <a:gd name="connsiteY1166" fmla="*/ 1848 h 941139"/>
                  <a:gd name="connsiteX0" fmla="*/ 0 w 1492410"/>
                  <a:gd name="connsiteY0" fmla="*/ 941139 h 941139"/>
                  <a:gd name="connsiteX1" fmla="*/ 1535 w 1492410"/>
                  <a:gd name="connsiteY1" fmla="*/ 941139 h 941139"/>
                  <a:gd name="connsiteX2" fmla="*/ 1535 w 1492410"/>
                  <a:gd name="connsiteY2" fmla="*/ 940338 h 941139"/>
                  <a:gd name="connsiteX3" fmla="*/ 3069 w 1492410"/>
                  <a:gd name="connsiteY3" fmla="*/ 940338 h 941139"/>
                  <a:gd name="connsiteX4" fmla="*/ 3069 w 1492410"/>
                  <a:gd name="connsiteY4" fmla="*/ 937202 h 941139"/>
                  <a:gd name="connsiteX5" fmla="*/ 4604 w 1492410"/>
                  <a:gd name="connsiteY5" fmla="*/ 937202 h 941139"/>
                  <a:gd name="connsiteX6" fmla="*/ 4604 w 1492410"/>
                  <a:gd name="connsiteY6" fmla="*/ 935634 h 941139"/>
                  <a:gd name="connsiteX7" fmla="*/ 6127 w 1492410"/>
                  <a:gd name="connsiteY7" fmla="*/ 935634 h 941139"/>
                  <a:gd name="connsiteX8" fmla="*/ 6127 w 1492410"/>
                  <a:gd name="connsiteY8" fmla="*/ 932497 h 941139"/>
                  <a:gd name="connsiteX9" fmla="*/ 7662 w 1492410"/>
                  <a:gd name="connsiteY9" fmla="*/ 932497 h 941139"/>
                  <a:gd name="connsiteX10" fmla="*/ 7662 w 1492410"/>
                  <a:gd name="connsiteY10" fmla="*/ 930128 h 941139"/>
                  <a:gd name="connsiteX11" fmla="*/ 9196 w 1492410"/>
                  <a:gd name="connsiteY11" fmla="*/ 930128 h 941139"/>
                  <a:gd name="connsiteX12" fmla="*/ 9196 w 1492410"/>
                  <a:gd name="connsiteY12" fmla="*/ 926191 h 941139"/>
                  <a:gd name="connsiteX13" fmla="*/ 10731 w 1492410"/>
                  <a:gd name="connsiteY13" fmla="*/ 926191 h 941139"/>
                  <a:gd name="connsiteX14" fmla="*/ 10731 w 1492410"/>
                  <a:gd name="connsiteY14" fmla="*/ 922254 h 941139"/>
                  <a:gd name="connsiteX15" fmla="*/ 12266 w 1492410"/>
                  <a:gd name="connsiteY15" fmla="*/ 922254 h 941139"/>
                  <a:gd name="connsiteX16" fmla="*/ 12266 w 1492410"/>
                  <a:gd name="connsiteY16" fmla="*/ 915180 h 941139"/>
                  <a:gd name="connsiteX17" fmla="*/ 13800 w 1492410"/>
                  <a:gd name="connsiteY17" fmla="*/ 915180 h 941139"/>
                  <a:gd name="connsiteX18" fmla="*/ 13800 w 1492410"/>
                  <a:gd name="connsiteY18" fmla="*/ 908874 h 941139"/>
                  <a:gd name="connsiteX19" fmla="*/ 15290 w 1492410"/>
                  <a:gd name="connsiteY19" fmla="*/ 908874 h 941139"/>
                  <a:gd name="connsiteX20" fmla="*/ 15290 w 1492410"/>
                  <a:gd name="connsiteY20" fmla="*/ 904170 h 941139"/>
                  <a:gd name="connsiteX21" fmla="*/ 16825 w 1492410"/>
                  <a:gd name="connsiteY21" fmla="*/ 904170 h 941139"/>
                  <a:gd name="connsiteX22" fmla="*/ 16825 w 1492410"/>
                  <a:gd name="connsiteY22" fmla="*/ 903369 h 941139"/>
                  <a:gd name="connsiteX23" fmla="*/ 18359 w 1492410"/>
                  <a:gd name="connsiteY23" fmla="*/ 903369 h 941139"/>
                  <a:gd name="connsiteX24" fmla="*/ 18359 w 1492410"/>
                  <a:gd name="connsiteY24" fmla="*/ 901801 h 941139"/>
                  <a:gd name="connsiteX25" fmla="*/ 19894 w 1492410"/>
                  <a:gd name="connsiteY25" fmla="*/ 901801 h 941139"/>
                  <a:gd name="connsiteX26" fmla="*/ 19894 w 1492410"/>
                  <a:gd name="connsiteY26" fmla="*/ 900232 h 941139"/>
                  <a:gd name="connsiteX27" fmla="*/ 21429 w 1492410"/>
                  <a:gd name="connsiteY27" fmla="*/ 900232 h 941139"/>
                  <a:gd name="connsiteX28" fmla="*/ 21429 w 1492410"/>
                  <a:gd name="connsiteY28" fmla="*/ 893926 h 941139"/>
                  <a:gd name="connsiteX29" fmla="*/ 22952 w 1492410"/>
                  <a:gd name="connsiteY29" fmla="*/ 893926 h 941139"/>
                  <a:gd name="connsiteX30" fmla="*/ 22952 w 1492410"/>
                  <a:gd name="connsiteY30" fmla="*/ 887653 h 941139"/>
                  <a:gd name="connsiteX31" fmla="*/ 24487 w 1492410"/>
                  <a:gd name="connsiteY31" fmla="*/ 887653 h 941139"/>
                  <a:gd name="connsiteX32" fmla="*/ 24487 w 1492410"/>
                  <a:gd name="connsiteY32" fmla="*/ 885296 h 941139"/>
                  <a:gd name="connsiteX33" fmla="*/ 26021 w 1492410"/>
                  <a:gd name="connsiteY33" fmla="*/ 885296 h 941139"/>
                  <a:gd name="connsiteX34" fmla="*/ 26021 w 1492410"/>
                  <a:gd name="connsiteY34" fmla="*/ 883716 h 941139"/>
                  <a:gd name="connsiteX35" fmla="*/ 27556 w 1492410"/>
                  <a:gd name="connsiteY35" fmla="*/ 883716 h 941139"/>
                  <a:gd name="connsiteX36" fmla="*/ 27556 w 1492410"/>
                  <a:gd name="connsiteY36" fmla="*/ 880547 h 941139"/>
                  <a:gd name="connsiteX37" fmla="*/ 29090 w 1492410"/>
                  <a:gd name="connsiteY37" fmla="*/ 880547 h 941139"/>
                  <a:gd name="connsiteX38" fmla="*/ 29090 w 1492410"/>
                  <a:gd name="connsiteY38" fmla="*/ 878211 h 941139"/>
                  <a:gd name="connsiteX39" fmla="*/ 30614 w 1492410"/>
                  <a:gd name="connsiteY39" fmla="*/ 878211 h 941139"/>
                  <a:gd name="connsiteX40" fmla="*/ 30614 w 1492410"/>
                  <a:gd name="connsiteY40" fmla="*/ 877421 h 941139"/>
                  <a:gd name="connsiteX41" fmla="*/ 32115 w 1492410"/>
                  <a:gd name="connsiteY41" fmla="*/ 877421 h 941139"/>
                  <a:gd name="connsiteX42" fmla="*/ 32115 w 1492410"/>
                  <a:gd name="connsiteY42" fmla="*/ 873484 h 941139"/>
                  <a:gd name="connsiteX43" fmla="*/ 33650 w 1492410"/>
                  <a:gd name="connsiteY43" fmla="*/ 873484 h 941139"/>
                  <a:gd name="connsiteX44" fmla="*/ 33650 w 1492410"/>
                  <a:gd name="connsiteY44" fmla="*/ 867167 h 941139"/>
                  <a:gd name="connsiteX45" fmla="*/ 35184 w 1492410"/>
                  <a:gd name="connsiteY45" fmla="*/ 867167 h 941139"/>
                  <a:gd name="connsiteX46" fmla="*/ 35184 w 1492410"/>
                  <a:gd name="connsiteY46" fmla="*/ 865599 h 941139"/>
                  <a:gd name="connsiteX47" fmla="*/ 36719 w 1492410"/>
                  <a:gd name="connsiteY47" fmla="*/ 865599 h 941139"/>
                  <a:gd name="connsiteX48" fmla="*/ 36719 w 1492410"/>
                  <a:gd name="connsiteY48" fmla="*/ 863230 h 941139"/>
                  <a:gd name="connsiteX49" fmla="*/ 38242 w 1492410"/>
                  <a:gd name="connsiteY49" fmla="*/ 863230 h 941139"/>
                  <a:gd name="connsiteX50" fmla="*/ 38242 w 1492410"/>
                  <a:gd name="connsiteY50" fmla="*/ 861661 h 941139"/>
                  <a:gd name="connsiteX51" fmla="*/ 39788 w 1492410"/>
                  <a:gd name="connsiteY51" fmla="*/ 861661 h 941139"/>
                  <a:gd name="connsiteX52" fmla="*/ 39788 w 1492410"/>
                  <a:gd name="connsiteY52" fmla="*/ 860861 h 941139"/>
                  <a:gd name="connsiteX53" fmla="*/ 41311 w 1492410"/>
                  <a:gd name="connsiteY53" fmla="*/ 860861 h 941139"/>
                  <a:gd name="connsiteX54" fmla="*/ 42846 w 1492410"/>
                  <a:gd name="connsiteY54" fmla="*/ 860861 h 941139"/>
                  <a:gd name="connsiteX55" fmla="*/ 42846 w 1492410"/>
                  <a:gd name="connsiteY55" fmla="*/ 857691 h 941139"/>
                  <a:gd name="connsiteX56" fmla="*/ 44381 w 1492410"/>
                  <a:gd name="connsiteY56" fmla="*/ 857691 h 941139"/>
                  <a:gd name="connsiteX57" fmla="*/ 44381 w 1492410"/>
                  <a:gd name="connsiteY57" fmla="*/ 855366 h 941139"/>
                  <a:gd name="connsiteX58" fmla="*/ 45915 w 1492410"/>
                  <a:gd name="connsiteY58" fmla="*/ 855366 h 941139"/>
                  <a:gd name="connsiteX59" fmla="*/ 45915 w 1492410"/>
                  <a:gd name="connsiteY59" fmla="*/ 853754 h 941139"/>
                  <a:gd name="connsiteX60" fmla="*/ 47450 w 1492410"/>
                  <a:gd name="connsiteY60" fmla="*/ 853754 h 941139"/>
                  <a:gd name="connsiteX61" fmla="*/ 47450 w 1492410"/>
                  <a:gd name="connsiteY61" fmla="*/ 849016 h 941139"/>
                  <a:gd name="connsiteX62" fmla="*/ 48984 w 1492410"/>
                  <a:gd name="connsiteY62" fmla="*/ 849016 h 941139"/>
                  <a:gd name="connsiteX63" fmla="*/ 48984 w 1492410"/>
                  <a:gd name="connsiteY63" fmla="*/ 845079 h 941139"/>
                  <a:gd name="connsiteX64" fmla="*/ 50474 w 1492410"/>
                  <a:gd name="connsiteY64" fmla="*/ 845079 h 941139"/>
                  <a:gd name="connsiteX65" fmla="*/ 50474 w 1492410"/>
                  <a:gd name="connsiteY65" fmla="*/ 841108 h 941139"/>
                  <a:gd name="connsiteX66" fmla="*/ 52009 w 1492410"/>
                  <a:gd name="connsiteY66" fmla="*/ 841108 h 941139"/>
                  <a:gd name="connsiteX67" fmla="*/ 52009 w 1492410"/>
                  <a:gd name="connsiteY67" fmla="*/ 837171 h 941139"/>
                  <a:gd name="connsiteX68" fmla="*/ 53544 w 1492410"/>
                  <a:gd name="connsiteY68" fmla="*/ 837171 h 941139"/>
                  <a:gd name="connsiteX69" fmla="*/ 53544 w 1492410"/>
                  <a:gd name="connsiteY69" fmla="*/ 834802 h 941139"/>
                  <a:gd name="connsiteX70" fmla="*/ 55078 w 1492410"/>
                  <a:gd name="connsiteY70" fmla="*/ 834802 h 941139"/>
                  <a:gd name="connsiteX71" fmla="*/ 55078 w 1492410"/>
                  <a:gd name="connsiteY71" fmla="*/ 831632 h 941139"/>
                  <a:gd name="connsiteX72" fmla="*/ 56613 w 1492410"/>
                  <a:gd name="connsiteY72" fmla="*/ 831632 h 941139"/>
                  <a:gd name="connsiteX73" fmla="*/ 56613 w 1492410"/>
                  <a:gd name="connsiteY73" fmla="*/ 827695 h 941139"/>
                  <a:gd name="connsiteX74" fmla="*/ 58147 w 1492410"/>
                  <a:gd name="connsiteY74" fmla="*/ 827695 h 941139"/>
                  <a:gd name="connsiteX75" fmla="*/ 58147 w 1492410"/>
                  <a:gd name="connsiteY75" fmla="*/ 826894 h 941139"/>
                  <a:gd name="connsiteX76" fmla="*/ 59671 w 1492410"/>
                  <a:gd name="connsiteY76" fmla="*/ 826894 h 941139"/>
                  <a:gd name="connsiteX77" fmla="*/ 59671 w 1492410"/>
                  <a:gd name="connsiteY77" fmla="*/ 826127 h 941139"/>
                  <a:gd name="connsiteX78" fmla="*/ 61205 w 1492410"/>
                  <a:gd name="connsiteY78" fmla="*/ 826127 h 941139"/>
                  <a:gd name="connsiteX79" fmla="*/ 61205 w 1492410"/>
                  <a:gd name="connsiteY79" fmla="*/ 822957 h 941139"/>
                  <a:gd name="connsiteX80" fmla="*/ 62740 w 1492410"/>
                  <a:gd name="connsiteY80" fmla="*/ 822957 h 941139"/>
                  <a:gd name="connsiteX81" fmla="*/ 62740 w 1492410"/>
                  <a:gd name="connsiteY81" fmla="*/ 820588 h 941139"/>
                  <a:gd name="connsiteX82" fmla="*/ 64275 w 1492410"/>
                  <a:gd name="connsiteY82" fmla="*/ 820588 h 941139"/>
                  <a:gd name="connsiteX83" fmla="*/ 64275 w 1492410"/>
                  <a:gd name="connsiteY83" fmla="*/ 815049 h 941139"/>
                  <a:gd name="connsiteX84" fmla="*/ 65798 w 1492410"/>
                  <a:gd name="connsiteY84" fmla="*/ 815049 h 941139"/>
                  <a:gd name="connsiteX85" fmla="*/ 65798 w 1492410"/>
                  <a:gd name="connsiteY85" fmla="*/ 811112 h 941139"/>
                  <a:gd name="connsiteX86" fmla="*/ 67299 w 1492410"/>
                  <a:gd name="connsiteY86" fmla="*/ 811112 h 941139"/>
                  <a:gd name="connsiteX87" fmla="*/ 67299 w 1492410"/>
                  <a:gd name="connsiteY87" fmla="*/ 807942 h 941139"/>
                  <a:gd name="connsiteX88" fmla="*/ 68834 w 1492410"/>
                  <a:gd name="connsiteY88" fmla="*/ 807942 h 941139"/>
                  <a:gd name="connsiteX89" fmla="*/ 68834 w 1492410"/>
                  <a:gd name="connsiteY89" fmla="*/ 803972 h 941139"/>
                  <a:gd name="connsiteX90" fmla="*/ 70368 w 1492410"/>
                  <a:gd name="connsiteY90" fmla="*/ 803972 h 941139"/>
                  <a:gd name="connsiteX91" fmla="*/ 70368 w 1492410"/>
                  <a:gd name="connsiteY91" fmla="*/ 801603 h 941139"/>
                  <a:gd name="connsiteX92" fmla="*/ 71903 w 1492410"/>
                  <a:gd name="connsiteY92" fmla="*/ 801603 h 941139"/>
                  <a:gd name="connsiteX93" fmla="*/ 71903 w 1492410"/>
                  <a:gd name="connsiteY93" fmla="*/ 798467 h 941139"/>
                  <a:gd name="connsiteX94" fmla="*/ 73438 w 1492410"/>
                  <a:gd name="connsiteY94" fmla="*/ 798467 h 941139"/>
                  <a:gd name="connsiteX95" fmla="*/ 73438 w 1492410"/>
                  <a:gd name="connsiteY95" fmla="*/ 796865 h 941139"/>
                  <a:gd name="connsiteX96" fmla="*/ 74972 w 1492410"/>
                  <a:gd name="connsiteY96" fmla="*/ 796865 h 941139"/>
                  <a:gd name="connsiteX97" fmla="*/ 74972 w 1492410"/>
                  <a:gd name="connsiteY97" fmla="*/ 796086 h 941139"/>
                  <a:gd name="connsiteX98" fmla="*/ 76496 w 1492410"/>
                  <a:gd name="connsiteY98" fmla="*/ 796086 h 941139"/>
                  <a:gd name="connsiteX99" fmla="*/ 76496 w 1492410"/>
                  <a:gd name="connsiteY99" fmla="*/ 790548 h 941139"/>
                  <a:gd name="connsiteX100" fmla="*/ 78030 w 1492410"/>
                  <a:gd name="connsiteY100" fmla="*/ 790548 h 941139"/>
                  <a:gd name="connsiteX101" fmla="*/ 78030 w 1492410"/>
                  <a:gd name="connsiteY101" fmla="*/ 788190 h 941139"/>
                  <a:gd name="connsiteX102" fmla="*/ 79565 w 1492410"/>
                  <a:gd name="connsiteY102" fmla="*/ 788190 h 941139"/>
                  <a:gd name="connsiteX103" fmla="*/ 79565 w 1492410"/>
                  <a:gd name="connsiteY103" fmla="*/ 787378 h 941139"/>
                  <a:gd name="connsiteX104" fmla="*/ 81099 w 1492410"/>
                  <a:gd name="connsiteY104" fmla="*/ 787378 h 941139"/>
                  <a:gd name="connsiteX105" fmla="*/ 81099 w 1492410"/>
                  <a:gd name="connsiteY105" fmla="*/ 782651 h 941139"/>
                  <a:gd name="connsiteX106" fmla="*/ 82634 w 1492410"/>
                  <a:gd name="connsiteY106" fmla="*/ 782651 h 941139"/>
                  <a:gd name="connsiteX107" fmla="*/ 82634 w 1492410"/>
                  <a:gd name="connsiteY107" fmla="*/ 781038 h 941139"/>
                  <a:gd name="connsiteX108" fmla="*/ 84157 w 1492410"/>
                  <a:gd name="connsiteY108" fmla="*/ 781038 h 941139"/>
                  <a:gd name="connsiteX109" fmla="*/ 84157 w 1492410"/>
                  <a:gd name="connsiteY109" fmla="*/ 779470 h 941139"/>
                  <a:gd name="connsiteX110" fmla="*/ 85659 w 1492410"/>
                  <a:gd name="connsiteY110" fmla="*/ 779470 h 941139"/>
                  <a:gd name="connsiteX111" fmla="*/ 85659 w 1492410"/>
                  <a:gd name="connsiteY111" fmla="*/ 777101 h 941139"/>
                  <a:gd name="connsiteX112" fmla="*/ 87193 w 1492410"/>
                  <a:gd name="connsiteY112" fmla="*/ 777101 h 941139"/>
                  <a:gd name="connsiteX113" fmla="*/ 87193 w 1492410"/>
                  <a:gd name="connsiteY113" fmla="*/ 772363 h 941139"/>
                  <a:gd name="connsiteX114" fmla="*/ 88728 w 1492410"/>
                  <a:gd name="connsiteY114" fmla="*/ 772363 h 941139"/>
                  <a:gd name="connsiteX115" fmla="*/ 88728 w 1492410"/>
                  <a:gd name="connsiteY115" fmla="*/ 768393 h 941139"/>
                  <a:gd name="connsiteX116" fmla="*/ 90262 w 1492410"/>
                  <a:gd name="connsiteY116" fmla="*/ 768393 h 941139"/>
                  <a:gd name="connsiteX117" fmla="*/ 90262 w 1492410"/>
                  <a:gd name="connsiteY117" fmla="*/ 764456 h 941139"/>
                  <a:gd name="connsiteX118" fmla="*/ 91786 w 1492410"/>
                  <a:gd name="connsiteY118" fmla="*/ 764456 h 941139"/>
                  <a:gd name="connsiteX119" fmla="*/ 91786 w 1492410"/>
                  <a:gd name="connsiteY119" fmla="*/ 762854 h 941139"/>
                  <a:gd name="connsiteX120" fmla="*/ 93332 w 1492410"/>
                  <a:gd name="connsiteY120" fmla="*/ 762854 h 941139"/>
                  <a:gd name="connsiteX121" fmla="*/ 93332 w 1492410"/>
                  <a:gd name="connsiteY121" fmla="*/ 760485 h 941139"/>
                  <a:gd name="connsiteX122" fmla="*/ 94855 w 1492410"/>
                  <a:gd name="connsiteY122" fmla="*/ 760485 h 941139"/>
                  <a:gd name="connsiteX123" fmla="*/ 94855 w 1492410"/>
                  <a:gd name="connsiteY123" fmla="*/ 758116 h 941139"/>
                  <a:gd name="connsiteX124" fmla="*/ 96390 w 1492410"/>
                  <a:gd name="connsiteY124" fmla="*/ 758116 h 941139"/>
                  <a:gd name="connsiteX125" fmla="*/ 96390 w 1492410"/>
                  <a:gd name="connsiteY125" fmla="*/ 755747 h 941139"/>
                  <a:gd name="connsiteX126" fmla="*/ 97924 w 1492410"/>
                  <a:gd name="connsiteY126" fmla="*/ 755747 h 941139"/>
                  <a:gd name="connsiteX127" fmla="*/ 97924 w 1492410"/>
                  <a:gd name="connsiteY127" fmla="*/ 750208 h 941139"/>
                  <a:gd name="connsiteX128" fmla="*/ 99459 w 1492410"/>
                  <a:gd name="connsiteY128" fmla="*/ 750208 h 941139"/>
                  <a:gd name="connsiteX129" fmla="*/ 99459 w 1492410"/>
                  <a:gd name="connsiteY129" fmla="*/ 745437 h 941139"/>
                  <a:gd name="connsiteX130" fmla="*/ 100993 w 1492410"/>
                  <a:gd name="connsiteY130" fmla="*/ 745437 h 941139"/>
                  <a:gd name="connsiteX131" fmla="*/ 100993 w 1492410"/>
                  <a:gd name="connsiteY131" fmla="*/ 743068 h 941139"/>
                  <a:gd name="connsiteX132" fmla="*/ 102483 w 1492410"/>
                  <a:gd name="connsiteY132" fmla="*/ 743068 h 941139"/>
                  <a:gd name="connsiteX133" fmla="*/ 102483 w 1492410"/>
                  <a:gd name="connsiteY133" fmla="*/ 741500 h 941139"/>
                  <a:gd name="connsiteX134" fmla="*/ 104018 w 1492410"/>
                  <a:gd name="connsiteY134" fmla="*/ 741500 h 941139"/>
                  <a:gd name="connsiteX135" fmla="*/ 104018 w 1492410"/>
                  <a:gd name="connsiteY135" fmla="*/ 735961 h 941139"/>
                  <a:gd name="connsiteX136" fmla="*/ 105553 w 1492410"/>
                  <a:gd name="connsiteY136" fmla="*/ 735961 h 941139"/>
                  <a:gd name="connsiteX137" fmla="*/ 105553 w 1492410"/>
                  <a:gd name="connsiteY137" fmla="*/ 734360 h 941139"/>
                  <a:gd name="connsiteX138" fmla="*/ 107087 w 1492410"/>
                  <a:gd name="connsiteY138" fmla="*/ 734360 h 941139"/>
                  <a:gd name="connsiteX139" fmla="*/ 107087 w 1492410"/>
                  <a:gd name="connsiteY139" fmla="*/ 731991 h 941139"/>
                  <a:gd name="connsiteX140" fmla="*/ 108622 w 1492410"/>
                  <a:gd name="connsiteY140" fmla="*/ 731991 h 941139"/>
                  <a:gd name="connsiteX141" fmla="*/ 108622 w 1492410"/>
                  <a:gd name="connsiteY141" fmla="*/ 727253 h 941139"/>
                  <a:gd name="connsiteX142" fmla="*/ 110145 w 1492410"/>
                  <a:gd name="connsiteY142" fmla="*/ 727253 h 941139"/>
                  <a:gd name="connsiteX143" fmla="*/ 110145 w 1492410"/>
                  <a:gd name="connsiteY143" fmla="*/ 725673 h 941139"/>
                  <a:gd name="connsiteX144" fmla="*/ 111680 w 1492410"/>
                  <a:gd name="connsiteY144" fmla="*/ 725673 h 941139"/>
                  <a:gd name="connsiteX145" fmla="*/ 111680 w 1492410"/>
                  <a:gd name="connsiteY145" fmla="*/ 720135 h 941139"/>
                  <a:gd name="connsiteX146" fmla="*/ 113214 w 1492410"/>
                  <a:gd name="connsiteY146" fmla="*/ 720135 h 941139"/>
                  <a:gd name="connsiteX147" fmla="*/ 113214 w 1492410"/>
                  <a:gd name="connsiteY147" fmla="*/ 716164 h 941139"/>
                  <a:gd name="connsiteX148" fmla="*/ 114749 w 1492410"/>
                  <a:gd name="connsiteY148" fmla="*/ 716164 h 941139"/>
                  <a:gd name="connsiteX149" fmla="*/ 114749 w 1492410"/>
                  <a:gd name="connsiteY149" fmla="*/ 713806 h 941139"/>
                  <a:gd name="connsiteX150" fmla="*/ 116284 w 1492410"/>
                  <a:gd name="connsiteY150" fmla="*/ 713806 h 941139"/>
                  <a:gd name="connsiteX151" fmla="*/ 116284 w 1492410"/>
                  <a:gd name="connsiteY151" fmla="*/ 711426 h 941139"/>
                  <a:gd name="connsiteX152" fmla="*/ 117818 w 1492410"/>
                  <a:gd name="connsiteY152" fmla="*/ 711426 h 941139"/>
                  <a:gd name="connsiteX153" fmla="*/ 117818 w 1492410"/>
                  <a:gd name="connsiteY153" fmla="*/ 710625 h 941139"/>
                  <a:gd name="connsiteX154" fmla="*/ 119342 w 1492410"/>
                  <a:gd name="connsiteY154" fmla="*/ 710625 h 941139"/>
                  <a:gd name="connsiteX155" fmla="*/ 119342 w 1492410"/>
                  <a:gd name="connsiteY155" fmla="*/ 709825 h 941139"/>
                  <a:gd name="connsiteX156" fmla="*/ 120843 w 1492410"/>
                  <a:gd name="connsiteY156" fmla="*/ 709825 h 941139"/>
                  <a:gd name="connsiteX157" fmla="*/ 120843 w 1492410"/>
                  <a:gd name="connsiteY157" fmla="*/ 707456 h 941139"/>
                  <a:gd name="connsiteX158" fmla="*/ 122377 w 1492410"/>
                  <a:gd name="connsiteY158" fmla="*/ 707456 h 941139"/>
                  <a:gd name="connsiteX159" fmla="*/ 122377 w 1492410"/>
                  <a:gd name="connsiteY159" fmla="*/ 705854 h 941139"/>
                  <a:gd name="connsiteX160" fmla="*/ 125447 w 1492410"/>
                  <a:gd name="connsiteY160" fmla="*/ 705854 h 941139"/>
                  <a:gd name="connsiteX161" fmla="*/ 125447 w 1492410"/>
                  <a:gd name="connsiteY161" fmla="*/ 701917 h 941139"/>
                  <a:gd name="connsiteX162" fmla="*/ 126970 w 1492410"/>
                  <a:gd name="connsiteY162" fmla="*/ 701917 h 941139"/>
                  <a:gd name="connsiteX163" fmla="*/ 126970 w 1492410"/>
                  <a:gd name="connsiteY163" fmla="*/ 700315 h 941139"/>
                  <a:gd name="connsiteX164" fmla="*/ 128516 w 1492410"/>
                  <a:gd name="connsiteY164" fmla="*/ 700315 h 941139"/>
                  <a:gd name="connsiteX165" fmla="*/ 128516 w 1492410"/>
                  <a:gd name="connsiteY165" fmla="*/ 697146 h 941139"/>
                  <a:gd name="connsiteX166" fmla="*/ 130039 w 1492410"/>
                  <a:gd name="connsiteY166" fmla="*/ 697146 h 941139"/>
                  <a:gd name="connsiteX167" fmla="*/ 130039 w 1492410"/>
                  <a:gd name="connsiteY167" fmla="*/ 695578 h 941139"/>
                  <a:gd name="connsiteX168" fmla="*/ 131574 w 1492410"/>
                  <a:gd name="connsiteY168" fmla="*/ 695578 h 941139"/>
                  <a:gd name="connsiteX169" fmla="*/ 131574 w 1492410"/>
                  <a:gd name="connsiteY169" fmla="*/ 691607 h 941139"/>
                  <a:gd name="connsiteX170" fmla="*/ 133108 w 1492410"/>
                  <a:gd name="connsiteY170" fmla="*/ 691607 h 941139"/>
                  <a:gd name="connsiteX171" fmla="*/ 133108 w 1492410"/>
                  <a:gd name="connsiteY171" fmla="*/ 690039 h 941139"/>
                  <a:gd name="connsiteX172" fmla="*/ 134643 w 1492410"/>
                  <a:gd name="connsiteY172" fmla="*/ 690039 h 941139"/>
                  <a:gd name="connsiteX173" fmla="*/ 134643 w 1492410"/>
                  <a:gd name="connsiteY173" fmla="*/ 686068 h 941139"/>
                  <a:gd name="connsiteX174" fmla="*/ 136178 w 1492410"/>
                  <a:gd name="connsiteY174" fmla="*/ 686068 h 941139"/>
                  <a:gd name="connsiteX175" fmla="*/ 136178 w 1492410"/>
                  <a:gd name="connsiteY175" fmla="*/ 683699 h 941139"/>
                  <a:gd name="connsiteX176" fmla="*/ 137701 w 1492410"/>
                  <a:gd name="connsiteY176" fmla="*/ 683699 h 941139"/>
                  <a:gd name="connsiteX177" fmla="*/ 137701 w 1492410"/>
                  <a:gd name="connsiteY177" fmla="*/ 681297 h 941139"/>
                  <a:gd name="connsiteX178" fmla="*/ 139202 w 1492410"/>
                  <a:gd name="connsiteY178" fmla="*/ 681297 h 941139"/>
                  <a:gd name="connsiteX179" fmla="*/ 139202 w 1492410"/>
                  <a:gd name="connsiteY179" fmla="*/ 680529 h 941139"/>
                  <a:gd name="connsiteX180" fmla="*/ 140737 w 1492410"/>
                  <a:gd name="connsiteY180" fmla="*/ 680529 h 941139"/>
                  <a:gd name="connsiteX181" fmla="*/ 140737 w 1492410"/>
                  <a:gd name="connsiteY181" fmla="*/ 679729 h 941139"/>
                  <a:gd name="connsiteX182" fmla="*/ 142271 w 1492410"/>
                  <a:gd name="connsiteY182" fmla="*/ 679729 h 941139"/>
                  <a:gd name="connsiteX183" fmla="*/ 142271 w 1492410"/>
                  <a:gd name="connsiteY183" fmla="*/ 675758 h 941139"/>
                  <a:gd name="connsiteX184" fmla="*/ 143806 w 1492410"/>
                  <a:gd name="connsiteY184" fmla="*/ 675758 h 941139"/>
                  <a:gd name="connsiteX185" fmla="*/ 143806 w 1492410"/>
                  <a:gd name="connsiteY185" fmla="*/ 673378 h 941139"/>
                  <a:gd name="connsiteX186" fmla="*/ 146875 w 1492410"/>
                  <a:gd name="connsiteY186" fmla="*/ 673378 h 941139"/>
                  <a:gd name="connsiteX187" fmla="*/ 148399 w 1492410"/>
                  <a:gd name="connsiteY187" fmla="*/ 673378 h 941139"/>
                  <a:gd name="connsiteX188" fmla="*/ 148399 w 1492410"/>
                  <a:gd name="connsiteY188" fmla="*/ 668607 h 941139"/>
                  <a:gd name="connsiteX189" fmla="*/ 149933 w 1492410"/>
                  <a:gd name="connsiteY189" fmla="*/ 668607 h 941139"/>
                  <a:gd name="connsiteX190" fmla="*/ 149933 w 1492410"/>
                  <a:gd name="connsiteY190" fmla="*/ 666238 h 941139"/>
                  <a:gd name="connsiteX191" fmla="*/ 151468 w 1492410"/>
                  <a:gd name="connsiteY191" fmla="*/ 666238 h 941139"/>
                  <a:gd name="connsiteX192" fmla="*/ 151468 w 1492410"/>
                  <a:gd name="connsiteY192" fmla="*/ 664636 h 941139"/>
                  <a:gd name="connsiteX193" fmla="*/ 154526 w 1492410"/>
                  <a:gd name="connsiteY193" fmla="*/ 664636 h 941139"/>
                  <a:gd name="connsiteX194" fmla="*/ 154526 w 1492410"/>
                  <a:gd name="connsiteY194" fmla="*/ 663068 h 941139"/>
                  <a:gd name="connsiteX195" fmla="*/ 156027 w 1492410"/>
                  <a:gd name="connsiteY195" fmla="*/ 663068 h 941139"/>
                  <a:gd name="connsiteX196" fmla="*/ 156027 w 1492410"/>
                  <a:gd name="connsiteY196" fmla="*/ 661466 h 941139"/>
                  <a:gd name="connsiteX197" fmla="*/ 157562 w 1492410"/>
                  <a:gd name="connsiteY197" fmla="*/ 661466 h 941139"/>
                  <a:gd name="connsiteX198" fmla="*/ 157562 w 1492410"/>
                  <a:gd name="connsiteY198" fmla="*/ 659898 h 941139"/>
                  <a:gd name="connsiteX199" fmla="*/ 159096 w 1492410"/>
                  <a:gd name="connsiteY199" fmla="*/ 659898 h 941139"/>
                  <a:gd name="connsiteX200" fmla="*/ 159096 w 1492410"/>
                  <a:gd name="connsiteY200" fmla="*/ 657496 h 941139"/>
                  <a:gd name="connsiteX201" fmla="*/ 160631 w 1492410"/>
                  <a:gd name="connsiteY201" fmla="*/ 657496 h 941139"/>
                  <a:gd name="connsiteX202" fmla="*/ 160631 w 1492410"/>
                  <a:gd name="connsiteY202" fmla="*/ 655928 h 941139"/>
                  <a:gd name="connsiteX203" fmla="*/ 162165 w 1492410"/>
                  <a:gd name="connsiteY203" fmla="*/ 655928 h 941139"/>
                  <a:gd name="connsiteX204" fmla="*/ 162165 w 1492410"/>
                  <a:gd name="connsiteY204" fmla="*/ 651156 h 941139"/>
                  <a:gd name="connsiteX205" fmla="*/ 163689 w 1492410"/>
                  <a:gd name="connsiteY205" fmla="*/ 651156 h 941139"/>
                  <a:gd name="connsiteX206" fmla="*/ 163689 w 1492410"/>
                  <a:gd name="connsiteY206" fmla="*/ 650356 h 941139"/>
                  <a:gd name="connsiteX207" fmla="*/ 165223 w 1492410"/>
                  <a:gd name="connsiteY207" fmla="*/ 650356 h 941139"/>
                  <a:gd name="connsiteX208" fmla="*/ 165223 w 1492410"/>
                  <a:gd name="connsiteY208" fmla="*/ 646385 h 941139"/>
                  <a:gd name="connsiteX209" fmla="*/ 166758 w 1492410"/>
                  <a:gd name="connsiteY209" fmla="*/ 646385 h 941139"/>
                  <a:gd name="connsiteX210" fmla="*/ 166758 w 1492410"/>
                  <a:gd name="connsiteY210" fmla="*/ 645584 h 941139"/>
                  <a:gd name="connsiteX211" fmla="*/ 168293 w 1492410"/>
                  <a:gd name="connsiteY211" fmla="*/ 645584 h 941139"/>
                  <a:gd name="connsiteX212" fmla="*/ 168293 w 1492410"/>
                  <a:gd name="connsiteY212" fmla="*/ 644016 h 941139"/>
                  <a:gd name="connsiteX213" fmla="*/ 169827 w 1492410"/>
                  <a:gd name="connsiteY213" fmla="*/ 644016 h 941139"/>
                  <a:gd name="connsiteX214" fmla="*/ 169827 w 1492410"/>
                  <a:gd name="connsiteY214" fmla="*/ 642415 h 941139"/>
                  <a:gd name="connsiteX215" fmla="*/ 171362 w 1492410"/>
                  <a:gd name="connsiteY215" fmla="*/ 642415 h 941139"/>
                  <a:gd name="connsiteX216" fmla="*/ 171362 w 1492410"/>
                  <a:gd name="connsiteY216" fmla="*/ 641603 h 941139"/>
                  <a:gd name="connsiteX217" fmla="*/ 172885 w 1492410"/>
                  <a:gd name="connsiteY217" fmla="*/ 641603 h 941139"/>
                  <a:gd name="connsiteX218" fmla="*/ 172885 w 1492410"/>
                  <a:gd name="connsiteY218" fmla="*/ 640034 h 941139"/>
                  <a:gd name="connsiteX219" fmla="*/ 174386 w 1492410"/>
                  <a:gd name="connsiteY219" fmla="*/ 640034 h 941139"/>
                  <a:gd name="connsiteX220" fmla="*/ 174386 w 1492410"/>
                  <a:gd name="connsiteY220" fmla="*/ 637632 h 941139"/>
                  <a:gd name="connsiteX221" fmla="*/ 175921 w 1492410"/>
                  <a:gd name="connsiteY221" fmla="*/ 637632 h 941139"/>
                  <a:gd name="connsiteX222" fmla="*/ 175921 w 1492410"/>
                  <a:gd name="connsiteY222" fmla="*/ 636876 h 941139"/>
                  <a:gd name="connsiteX223" fmla="*/ 177456 w 1492410"/>
                  <a:gd name="connsiteY223" fmla="*/ 636876 h 941139"/>
                  <a:gd name="connsiteX224" fmla="*/ 177456 w 1492410"/>
                  <a:gd name="connsiteY224" fmla="*/ 632093 h 941139"/>
                  <a:gd name="connsiteX225" fmla="*/ 178990 w 1492410"/>
                  <a:gd name="connsiteY225" fmla="*/ 632093 h 941139"/>
                  <a:gd name="connsiteX226" fmla="*/ 182059 w 1492410"/>
                  <a:gd name="connsiteY226" fmla="*/ 632093 h 941139"/>
                  <a:gd name="connsiteX227" fmla="*/ 182059 w 1492410"/>
                  <a:gd name="connsiteY227" fmla="*/ 628924 h 941139"/>
                  <a:gd name="connsiteX228" fmla="*/ 183583 w 1492410"/>
                  <a:gd name="connsiteY228" fmla="*/ 628924 h 941139"/>
                  <a:gd name="connsiteX229" fmla="*/ 183583 w 1492410"/>
                  <a:gd name="connsiteY229" fmla="*/ 627322 h 941139"/>
                  <a:gd name="connsiteX230" fmla="*/ 185117 w 1492410"/>
                  <a:gd name="connsiteY230" fmla="*/ 627322 h 941139"/>
                  <a:gd name="connsiteX231" fmla="*/ 185117 w 1492410"/>
                  <a:gd name="connsiteY231" fmla="*/ 623352 h 941139"/>
                  <a:gd name="connsiteX232" fmla="*/ 186652 w 1492410"/>
                  <a:gd name="connsiteY232" fmla="*/ 623352 h 941139"/>
                  <a:gd name="connsiteX233" fmla="*/ 186652 w 1492410"/>
                  <a:gd name="connsiteY233" fmla="*/ 622551 h 941139"/>
                  <a:gd name="connsiteX234" fmla="*/ 189721 w 1492410"/>
                  <a:gd name="connsiteY234" fmla="*/ 622551 h 941139"/>
                  <a:gd name="connsiteX235" fmla="*/ 189721 w 1492410"/>
                  <a:gd name="connsiteY235" fmla="*/ 619381 h 941139"/>
                  <a:gd name="connsiteX236" fmla="*/ 191211 w 1492410"/>
                  <a:gd name="connsiteY236" fmla="*/ 619381 h 941139"/>
                  <a:gd name="connsiteX237" fmla="*/ 191211 w 1492410"/>
                  <a:gd name="connsiteY237" fmla="*/ 618580 h 941139"/>
                  <a:gd name="connsiteX238" fmla="*/ 192746 w 1492410"/>
                  <a:gd name="connsiteY238" fmla="*/ 618580 h 941139"/>
                  <a:gd name="connsiteX239" fmla="*/ 192746 w 1492410"/>
                  <a:gd name="connsiteY239" fmla="*/ 616211 h 941139"/>
                  <a:gd name="connsiteX240" fmla="*/ 194280 w 1492410"/>
                  <a:gd name="connsiteY240" fmla="*/ 616211 h 941139"/>
                  <a:gd name="connsiteX241" fmla="*/ 194280 w 1492410"/>
                  <a:gd name="connsiteY241" fmla="*/ 614610 h 941139"/>
                  <a:gd name="connsiteX242" fmla="*/ 195815 w 1492410"/>
                  <a:gd name="connsiteY242" fmla="*/ 614610 h 941139"/>
                  <a:gd name="connsiteX243" fmla="*/ 195815 w 1492410"/>
                  <a:gd name="connsiteY243" fmla="*/ 613798 h 941139"/>
                  <a:gd name="connsiteX244" fmla="*/ 197350 w 1492410"/>
                  <a:gd name="connsiteY244" fmla="*/ 613798 h 941139"/>
                  <a:gd name="connsiteX245" fmla="*/ 197350 w 1492410"/>
                  <a:gd name="connsiteY245" fmla="*/ 612241 h 941139"/>
                  <a:gd name="connsiteX246" fmla="*/ 198873 w 1492410"/>
                  <a:gd name="connsiteY246" fmla="*/ 612241 h 941139"/>
                  <a:gd name="connsiteX247" fmla="*/ 198873 w 1492410"/>
                  <a:gd name="connsiteY247" fmla="*/ 609827 h 941139"/>
                  <a:gd name="connsiteX248" fmla="*/ 200408 w 1492410"/>
                  <a:gd name="connsiteY248" fmla="*/ 609827 h 941139"/>
                  <a:gd name="connsiteX249" fmla="*/ 200408 w 1492410"/>
                  <a:gd name="connsiteY249" fmla="*/ 608259 h 941139"/>
                  <a:gd name="connsiteX250" fmla="*/ 201942 w 1492410"/>
                  <a:gd name="connsiteY250" fmla="*/ 608259 h 941139"/>
                  <a:gd name="connsiteX251" fmla="*/ 201942 w 1492410"/>
                  <a:gd name="connsiteY251" fmla="*/ 607469 h 941139"/>
                  <a:gd name="connsiteX252" fmla="*/ 205011 w 1492410"/>
                  <a:gd name="connsiteY252" fmla="*/ 607469 h 941139"/>
                  <a:gd name="connsiteX253" fmla="*/ 205011 w 1492410"/>
                  <a:gd name="connsiteY253" fmla="*/ 605056 h 941139"/>
                  <a:gd name="connsiteX254" fmla="*/ 206546 w 1492410"/>
                  <a:gd name="connsiteY254" fmla="*/ 605056 h 941139"/>
                  <a:gd name="connsiteX255" fmla="*/ 206546 w 1492410"/>
                  <a:gd name="connsiteY255" fmla="*/ 601085 h 941139"/>
                  <a:gd name="connsiteX256" fmla="*/ 208069 w 1492410"/>
                  <a:gd name="connsiteY256" fmla="*/ 601085 h 941139"/>
                  <a:gd name="connsiteX257" fmla="*/ 209571 w 1492410"/>
                  <a:gd name="connsiteY257" fmla="*/ 601085 h 941139"/>
                  <a:gd name="connsiteX258" fmla="*/ 209571 w 1492410"/>
                  <a:gd name="connsiteY258" fmla="*/ 598683 h 941139"/>
                  <a:gd name="connsiteX259" fmla="*/ 211105 w 1492410"/>
                  <a:gd name="connsiteY259" fmla="*/ 598683 h 941139"/>
                  <a:gd name="connsiteX260" fmla="*/ 211105 w 1492410"/>
                  <a:gd name="connsiteY260" fmla="*/ 597115 h 941139"/>
                  <a:gd name="connsiteX261" fmla="*/ 212640 w 1492410"/>
                  <a:gd name="connsiteY261" fmla="*/ 597115 h 941139"/>
                  <a:gd name="connsiteX262" fmla="*/ 212640 w 1492410"/>
                  <a:gd name="connsiteY262" fmla="*/ 596314 h 941139"/>
                  <a:gd name="connsiteX263" fmla="*/ 214174 w 1492410"/>
                  <a:gd name="connsiteY263" fmla="*/ 596314 h 941139"/>
                  <a:gd name="connsiteX264" fmla="*/ 214174 w 1492410"/>
                  <a:gd name="connsiteY264" fmla="*/ 595513 h 941139"/>
                  <a:gd name="connsiteX265" fmla="*/ 215698 w 1492410"/>
                  <a:gd name="connsiteY265" fmla="*/ 595513 h 941139"/>
                  <a:gd name="connsiteX266" fmla="*/ 215698 w 1492410"/>
                  <a:gd name="connsiteY266" fmla="*/ 593912 h 941139"/>
                  <a:gd name="connsiteX267" fmla="*/ 217232 w 1492410"/>
                  <a:gd name="connsiteY267" fmla="*/ 593912 h 941139"/>
                  <a:gd name="connsiteX268" fmla="*/ 217232 w 1492410"/>
                  <a:gd name="connsiteY268" fmla="*/ 591543 h 941139"/>
                  <a:gd name="connsiteX269" fmla="*/ 218767 w 1492410"/>
                  <a:gd name="connsiteY269" fmla="*/ 591543 h 941139"/>
                  <a:gd name="connsiteX270" fmla="*/ 218767 w 1492410"/>
                  <a:gd name="connsiteY270" fmla="*/ 590742 h 941139"/>
                  <a:gd name="connsiteX271" fmla="*/ 221836 w 1492410"/>
                  <a:gd name="connsiteY271" fmla="*/ 590742 h 941139"/>
                  <a:gd name="connsiteX272" fmla="*/ 223371 w 1492410"/>
                  <a:gd name="connsiteY272" fmla="*/ 590742 h 941139"/>
                  <a:gd name="connsiteX273" fmla="*/ 223371 w 1492410"/>
                  <a:gd name="connsiteY273" fmla="*/ 589941 h 941139"/>
                  <a:gd name="connsiteX274" fmla="*/ 224905 w 1492410"/>
                  <a:gd name="connsiteY274" fmla="*/ 589941 h 941139"/>
                  <a:gd name="connsiteX275" fmla="*/ 224905 w 1492410"/>
                  <a:gd name="connsiteY275" fmla="*/ 589141 h 941139"/>
                  <a:gd name="connsiteX276" fmla="*/ 226395 w 1492410"/>
                  <a:gd name="connsiteY276" fmla="*/ 589141 h 941139"/>
                  <a:gd name="connsiteX277" fmla="*/ 226395 w 1492410"/>
                  <a:gd name="connsiteY277" fmla="*/ 586727 h 941139"/>
                  <a:gd name="connsiteX278" fmla="*/ 227930 w 1492410"/>
                  <a:gd name="connsiteY278" fmla="*/ 586727 h 941139"/>
                  <a:gd name="connsiteX279" fmla="*/ 229465 w 1492410"/>
                  <a:gd name="connsiteY279" fmla="*/ 586727 h 941139"/>
                  <a:gd name="connsiteX280" fmla="*/ 229465 w 1492410"/>
                  <a:gd name="connsiteY280" fmla="*/ 584358 h 941139"/>
                  <a:gd name="connsiteX281" fmla="*/ 230999 w 1492410"/>
                  <a:gd name="connsiteY281" fmla="*/ 584358 h 941139"/>
                  <a:gd name="connsiteX282" fmla="*/ 230999 w 1492410"/>
                  <a:gd name="connsiteY282" fmla="*/ 582756 h 941139"/>
                  <a:gd name="connsiteX283" fmla="*/ 234057 w 1492410"/>
                  <a:gd name="connsiteY283" fmla="*/ 582756 h 941139"/>
                  <a:gd name="connsiteX284" fmla="*/ 234057 w 1492410"/>
                  <a:gd name="connsiteY284" fmla="*/ 581967 h 941139"/>
                  <a:gd name="connsiteX285" fmla="*/ 235592 w 1492410"/>
                  <a:gd name="connsiteY285" fmla="*/ 581967 h 941139"/>
                  <a:gd name="connsiteX286" fmla="*/ 235592 w 1492410"/>
                  <a:gd name="connsiteY286" fmla="*/ 578753 h 941139"/>
                  <a:gd name="connsiteX287" fmla="*/ 237126 w 1492410"/>
                  <a:gd name="connsiteY287" fmla="*/ 578753 h 941139"/>
                  <a:gd name="connsiteX288" fmla="*/ 237126 w 1492410"/>
                  <a:gd name="connsiteY288" fmla="*/ 577184 h 941139"/>
                  <a:gd name="connsiteX289" fmla="*/ 238661 w 1492410"/>
                  <a:gd name="connsiteY289" fmla="*/ 577184 h 941139"/>
                  <a:gd name="connsiteX290" fmla="*/ 238661 w 1492410"/>
                  <a:gd name="connsiteY290" fmla="*/ 575583 h 941139"/>
                  <a:gd name="connsiteX291" fmla="*/ 241730 w 1492410"/>
                  <a:gd name="connsiteY291" fmla="*/ 575583 h 941139"/>
                  <a:gd name="connsiteX292" fmla="*/ 241730 w 1492410"/>
                  <a:gd name="connsiteY292" fmla="*/ 574782 h 941139"/>
                  <a:gd name="connsiteX293" fmla="*/ 243254 w 1492410"/>
                  <a:gd name="connsiteY293" fmla="*/ 574782 h 941139"/>
                  <a:gd name="connsiteX294" fmla="*/ 243254 w 1492410"/>
                  <a:gd name="connsiteY294" fmla="*/ 573981 h 941139"/>
                  <a:gd name="connsiteX295" fmla="*/ 244755 w 1492410"/>
                  <a:gd name="connsiteY295" fmla="*/ 573981 h 941139"/>
                  <a:gd name="connsiteX296" fmla="*/ 244755 w 1492410"/>
                  <a:gd name="connsiteY296" fmla="*/ 569977 h 941139"/>
                  <a:gd name="connsiteX297" fmla="*/ 246289 w 1492410"/>
                  <a:gd name="connsiteY297" fmla="*/ 569977 h 941139"/>
                  <a:gd name="connsiteX298" fmla="*/ 246289 w 1492410"/>
                  <a:gd name="connsiteY298" fmla="*/ 569210 h 941139"/>
                  <a:gd name="connsiteX299" fmla="*/ 247824 w 1492410"/>
                  <a:gd name="connsiteY299" fmla="*/ 569210 h 941139"/>
                  <a:gd name="connsiteX300" fmla="*/ 247824 w 1492410"/>
                  <a:gd name="connsiteY300" fmla="*/ 568409 h 941139"/>
                  <a:gd name="connsiteX301" fmla="*/ 249359 w 1492410"/>
                  <a:gd name="connsiteY301" fmla="*/ 568409 h 941139"/>
                  <a:gd name="connsiteX302" fmla="*/ 249359 w 1492410"/>
                  <a:gd name="connsiteY302" fmla="*/ 566808 h 941139"/>
                  <a:gd name="connsiteX303" fmla="*/ 250893 w 1492410"/>
                  <a:gd name="connsiteY303" fmla="*/ 566808 h 941139"/>
                  <a:gd name="connsiteX304" fmla="*/ 250893 w 1492410"/>
                  <a:gd name="connsiteY304" fmla="*/ 566007 h 941139"/>
                  <a:gd name="connsiteX305" fmla="*/ 252417 w 1492410"/>
                  <a:gd name="connsiteY305" fmla="*/ 566007 h 941139"/>
                  <a:gd name="connsiteX306" fmla="*/ 252417 w 1492410"/>
                  <a:gd name="connsiteY306" fmla="*/ 565206 h 941139"/>
                  <a:gd name="connsiteX307" fmla="*/ 253951 w 1492410"/>
                  <a:gd name="connsiteY307" fmla="*/ 565206 h 941139"/>
                  <a:gd name="connsiteX308" fmla="*/ 255486 w 1492410"/>
                  <a:gd name="connsiteY308" fmla="*/ 565206 h 941139"/>
                  <a:gd name="connsiteX309" fmla="*/ 255486 w 1492410"/>
                  <a:gd name="connsiteY309" fmla="*/ 563593 h 941139"/>
                  <a:gd name="connsiteX310" fmla="*/ 257020 w 1492410"/>
                  <a:gd name="connsiteY310" fmla="*/ 563593 h 941139"/>
                  <a:gd name="connsiteX311" fmla="*/ 257020 w 1492410"/>
                  <a:gd name="connsiteY311" fmla="*/ 559623 h 941139"/>
                  <a:gd name="connsiteX312" fmla="*/ 260089 w 1492410"/>
                  <a:gd name="connsiteY312" fmla="*/ 559623 h 941139"/>
                  <a:gd name="connsiteX313" fmla="*/ 260089 w 1492410"/>
                  <a:gd name="connsiteY313" fmla="*/ 558822 h 941139"/>
                  <a:gd name="connsiteX314" fmla="*/ 261580 w 1492410"/>
                  <a:gd name="connsiteY314" fmla="*/ 558822 h 941139"/>
                  <a:gd name="connsiteX315" fmla="*/ 261580 w 1492410"/>
                  <a:gd name="connsiteY315" fmla="*/ 556420 h 941139"/>
                  <a:gd name="connsiteX316" fmla="*/ 263114 w 1492410"/>
                  <a:gd name="connsiteY316" fmla="*/ 556420 h 941139"/>
                  <a:gd name="connsiteX317" fmla="*/ 263114 w 1492410"/>
                  <a:gd name="connsiteY317" fmla="*/ 553217 h 941139"/>
                  <a:gd name="connsiteX318" fmla="*/ 264649 w 1492410"/>
                  <a:gd name="connsiteY318" fmla="*/ 553217 h 941139"/>
                  <a:gd name="connsiteX319" fmla="*/ 264649 w 1492410"/>
                  <a:gd name="connsiteY319" fmla="*/ 551615 h 941139"/>
                  <a:gd name="connsiteX320" fmla="*/ 266183 w 1492410"/>
                  <a:gd name="connsiteY320" fmla="*/ 551615 h 941139"/>
                  <a:gd name="connsiteX321" fmla="*/ 266183 w 1492410"/>
                  <a:gd name="connsiteY321" fmla="*/ 550814 h 941139"/>
                  <a:gd name="connsiteX322" fmla="*/ 267718 w 1492410"/>
                  <a:gd name="connsiteY322" fmla="*/ 550814 h 941139"/>
                  <a:gd name="connsiteX323" fmla="*/ 267718 w 1492410"/>
                  <a:gd name="connsiteY323" fmla="*/ 550013 h 941139"/>
                  <a:gd name="connsiteX324" fmla="*/ 269241 w 1492410"/>
                  <a:gd name="connsiteY324" fmla="*/ 550013 h 941139"/>
                  <a:gd name="connsiteX325" fmla="*/ 269241 w 1492410"/>
                  <a:gd name="connsiteY325" fmla="*/ 549213 h 941139"/>
                  <a:gd name="connsiteX326" fmla="*/ 270776 w 1492410"/>
                  <a:gd name="connsiteY326" fmla="*/ 549213 h 941139"/>
                  <a:gd name="connsiteX327" fmla="*/ 270776 w 1492410"/>
                  <a:gd name="connsiteY327" fmla="*/ 548401 h 941139"/>
                  <a:gd name="connsiteX328" fmla="*/ 272311 w 1492410"/>
                  <a:gd name="connsiteY328" fmla="*/ 548401 h 941139"/>
                  <a:gd name="connsiteX329" fmla="*/ 272311 w 1492410"/>
                  <a:gd name="connsiteY329" fmla="*/ 545998 h 941139"/>
                  <a:gd name="connsiteX330" fmla="*/ 273845 w 1492410"/>
                  <a:gd name="connsiteY330" fmla="*/ 545998 h 941139"/>
                  <a:gd name="connsiteX331" fmla="*/ 273845 w 1492410"/>
                  <a:gd name="connsiteY331" fmla="*/ 543596 h 941139"/>
                  <a:gd name="connsiteX332" fmla="*/ 275380 w 1492410"/>
                  <a:gd name="connsiteY332" fmla="*/ 543596 h 941139"/>
                  <a:gd name="connsiteX333" fmla="*/ 275380 w 1492410"/>
                  <a:gd name="connsiteY333" fmla="*/ 542028 h 941139"/>
                  <a:gd name="connsiteX334" fmla="*/ 276903 w 1492410"/>
                  <a:gd name="connsiteY334" fmla="*/ 542028 h 941139"/>
                  <a:gd name="connsiteX335" fmla="*/ 276903 w 1492410"/>
                  <a:gd name="connsiteY335" fmla="*/ 541227 h 941139"/>
                  <a:gd name="connsiteX336" fmla="*/ 278449 w 1492410"/>
                  <a:gd name="connsiteY336" fmla="*/ 541227 h 941139"/>
                  <a:gd name="connsiteX337" fmla="*/ 278449 w 1492410"/>
                  <a:gd name="connsiteY337" fmla="*/ 540426 h 941139"/>
                  <a:gd name="connsiteX338" fmla="*/ 279939 w 1492410"/>
                  <a:gd name="connsiteY338" fmla="*/ 540426 h 941139"/>
                  <a:gd name="connsiteX339" fmla="*/ 279939 w 1492410"/>
                  <a:gd name="connsiteY339" fmla="*/ 538024 h 941139"/>
                  <a:gd name="connsiteX340" fmla="*/ 281474 w 1492410"/>
                  <a:gd name="connsiteY340" fmla="*/ 538024 h 941139"/>
                  <a:gd name="connsiteX341" fmla="*/ 281474 w 1492410"/>
                  <a:gd name="connsiteY341" fmla="*/ 536422 h 941139"/>
                  <a:gd name="connsiteX342" fmla="*/ 283008 w 1492410"/>
                  <a:gd name="connsiteY342" fmla="*/ 536422 h 941139"/>
                  <a:gd name="connsiteX343" fmla="*/ 283008 w 1492410"/>
                  <a:gd name="connsiteY343" fmla="*/ 534821 h 941139"/>
                  <a:gd name="connsiteX344" fmla="*/ 284532 w 1492410"/>
                  <a:gd name="connsiteY344" fmla="*/ 534821 h 941139"/>
                  <a:gd name="connsiteX345" fmla="*/ 284532 w 1492410"/>
                  <a:gd name="connsiteY345" fmla="*/ 534020 h 941139"/>
                  <a:gd name="connsiteX346" fmla="*/ 286077 w 1492410"/>
                  <a:gd name="connsiteY346" fmla="*/ 534020 h 941139"/>
                  <a:gd name="connsiteX347" fmla="*/ 286077 w 1492410"/>
                  <a:gd name="connsiteY347" fmla="*/ 533219 h 941139"/>
                  <a:gd name="connsiteX348" fmla="*/ 287601 w 1492410"/>
                  <a:gd name="connsiteY348" fmla="*/ 533219 h 941139"/>
                  <a:gd name="connsiteX349" fmla="*/ 287601 w 1492410"/>
                  <a:gd name="connsiteY349" fmla="*/ 529972 h 941139"/>
                  <a:gd name="connsiteX350" fmla="*/ 289135 w 1492410"/>
                  <a:gd name="connsiteY350" fmla="*/ 529972 h 941139"/>
                  <a:gd name="connsiteX351" fmla="*/ 289135 w 1492410"/>
                  <a:gd name="connsiteY351" fmla="*/ 528370 h 941139"/>
                  <a:gd name="connsiteX352" fmla="*/ 290670 w 1492410"/>
                  <a:gd name="connsiteY352" fmla="*/ 528370 h 941139"/>
                  <a:gd name="connsiteX353" fmla="*/ 290670 w 1492410"/>
                  <a:gd name="connsiteY353" fmla="*/ 524333 h 941139"/>
                  <a:gd name="connsiteX354" fmla="*/ 292205 w 1492410"/>
                  <a:gd name="connsiteY354" fmla="*/ 524333 h 941139"/>
                  <a:gd name="connsiteX355" fmla="*/ 292205 w 1492410"/>
                  <a:gd name="connsiteY355" fmla="*/ 521897 h 941139"/>
                  <a:gd name="connsiteX356" fmla="*/ 293739 w 1492410"/>
                  <a:gd name="connsiteY356" fmla="*/ 521897 h 941139"/>
                  <a:gd name="connsiteX357" fmla="*/ 293739 w 1492410"/>
                  <a:gd name="connsiteY357" fmla="*/ 520251 h 941139"/>
                  <a:gd name="connsiteX358" fmla="*/ 295274 w 1492410"/>
                  <a:gd name="connsiteY358" fmla="*/ 520251 h 941139"/>
                  <a:gd name="connsiteX359" fmla="*/ 295274 w 1492410"/>
                  <a:gd name="connsiteY359" fmla="*/ 519450 h 941139"/>
                  <a:gd name="connsiteX360" fmla="*/ 296797 w 1492410"/>
                  <a:gd name="connsiteY360" fmla="*/ 519450 h 941139"/>
                  <a:gd name="connsiteX361" fmla="*/ 296797 w 1492410"/>
                  <a:gd name="connsiteY361" fmla="*/ 517815 h 941139"/>
                  <a:gd name="connsiteX362" fmla="*/ 298298 w 1492410"/>
                  <a:gd name="connsiteY362" fmla="*/ 517815 h 941139"/>
                  <a:gd name="connsiteX363" fmla="*/ 298298 w 1492410"/>
                  <a:gd name="connsiteY363" fmla="*/ 517015 h 941139"/>
                  <a:gd name="connsiteX364" fmla="*/ 299833 w 1492410"/>
                  <a:gd name="connsiteY364" fmla="*/ 517015 h 941139"/>
                  <a:gd name="connsiteX365" fmla="*/ 299833 w 1492410"/>
                  <a:gd name="connsiteY365" fmla="*/ 516180 h 941139"/>
                  <a:gd name="connsiteX366" fmla="*/ 301368 w 1492410"/>
                  <a:gd name="connsiteY366" fmla="*/ 516180 h 941139"/>
                  <a:gd name="connsiteX367" fmla="*/ 302902 w 1492410"/>
                  <a:gd name="connsiteY367" fmla="*/ 516180 h 941139"/>
                  <a:gd name="connsiteX368" fmla="*/ 302902 w 1492410"/>
                  <a:gd name="connsiteY368" fmla="*/ 515380 h 941139"/>
                  <a:gd name="connsiteX369" fmla="*/ 304426 w 1492410"/>
                  <a:gd name="connsiteY369" fmla="*/ 515380 h 941139"/>
                  <a:gd name="connsiteX370" fmla="*/ 304426 w 1492410"/>
                  <a:gd name="connsiteY370" fmla="*/ 512866 h 941139"/>
                  <a:gd name="connsiteX371" fmla="*/ 305960 w 1492410"/>
                  <a:gd name="connsiteY371" fmla="*/ 512866 h 941139"/>
                  <a:gd name="connsiteX372" fmla="*/ 305960 w 1492410"/>
                  <a:gd name="connsiteY372" fmla="*/ 512032 h 941139"/>
                  <a:gd name="connsiteX373" fmla="*/ 307495 w 1492410"/>
                  <a:gd name="connsiteY373" fmla="*/ 512032 h 941139"/>
                  <a:gd name="connsiteX374" fmla="*/ 307495 w 1492410"/>
                  <a:gd name="connsiteY374" fmla="*/ 509563 h 941139"/>
                  <a:gd name="connsiteX375" fmla="*/ 309029 w 1492410"/>
                  <a:gd name="connsiteY375" fmla="*/ 509563 h 941139"/>
                  <a:gd name="connsiteX376" fmla="*/ 309029 w 1492410"/>
                  <a:gd name="connsiteY376" fmla="*/ 507884 h 941139"/>
                  <a:gd name="connsiteX377" fmla="*/ 310564 w 1492410"/>
                  <a:gd name="connsiteY377" fmla="*/ 507884 h 941139"/>
                  <a:gd name="connsiteX378" fmla="*/ 310564 w 1492410"/>
                  <a:gd name="connsiteY378" fmla="*/ 507049 h 941139"/>
                  <a:gd name="connsiteX379" fmla="*/ 312087 w 1492410"/>
                  <a:gd name="connsiteY379" fmla="*/ 507049 h 941139"/>
                  <a:gd name="connsiteX380" fmla="*/ 312087 w 1492410"/>
                  <a:gd name="connsiteY380" fmla="*/ 503702 h 941139"/>
                  <a:gd name="connsiteX381" fmla="*/ 313633 w 1492410"/>
                  <a:gd name="connsiteY381" fmla="*/ 503702 h 941139"/>
                  <a:gd name="connsiteX382" fmla="*/ 313633 w 1492410"/>
                  <a:gd name="connsiteY382" fmla="*/ 502834 h 941139"/>
                  <a:gd name="connsiteX383" fmla="*/ 315123 w 1492410"/>
                  <a:gd name="connsiteY383" fmla="*/ 502834 h 941139"/>
                  <a:gd name="connsiteX384" fmla="*/ 315123 w 1492410"/>
                  <a:gd name="connsiteY384" fmla="*/ 502000 h 941139"/>
                  <a:gd name="connsiteX385" fmla="*/ 316658 w 1492410"/>
                  <a:gd name="connsiteY385" fmla="*/ 502000 h 941139"/>
                  <a:gd name="connsiteX386" fmla="*/ 316658 w 1492410"/>
                  <a:gd name="connsiteY386" fmla="*/ 501155 h 941139"/>
                  <a:gd name="connsiteX387" fmla="*/ 318192 w 1492410"/>
                  <a:gd name="connsiteY387" fmla="*/ 501155 h 941139"/>
                  <a:gd name="connsiteX388" fmla="*/ 318192 w 1492410"/>
                  <a:gd name="connsiteY388" fmla="*/ 500287 h 941139"/>
                  <a:gd name="connsiteX389" fmla="*/ 319716 w 1492410"/>
                  <a:gd name="connsiteY389" fmla="*/ 500287 h 941139"/>
                  <a:gd name="connsiteX390" fmla="*/ 319716 w 1492410"/>
                  <a:gd name="connsiteY390" fmla="*/ 499453 h 941139"/>
                  <a:gd name="connsiteX391" fmla="*/ 321261 w 1492410"/>
                  <a:gd name="connsiteY391" fmla="*/ 499453 h 941139"/>
                  <a:gd name="connsiteX392" fmla="*/ 321261 w 1492410"/>
                  <a:gd name="connsiteY392" fmla="*/ 496917 h 941139"/>
                  <a:gd name="connsiteX393" fmla="*/ 322785 w 1492410"/>
                  <a:gd name="connsiteY393" fmla="*/ 496917 h 941139"/>
                  <a:gd name="connsiteX394" fmla="*/ 322785 w 1492410"/>
                  <a:gd name="connsiteY394" fmla="*/ 493469 h 941139"/>
                  <a:gd name="connsiteX395" fmla="*/ 324320 w 1492410"/>
                  <a:gd name="connsiteY395" fmla="*/ 493469 h 941139"/>
                  <a:gd name="connsiteX396" fmla="*/ 324320 w 1492410"/>
                  <a:gd name="connsiteY396" fmla="*/ 492591 h 941139"/>
                  <a:gd name="connsiteX397" fmla="*/ 327389 w 1492410"/>
                  <a:gd name="connsiteY397" fmla="*/ 492591 h 941139"/>
                  <a:gd name="connsiteX398" fmla="*/ 327389 w 1492410"/>
                  <a:gd name="connsiteY398" fmla="*/ 491723 h 941139"/>
                  <a:gd name="connsiteX399" fmla="*/ 328923 w 1492410"/>
                  <a:gd name="connsiteY399" fmla="*/ 491723 h 941139"/>
                  <a:gd name="connsiteX400" fmla="*/ 328923 w 1492410"/>
                  <a:gd name="connsiteY400" fmla="*/ 487397 h 941139"/>
                  <a:gd name="connsiteX401" fmla="*/ 330447 w 1492410"/>
                  <a:gd name="connsiteY401" fmla="*/ 487397 h 941139"/>
                  <a:gd name="connsiteX402" fmla="*/ 330447 w 1492410"/>
                  <a:gd name="connsiteY402" fmla="*/ 484783 h 941139"/>
                  <a:gd name="connsiteX403" fmla="*/ 331981 w 1492410"/>
                  <a:gd name="connsiteY403" fmla="*/ 484783 h 941139"/>
                  <a:gd name="connsiteX404" fmla="*/ 331981 w 1492410"/>
                  <a:gd name="connsiteY404" fmla="*/ 483916 h 941139"/>
                  <a:gd name="connsiteX405" fmla="*/ 333483 w 1492410"/>
                  <a:gd name="connsiteY405" fmla="*/ 483916 h 941139"/>
                  <a:gd name="connsiteX406" fmla="*/ 333483 w 1492410"/>
                  <a:gd name="connsiteY406" fmla="*/ 479567 h 941139"/>
                  <a:gd name="connsiteX407" fmla="*/ 335017 w 1492410"/>
                  <a:gd name="connsiteY407" fmla="*/ 479567 h 941139"/>
                  <a:gd name="connsiteX408" fmla="*/ 335017 w 1492410"/>
                  <a:gd name="connsiteY408" fmla="*/ 477788 h 941139"/>
                  <a:gd name="connsiteX409" fmla="*/ 338075 w 1492410"/>
                  <a:gd name="connsiteY409" fmla="*/ 477788 h 941139"/>
                  <a:gd name="connsiteX410" fmla="*/ 338075 w 1492410"/>
                  <a:gd name="connsiteY410" fmla="*/ 475174 h 941139"/>
                  <a:gd name="connsiteX411" fmla="*/ 339621 w 1492410"/>
                  <a:gd name="connsiteY411" fmla="*/ 475174 h 941139"/>
                  <a:gd name="connsiteX412" fmla="*/ 339621 w 1492410"/>
                  <a:gd name="connsiteY412" fmla="*/ 473394 h 941139"/>
                  <a:gd name="connsiteX413" fmla="*/ 341144 w 1492410"/>
                  <a:gd name="connsiteY413" fmla="*/ 473394 h 941139"/>
                  <a:gd name="connsiteX414" fmla="*/ 342679 w 1492410"/>
                  <a:gd name="connsiteY414" fmla="*/ 473394 h 941139"/>
                  <a:gd name="connsiteX415" fmla="*/ 342679 w 1492410"/>
                  <a:gd name="connsiteY415" fmla="*/ 471615 h 941139"/>
                  <a:gd name="connsiteX416" fmla="*/ 344214 w 1492410"/>
                  <a:gd name="connsiteY416" fmla="*/ 471615 h 941139"/>
                  <a:gd name="connsiteX417" fmla="*/ 344214 w 1492410"/>
                  <a:gd name="connsiteY417" fmla="*/ 469847 h 941139"/>
                  <a:gd name="connsiteX418" fmla="*/ 345748 w 1492410"/>
                  <a:gd name="connsiteY418" fmla="*/ 469847 h 941139"/>
                  <a:gd name="connsiteX419" fmla="*/ 345748 w 1492410"/>
                  <a:gd name="connsiteY419" fmla="*/ 468968 h 941139"/>
                  <a:gd name="connsiteX420" fmla="*/ 348806 w 1492410"/>
                  <a:gd name="connsiteY420" fmla="*/ 468968 h 941139"/>
                  <a:gd name="connsiteX421" fmla="*/ 348806 w 1492410"/>
                  <a:gd name="connsiteY421" fmla="*/ 468067 h 941139"/>
                  <a:gd name="connsiteX422" fmla="*/ 350307 w 1492410"/>
                  <a:gd name="connsiteY422" fmla="*/ 468067 h 941139"/>
                  <a:gd name="connsiteX423" fmla="*/ 350307 w 1492410"/>
                  <a:gd name="connsiteY423" fmla="*/ 467155 h 941139"/>
                  <a:gd name="connsiteX424" fmla="*/ 351842 w 1492410"/>
                  <a:gd name="connsiteY424" fmla="*/ 467155 h 941139"/>
                  <a:gd name="connsiteX425" fmla="*/ 353377 w 1492410"/>
                  <a:gd name="connsiteY425" fmla="*/ 467155 h 941139"/>
                  <a:gd name="connsiteX426" fmla="*/ 353377 w 1492410"/>
                  <a:gd name="connsiteY426" fmla="*/ 466287 h 941139"/>
                  <a:gd name="connsiteX427" fmla="*/ 354911 w 1492410"/>
                  <a:gd name="connsiteY427" fmla="*/ 466287 h 941139"/>
                  <a:gd name="connsiteX428" fmla="*/ 354911 w 1492410"/>
                  <a:gd name="connsiteY428" fmla="*/ 465387 h 941139"/>
                  <a:gd name="connsiteX429" fmla="*/ 356446 w 1492410"/>
                  <a:gd name="connsiteY429" fmla="*/ 465387 h 941139"/>
                  <a:gd name="connsiteX430" fmla="*/ 356446 w 1492410"/>
                  <a:gd name="connsiteY430" fmla="*/ 463574 h 941139"/>
                  <a:gd name="connsiteX431" fmla="*/ 357969 w 1492410"/>
                  <a:gd name="connsiteY431" fmla="*/ 463574 h 941139"/>
                  <a:gd name="connsiteX432" fmla="*/ 357969 w 1492410"/>
                  <a:gd name="connsiteY432" fmla="*/ 461750 h 941139"/>
                  <a:gd name="connsiteX433" fmla="*/ 359504 w 1492410"/>
                  <a:gd name="connsiteY433" fmla="*/ 461750 h 941139"/>
                  <a:gd name="connsiteX434" fmla="*/ 359504 w 1492410"/>
                  <a:gd name="connsiteY434" fmla="*/ 460849 h 941139"/>
                  <a:gd name="connsiteX435" fmla="*/ 361038 w 1492410"/>
                  <a:gd name="connsiteY435" fmla="*/ 460849 h 941139"/>
                  <a:gd name="connsiteX436" fmla="*/ 361038 w 1492410"/>
                  <a:gd name="connsiteY436" fmla="*/ 459036 h 941139"/>
                  <a:gd name="connsiteX437" fmla="*/ 362573 w 1492410"/>
                  <a:gd name="connsiteY437" fmla="*/ 459036 h 941139"/>
                  <a:gd name="connsiteX438" fmla="*/ 364108 w 1492410"/>
                  <a:gd name="connsiteY438" fmla="*/ 459036 h 941139"/>
                  <a:gd name="connsiteX439" fmla="*/ 364108 w 1492410"/>
                  <a:gd name="connsiteY439" fmla="*/ 458135 h 941139"/>
                  <a:gd name="connsiteX440" fmla="*/ 365631 w 1492410"/>
                  <a:gd name="connsiteY440" fmla="*/ 458135 h 941139"/>
                  <a:gd name="connsiteX441" fmla="*/ 365631 w 1492410"/>
                  <a:gd name="connsiteY441" fmla="*/ 454476 h 941139"/>
                  <a:gd name="connsiteX442" fmla="*/ 367177 w 1492410"/>
                  <a:gd name="connsiteY442" fmla="*/ 454476 h 941139"/>
                  <a:gd name="connsiteX443" fmla="*/ 368667 w 1492410"/>
                  <a:gd name="connsiteY443" fmla="*/ 454476 h 941139"/>
                  <a:gd name="connsiteX444" fmla="*/ 370201 w 1492410"/>
                  <a:gd name="connsiteY444" fmla="*/ 454476 h 941139"/>
                  <a:gd name="connsiteX445" fmla="*/ 370201 w 1492410"/>
                  <a:gd name="connsiteY445" fmla="*/ 453575 h 941139"/>
                  <a:gd name="connsiteX446" fmla="*/ 371736 w 1492410"/>
                  <a:gd name="connsiteY446" fmla="*/ 453575 h 941139"/>
                  <a:gd name="connsiteX447" fmla="*/ 371736 w 1492410"/>
                  <a:gd name="connsiteY447" fmla="*/ 452630 h 941139"/>
                  <a:gd name="connsiteX448" fmla="*/ 373259 w 1492410"/>
                  <a:gd name="connsiteY448" fmla="*/ 452630 h 941139"/>
                  <a:gd name="connsiteX449" fmla="*/ 373259 w 1492410"/>
                  <a:gd name="connsiteY449" fmla="*/ 449883 h 941139"/>
                  <a:gd name="connsiteX450" fmla="*/ 374805 w 1492410"/>
                  <a:gd name="connsiteY450" fmla="*/ 449883 h 941139"/>
                  <a:gd name="connsiteX451" fmla="*/ 374805 w 1492410"/>
                  <a:gd name="connsiteY451" fmla="*/ 448937 h 941139"/>
                  <a:gd name="connsiteX452" fmla="*/ 376329 w 1492410"/>
                  <a:gd name="connsiteY452" fmla="*/ 448937 h 941139"/>
                  <a:gd name="connsiteX453" fmla="*/ 376329 w 1492410"/>
                  <a:gd name="connsiteY453" fmla="*/ 447091 h 941139"/>
                  <a:gd name="connsiteX454" fmla="*/ 377863 w 1492410"/>
                  <a:gd name="connsiteY454" fmla="*/ 447091 h 941139"/>
                  <a:gd name="connsiteX455" fmla="*/ 380932 w 1492410"/>
                  <a:gd name="connsiteY455" fmla="*/ 447091 h 941139"/>
                  <a:gd name="connsiteX456" fmla="*/ 380932 w 1492410"/>
                  <a:gd name="connsiteY456" fmla="*/ 444266 h 941139"/>
                  <a:gd name="connsiteX457" fmla="*/ 382467 w 1492410"/>
                  <a:gd name="connsiteY457" fmla="*/ 444266 h 941139"/>
                  <a:gd name="connsiteX458" fmla="*/ 383990 w 1492410"/>
                  <a:gd name="connsiteY458" fmla="*/ 444266 h 941139"/>
                  <a:gd name="connsiteX459" fmla="*/ 385492 w 1492410"/>
                  <a:gd name="connsiteY459" fmla="*/ 444266 h 941139"/>
                  <a:gd name="connsiteX460" fmla="*/ 385492 w 1492410"/>
                  <a:gd name="connsiteY460" fmla="*/ 443321 h 941139"/>
                  <a:gd name="connsiteX461" fmla="*/ 387026 w 1492410"/>
                  <a:gd name="connsiteY461" fmla="*/ 443321 h 941139"/>
                  <a:gd name="connsiteX462" fmla="*/ 388561 w 1492410"/>
                  <a:gd name="connsiteY462" fmla="*/ 443321 h 941139"/>
                  <a:gd name="connsiteX463" fmla="*/ 388561 w 1492410"/>
                  <a:gd name="connsiteY463" fmla="*/ 441441 h 941139"/>
                  <a:gd name="connsiteX464" fmla="*/ 390095 w 1492410"/>
                  <a:gd name="connsiteY464" fmla="*/ 441441 h 941139"/>
                  <a:gd name="connsiteX465" fmla="*/ 390095 w 1492410"/>
                  <a:gd name="connsiteY465" fmla="*/ 440507 h 941139"/>
                  <a:gd name="connsiteX466" fmla="*/ 391619 w 1492410"/>
                  <a:gd name="connsiteY466" fmla="*/ 440507 h 941139"/>
                  <a:gd name="connsiteX467" fmla="*/ 391619 w 1492410"/>
                  <a:gd name="connsiteY467" fmla="*/ 438583 h 941139"/>
                  <a:gd name="connsiteX468" fmla="*/ 393153 w 1492410"/>
                  <a:gd name="connsiteY468" fmla="*/ 438583 h 941139"/>
                  <a:gd name="connsiteX469" fmla="*/ 393153 w 1492410"/>
                  <a:gd name="connsiteY469" fmla="*/ 437648 h 941139"/>
                  <a:gd name="connsiteX470" fmla="*/ 394688 w 1492410"/>
                  <a:gd name="connsiteY470" fmla="*/ 437648 h 941139"/>
                  <a:gd name="connsiteX471" fmla="*/ 394688 w 1492410"/>
                  <a:gd name="connsiteY471" fmla="*/ 436703 h 941139"/>
                  <a:gd name="connsiteX472" fmla="*/ 396223 w 1492410"/>
                  <a:gd name="connsiteY472" fmla="*/ 436703 h 941139"/>
                  <a:gd name="connsiteX473" fmla="*/ 397757 w 1492410"/>
                  <a:gd name="connsiteY473" fmla="*/ 436703 h 941139"/>
                  <a:gd name="connsiteX474" fmla="*/ 399292 w 1492410"/>
                  <a:gd name="connsiteY474" fmla="*/ 436703 h 941139"/>
                  <a:gd name="connsiteX475" fmla="*/ 399292 w 1492410"/>
                  <a:gd name="connsiteY475" fmla="*/ 435736 h 941139"/>
                  <a:gd name="connsiteX476" fmla="*/ 400815 w 1492410"/>
                  <a:gd name="connsiteY476" fmla="*/ 435736 h 941139"/>
                  <a:gd name="connsiteX477" fmla="*/ 400815 w 1492410"/>
                  <a:gd name="connsiteY477" fmla="*/ 432833 h 941139"/>
                  <a:gd name="connsiteX478" fmla="*/ 402350 w 1492410"/>
                  <a:gd name="connsiteY478" fmla="*/ 432833 h 941139"/>
                  <a:gd name="connsiteX479" fmla="*/ 402350 w 1492410"/>
                  <a:gd name="connsiteY479" fmla="*/ 431865 h 941139"/>
                  <a:gd name="connsiteX480" fmla="*/ 403851 w 1492410"/>
                  <a:gd name="connsiteY480" fmla="*/ 431865 h 941139"/>
                  <a:gd name="connsiteX481" fmla="*/ 405386 w 1492410"/>
                  <a:gd name="connsiteY481" fmla="*/ 431865 h 941139"/>
                  <a:gd name="connsiteX482" fmla="*/ 406920 w 1492410"/>
                  <a:gd name="connsiteY482" fmla="*/ 431865 h 941139"/>
                  <a:gd name="connsiteX483" fmla="*/ 406920 w 1492410"/>
                  <a:gd name="connsiteY483" fmla="*/ 428973 h 941139"/>
                  <a:gd name="connsiteX484" fmla="*/ 408444 w 1492410"/>
                  <a:gd name="connsiteY484" fmla="*/ 428973 h 941139"/>
                  <a:gd name="connsiteX485" fmla="*/ 408444 w 1492410"/>
                  <a:gd name="connsiteY485" fmla="*/ 427016 h 941139"/>
                  <a:gd name="connsiteX486" fmla="*/ 409978 w 1492410"/>
                  <a:gd name="connsiteY486" fmla="*/ 427016 h 941139"/>
                  <a:gd name="connsiteX487" fmla="*/ 411513 w 1492410"/>
                  <a:gd name="connsiteY487" fmla="*/ 427016 h 941139"/>
                  <a:gd name="connsiteX488" fmla="*/ 411513 w 1492410"/>
                  <a:gd name="connsiteY488" fmla="*/ 426048 h 941139"/>
                  <a:gd name="connsiteX489" fmla="*/ 413047 w 1492410"/>
                  <a:gd name="connsiteY489" fmla="*/ 426048 h 941139"/>
                  <a:gd name="connsiteX490" fmla="*/ 413047 w 1492410"/>
                  <a:gd name="connsiteY490" fmla="*/ 425070 h 941139"/>
                  <a:gd name="connsiteX491" fmla="*/ 414582 w 1492410"/>
                  <a:gd name="connsiteY491" fmla="*/ 425070 h 941139"/>
                  <a:gd name="connsiteX492" fmla="*/ 416117 w 1492410"/>
                  <a:gd name="connsiteY492" fmla="*/ 425070 h 941139"/>
                  <a:gd name="connsiteX493" fmla="*/ 416117 w 1492410"/>
                  <a:gd name="connsiteY493" fmla="*/ 424091 h 941139"/>
                  <a:gd name="connsiteX494" fmla="*/ 417651 w 1492410"/>
                  <a:gd name="connsiteY494" fmla="*/ 424091 h 941139"/>
                  <a:gd name="connsiteX495" fmla="*/ 419175 w 1492410"/>
                  <a:gd name="connsiteY495" fmla="*/ 424091 h 941139"/>
                  <a:gd name="connsiteX496" fmla="*/ 420709 w 1492410"/>
                  <a:gd name="connsiteY496" fmla="*/ 424091 h 941139"/>
                  <a:gd name="connsiteX497" fmla="*/ 420709 w 1492410"/>
                  <a:gd name="connsiteY497" fmla="*/ 423079 h 941139"/>
                  <a:gd name="connsiteX498" fmla="*/ 422210 w 1492410"/>
                  <a:gd name="connsiteY498" fmla="*/ 423079 h 941139"/>
                  <a:gd name="connsiteX499" fmla="*/ 422210 w 1492410"/>
                  <a:gd name="connsiteY499" fmla="*/ 422111 h 941139"/>
                  <a:gd name="connsiteX500" fmla="*/ 423745 w 1492410"/>
                  <a:gd name="connsiteY500" fmla="*/ 422111 h 941139"/>
                  <a:gd name="connsiteX501" fmla="*/ 423745 w 1492410"/>
                  <a:gd name="connsiteY501" fmla="*/ 421099 h 941139"/>
                  <a:gd name="connsiteX502" fmla="*/ 425280 w 1492410"/>
                  <a:gd name="connsiteY502" fmla="*/ 421099 h 941139"/>
                  <a:gd name="connsiteX503" fmla="*/ 425280 w 1492410"/>
                  <a:gd name="connsiteY503" fmla="*/ 420120 h 941139"/>
                  <a:gd name="connsiteX504" fmla="*/ 426803 w 1492410"/>
                  <a:gd name="connsiteY504" fmla="*/ 420120 h 941139"/>
                  <a:gd name="connsiteX505" fmla="*/ 428349 w 1492410"/>
                  <a:gd name="connsiteY505" fmla="*/ 420120 h 941139"/>
                  <a:gd name="connsiteX506" fmla="*/ 428349 w 1492410"/>
                  <a:gd name="connsiteY506" fmla="*/ 418096 h 941139"/>
                  <a:gd name="connsiteX507" fmla="*/ 429872 w 1492410"/>
                  <a:gd name="connsiteY507" fmla="*/ 418096 h 941139"/>
                  <a:gd name="connsiteX508" fmla="*/ 429872 w 1492410"/>
                  <a:gd name="connsiteY508" fmla="*/ 417128 h 941139"/>
                  <a:gd name="connsiteX509" fmla="*/ 431407 w 1492410"/>
                  <a:gd name="connsiteY509" fmla="*/ 417128 h 941139"/>
                  <a:gd name="connsiteX510" fmla="*/ 432941 w 1492410"/>
                  <a:gd name="connsiteY510" fmla="*/ 417128 h 941139"/>
                  <a:gd name="connsiteX511" fmla="*/ 432941 w 1492410"/>
                  <a:gd name="connsiteY511" fmla="*/ 414092 h 941139"/>
                  <a:gd name="connsiteX512" fmla="*/ 434476 w 1492410"/>
                  <a:gd name="connsiteY512" fmla="*/ 414092 h 941139"/>
                  <a:gd name="connsiteX513" fmla="*/ 434476 w 1492410"/>
                  <a:gd name="connsiteY513" fmla="*/ 412035 h 941139"/>
                  <a:gd name="connsiteX514" fmla="*/ 435999 w 1492410"/>
                  <a:gd name="connsiteY514" fmla="*/ 412035 h 941139"/>
                  <a:gd name="connsiteX515" fmla="*/ 435999 w 1492410"/>
                  <a:gd name="connsiteY515" fmla="*/ 410022 h 941139"/>
                  <a:gd name="connsiteX516" fmla="*/ 437534 w 1492410"/>
                  <a:gd name="connsiteY516" fmla="*/ 410022 h 941139"/>
                  <a:gd name="connsiteX517" fmla="*/ 437534 w 1492410"/>
                  <a:gd name="connsiteY517" fmla="*/ 407997 h 941139"/>
                  <a:gd name="connsiteX518" fmla="*/ 439035 w 1492410"/>
                  <a:gd name="connsiteY518" fmla="*/ 407997 h 941139"/>
                  <a:gd name="connsiteX519" fmla="*/ 439035 w 1492410"/>
                  <a:gd name="connsiteY519" fmla="*/ 406985 h 941139"/>
                  <a:gd name="connsiteX520" fmla="*/ 440570 w 1492410"/>
                  <a:gd name="connsiteY520" fmla="*/ 406985 h 941139"/>
                  <a:gd name="connsiteX521" fmla="*/ 440570 w 1492410"/>
                  <a:gd name="connsiteY521" fmla="*/ 404928 h 941139"/>
                  <a:gd name="connsiteX522" fmla="*/ 442104 w 1492410"/>
                  <a:gd name="connsiteY522" fmla="*/ 404928 h 941139"/>
                  <a:gd name="connsiteX523" fmla="*/ 442104 w 1492410"/>
                  <a:gd name="connsiteY523" fmla="*/ 401869 h 941139"/>
                  <a:gd name="connsiteX524" fmla="*/ 445162 w 1492410"/>
                  <a:gd name="connsiteY524" fmla="*/ 401869 h 941139"/>
                  <a:gd name="connsiteX525" fmla="*/ 445162 w 1492410"/>
                  <a:gd name="connsiteY525" fmla="*/ 400857 h 941139"/>
                  <a:gd name="connsiteX526" fmla="*/ 446697 w 1492410"/>
                  <a:gd name="connsiteY526" fmla="*/ 400857 h 941139"/>
                  <a:gd name="connsiteX527" fmla="*/ 448232 w 1492410"/>
                  <a:gd name="connsiteY527" fmla="*/ 400857 h 941139"/>
                  <a:gd name="connsiteX528" fmla="*/ 449766 w 1492410"/>
                  <a:gd name="connsiteY528" fmla="*/ 400857 h 941139"/>
                  <a:gd name="connsiteX529" fmla="*/ 451290 w 1492410"/>
                  <a:gd name="connsiteY529" fmla="*/ 400857 h 941139"/>
                  <a:gd name="connsiteX530" fmla="*/ 451290 w 1492410"/>
                  <a:gd name="connsiteY530" fmla="*/ 398766 h 941139"/>
                  <a:gd name="connsiteX531" fmla="*/ 452835 w 1492410"/>
                  <a:gd name="connsiteY531" fmla="*/ 398766 h 941139"/>
                  <a:gd name="connsiteX532" fmla="*/ 455893 w 1492410"/>
                  <a:gd name="connsiteY532" fmla="*/ 398766 h 941139"/>
                  <a:gd name="connsiteX533" fmla="*/ 455893 w 1492410"/>
                  <a:gd name="connsiteY533" fmla="*/ 397754 h 941139"/>
                  <a:gd name="connsiteX534" fmla="*/ 457395 w 1492410"/>
                  <a:gd name="connsiteY534" fmla="*/ 397754 h 941139"/>
                  <a:gd name="connsiteX535" fmla="*/ 457395 w 1492410"/>
                  <a:gd name="connsiteY535" fmla="*/ 396709 h 941139"/>
                  <a:gd name="connsiteX536" fmla="*/ 458929 w 1492410"/>
                  <a:gd name="connsiteY536" fmla="*/ 396709 h 941139"/>
                  <a:gd name="connsiteX537" fmla="*/ 458929 w 1492410"/>
                  <a:gd name="connsiteY537" fmla="*/ 394618 h 941139"/>
                  <a:gd name="connsiteX538" fmla="*/ 460464 w 1492410"/>
                  <a:gd name="connsiteY538" fmla="*/ 394618 h 941139"/>
                  <a:gd name="connsiteX539" fmla="*/ 460464 w 1492410"/>
                  <a:gd name="connsiteY539" fmla="*/ 393572 h 941139"/>
                  <a:gd name="connsiteX540" fmla="*/ 461987 w 1492410"/>
                  <a:gd name="connsiteY540" fmla="*/ 393572 h 941139"/>
                  <a:gd name="connsiteX541" fmla="*/ 461987 w 1492410"/>
                  <a:gd name="connsiteY541" fmla="*/ 391515 h 941139"/>
                  <a:gd name="connsiteX542" fmla="*/ 463522 w 1492410"/>
                  <a:gd name="connsiteY542" fmla="*/ 391515 h 941139"/>
                  <a:gd name="connsiteX543" fmla="*/ 463522 w 1492410"/>
                  <a:gd name="connsiteY543" fmla="*/ 390469 h 941139"/>
                  <a:gd name="connsiteX544" fmla="*/ 465056 w 1492410"/>
                  <a:gd name="connsiteY544" fmla="*/ 390469 h 941139"/>
                  <a:gd name="connsiteX545" fmla="*/ 465056 w 1492410"/>
                  <a:gd name="connsiteY545" fmla="*/ 389390 h 941139"/>
                  <a:gd name="connsiteX546" fmla="*/ 466591 w 1492410"/>
                  <a:gd name="connsiteY546" fmla="*/ 389390 h 941139"/>
                  <a:gd name="connsiteX547" fmla="*/ 466591 w 1492410"/>
                  <a:gd name="connsiteY547" fmla="*/ 387299 h 941139"/>
                  <a:gd name="connsiteX548" fmla="*/ 469660 w 1492410"/>
                  <a:gd name="connsiteY548" fmla="*/ 387299 h 941139"/>
                  <a:gd name="connsiteX549" fmla="*/ 469660 w 1492410"/>
                  <a:gd name="connsiteY549" fmla="*/ 386254 h 941139"/>
                  <a:gd name="connsiteX550" fmla="*/ 471195 w 1492410"/>
                  <a:gd name="connsiteY550" fmla="*/ 386254 h 941139"/>
                  <a:gd name="connsiteX551" fmla="*/ 471195 w 1492410"/>
                  <a:gd name="connsiteY551" fmla="*/ 384163 h 941139"/>
                  <a:gd name="connsiteX552" fmla="*/ 472718 w 1492410"/>
                  <a:gd name="connsiteY552" fmla="*/ 384163 h 941139"/>
                  <a:gd name="connsiteX553" fmla="*/ 472718 w 1492410"/>
                  <a:gd name="connsiteY553" fmla="*/ 383084 h 941139"/>
                  <a:gd name="connsiteX554" fmla="*/ 474219 w 1492410"/>
                  <a:gd name="connsiteY554" fmla="*/ 383084 h 941139"/>
                  <a:gd name="connsiteX555" fmla="*/ 474219 w 1492410"/>
                  <a:gd name="connsiteY555" fmla="*/ 379914 h 941139"/>
                  <a:gd name="connsiteX556" fmla="*/ 475754 w 1492410"/>
                  <a:gd name="connsiteY556" fmla="*/ 379914 h 941139"/>
                  <a:gd name="connsiteX557" fmla="*/ 475754 w 1492410"/>
                  <a:gd name="connsiteY557" fmla="*/ 378869 h 941139"/>
                  <a:gd name="connsiteX558" fmla="*/ 477289 w 1492410"/>
                  <a:gd name="connsiteY558" fmla="*/ 378869 h 941139"/>
                  <a:gd name="connsiteX559" fmla="*/ 478823 w 1492410"/>
                  <a:gd name="connsiteY559" fmla="*/ 378869 h 941139"/>
                  <a:gd name="connsiteX560" fmla="*/ 480347 w 1492410"/>
                  <a:gd name="connsiteY560" fmla="*/ 378869 h 941139"/>
                  <a:gd name="connsiteX561" fmla="*/ 481881 w 1492410"/>
                  <a:gd name="connsiteY561" fmla="*/ 378869 h 941139"/>
                  <a:gd name="connsiteX562" fmla="*/ 481881 w 1492410"/>
                  <a:gd name="connsiteY562" fmla="*/ 377824 h 941139"/>
                  <a:gd name="connsiteX563" fmla="*/ 483416 w 1492410"/>
                  <a:gd name="connsiteY563" fmla="*/ 377824 h 941139"/>
                  <a:gd name="connsiteX564" fmla="*/ 484950 w 1492410"/>
                  <a:gd name="connsiteY564" fmla="*/ 377824 h 941139"/>
                  <a:gd name="connsiteX565" fmla="*/ 484950 w 1492410"/>
                  <a:gd name="connsiteY565" fmla="*/ 375666 h 941139"/>
                  <a:gd name="connsiteX566" fmla="*/ 486485 w 1492410"/>
                  <a:gd name="connsiteY566" fmla="*/ 375666 h 941139"/>
                  <a:gd name="connsiteX567" fmla="*/ 486485 w 1492410"/>
                  <a:gd name="connsiteY567" fmla="*/ 374620 h 941139"/>
                  <a:gd name="connsiteX568" fmla="*/ 488019 w 1492410"/>
                  <a:gd name="connsiteY568" fmla="*/ 374620 h 941139"/>
                  <a:gd name="connsiteX569" fmla="*/ 488019 w 1492410"/>
                  <a:gd name="connsiteY569" fmla="*/ 372463 h 941139"/>
                  <a:gd name="connsiteX570" fmla="*/ 491078 w 1492410"/>
                  <a:gd name="connsiteY570" fmla="*/ 372463 h 941139"/>
                  <a:gd name="connsiteX571" fmla="*/ 491078 w 1492410"/>
                  <a:gd name="connsiteY571" fmla="*/ 371373 h 941139"/>
                  <a:gd name="connsiteX572" fmla="*/ 492579 w 1492410"/>
                  <a:gd name="connsiteY572" fmla="*/ 371373 h 941139"/>
                  <a:gd name="connsiteX573" fmla="*/ 494113 w 1492410"/>
                  <a:gd name="connsiteY573" fmla="*/ 371373 h 941139"/>
                  <a:gd name="connsiteX574" fmla="*/ 494113 w 1492410"/>
                  <a:gd name="connsiteY574" fmla="*/ 370294 h 941139"/>
                  <a:gd name="connsiteX575" fmla="*/ 495648 w 1492410"/>
                  <a:gd name="connsiteY575" fmla="*/ 370294 h 941139"/>
                  <a:gd name="connsiteX576" fmla="*/ 495648 w 1492410"/>
                  <a:gd name="connsiteY576" fmla="*/ 367058 h 941139"/>
                  <a:gd name="connsiteX577" fmla="*/ 497171 w 1492410"/>
                  <a:gd name="connsiteY577" fmla="*/ 367058 h 941139"/>
                  <a:gd name="connsiteX578" fmla="*/ 497171 w 1492410"/>
                  <a:gd name="connsiteY578" fmla="*/ 365979 h 941139"/>
                  <a:gd name="connsiteX579" fmla="*/ 498706 w 1492410"/>
                  <a:gd name="connsiteY579" fmla="*/ 365979 h 941139"/>
                  <a:gd name="connsiteX580" fmla="*/ 498706 w 1492410"/>
                  <a:gd name="connsiteY580" fmla="*/ 364900 h 941139"/>
                  <a:gd name="connsiteX581" fmla="*/ 500241 w 1492410"/>
                  <a:gd name="connsiteY581" fmla="*/ 364900 h 941139"/>
                  <a:gd name="connsiteX582" fmla="*/ 501775 w 1492410"/>
                  <a:gd name="connsiteY582" fmla="*/ 364900 h 941139"/>
                  <a:gd name="connsiteX583" fmla="*/ 503310 w 1492410"/>
                  <a:gd name="connsiteY583" fmla="*/ 364900 h 941139"/>
                  <a:gd name="connsiteX584" fmla="*/ 504833 w 1492410"/>
                  <a:gd name="connsiteY584" fmla="*/ 364900 h 941139"/>
                  <a:gd name="connsiteX585" fmla="*/ 506379 w 1492410"/>
                  <a:gd name="connsiteY585" fmla="*/ 364900 h 941139"/>
                  <a:gd name="connsiteX586" fmla="*/ 506379 w 1492410"/>
                  <a:gd name="connsiteY586" fmla="*/ 363821 h 941139"/>
                  <a:gd name="connsiteX587" fmla="*/ 507902 w 1492410"/>
                  <a:gd name="connsiteY587" fmla="*/ 363821 h 941139"/>
                  <a:gd name="connsiteX588" fmla="*/ 507902 w 1492410"/>
                  <a:gd name="connsiteY588" fmla="*/ 361630 h 941139"/>
                  <a:gd name="connsiteX589" fmla="*/ 510938 w 1492410"/>
                  <a:gd name="connsiteY589" fmla="*/ 361630 h 941139"/>
                  <a:gd name="connsiteX590" fmla="*/ 510938 w 1492410"/>
                  <a:gd name="connsiteY590" fmla="*/ 360507 h 941139"/>
                  <a:gd name="connsiteX591" fmla="*/ 512462 w 1492410"/>
                  <a:gd name="connsiteY591" fmla="*/ 360507 h 941139"/>
                  <a:gd name="connsiteX592" fmla="*/ 512462 w 1492410"/>
                  <a:gd name="connsiteY592" fmla="*/ 359428 h 941139"/>
                  <a:gd name="connsiteX593" fmla="*/ 514007 w 1492410"/>
                  <a:gd name="connsiteY593" fmla="*/ 359428 h 941139"/>
                  <a:gd name="connsiteX594" fmla="*/ 514007 w 1492410"/>
                  <a:gd name="connsiteY594" fmla="*/ 357237 h 941139"/>
                  <a:gd name="connsiteX595" fmla="*/ 515531 w 1492410"/>
                  <a:gd name="connsiteY595" fmla="*/ 357237 h 941139"/>
                  <a:gd name="connsiteX596" fmla="*/ 515531 w 1492410"/>
                  <a:gd name="connsiteY596" fmla="*/ 355001 h 941139"/>
                  <a:gd name="connsiteX597" fmla="*/ 517065 w 1492410"/>
                  <a:gd name="connsiteY597" fmla="*/ 355001 h 941139"/>
                  <a:gd name="connsiteX598" fmla="*/ 518600 w 1492410"/>
                  <a:gd name="connsiteY598" fmla="*/ 355001 h 941139"/>
                  <a:gd name="connsiteX599" fmla="*/ 518600 w 1492410"/>
                  <a:gd name="connsiteY599" fmla="*/ 352810 h 941139"/>
                  <a:gd name="connsiteX600" fmla="*/ 521669 w 1492410"/>
                  <a:gd name="connsiteY600" fmla="*/ 352810 h 941139"/>
                  <a:gd name="connsiteX601" fmla="*/ 523193 w 1492410"/>
                  <a:gd name="connsiteY601" fmla="*/ 352810 h 941139"/>
                  <a:gd name="connsiteX602" fmla="*/ 523193 w 1492410"/>
                  <a:gd name="connsiteY602" fmla="*/ 351687 h 941139"/>
                  <a:gd name="connsiteX603" fmla="*/ 524738 w 1492410"/>
                  <a:gd name="connsiteY603" fmla="*/ 351687 h 941139"/>
                  <a:gd name="connsiteX604" fmla="*/ 524738 w 1492410"/>
                  <a:gd name="connsiteY604" fmla="*/ 350575 h 941139"/>
                  <a:gd name="connsiteX605" fmla="*/ 526262 w 1492410"/>
                  <a:gd name="connsiteY605" fmla="*/ 350575 h 941139"/>
                  <a:gd name="connsiteX606" fmla="*/ 526262 w 1492410"/>
                  <a:gd name="connsiteY606" fmla="*/ 349463 h 941139"/>
                  <a:gd name="connsiteX607" fmla="*/ 527763 w 1492410"/>
                  <a:gd name="connsiteY607" fmla="*/ 349463 h 941139"/>
                  <a:gd name="connsiteX608" fmla="*/ 527763 w 1492410"/>
                  <a:gd name="connsiteY608" fmla="*/ 346082 h 941139"/>
                  <a:gd name="connsiteX609" fmla="*/ 529297 w 1492410"/>
                  <a:gd name="connsiteY609" fmla="*/ 346082 h 941139"/>
                  <a:gd name="connsiteX610" fmla="*/ 529297 w 1492410"/>
                  <a:gd name="connsiteY610" fmla="*/ 343813 h 941139"/>
                  <a:gd name="connsiteX611" fmla="*/ 530832 w 1492410"/>
                  <a:gd name="connsiteY611" fmla="*/ 343813 h 941139"/>
                  <a:gd name="connsiteX612" fmla="*/ 530832 w 1492410"/>
                  <a:gd name="connsiteY612" fmla="*/ 342700 h 941139"/>
                  <a:gd name="connsiteX613" fmla="*/ 532367 w 1492410"/>
                  <a:gd name="connsiteY613" fmla="*/ 342700 h 941139"/>
                  <a:gd name="connsiteX614" fmla="*/ 533890 w 1492410"/>
                  <a:gd name="connsiteY614" fmla="*/ 342700 h 941139"/>
                  <a:gd name="connsiteX615" fmla="*/ 533890 w 1492410"/>
                  <a:gd name="connsiteY615" fmla="*/ 341588 h 941139"/>
                  <a:gd name="connsiteX616" fmla="*/ 535425 w 1492410"/>
                  <a:gd name="connsiteY616" fmla="*/ 341588 h 941139"/>
                  <a:gd name="connsiteX617" fmla="*/ 536959 w 1492410"/>
                  <a:gd name="connsiteY617" fmla="*/ 341588 h 941139"/>
                  <a:gd name="connsiteX618" fmla="*/ 536959 w 1492410"/>
                  <a:gd name="connsiteY618" fmla="*/ 340443 h 941139"/>
                  <a:gd name="connsiteX619" fmla="*/ 538494 w 1492410"/>
                  <a:gd name="connsiteY619" fmla="*/ 340443 h 941139"/>
                  <a:gd name="connsiteX620" fmla="*/ 538494 w 1492410"/>
                  <a:gd name="connsiteY620" fmla="*/ 339286 h 941139"/>
                  <a:gd name="connsiteX621" fmla="*/ 540028 w 1492410"/>
                  <a:gd name="connsiteY621" fmla="*/ 339286 h 941139"/>
                  <a:gd name="connsiteX622" fmla="*/ 540028 w 1492410"/>
                  <a:gd name="connsiteY622" fmla="*/ 338174 h 941139"/>
                  <a:gd name="connsiteX623" fmla="*/ 541563 w 1492410"/>
                  <a:gd name="connsiteY623" fmla="*/ 338174 h 941139"/>
                  <a:gd name="connsiteX624" fmla="*/ 541563 w 1492410"/>
                  <a:gd name="connsiteY624" fmla="*/ 335872 h 941139"/>
                  <a:gd name="connsiteX625" fmla="*/ 543087 w 1492410"/>
                  <a:gd name="connsiteY625" fmla="*/ 335872 h 941139"/>
                  <a:gd name="connsiteX626" fmla="*/ 544621 w 1492410"/>
                  <a:gd name="connsiteY626" fmla="*/ 335872 h 941139"/>
                  <a:gd name="connsiteX627" fmla="*/ 544621 w 1492410"/>
                  <a:gd name="connsiteY627" fmla="*/ 333580 h 941139"/>
                  <a:gd name="connsiteX628" fmla="*/ 546122 w 1492410"/>
                  <a:gd name="connsiteY628" fmla="*/ 333580 h 941139"/>
                  <a:gd name="connsiteX629" fmla="*/ 547657 w 1492410"/>
                  <a:gd name="connsiteY629" fmla="*/ 333580 h 941139"/>
                  <a:gd name="connsiteX630" fmla="*/ 547657 w 1492410"/>
                  <a:gd name="connsiteY630" fmla="*/ 331278 h 941139"/>
                  <a:gd name="connsiteX631" fmla="*/ 549191 w 1492410"/>
                  <a:gd name="connsiteY631" fmla="*/ 331278 h 941139"/>
                  <a:gd name="connsiteX632" fmla="*/ 552250 w 1492410"/>
                  <a:gd name="connsiteY632" fmla="*/ 331278 h 941139"/>
                  <a:gd name="connsiteX633" fmla="*/ 552250 w 1492410"/>
                  <a:gd name="connsiteY633" fmla="*/ 328943 h 941139"/>
                  <a:gd name="connsiteX634" fmla="*/ 553784 w 1492410"/>
                  <a:gd name="connsiteY634" fmla="*/ 328943 h 941139"/>
                  <a:gd name="connsiteX635" fmla="*/ 555319 w 1492410"/>
                  <a:gd name="connsiteY635" fmla="*/ 328943 h 941139"/>
                  <a:gd name="connsiteX636" fmla="*/ 555319 w 1492410"/>
                  <a:gd name="connsiteY636" fmla="*/ 327797 h 941139"/>
                  <a:gd name="connsiteX637" fmla="*/ 556853 w 1492410"/>
                  <a:gd name="connsiteY637" fmla="*/ 327797 h 941139"/>
                  <a:gd name="connsiteX638" fmla="*/ 556853 w 1492410"/>
                  <a:gd name="connsiteY638" fmla="*/ 325428 h 941139"/>
                  <a:gd name="connsiteX639" fmla="*/ 558377 w 1492410"/>
                  <a:gd name="connsiteY639" fmla="*/ 325428 h 941139"/>
                  <a:gd name="connsiteX640" fmla="*/ 558377 w 1492410"/>
                  <a:gd name="connsiteY640" fmla="*/ 323048 h 941139"/>
                  <a:gd name="connsiteX641" fmla="*/ 559922 w 1492410"/>
                  <a:gd name="connsiteY641" fmla="*/ 323048 h 941139"/>
                  <a:gd name="connsiteX642" fmla="*/ 562947 w 1492410"/>
                  <a:gd name="connsiteY642" fmla="*/ 323048 h 941139"/>
                  <a:gd name="connsiteX643" fmla="*/ 562947 w 1492410"/>
                  <a:gd name="connsiteY643" fmla="*/ 320679 h 941139"/>
                  <a:gd name="connsiteX644" fmla="*/ 564482 w 1492410"/>
                  <a:gd name="connsiteY644" fmla="*/ 320679 h 941139"/>
                  <a:gd name="connsiteX645" fmla="*/ 566005 w 1492410"/>
                  <a:gd name="connsiteY645" fmla="*/ 320679 h 941139"/>
                  <a:gd name="connsiteX646" fmla="*/ 566005 w 1492410"/>
                  <a:gd name="connsiteY646" fmla="*/ 319500 h 941139"/>
                  <a:gd name="connsiteX647" fmla="*/ 567551 w 1492410"/>
                  <a:gd name="connsiteY647" fmla="*/ 319500 h 941139"/>
                  <a:gd name="connsiteX648" fmla="*/ 567551 w 1492410"/>
                  <a:gd name="connsiteY648" fmla="*/ 318310 h 941139"/>
                  <a:gd name="connsiteX649" fmla="*/ 569074 w 1492410"/>
                  <a:gd name="connsiteY649" fmla="*/ 318310 h 941139"/>
                  <a:gd name="connsiteX650" fmla="*/ 570609 w 1492410"/>
                  <a:gd name="connsiteY650" fmla="*/ 318310 h 941139"/>
                  <a:gd name="connsiteX651" fmla="*/ 573678 w 1492410"/>
                  <a:gd name="connsiteY651" fmla="*/ 318310 h 941139"/>
                  <a:gd name="connsiteX652" fmla="*/ 573678 w 1492410"/>
                  <a:gd name="connsiteY652" fmla="*/ 317098 h 941139"/>
                  <a:gd name="connsiteX653" fmla="*/ 575213 w 1492410"/>
                  <a:gd name="connsiteY653" fmla="*/ 317098 h 941139"/>
                  <a:gd name="connsiteX654" fmla="*/ 575213 w 1492410"/>
                  <a:gd name="connsiteY654" fmla="*/ 315874 h 941139"/>
                  <a:gd name="connsiteX655" fmla="*/ 576736 w 1492410"/>
                  <a:gd name="connsiteY655" fmla="*/ 315874 h 941139"/>
                  <a:gd name="connsiteX656" fmla="*/ 576736 w 1492410"/>
                  <a:gd name="connsiteY656" fmla="*/ 314695 h 941139"/>
                  <a:gd name="connsiteX657" fmla="*/ 578271 w 1492410"/>
                  <a:gd name="connsiteY657" fmla="*/ 314695 h 941139"/>
                  <a:gd name="connsiteX658" fmla="*/ 578271 w 1492410"/>
                  <a:gd name="connsiteY658" fmla="*/ 313472 h 941139"/>
                  <a:gd name="connsiteX659" fmla="*/ 579805 w 1492410"/>
                  <a:gd name="connsiteY659" fmla="*/ 313472 h 941139"/>
                  <a:gd name="connsiteX660" fmla="*/ 579805 w 1492410"/>
                  <a:gd name="connsiteY660" fmla="*/ 312260 h 941139"/>
                  <a:gd name="connsiteX661" fmla="*/ 581307 w 1492410"/>
                  <a:gd name="connsiteY661" fmla="*/ 312260 h 941139"/>
                  <a:gd name="connsiteX662" fmla="*/ 582841 w 1492410"/>
                  <a:gd name="connsiteY662" fmla="*/ 312260 h 941139"/>
                  <a:gd name="connsiteX663" fmla="*/ 582841 w 1492410"/>
                  <a:gd name="connsiteY663" fmla="*/ 309813 h 941139"/>
                  <a:gd name="connsiteX664" fmla="*/ 585899 w 1492410"/>
                  <a:gd name="connsiteY664" fmla="*/ 309813 h 941139"/>
                  <a:gd name="connsiteX665" fmla="*/ 585899 w 1492410"/>
                  <a:gd name="connsiteY665" fmla="*/ 307377 h 941139"/>
                  <a:gd name="connsiteX666" fmla="*/ 587434 w 1492410"/>
                  <a:gd name="connsiteY666" fmla="*/ 307377 h 941139"/>
                  <a:gd name="connsiteX667" fmla="*/ 588968 w 1492410"/>
                  <a:gd name="connsiteY667" fmla="*/ 307377 h 941139"/>
                  <a:gd name="connsiteX668" fmla="*/ 590503 w 1492410"/>
                  <a:gd name="connsiteY668" fmla="*/ 307377 h 941139"/>
                  <a:gd name="connsiteX669" fmla="*/ 592037 w 1492410"/>
                  <a:gd name="connsiteY669" fmla="*/ 307377 h 941139"/>
                  <a:gd name="connsiteX670" fmla="*/ 592037 w 1492410"/>
                  <a:gd name="connsiteY670" fmla="*/ 302428 h 941139"/>
                  <a:gd name="connsiteX671" fmla="*/ 595107 w 1492410"/>
                  <a:gd name="connsiteY671" fmla="*/ 302428 h 941139"/>
                  <a:gd name="connsiteX672" fmla="*/ 595107 w 1492410"/>
                  <a:gd name="connsiteY672" fmla="*/ 301171 h 941139"/>
                  <a:gd name="connsiteX673" fmla="*/ 596630 w 1492410"/>
                  <a:gd name="connsiteY673" fmla="*/ 301171 h 941139"/>
                  <a:gd name="connsiteX674" fmla="*/ 596630 w 1492410"/>
                  <a:gd name="connsiteY674" fmla="*/ 299914 h 941139"/>
                  <a:gd name="connsiteX675" fmla="*/ 598131 w 1492410"/>
                  <a:gd name="connsiteY675" fmla="*/ 299914 h 941139"/>
                  <a:gd name="connsiteX676" fmla="*/ 598131 w 1492410"/>
                  <a:gd name="connsiteY676" fmla="*/ 298658 h 941139"/>
                  <a:gd name="connsiteX677" fmla="*/ 599666 w 1492410"/>
                  <a:gd name="connsiteY677" fmla="*/ 298658 h 941139"/>
                  <a:gd name="connsiteX678" fmla="*/ 601189 w 1492410"/>
                  <a:gd name="connsiteY678" fmla="*/ 298658 h 941139"/>
                  <a:gd name="connsiteX679" fmla="*/ 602735 w 1492410"/>
                  <a:gd name="connsiteY679" fmla="*/ 298658 h 941139"/>
                  <a:gd name="connsiteX680" fmla="*/ 604258 w 1492410"/>
                  <a:gd name="connsiteY680" fmla="*/ 298658 h 941139"/>
                  <a:gd name="connsiteX681" fmla="*/ 604258 w 1492410"/>
                  <a:gd name="connsiteY681" fmla="*/ 297412 h 941139"/>
                  <a:gd name="connsiteX682" fmla="*/ 607328 w 1492410"/>
                  <a:gd name="connsiteY682" fmla="*/ 297412 h 941139"/>
                  <a:gd name="connsiteX683" fmla="*/ 607328 w 1492410"/>
                  <a:gd name="connsiteY683" fmla="*/ 294865 h 941139"/>
                  <a:gd name="connsiteX684" fmla="*/ 608862 w 1492410"/>
                  <a:gd name="connsiteY684" fmla="*/ 294865 h 941139"/>
                  <a:gd name="connsiteX685" fmla="*/ 610397 w 1492410"/>
                  <a:gd name="connsiteY685" fmla="*/ 294865 h 941139"/>
                  <a:gd name="connsiteX686" fmla="*/ 610397 w 1492410"/>
                  <a:gd name="connsiteY686" fmla="*/ 292329 h 941139"/>
                  <a:gd name="connsiteX687" fmla="*/ 611920 w 1492410"/>
                  <a:gd name="connsiteY687" fmla="*/ 292329 h 941139"/>
                  <a:gd name="connsiteX688" fmla="*/ 613466 w 1492410"/>
                  <a:gd name="connsiteY688" fmla="*/ 292329 h 941139"/>
                  <a:gd name="connsiteX689" fmla="*/ 616491 w 1492410"/>
                  <a:gd name="connsiteY689" fmla="*/ 292329 h 941139"/>
                  <a:gd name="connsiteX690" fmla="*/ 616491 w 1492410"/>
                  <a:gd name="connsiteY690" fmla="*/ 291028 h 941139"/>
                  <a:gd name="connsiteX691" fmla="*/ 618025 w 1492410"/>
                  <a:gd name="connsiteY691" fmla="*/ 291028 h 941139"/>
                  <a:gd name="connsiteX692" fmla="*/ 618025 w 1492410"/>
                  <a:gd name="connsiteY692" fmla="*/ 288459 h 941139"/>
                  <a:gd name="connsiteX693" fmla="*/ 619549 w 1492410"/>
                  <a:gd name="connsiteY693" fmla="*/ 288459 h 941139"/>
                  <a:gd name="connsiteX694" fmla="*/ 619549 w 1492410"/>
                  <a:gd name="connsiteY694" fmla="*/ 287135 h 941139"/>
                  <a:gd name="connsiteX695" fmla="*/ 621094 w 1492410"/>
                  <a:gd name="connsiteY695" fmla="*/ 287135 h 941139"/>
                  <a:gd name="connsiteX696" fmla="*/ 621094 w 1492410"/>
                  <a:gd name="connsiteY696" fmla="*/ 283231 h 941139"/>
                  <a:gd name="connsiteX697" fmla="*/ 622618 w 1492410"/>
                  <a:gd name="connsiteY697" fmla="*/ 283231 h 941139"/>
                  <a:gd name="connsiteX698" fmla="*/ 622618 w 1492410"/>
                  <a:gd name="connsiteY698" fmla="*/ 281941 h 941139"/>
                  <a:gd name="connsiteX699" fmla="*/ 624152 w 1492410"/>
                  <a:gd name="connsiteY699" fmla="*/ 281941 h 941139"/>
                  <a:gd name="connsiteX700" fmla="*/ 624152 w 1492410"/>
                  <a:gd name="connsiteY700" fmla="*/ 278004 h 941139"/>
                  <a:gd name="connsiteX701" fmla="*/ 627222 w 1492410"/>
                  <a:gd name="connsiteY701" fmla="*/ 278004 h 941139"/>
                  <a:gd name="connsiteX702" fmla="*/ 627222 w 1492410"/>
                  <a:gd name="connsiteY702" fmla="*/ 275357 h 941139"/>
                  <a:gd name="connsiteX703" fmla="*/ 628756 w 1492410"/>
                  <a:gd name="connsiteY703" fmla="*/ 275357 h 941139"/>
                  <a:gd name="connsiteX704" fmla="*/ 628756 w 1492410"/>
                  <a:gd name="connsiteY704" fmla="*/ 272710 h 941139"/>
                  <a:gd name="connsiteX705" fmla="*/ 630280 w 1492410"/>
                  <a:gd name="connsiteY705" fmla="*/ 272710 h 941139"/>
                  <a:gd name="connsiteX706" fmla="*/ 631814 w 1492410"/>
                  <a:gd name="connsiteY706" fmla="*/ 272710 h 941139"/>
                  <a:gd name="connsiteX707" fmla="*/ 633316 w 1492410"/>
                  <a:gd name="connsiteY707" fmla="*/ 272710 h 941139"/>
                  <a:gd name="connsiteX708" fmla="*/ 633316 w 1492410"/>
                  <a:gd name="connsiteY708" fmla="*/ 271387 h 941139"/>
                  <a:gd name="connsiteX709" fmla="*/ 634850 w 1492410"/>
                  <a:gd name="connsiteY709" fmla="*/ 271387 h 941139"/>
                  <a:gd name="connsiteX710" fmla="*/ 634850 w 1492410"/>
                  <a:gd name="connsiteY710" fmla="*/ 268728 h 941139"/>
                  <a:gd name="connsiteX711" fmla="*/ 636385 w 1492410"/>
                  <a:gd name="connsiteY711" fmla="*/ 268728 h 941139"/>
                  <a:gd name="connsiteX712" fmla="*/ 636385 w 1492410"/>
                  <a:gd name="connsiteY712" fmla="*/ 266048 h 941139"/>
                  <a:gd name="connsiteX713" fmla="*/ 637908 w 1492410"/>
                  <a:gd name="connsiteY713" fmla="*/ 266048 h 941139"/>
                  <a:gd name="connsiteX714" fmla="*/ 637908 w 1492410"/>
                  <a:gd name="connsiteY714" fmla="*/ 264736 h 941139"/>
                  <a:gd name="connsiteX715" fmla="*/ 639443 w 1492410"/>
                  <a:gd name="connsiteY715" fmla="*/ 264736 h 941139"/>
                  <a:gd name="connsiteX716" fmla="*/ 639443 w 1492410"/>
                  <a:gd name="connsiteY716" fmla="*/ 263368 h 941139"/>
                  <a:gd name="connsiteX717" fmla="*/ 640977 w 1492410"/>
                  <a:gd name="connsiteY717" fmla="*/ 263368 h 941139"/>
                  <a:gd name="connsiteX718" fmla="*/ 642512 w 1492410"/>
                  <a:gd name="connsiteY718" fmla="*/ 263368 h 941139"/>
                  <a:gd name="connsiteX719" fmla="*/ 644046 w 1492410"/>
                  <a:gd name="connsiteY719" fmla="*/ 263368 h 941139"/>
                  <a:gd name="connsiteX720" fmla="*/ 644046 w 1492410"/>
                  <a:gd name="connsiteY720" fmla="*/ 260687 h 941139"/>
                  <a:gd name="connsiteX721" fmla="*/ 645581 w 1492410"/>
                  <a:gd name="connsiteY721" fmla="*/ 260687 h 941139"/>
                  <a:gd name="connsiteX722" fmla="*/ 647105 w 1492410"/>
                  <a:gd name="connsiteY722" fmla="*/ 260687 h 941139"/>
                  <a:gd name="connsiteX723" fmla="*/ 647105 w 1492410"/>
                  <a:gd name="connsiteY723" fmla="*/ 259330 h 941139"/>
                  <a:gd name="connsiteX724" fmla="*/ 648639 w 1492410"/>
                  <a:gd name="connsiteY724" fmla="*/ 259330 h 941139"/>
                  <a:gd name="connsiteX725" fmla="*/ 648639 w 1492410"/>
                  <a:gd name="connsiteY725" fmla="*/ 257973 h 941139"/>
                  <a:gd name="connsiteX726" fmla="*/ 651675 w 1492410"/>
                  <a:gd name="connsiteY726" fmla="*/ 257973 h 941139"/>
                  <a:gd name="connsiteX727" fmla="*/ 653210 w 1492410"/>
                  <a:gd name="connsiteY727" fmla="*/ 257973 h 941139"/>
                  <a:gd name="connsiteX728" fmla="*/ 654733 w 1492410"/>
                  <a:gd name="connsiteY728" fmla="*/ 257973 h 941139"/>
                  <a:gd name="connsiteX729" fmla="*/ 654733 w 1492410"/>
                  <a:gd name="connsiteY729" fmla="*/ 256617 h 941139"/>
                  <a:gd name="connsiteX730" fmla="*/ 656267 w 1492410"/>
                  <a:gd name="connsiteY730" fmla="*/ 256617 h 941139"/>
                  <a:gd name="connsiteX731" fmla="*/ 662406 w 1492410"/>
                  <a:gd name="connsiteY731" fmla="*/ 256617 h 941139"/>
                  <a:gd name="connsiteX732" fmla="*/ 663940 w 1492410"/>
                  <a:gd name="connsiteY732" fmla="*/ 256617 h 941139"/>
                  <a:gd name="connsiteX733" fmla="*/ 665464 w 1492410"/>
                  <a:gd name="connsiteY733" fmla="*/ 256617 h 941139"/>
                  <a:gd name="connsiteX734" fmla="*/ 666999 w 1492410"/>
                  <a:gd name="connsiteY734" fmla="*/ 256617 h 941139"/>
                  <a:gd name="connsiteX735" fmla="*/ 666999 w 1492410"/>
                  <a:gd name="connsiteY735" fmla="*/ 255215 h 941139"/>
                  <a:gd name="connsiteX736" fmla="*/ 668533 w 1492410"/>
                  <a:gd name="connsiteY736" fmla="*/ 255215 h 941139"/>
                  <a:gd name="connsiteX737" fmla="*/ 670034 w 1492410"/>
                  <a:gd name="connsiteY737" fmla="*/ 255215 h 941139"/>
                  <a:gd name="connsiteX738" fmla="*/ 670034 w 1492410"/>
                  <a:gd name="connsiteY738" fmla="*/ 253825 h 941139"/>
                  <a:gd name="connsiteX739" fmla="*/ 671569 w 1492410"/>
                  <a:gd name="connsiteY739" fmla="*/ 253825 h 941139"/>
                  <a:gd name="connsiteX740" fmla="*/ 671569 w 1492410"/>
                  <a:gd name="connsiteY740" fmla="*/ 252435 h 941139"/>
                  <a:gd name="connsiteX741" fmla="*/ 673092 w 1492410"/>
                  <a:gd name="connsiteY741" fmla="*/ 252435 h 941139"/>
                  <a:gd name="connsiteX742" fmla="*/ 674627 w 1492410"/>
                  <a:gd name="connsiteY742" fmla="*/ 252435 h 941139"/>
                  <a:gd name="connsiteX743" fmla="*/ 674627 w 1492410"/>
                  <a:gd name="connsiteY743" fmla="*/ 251033 h 941139"/>
                  <a:gd name="connsiteX744" fmla="*/ 676161 w 1492410"/>
                  <a:gd name="connsiteY744" fmla="*/ 251033 h 941139"/>
                  <a:gd name="connsiteX745" fmla="*/ 677696 w 1492410"/>
                  <a:gd name="connsiteY745" fmla="*/ 251033 h 941139"/>
                  <a:gd name="connsiteX746" fmla="*/ 677696 w 1492410"/>
                  <a:gd name="connsiteY746" fmla="*/ 248208 h 941139"/>
                  <a:gd name="connsiteX747" fmla="*/ 682289 w 1492410"/>
                  <a:gd name="connsiteY747" fmla="*/ 248208 h 941139"/>
                  <a:gd name="connsiteX748" fmla="*/ 683823 w 1492410"/>
                  <a:gd name="connsiteY748" fmla="*/ 248208 h 941139"/>
                  <a:gd name="connsiteX749" fmla="*/ 685358 w 1492410"/>
                  <a:gd name="connsiteY749" fmla="*/ 248208 h 941139"/>
                  <a:gd name="connsiteX750" fmla="*/ 686859 w 1492410"/>
                  <a:gd name="connsiteY750" fmla="*/ 248208 h 941139"/>
                  <a:gd name="connsiteX751" fmla="*/ 686859 w 1492410"/>
                  <a:gd name="connsiteY751" fmla="*/ 245395 h 941139"/>
                  <a:gd name="connsiteX752" fmla="*/ 688394 w 1492410"/>
                  <a:gd name="connsiteY752" fmla="*/ 245395 h 941139"/>
                  <a:gd name="connsiteX753" fmla="*/ 688394 w 1492410"/>
                  <a:gd name="connsiteY753" fmla="*/ 243960 h 941139"/>
                  <a:gd name="connsiteX754" fmla="*/ 689917 w 1492410"/>
                  <a:gd name="connsiteY754" fmla="*/ 243960 h 941139"/>
                  <a:gd name="connsiteX755" fmla="*/ 689917 w 1492410"/>
                  <a:gd name="connsiteY755" fmla="*/ 241113 h 941139"/>
                  <a:gd name="connsiteX756" fmla="*/ 691452 w 1492410"/>
                  <a:gd name="connsiteY756" fmla="*/ 241113 h 941139"/>
                  <a:gd name="connsiteX757" fmla="*/ 692986 w 1492410"/>
                  <a:gd name="connsiteY757" fmla="*/ 241113 h 941139"/>
                  <a:gd name="connsiteX758" fmla="*/ 694521 w 1492410"/>
                  <a:gd name="connsiteY758" fmla="*/ 241113 h 941139"/>
                  <a:gd name="connsiteX759" fmla="*/ 696055 w 1492410"/>
                  <a:gd name="connsiteY759" fmla="*/ 241113 h 941139"/>
                  <a:gd name="connsiteX760" fmla="*/ 697579 w 1492410"/>
                  <a:gd name="connsiteY760" fmla="*/ 241113 h 941139"/>
                  <a:gd name="connsiteX761" fmla="*/ 699125 w 1492410"/>
                  <a:gd name="connsiteY761" fmla="*/ 241113 h 941139"/>
                  <a:gd name="connsiteX762" fmla="*/ 699125 w 1492410"/>
                  <a:gd name="connsiteY762" fmla="*/ 239678 h 941139"/>
                  <a:gd name="connsiteX763" fmla="*/ 703717 w 1492410"/>
                  <a:gd name="connsiteY763" fmla="*/ 239678 h 941139"/>
                  <a:gd name="connsiteX764" fmla="*/ 703717 w 1492410"/>
                  <a:gd name="connsiteY764" fmla="*/ 238254 h 941139"/>
                  <a:gd name="connsiteX765" fmla="*/ 705219 w 1492410"/>
                  <a:gd name="connsiteY765" fmla="*/ 238254 h 941139"/>
                  <a:gd name="connsiteX766" fmla="*/ 706753 w 1492410"/>
                  <a:gd name="connsiteY766" fmla="*/ 238254 h 941139"/>
                  <a:gd name="connsiteX767" fmla="*/ 708277 w 1492410"/>
                  <a:gd name="connsiteY767" fmla="*/ 238254 h 941139"/>
                  <a:gd name="connsiteX768" fmla="*/ 709811 w 1492410"/>
                  <a:gd name="connsiteY768" fmla="*/ 238254 h 941139"/>
                  <a:gd name="connsiteX769" fmla="*/ 712880 w 1492410"/>
                  <a:gd name="connsiteY769" fmla="*/ 238254 h 941139"/>
                  <a:gd name="connsiteX770" fmla="*/ 714415 w 1492410"/>
                  <a:gd name="connsiteY770" fmla="*/ 238254 h 941139"/>
                  <a:gd name="connsiteX771" fmla="*/ 715949 w 1492410"/>
                  <a:gd name="connsiteY771" fmla="*/ 238254 h 941139"/>
                  <a:gd name="connsiteX772" fmla="*/ 717484 w 1492410"/>
                  <a:gd name="connsiteY772" fmla="*/ 238254 h 941139"/>
                  <a:gd name="connsiteX773" fmla="*/ 719007 w 1492410"/>
                  <a:gd name="connsiteY773" fmla="*/ 238254 h 941139"/>
                  <a:gd name="connsiteX774" fmla="*/ 720542 w 1492410"/>
                  <a:gd name="connsiteY774" fmla="*/ 238254 h 941139"/>
                  <a:gd name="connsiteX775" fmla="*/ 725113 w 1492410"/>
                  <a:gd name="connsiteY775" fmla="*/ 238254 h 941139"/>
                  <a:gd name="connsiteX776" fmla="*/ 725113 w 1492410"/>
                  <a:gd name="connsiteY776" fmla="*/ 236753 h 941139"/>
                  <a:gd name="connsiteX777" fmla="*/ 726636 w 1492410"/>
                  <a:gd name="connsiteY777" fmla="*/ 236753 h 941139"/>
                  <a:gd name="connsiteX778" fmla="*/ 726636 w 1492410"/>
                  <a:gd name="connsiteY778" fmla="*/ 235251 h 941139"/>
                  <a:gd name="connsiteX779" fmla="*/ 728170 w 1492410"/>
                  <a:gd name="connsiteY779" fmla="*/ 235251 h 941139"/>
                  <a:gd name="connsiteX780" fmla="*/ 728170 w 1492410"/>
                  <a:gd name="connsiteY780" fmla="*/ 233750 h 941139"/>
                  <a:gd name="connsiteX781" fmla="*/ 729705 w 1492410"/>
                  <a:gd name="connsiteY781" fmla="*/ 233750 h 941139"/>
                  <a:gd name="connsiteX782" fmla="*/ 729705 w 1492410"/>
                  <a:gd name="connsiteY782" fmla="*/ 232260 h 941139"/>
                  <a:gd name="connsiteX783" fmla="*/ 731240 w 1492410"/>
                  <a:gd name="connsiteY783" fmla="*/ 232260 h 941139"/>
                  <a:gd name="connsiteX784" fmla="*/ 731240 w 1492410"/>
                  <a:gd name="connsiteY784" fmla="*/ 230758 h 941139"/>
                  <a:gd name="connsiteX785" fmla="*/ 732774 w 1492410"/>
                  <a:gd name="connsiteY785" fmla="*/ 230758 h 941139"/>
                  <a:gd name="connsiteX786" fmla="*/ 735832 w 1492410"/>
                  <a:gd name="connsiteY786" fmla="*/ 230758 h 941139"/>
                  <a:gd name="connsiteX787" fmla="*/ 737367 w 1492410"/>
                  <a:gd name="connsiteY787" fmla="*/ 230758 h 941139"/>
                  <a:gd name="connsiteX788" fmla="*/ 738901 w 1492410"/>
                  <a:gd name="connsiteY788" fmla="*/ 230758 h 941139"/>
                  <a:gd name="connsiteX789" fmla="*/ 740403 w 1492410"/>
                  <a:gd name="connsiteY789" fmla="*/ 230758 h 941139"/>
                  <a:gd name="connsiteX790" fmla="*/ 741937 w 1492410"/>
                  <a:gd name="connsiteY790" fmla="*/ 230758 h 941139"/>
                  <a:gd name="connsiteX791" fmla="*/ 744995 w 1492410"/>
                  <a:gd name="connsiteY791" fmla="*/ 230758 h 941139"/>
                  <a:gd name="connsiteX792" fmla="*/ 744995 w 1492410"/>
                  <a:gd name="connsiteY792" fmla="*/ 229190 h 941139"/>
                  <a:gd name="connsiteX793" fmla="*/ 746530 w 1492410"/>
                  <a:gd name="connsiteY793" fmla="*/ 229190 h 941139"/>
                  <a:gd name="connsiteX794" fmla="*/ 746530 w 1492410"/>
                  <a:gd name="connsiteY794" fmla="*/ 226120 h 941139"/>
                  <a:gd name="connsiteX795" fmla="*/ 748064 w 1492410"/>
                  <a:gd name="connsiteY795" fmla="*/ 226120 h 941139"/>
                  <a:gd name="connsiteX796" fmla="*/ 749599 w 1492410"/>
                  <a:gd name="connsiteY796" fmla="*/ 226120 h 941139"/>
                  <a:gd name="connsiteX797" fmla="*/ 749599 w 1492410"/>
                  <a:gd name="connsiteY797" fmla="*/ 224552 h 941139"/>
                  <a:gd name="connsiteX798" fmla="*/ 751122 w 1492410"/>
                  <a:gd name="connsiteY798" fmla="*/ 224552 h 941139"/>
                  <a:gd name="connsiteX799" fmla="*/ 752668 w 1492410"/>
                  <a:gd name="connsiteY799" fmla="*/ 224552 h 941139"/>
                  <a:gd name="connsiteX800" fmla="*/ 752668 w 1492410"/>
                  <a:gd name="connsiteY800" fmla="*/ 222995 h 941139"/>
                  <a:gd name="connsiteX801" fmla="*/ 754192 w 1492410"/>
                  <a:gd name="connsiteY801" fmla="*/ 222995 h 941139"/>
                  <a:gd name="connsiteX802" fmla="*/ 757228 w 1492410"/>
                  <a:gd name="connsiteY802" fmla="*/ 222995 h 941139"/>
                  <a:gd name="connsiteX803" fmla="*/ 758751 w 1492410"/>
                  <a:gd name="connsiteY803" fmla="*/ 222995 h 941139"/>
                  <a:gd name="connsiteX804" fmla="*/ 760297 w 1492410"/>
                  <a:gd name="connsiteY804" fmla="*/ 222995 h 941139"/>
                  <a:gd name="connsiteX805" fmla="*/ 761820 w 1492410"/>
                  <a:gd name="connsiteY805" fmla="*/ 222995 h 941139"/>
                  <a:gd name="connsiteX806" fmla="*/ 761820 w 1492410"/>
                  <a:gd name="connsiteY806" fmla="*/ 221427 h 941139"/>
                  <a:gd name="connsiteX807" fmla="*/ 763355 w 1492410"/>
                  <a:gd name="connsiteY807" fmla="*/ 221427 h 941139"/>
                  <a:gd name="connsiteX808" fmla="*/ 763355 w 1492410"/>
                  <a:gd name="connsiteY808" fmla="*/ 219825 h 941139"/>
                  <a:gd name="connsiteX809" fmla="*/ 766424 w 1492410"/>
                  <a:gd name="connsiteY809" fmla="*/ 219825 h 941139"/>
                  <a:gd name="connsiteX810" fmla="*/ 766424 w 1492410"/>
                  <a:gd name="connsiteY810" fmla="*/ 218246 h 941139"/>
                  <a:gd name="connsiteX811" fmla="*/ 767958 w 1492410"/>
                  <a:gd name="connsiteY811" fmla="*/ 218246 h 941139"/>
                  <a:gd name="connsiteX812" fmla="*/ 767958 w 1492410"/>
                  <a:gd name="connsiteY812" fmla="*/ 216644 h 941139"/>
                  <a:gd name="connsiteX813" fmla="*/ 769493 w 1492410"/>
                  <a:gd name="connsiteY813" fmla="*/ 216644 h 941139"/>
                  <a:gd name="connsiteX814" fmla="*/ 769493 w 1492410"/>
                  <a:gd name="connsiteY814" fmla="*/ 211906 h 941139"/>
                  <a:gd name="connsiteX815" fmla="*/ 771016 w 1492410"/>
                  <a:gd name="connsiteY815" fmla="*/ 211906 h 941139"/>
                  <a:gd name="connsiteX816" fmla="*/ 771016 w 1492410"/>
                  <a:gd name="connsiteY816" fmla="*/ 210305 h 941139"/>
                  <a:gd name="connsiteX817" fmla="*/ 772551 w 1492410"/>
                  <a:gd name="connsiteY817" fmla="*/ 210305 h 941139"/>
                  <a:gd name="connsiteX818" fmla="*/ 774086 w 1492410"/>
                  <a:gd name="connsiteY818" fmla="*/ 210305 h 941139"/>
                  <a:gd name="connsiteX819" fmla="*/ 778645 w 1492410"/>
                  <a:gd name="connsiteY819" fmla="*/ 210305 h 941139"/>
                  <a:gd name="connsiteX820" fmla="*/ 778645 w 1492410"/>
                  <a:gd name="connsiteY820" fmla="*/ 208703 h 941139"/>
                  <a:gd name="connsiteX821" fmla="*/ 780180 w 1492410"/>
                  <a:gd name="connsiteY821" fmla="*/ 208703 h 941139"/>
                  <a:gd name="connsiteX822" fmla="*/ 781714 w 1492410"/>
                  <a:gd name="connsiteY822" fmla="*/ 208703 h 941139"/>
                  <a:gd name="connsiteX823" fmla="*/ 784783 w 1492410"/>
                  <a:gd name="connsiteY823" fmla="*/ 208703 h 941139"/>
                  <a:gd name="connsiteX824" fmla="*/ 784783 w 1492410"/>
                  <a:gd name="connsiteY824" fmla="*/ 205467 h 941139"/>
                  <a:gd name="connsiteX825" fmla="*/ 786307 w 1492410"/>
                  <a:gd name="connsiteY825" fmla="*/ 205467 h 941139"/>
                  <a:gd name="connsiteX826" fmla="*/ 786307 w 1492410"/>
                  <a:gd name="connsiteY826" fmla="*/ 202219 h 941139"/>
                  <a:gd name="connsiteX827" fmla="*/ 789376 w 1492410"/>
                  <a:gd name="connsiteY827" fmla="*/ 202219 h 941139"/>
                  <a:gd name="connsiteX828" fmla="*/ 789376 w 1492410"/>
                  <a:gd name="connsiteY828" fmla="*/ 200618 h 941139"/>
                  <a:gd name="connsiteX829" fmla="*/ 790910 w 1492410"/>
                  <a:gd name="connsiteY829" fmla="*/ 200618 h 941139"/>
                  <a:gd name="connsiteX830" fmla="*/ 792445 w 1492410"/>
                  <a:gd name="connsiteY830" fmla="*/ 200618 h 941139"/>
                  <a:gd name="connsiteX831" fmla="*/ 793935 w 1492410"/>
                  <a:gd name="connsiteY831" fmla="*/ 200618 h 941139"/>
                  <a:gd name="connsiteX832" fmla="*/ 795481 w 1492410"/>
                  <a:gd name="connsiteY832" fmla="*/ 200618 h 941139"/>
                  <a:gd name="connsiteX833" fmla="*/ 797004 w 1492410"/>
                  <a:gd name="connsiteY833" fmla="*/ 200618 h 941139"/>
                  <a:gd name="connsiteX834" fmla="*/ 797004 w 1492410"/>
                  <a:gd name="connsiteY834" fmla="*/ 198983 h 941139"/>
                  <a:gd name="connsiteX835" fmla="*/ 800074 w 1492410"/>
                  <a:gd name="connsiteY835" fmla="*/ 198983 h 941139"/>
                  <a:gd name="connsiteX836" fmla="*/ 801608 w 1492410"/>
                  <a:gd name="connsiteY836" fmla="*/ 198983 h 941139"/>
                  <a:gd name="connsiteX837" fmla="*/ 803143 w 1492410"/>
                  <a:gd name="connsiteY837" fmla="*/ 198983 h 941139"/>
                  <a:gd name="connsiteX838" fmla="*/ 803143 w 1492410"/>
                  <a:gd name="connsiteY838" fmla="*/ 197314 h 941139"/>
                  <a:gd name="connsiteX839" fmla="*/ 804666 w 1492410"/>
                  <a:gd name="connsiteY839" fmla="*/ 197314 h 941139"/>
                  <a:gd name="connsiteX840" fmla="*/ 804666 w 1492410"/>
                  <a:gd name="connsiteY840" fmla="*/ 194000 h 941139"/>
                  <a:gd name="connsiteX841" fmla="*/ 806212 w 1492410"/>
                  <a:gd name="connsiteY841" fmla="*/ 194000 h 941139"/>
                  <a:gd name="connsiteX842" fmla="*/ 806212 w 1492410"/>
                  <a:gd name="connsiteY842" fmla="*/ 192332 h 941139"/>
                  <a:gd name="connsiteX843" fmla="*/ 810771 w 1492410"/>
                  <a:gd name="connsiteY843" fmla="*/ 192332 h 941139"/>
                  <a:gd name="connsiteX844" fmla="*/ 810771 w 1492410"/>
                  <a:gd name="connsiteY844" fmla="*/ 188984 h 941139"/>
                  <a:gd name="connsiteX845" fmla="*/ 812295 w 1492410"/>
                  <a:gd name="connsiteY845" fmla="*/ 188984 h 941139"/>
                  <a:gd name="connsiteX846" fmla="*/ 812295 w 1492410"/>
                  <a:gd name="connsiteY846" fmla="*/ 187316 h 941139"/>
                  <a:gd name="connsiteX847" fmla="*/ 813840 w 1492410"/>
                  <a:gd name="connsiteY847" fmla="*/ 187316 h 941139"/>
                  <a:gd name="connsiteX848" fmla="*/ 815364 w 1492410"/>
                  <a:gd name="connsiteY848" fmla="*/ 187316 h 941139"/>
                  <a:gd name="connsiteX849" fmla="*/ 816898 w 1492410"/>
                  <a:gd name="connsiteY849" fmla="*/ 187316 h 941139"/>
                  <a:gd name="connsiteX850" fmla="*/ 816898 w 1492410"/>
                  <a:gd name="connsiteY850" fmla="*/ 185603 h 941139"/>
                  <a:gd name="connsiteX851" fmla="*/ 818433 w 1492410"/>
                  <a:gd name="connsiteY851" fmla="*/ 185603 h 941139"/>
                  <a:gd name="connsiteX852" fmla="*/ 818433 w 1492410"/>
                  <a:gd name="connsiteY852" fmla="*/ 182222 h 941139"/>
                  <a:gd name="connsiteX853" fmla="*/ 823025 w 1492410"/>
                  <a:gd name="connsiteY853" fmla="*/ 182222 h 941139"/>
                  <a:gd name="connsiteX854" fmla="*/ 824560 w 1492410"/>
                  <a:gd name="connsiteY854" fmla="*/ 182222 h 941139"/>
                  <a:gd name="connsiteX855" fmla="*/ 826095 w 1492410"/>
                  <a:gd name="connsiteY855" fmla="*/ 182222 h 941139"/>
                  <a:gd name="connsiteX856" fmla="*/ 826095 w 1492410"/>
                  <a:gd name="connsiteY856" fmla="*/ 178808 h 941139"/>
                  <a:gd name="connsiteX857" fmla="*/ 827629 w 1492410"/>
                  <a:gd name="connsiteY857" fmla="*/ 178808 h 941139"/>
                  <a:gd name="connsiteX858" fmla="*/ 829130 w 1492410"/>
                  <a:gd name="connsiteY858" fmla="*/ 178808 h 941139"/>
                  <a:gd name="connsiteX859" fmla="*/ 829130 w 1492410"/>
                  <a:gd name="connsiteY859" fmla="*/ 177106 h 941139"/>
                  <a:gd name="connsiteX860" fmla="*/ 830654 w 1492410"/>
                  <a:gd name="connsiteY860" fmla="*/ 177106 h 941139"/>
                  <a:gd name="connsiteX861" fmla="*/ 830654 w 1492410"/>
                  <a:gd name="connsiteY861" fmla="*/ 175393 h 941139"/>
                  <a:gd name="connsiteX862" fmla="*/ 832189 w 1492410"/>
                  <a:gd name="connsiteY862" fmla="*/ 175393 h 941139"/>
                  <a:gd name="connsiteX863" fmla="*/ 833723 w 1492410"/>
                  <a:gd name="connsiteY863" fmla="*/ 175393 h 941139"/>
                  <a:gd name="connsiteX864" fmla="*/ 833723 w 1492410"/>
                  <a:gd name="connsiteY864" fmla="*/ 173658 h 941139"/>
                  <a:gd name="connsiteX865" fmla="*/ 835258 w 1492410"/>
                  <a:gd name="connsiteY865" fmla="*/ 173658 h 941139"/>
                  <a:gd name="connsiteX866" fmla="*/ 835258 w 1492410"/>
                  <a:gd name="connsiteY866" fmla="*/ 171945 h 941139"/>
                  <a:gd name="connsiteX867" fmla="*/ 836792 w 1492410"/>
                  <a:gd name="connsiteY867" fmla="*/ 171945 h 941139"/>
                  <a:gd name="connsiteX868" fmla="*/ 838327 w 1492410"/>
                  <a:gd name="connsiteY868" fmla="*/ 171945 h 941139"/>
                  <a:gd name="connsiteX869" fmla="*/ 839850 w 1492410"/>
                  <a:gd name="connsiteY869" fmla="*/ 171945 h 941139"/>
                  <a:gd name="connsiteX870" fmla="*/ 839850 w 1492410"/>
                  <a:gd name="connsiteY870" fmla="*/ 170166 h 941139"/>
                  <a:gd name="connsiteX871" fmla="*/ 842919 w 1492410"/>
                  <a:gd name="connsiteY871" fmla="*/ 170166 h 941139"/>
                  <a:gd name="connsiteX872" fmla="*/ 844454 w 1492410"/>
                  <a:gd name="connsiteY872" fmla="*/ 170166 h 941139"/>
                  <a:gd name="connsiteX873" fmla="*/ 845955 w 1492410"/>
                  <a:gd name="connsiteY873" fmla="*/ 170166 h 941139"/>
                  <a:gd name="connsiteX874" fmla="*/ 845955 w 1492410"/>
                  <a:gd name="connsiteY874" fmla="*/ 166651 h 941139"/>
                  <a:gd name="connsiteX875" fmla="*/ 847479 w 1492410"/>
                  <a:gd name="connsiteY875" fmla="*/ 166651 h 941139"/>
                  <a:gd name="connsiteX876" fmla="*/ 849024 w 1492410"/>
                  <a:gd name="connsiteY876" fmla="*/ 166651 h 941139"/>
                  <a:gd name="connsiteX877" fmla="*/ 849024 w 1492410"/>
                  <a:gd name="connsiteY877" fmla="*/ 164872 h 941139"/>
                  <a:gd name="connsiteX878" fmla="*/ 850548 w 1492410"/>
                  <a:gd name="connsiteY878" fmla="*/ 164872 h 941139"/>
                  <a:gd name="connsiteX879" fmla="*/ 850548 w 1492410"/>
                  <a:gd name="connsiteY879" fmla="*/ 163092 h 941139"/>
                  <a:gd name="connsiteX880" fmla="*/ 852083 w 1492410"/>
                  <a:gd name="connsiteY880" fmla="*/ 163092 h 941139"/>
                  <a:gd name="connsiteX881" fmla="*/ 852083 w 1492410"/>
                  <a:gd name="connsiteY881" fmla="*/ 161324 h 941139"/>
                  <a:gd name="connsiteX882" fmla="*/ 853617 w 1492410"/>
                  <a:gd name="connsiteY882" fmla="*/ 161324 h 941139"/>
                  <a:gd name="connsiteX883" fmla="*/ 855152 w 1492410"/>
                  <a:gd name="connsiteY883" fmla="*/ 161324 h 941139"/>
                  <a:gd name="connsiteX884" fmla="*/ 856686 w 1492410"/>
                  <a:gd name="connsiteY884" fmla="*/ 161324 h 941139"/>
                  <a:gd name="connsiteX885" fmla="*/ 856686 w 1492410"/>
                  <a:gd name="connsiteY885" fmla="*/ 159544 h 941139"/>
                  <a:gd name="connsiteX886" fmla="*/ 858210 w 1492410"/>
                  <a:gd name="connsiteY886" fmla="*/ 159544 h 941139"/>
                  <a:gd name="connsiteX887" fmla="*/ 858210 w 1492410"/>
                  <a:gd name="connsiteY887" fmla="*/ 157731 h 941139"/>
                  <a:gd name="connsiteX888" fmla="*/ 859744 w 1492410"/>
                  <a:gd name="connsiteY888" fmla="*/ 157731 h 941139"/>
                  <a:gd name="connsiteX889" fmla="*/ 859744 w 1492410"/>
                  <a:gd name="connsiteY889" fmla="*/ 155919 h 941139"/>
                  <a:gd name="connsiteX890" fmla="*/ 865838 w 1492410"/>
                  <a:gd name="connsiteY890" fmla="*/ 155919 h 941139"/>
                  <a:gd name="connsiteX891" fmla="*/ 867373 w 1492410"/>
                  <a:gd name="connsiteY891" fmla="*/ 155919 h 941139"/>
                  <a:gd name="connsiteX892" fmla="*/ 868907 w 1492410"/>
                  <a:gd name="connsiteY892" fmla="*/ 155919 h 941139"/>
                  <a:gd name="connsiteX893" fmla="*/ 870442 w 1492410"/>
                  <a:gd name="connsiteY893" fmla="*/ 155919 h 941139"/>
                  <a:gd name="connsiteX894" fmla="*/ 873511 w 1492410"/>
                  <a:gd name="connsiteY894" fmla="*/ 155919 h 941139"/>
                  <a:gd name="connsiteX895" fmla="*/ 873511 w 1492410"/>
                  <a:gd name="connsiteY895" fmla="*/ 154072 h 941139"/>
                  <a:gd name="connsiteX896" fmla="*/ 875034 w 1492410"/>
                  <a:gd name="connsiteY896" fmla="*/ 154072 h 941139"/>
                  <a:gd name="connsiteX897" fmla="*/ 876569 w 1492410"/>
                  <a:gd name="connsiteY897" fmla="*/ 154072 h 941139"/>
                  <a:gd name="connsiteX898" fmla="*/ 876569 w 1492410"/>
                  <a:gd name="connsiteY898" fmla="*/ 152226 h 941139"/>
                  <a:gd name="connsiteX899" fmla="*/ 878104 w 1492410"/>
                  <a:gd name="connsiteY899" fmla="*/ 152226 h 941139"/>
                  <a:gd name="connsiteX900" fmla="*/ 879638 w 1492410"/>
                  <a:gd name="connsiteY900" fmla="*/ 152226 h 941139"/>
                  <a:gd name="connsiteX901" fmla="*/ 879638 w 1492410"/>
                  <a:gd name="connsiteY901" fmla="*/ 150380 h 941139"/>
                  <a:gd name="connsiteX902" fmla="*/ 881139 w 1492410"/>
                  <a:gd name="connsiteY902" fmla="*/ 150380 h 941139"/>
                  <a:gd name="connsiteX903" fmla="*/ 887267 w 1492410"/>
                  <a:gd name="connsiteY903" fmla="*/ 150380 h 941139"/>
                  <a:gd name="connsiteX904" fmla="*/ 888801 w 1492410"/>
                  <a:gd name="connsiteY904" fmla="*/ 150380 h 941139"/>
                  <a:gd name="connsiteX905" fmla="*/ 890336 w 1492410"/>
                  <a:gd name="connsiteY905" fmla="*/ 150380 h 941139"/>
                  <a:gd name="connsiteX906" fmla="*/ 891870 w 1492410"/>
                  <a:gd name="connsiteY906" fmla="*/ 150380 h 941139"/>
                  <a:gd name="connsiteX907" fmla="*/ 891870 w 1492410"/>
                  <a:gd name="connsiteY907" fmla="*/ 148467 h 941139"/>
                  <a:gd name="connsiteX908" fmla="*/ 896463 w 1492410"/>
                  <a:gd name="connsiteY908" fmla="*/ 148467 h 941139"/>
                  <a:gd name="connsiteX909" fmla="*/ 896463 w 1492410"/>
                  <a:gd name="connsiteY909" fmla="*/ 146543 h 941139"/>
                  <a:gd name="connsiteX910" fmla="*/ 897998 w 1492410"/>
                  <a:gd name="connsiteY910" fmla="*/ 146543 h 941139"/>
                  <a:gd name="connsiteX911" fmla="*/ 899499 w 1492410"/>
                  <a:gd name="connsiteY911" fmla="*/ 146543 h 941139"/>
                  <a:gd name="connsiteX912" fmla="*/ 901022 w 1492410"/>
                  <a:gd name="connsiteY912" fmla="*/ 146543 h 941139"/>
                  <a:gd name="connsiteX913" fmla="*/ 902557 w 1492410"/>
                  <a:gd name="connsiteY913" fmla="*/ 146543 h 941139"/>
                  <a:gd name="connsiteX914" fmla="*/ 902557 w 1492410"/>
                  <a:gd name="connsiteY914" fmla="*/ 144563 h 941139"/>
                  <a:gd name="connsiteX915" fmla="*/ 904092 w 1492410"/>
                  <a:gd name="connsiteY915" fmla="*/ 144563 h 941139"/>
                  <a:gd name="connsiteX916" fmla="*/ 904092 w 1492410"/>
                  <a:gd name="connsiteY916" fmla="*/ 142606 h 941139"/>
                  <a:gd name="connsiteX917" fmla="*/ 907161 w 1492410"/>
                  <a:gd name="connsiteY917" fmla="*/ 142606 h 941139"/>
                  <a:gd name="connsiteX918" fmla="*/ 911753 w 1492410"/>
                  <a:gd name="connsiteY918" fmla="*/ 142606 h 941139"/>
                  <a:gd name="connsiteX919" fmla="*/ 913288 w 1492410"/>
                  <a:gd name="connsiteY919" fmla="*/ 142606 h 941139"/>
                  <a:gd name="connsiteX920" fmla="*/ 916357 w 1492410"/>
                  <a:gd name="connsiteY920" fmla="*/ 142606 h 941139"/>
                  <a:gd name="connsiteX921" fmla="*/ 916357 w 1492410"/>
                  <a:gd name="connsiteY921" fmla="*/ 140593 h 941139"/>
                  <a:gd name="connsiteX922" fmla="*/ 919382 w 1492410"/>
                  <a:gd name="connsiteY922" fmla="*/ 140593 h 941139"/>
                  <a:gd name="connsiteX923" fmla="*/ 920916 w 1492410"/>
                  <a:gd name="connsiteY923" fmla="*/ 140593 h 941139"/>
                  <a:gd name="connsiteX924" fmla="*/ 923985 w 1492410"/>
                  <a:gd name="connsiteY924" fmla="*/ 140593 h 941139"/>
                  <a:gd name="connsiteX925" fmla="*/ 925520 w 1492410"/>
                  <a:gd name="connsiteY925" fmla="*/ 140593 h 941139"/>
                  <a:gd name="connsiteX926" fmla="*/ 925520 w 1492410"/>
                  <a:gd name="connsiteY926" fmla="*/ 138568 h 941139"/>
                  <a:gd name="connsiteX927" fmla="*/ 928578 w 1492410"/>
                  <a:gd name="connsiteY927" fmla="*/ 138568 h 941139"/>
                  <a:gd name="connsiteX928" fmla="*/ 930113 w 1492410"/>
                  <a:gd name="connsiteY928" fmla="*/ 138568 h 941139"/>
                  <a:gd name="connsiteX929" fmla="*/ 931647 w 1492410"/>
                  <a:gd name="connsiteY929" fmla="*/ 138568 h 941139"/>
                  <a:gd name="connsiteX930" fmla="*/ 931647 w 1492410"/>
                  <a:gd name="connsiteY930" fmla="*/ 136511 h 941139"/>
                  <a:gd name="connsiteX931" fmla="*/ 933182 w 1492410"/>
                  <a:gd name="connsiteY931" fmla="*/ 136511 h 941139"/>
                  <a:gd name="connsiteX932" fmla="*/ 934683 w 1492410"/>
                  <a:gd name="connsiteY932" fmla="*/ 136511 h 941139"/>
                  <a:gd name="connsiteX933" fmla="*/ 934683 w 1492410"/>
                  <a:gd name="connsiteY933" fmla="*/ 134453 h 941139"/>
                  <a:gd name="connsiteX934" fmla="*/ 939276 w 1492410"/>
                  <a:gd name="connsiteY934" fmla="*/ 134453 h 941139"/>
                  <a:gd name="connsiteX935" fmla="*/ 940810 w 1492410"/>
                  <a:gd name="connsiteY935" fmla="*/ 134453 h 941139"/>
                  <a:gd name="connsiteX936" fmla="*/ 940810 w 1492410"/>
                  <a:gd name="connsiteY936" fmla="*/ 132329 h 941139"/>
                  <a:gd name="connsiteX937" fmla="*/ 942345 w 1492410"/>
                  <a:gd name="connsiteY937" fmla="*/ 132329 h 941139"/>
                  <a:gd name="connsiteX938" fmla="*/ 943879 w 1492410"/>
                  <a:gd name="connsiteY938" fmla="*/ 132329 h 941139"/>
                  <a:gd name="connsiteX939" fmla="*/ 945414 w 1492410"/>
                  <a:gd name="connsiteY939" fmla="*/ 132329 h 941139"/>
                  <a:gd name="connsiteX940" fmla="*/ 946937 w 1492410"/>
                  <a:gd name="connsiteY940" fmla="*/ 132329 h 941139"/>
                  <a:gd name="connsiteX941" fmla="*/ 946937 w 1492410"/>
                  <a:gd name="connsiteY941" fmla="*/ 130205 h 941139"/>
                  <a:gd name="connsiteX942" fmla="*/ 950007 w 1492410"/>
                  <a:gd name="connsiteY942" fmla="*/ 130205 h 941139"/>
                  <a:gd name="connsiteX943" fmla="*/ 951541 w 1492410"/>
                  <a:gd name="connsiteY943" fmla="*/ 130205 h 941139"/>
                  <a:gd name="connsiteX944" fmla="*/ 951541 w 1492410"/>
                  <a:gd name="connsiteY944" fmla="*/ 128047 h 941139"/>
                  <a:gd name="connsiteX945" fmla="*/ 953042 w 1492410"/>
                  <a:gd name="connsiteY945" fmla="*/ 128047 h 941139"/>
                  <a:gd name="connsiteX946" fmla="*/ 953042 w 1492410"/>
                  <a:gd name="connsiteY946" fmla="*/ 123765 h 941139"/>
                  <a:gd name="connsiteX947" fmla="*/ 954566 w 1492410"/>
                  <a:gd name="connsiteY947" fmla="*/ 123765 h 941139"/>
                  <a:gd name="connsiteX948" fmla="*/ 956100 w 1492410"/>
                  <a:gd name="connsiteY948" fmla="*/ 123765 h 941139"/>
                  <a:gd name="connsiteX949" fmla="*/ 959170 w 1492410"/>
                  <a:gd name="connsiteY949" fmla="*/ 123765 h 941139"/>
                  <a:gd name="connsiteX950" fmla="*/ 959170 w 1492410"/>
                  <a:gd name="connsiteY950" fmla="*/ 121563 h 941139"/>
                  <a:gd name="connsiteX951" fmla="*/ 960704 w 1492410"/>
                  <a:gd name="connsiteY951" fmla="*/ 121563 h 941139"/>
                  <a:gd name="connsiteX952" fmla="*/ 962239 w 1492410"/>
                  <a:gd name="connsiteY952" fmla="*/ 121563 h 941139"/>
                  <a:gd name="connsiteX953" fmla="*/ 963762 w 1492410"/>
                  <a:gd name="connsiteY953" fmla="*/ 121563 h 941139"/>
                  <a:gd name="connsiteX954" fmla="*/ 965297 w 1492410"/>
                  <a:gd name="connsiteY954" fmla="*/ 121563 h 941139"/>
                  <a:gd name="connsiteX955" fmla="*/ 965297 w 1492410"/>
                  <a:gd name="connsiteY955" fmla="*/ 119338 h 941139"/>
                  <a:gd name="connsiteX956" fmla="*/ 966831 w 1492410"/>
                  <a:gd name="connsiteY956" fmla="*/ 119338 h 941139"/>
                  <a:gd name="connsiteX957" fmla="*/ 972925 w 1492410"/>
                  <a:gd name="connsiteY957" fmla="*/ 119338 h 941139"/>
                  <a:gd name="connsiteX958" fmla="*/ 972925 w 1492410"/>
                  <a:gd name="connsiteY958" fmla="*/ 114879 h 941139"/>
                  <a:gd name="connsiteX959" fmla="*/ 974460 w 1492410"/>
                  <a:gd name="connsiteY959" fmla="*/ 114879 h 941139"/>
                  <a:gd name="connsiteX960" fmla="*/ 975994 w 1492410"/>
                  <a:gd name="connsiteY960" fmla="*/ 114879 h 941139"/>
                  <a:gd name="connsiteX961" fmla="*/ 975994 w 1492410"/>
                  <a:gd name="connsiteY961" fmla="*/ 112576 h 941139"/>
                  <a:gd name="connsiteX962" fmla="*/ 977529 w 1492410"/>
                  <a:gd name="connsiteY962" fmla="*/ 112576 h 941139"/>
                  <a:gd name="connsiteX963" fmla="*/ 980598 w 1492410"/>
                  <a:gd name="connsiteY963" fmla="*/ 112576 h 941139"/>
                  <a:gd name="connsiteX964" fmla="*/ 980598 w 1492410"/>
                  <a:gd name="connsiteY964" fmla="*/ 110274 h 941139"/>
                  <a:gd name="connsiteX965" fmla="*/ 982122 w 1492410"/>
                  <a:gd name="connsiteY965" fmla="*/ 110274 h 941139"/>
                  <a:gd name="connsiteX966" fmla="*/ 983656 w 1492410"/>
                  <a:gd name="connsiteY966" fmla="*/ 110274 h 941139"/>
                  <a:gd name="connsiteX967" fmla="*/ 985191 w 1492410"/>
                  <a:gd name="connsiteY967" fmla="*/ 110274 h 941139"/>
                  <a:gd name="connsiteX968" fmla="*/ 986725 w 1492410"/>
                  <a:gd name="connsiteY968" fmla="*/ 110274 h 941139"/>
                  <a:gd name="connsiteX969" fmla="*/ 988227 w 1492410"/>
                  <a:gd name="connsiteY969" fmla="*/ 110274 h 941139"/>
                  <a:gd name="connsiteX970" fmla="*/ 992819 w 1492410"/>
                  <a:gd name="connsiteY970" fmla="*/ 110274 h 941139"/>
                  <a:gd name="connsiteX971" fmla="*/ 994354 w 1492410"/>
                  <a:gd name="connsiteY971" fmla="*/ 110274 h 941139"/>
                  <a:gd name="connsiteX972" fmla="*/ 995888 w 1492410"/>
                  <a:gd name="connsiteY972" fmla="*/ 110274 h 941139"/>
                  <a:gd name="connsiteX973" fmla="*/ 997412 w 1492410"/>
                  <a:gd name="connsiteY973" fmla="*/ 110274 h 941139"/>
                  <a:gd name="connsiteX974" fmla="*/ 998958 w 1492410"/>
                  <a:gd name="connsiteY974" fmla="*/ 110274 h 941139"/>
                  <a:gd name="connsiteX975" fmla="*/ 1005040 w 1492410"/>
                  <a:gd name="connsiteY975" fmla="*/ 110274 h 941139"/>
                  <a:gd name="connsiteX976" fmla="*/ 1006586 w 1492410"/>
                  <a:gd name="connsiteY976" fmla="*/ 110274 h 941139"/>
                  <a:gd name="connsiteX977" fmla="*/ 1008109 w 1492410"/>
                  <a:gd name="connsiteY977" fmla="*/ 110274 h 941139"/>
                  <a:gd name="connsiteX978" fmla="*/ 1008109 w 1492410"/>
                  <a:gd name="connsiteY978" fmla="*/ 107905 h 941139"/>
                  <a:gd name="connsiteX979" fmla="*/ 1009644 w 1492410"/>
                  <a:gd name="connsiteY979" fmla="*/ 107905 h 941139"/>
                  <a:gd name="connsiteX980" fmla="*/ 1009644 w 1492410"/>
                  <a:gd name="connsiteY980" fmla="*/ 105503 h 941139"/>
                  <a:gd name="connsiteX981" fmla="*/ 1015782 w 1492410"/>
                  <a:gd name="connsiteY981" fmla="*/ 105503 h 941139"/>
                  <a:gd name="connsiteX982" fmla="*/ 1017306 w 1492410"/>
                  <a:gd name="connsiteY982" fmla="*/ 105503 h 941139"/>
                  <a:gd name="connsiteX983" fmla="*/ 1018840 w 1492410"/>
                  <a:gd name="connsiteY983" fmla="*/ 105503 h 941139"/>
                  <a:gd name="connsiteX984" fmla="*/ 1018840 w 1492410"/>
                  <a:gd name="connsiteY984" fmla="*/ 103100 h 941139"/>
                  <a:gd name="connsiteX985" fmla="*/ 1020375 w 1492410"/>
                  <a:gd name="connsiteY985" fmla="*/ 103100 h 941139"/>
                  <a:gd name="connsiteX986" fmla="*/ 1020375 w 1492410"/>
                  <a:gd name="connsiteY986" fmla="*/ 100665 h 941139"/>
                  <a:gd name="connsiteX987" fmla="*/ 1023411 w 1492410"/>
                  <a:gd name="connsiteY987" fmla="*/ 100665 h 941139"/>
                  <a:gd name="connsiteX988" fmla="*/ 1023411 w 1492410"/>
                  <a:gd name="connsiteY988" fmla="*/ 98185 h 941139"/>
                  <a:gd name="connsiteX989" fmla="*/ 1024934 w 1492410"/>
                  <a:gd name="connsiteY989" fmla="*/ 98185 h 941139"/>
                  <a:gd name="connsiteX990" fmla="*/ 1026469 w 1492410"/>
                  <a:gd name="connsiteY990" fmla="*/ 98185 h 941139"/>
                  <a:gd name="connsiteX991" fmla="*/ 1028003 w 1492410"/>
                  <a:gd name="connsiteY991" fmla="*/ 98185 h 941139"/>
                  <a:gd name="connsiteX992" fmla="*/ 1029538 w 1492410"/>
                  <a:gd name="connsiteY992" fmla="*/ 98185 h 941139"/>
                  <a:gd name="connsiteX993" fmla="*/ 1031073 w 1492410"/>
                  <a:gd name="connsiteY993" fmla="*/ 98185 h 941139"/>
                  <a:gd name="connsiteX994" fmla="*/ 1034142 w 1492410"/>
                  <a:gd name="connsiteY994" fmla="*/ 98185 h 941139"/>
                  <a:gd name="connsiteX995" fmla="*/ 1035665 w 1492410"/>
                  <a:gd name="connsiteY995" fmla="*/ 98185 h 941139"/>
                  <a:gd name="connsiteX996" fmla="*/ 1037200 w 1492410"/>
                  <a:gd name="connsiteY996" fmla="*/ 98185 h 941139"/>
                  <a:gd name="connsiteX997" fmla="*/ 1040269 w 1492410"/>
                  <a:gd name="connsiteY997" fmla="*/ 98185 h 941139"/>
                  <a:gd name="connsiteX998" fmla="*/ 1041770 w 1492410"/>
                  <a:gd name="connsiteY998" fmla="*/ 98185 h 941139"/>
                  <a:gd name="connsiteX999" fmla="*/ 1041770 w 1492410"/>
                  <a:gd name="connsiteY999" fmla="*/ 95615 h 941139"/>
                  <a:gd name="connsiteX1000" fmla="*/ 1046363 w 1492410"/>
                  <a:gd name="connsiteY1000" fmla="*/ 95615 h 941139"/>
                  <a:gd name="connsiteX1001" fmla="*/ 1047897 w 1492410"/>
                  <a:gd name="connsiteY1001" fmla="*/ 95615 h 941139"/>
                  <a:gd name="connsiteX1002" fmla="*/ 1047897 w 1492410"/>
                  <a:gd name="connsiteY1002" fmla="*/ 93002 h 941139"/>
                  <a:gd name="connsiteX1003" fmla="*/ 1049432 w 1492410"/>
                  <a:gd name="connsiteY1003" fmla="*/ 93002 h 941139"/>
                  <a:gd name="connsiteX1004" fmla="*/ 1050956 w 1492410"/>
                  <a:gd name="connsiteY1004" fmla="*/ 93002 h 941139"/>
                  <a:gd name="connsiteX1005" fmla="*/ 1055559 w 1492410"/>
                  <a:gd name="connsiteY1005" fmla="*/ 93002 h 941139"/>
                  <a:gd name="connsiteX1006" fmla="*/ 1057094 w 1492410"/>
                  <a:gd name="connsiteY1006" fmla="*/ 93002 h 941139"/>
                  <a:gd name="connsiteX1007" fmla="*/ 1057094 w 1492410"/>
                  <a:gd name="connsiteY1007" fmla="*/ 90344 h 941139"/>
                  <a:gd name="connsiteX1008" fmla="*/ 1058584 w 1492410"/>
                  <a:gd name="connsiteY1008" fmla="*/ 90344 h 941139"/>
                  <a:gd name="connsiteX1009" fmla="*/ 1060118 w 1492410"/>
                  <a:gd name="connsiteY1009" fmla="*/ 90344 h 941139"/>
                  <a:gd name="connsiteX1010" fmla="*/ 1061653 w 1492410"/>
                  <a:gd name="connsiteY1010" fmla="*/ 90344 h 941139"/>
                  <a:gd name="connsiteX1011" fmla="*/ 1063188 w 1492410"/>
                  <a:gd name="connsiteY1011" fmla="*/ 90344 h 941139"/>
                  <a:gd name="connsiteX1012" fmla="*/ 1064722 w 1492410"/>
                  <a:gd name="connsiteY1012" fmla="*/ 90344 h 941139"/>
                  <a:gd name="connsiteX1013" fmla="*/ 1067780 w 1492410"/>
                  <a:gd name="connsiteY1013" fmla="*/ 90344 h 941139"/>
                  <a:gd name="connsiteX1014" fmla="*/ 1069315 w 1492410"/>
                  <a:gd name="connsiteY1014" fmla="*/ 90344 h 941139"/>
                  <a:gd name="connsiteX1015" fmla="*/ 1072384 w 1492410"/>
                  <a:gd name="connsiteY1015" fmla="*/ 90344 h 941139"/>
                  <a:gd name="connsiteX1016" fmla="*/ 1073919 w 1492410"/>
                  <a:gd name="connsiteY1016" fmla="*/ 90344 h 941139"/>
                  <a:gd name="connsiteX1017" fmla="*/ 1075453 w 1492410"/>
                  <a:gd name="connsiteY1017" fmla="*/ 90344 h 941139"/>
                  <a:gd name="connsiteX1018" fmla="*/ 1075453 w 1492410"/>
                  <a:gd name="connsiteY1018" fmla="*/ 87530 h 941139"/>
                  <a:gd name="connsiteX1019" fmla="*/ 1080012 w 1492410"/>
                  <a:gd name="connsiteY1019" fmla="*/ 87530 h 941139"/>
                  <a:gd name="connsiteX1020" fmla="*/ 1081547 w 1492410"/>
                  <a:gd name="connsiteY1020" fmla="*/ 87530 h 941139"/>
                  <a:gd name="connsiteX1021" fmla="*/ 1083082 w 1492410"/>
                  <a:gd name="connsiteY1021" fmla="*/ 87530 h 941139"/>
                  <a:gd name="connsiteX1022" fmla="*/ 1089209 w 1492410"/>
                  <a:gd name="connsiteY1022" fmla="*/ 87530 h 941139"/>
                  <a:gd name="connsiteX1023" fmla="*/ 1090743 w 1492410"/>
                  <a:gd name="connsiteY1023" fmla="*/ 87530 h 941139"/>
                  <a:gd name="connsiteX1024" fmla="*/ 1092278 w 1492410"/>
                  <a:gd name="connsiteY1024" fmla="*/ 87530 h 941139"/>
                  <a:gd name="connsiteX1025" fmla="*/ 1093768 w 1492410"/>
                  <a:gd name="connsiteY1025" fmla="*/ 87530 h 941139"/>
                  <a:gd name="connsiteX1026" fmla="*/ 1093768 w 1492410"/>
                  <a:gd name="connsiteY1026" fmla="*/ 84594 h 941139"/>
                  <a:gd name="connsiteX1027" fmla="*/ 1095314 w 1492410"/>
                  <a:gd name="connsiteY1027" fmla="*/ 84594 h 941139"/>
                  <a:gd name="connsiteX1028" fmla="*/ 1096837 w 1492410"/>
                  <a:gd name="connsiteY1028" fmla="*/ 84594 h 941139"/>
                  <a:gd name="connsiteX1029" fmla="*/ 1096837 w 1492410"/>
                  <a:gd name="connsiteY1029" fmla="*/ 81635 h 941139"/>
                  <a:gd name="connsiteX1030" fmla="*/ 1098372 w 1492410"/>
                  <a:gd name="connsiteY1030" fmla="*/ 81635 h 941139"/>
                  <a:gd name="connsiteX1031" fmla="*/ 1101441 w 1492410"/>
                  <a:gd name="connsiteY1031" fmla="*/ 81635 h 941139"/>
                  <a:gd name="connsiteX1032" fmla="*/ 1101441 w 1492410"/>
                  <a:gd name="connsiteY1032" fmla="*/ 72649 h 941139"/>
                  <a:gd name="connsiteX1033" fmla="*/ 1102976 w 1492410"/>
                  <a:gd name="connsiteY1033" fmla="*/ 72649 h 941139"/>
                  <a:gd name="connsiteX1034" fmla="*/ 1104499 w 1492410"/>
                  <a:gd name="connsiteY1034" fmla="*/ 72649 h 941139"/>
                  <a:gd name="connsiteX1035" fmla="*/ 1106034 w 1492410"/>
                  <a:gd name="connsiteY1035" fmla="*/ 72649 h 941139"/>
                  <a:gd name="connsiteX1036" fmla="*/ 1109103 w 1492410"/>
                  <a:gd name="connsiteY1036" fmla="*/ 72649 h 941139"/>
                  <a:gd name="connsiteX1037" fmla="*/ 1110626 w 1492410"/>
                  <a:gd name="connsiteY1037" fmla="*/ 72649 h 941139"/>
                  <a:gd name="connsiteX1038" fmla="*/ 1112127 w 1492410"/>
                  <a:gd name="connsiteY1038" fmla="*/ 72649 h 941139"/>
                  <a:gd name="connsiteX1039" fmla="*/ 1113662 w 1492410"/>
                  <a:gd name="connsiteY1039" fmla="*/ 72649 h 941139"/>
                  <a:gd name="connsiteX1040" fmla="*/ 1113662 w 1492410"/>
                  <a:gd name="connsiteY1040" fmla="*/ 69512 h 941139"/>
                  <a:gd name="connsiteX1041" fmla="*/ 1115197 w 1492410"/>
                  <a:gd name="connsiteY1041" fmla="*/ 69512 h 941139"/>
                  <a:gd name="connsiteX1042" fmla="*/ 1116731 w 1492410"/>
                  <a:gd name="connsiteY1042" fmla="*/ 69512 h 941139"/>
                  <a:gd name="connsiteX1043" fmla="*/ 1121324 w 1492410"/>
                  <a:gd name="connsiteY1043" fmla="*/ 69512 h 941139"/>
                  <a:gd name="connsiteX1044" fmla="*/ 1121324 w 1492410"/>
                  <a:gd name="connsiteY1044" fmla="*/ 66309 h 941139"/>
                  <a:gd name="connsiteX1045" fmla="*/ 1122858 w 1492410"/>
                  <a:gd name="connsiteY1045" fmla="*/ 66309 h 941139"/>
                  <a:gd name="connsiteX1046" fmla="*/ 1124393 w 1492410"/>
                  <a:gd name="connsiteY1046" fmla="*/ 66309 h 941139"/>
                  <a:gd name="connsiteX1047" fmla="*/ 1125928 w 1492410"/>
                  <a:gd name="connsiteY1047" fmla="*/ 66309 h 941139"/>
                  <a:gd name="connsiteX1048" fmla="*/ 1127462 w 1492410"/>
                  <a:gd name="connsiteY1048" fmla="*/ 66309 h 941139"/>
                  <a:gd name="connsiteX1049" fmla="*/ 1133556 w 1492410"/>
                  <a:gd name="connsiteY1049" fmla="*/ 66309 h 941139"/>
                  <a:gd name="connsiteX1050" fmla="*/ 1135091 w 1492410"/>
                  <a:gd name="connsiteY1050" fmla="*/ 66309 h 941139"/>
                  <a:gd name="connsiteX1051" fmla="*/ 1136625 w 1492410"/>
                  <a:gd name="connsiteY1051" fmla="*/ 66309 h 941139"/>
                  <a:gd name="connsiteX1052" fmla="*/ 1138160 w 1492410"/>
                  <a:gd name="connsiteY1052" fmla="*/ 66309 h 941139"/>
                  <a:gd name="connsiteX1053" fmla="*/ 1138160 w 1492410"/>
                  <a:gd name="connsiteY1053" fmla="*/ 62895 h 941139"/>
                  <a:gd name="connsiteX1054" fmla="*/ 1142752 w 1492410"/>
                  <a:gd name="connsiteY1054" fmla="*/ 62895 h 941139"/>
                  <a:gd name="connsiteX1055" fmla="*/ 1144287 w 1492410"/>
                  <a:gd name="connsiteY1055" fmla="*/ 62895 h 941139"/>
                  <a:gd name="connsiteX1056" fmla="*/ 1145822 w 1492410"/>
                  <a:gd name="connsiteY1056" fmla="*/ 62895 h 941139"/>
                  <a:gd name="connsiteX1057" fmla="*/ 1145822 w 1492410"/>
                  <a:gd name="connsiteY1057" fmla="*/ 59413 h 941139"/>
                  <a:gd name="connsiteX1058" fmla="*/ 1147312 w 1492410"/>
                  <a:gd name="connsiteY1058" fmla="*/ 59413 h 941139"/>
                  <a:gd name="connsiteX1059" fmla="*/ 1148857 w 1492410"/>
                  <a:gd name="connsiteY1059" fmla="*/ 59413 h 941139"/>
                  <a:gd name="connsiteX1060" fmla="*/ 1150381 w 1492410"/>
                  <a:gd name="connsiteY1060" fmla="*/ 59413 h 941139"/>
                  <a:gd name="connsiteX1061" fmla="*/ 1153450 w 1492410"/>
                  <a:gd name="connsiteY1061" fmla="*/ 59413 h 941139"/>
                  <a:gd name="connsiteX1062" fmla="*/ 1153450 w 1492410"/>
                  <a:gd name="connsiteY1062" fmla="*/ 55821 h 941139"/>
                  <a:gd name="connsiteX1063" fmla="*/ 1154985 w 1492410"/>
                  <a:gd name="connsiteY1063" fmla="*/ 55821 h 941139"/>
                  <a:gd name="connsiteX1064" fmla="*/ 1156508 w 1492410"/>
                  <a:gd name="connsiteY1064" fmla="*/ 55821 h 941139"/>
                  <a:gd name="connsiteX1065" fmla="*/ 1158043 w 1492410"/>
                  <a:gd name="connsiteY1065" fmla="*/ 55821 h 941139"/>
                  <a:gd name="connsiteX1066" fmla="*/ 1159577 w 1492410"/>
                  <a:gd name="connsiteY1066" fmla="*/ 55821 h 941139"/>
                  <a:gd name="connsiteX1067" fmla="*/ 1164170 w 1492410"/>
                  <a:gd name="connsiteY1067" fmla="*/ 55821 h 941139"/>
                  <a:gd name="connsiteX1068" fmla="*/ 1165671 w 1492410"/>
                  <a:gd name="connsiteY1068" fmla="*/ 55821 h 941139"/>
                  <a:gd name="connsiteX1069" fmla="*/ 1167206 w 1492410"/>
                  <a:gd name="connsiteY1069" fmla="*/ 55821 h 941139"/>
                  <a:gd name="connsiteX1070" fmla="*/ 1168740 w 1492410"/>
                  <a:gd name="connsiteY1070" fmla="*/ 55821 h 941139"/>
                  <a:gd name="connsiteX1071" fmla="*/ 1170275 w 1492410"/>
                  <a:gd name="connsiteY1071" fmla="*/ 55821 h 941139"/>
                  <a:gd name="connsiteX1072" fmla="*/ 1176402 w 1492410"/>
                  <a:gd name="connsiteY1072" fmla="*/ 55821 h 941139"/>
                  <a:gd name="connsiteX1073" fmla="*/ 1177937 w 1492410"/>
                  <a:gd name="connsiteY1073" fmla="*/ 55821 h 941139"/>
                  <a:gd name="connsiteX1074" fmla="*/ 1179471 w 1492410"/>
                  <a:gd name="connsiteY1074" fmla="*/ 55821 h 941139"/>
                  <a:gd name="connsiteX1075" fmla="*/ 1181006 w 1492410"/>
                  <a:gd name="connsiteY1075" fmla="*/ 55821 h 941139"/>
                  <a:gd name="connsiteX1076" fmla="*/ 1184030 w 1492410"/>
                  <a:gd name="connsiteY1076" fmla="*/ 55821 h 941139"/>
                  <a:gd name="connsiteX1077" fmla="*/ 1184030 w 1492410"/>
                  <a:gd name="connsiteY1077" fmla="*/ 51784 h 941139"/>
                  <a:gd name="connsiteX1078" fmla="*/ 1187100 w 1492410"/>
                  <a:gd name="connsiteY1078" fmla="*/ 51784 h 941139"/>
                  <a:gd name="connsiteX1079" fmla="*/ 1188634 w 1492410"/>
                  <a:gd name="connsiteY1079" fmla="*/ 51784 h 941139"/>
                  <a:gd name="connsiteX1080" fmla="*/ 1190169 w 1492410"/>
                  <a:gd name="connsiteY1080" fmla="*/ 51784 h 941139"/>
                  <a:gd name="connsiteX1081" fmla="*/ 1191703 w 1492410"/>
                  <a:gd name="connsiteY1081" fmla="*/ 51784 h 941139"/>
                  <a:gd name="connsiteX1082" fmla="*/ 1196296 w 1492410"/>
                  <a:gd name="connsiteY1082" fmla="*/ 51784 h 941139"/>
                  <a:gd name="connsiteX1083" fmla="*/ 1197831 w 1492410"/>
                  <a:gd name="connsiteY1083" fmla="*/ 51784 h 941139"/>
                  <a:gd name="connsiteX1084" fmla="*/ 1199354 w 1492410"/>
                  <a:gd name="connsiteY1084" fmla="*/ 51784 h 941139"/>
                  <a:gd name="connsiteX1085" fmla="*/ 1200855 w 1492410"/>
                  <a:gd name="connsiteY1085" fmla="*/ 51784 h 941139"/>
                  <a:gd name="connsiteX1086" fmla="*/ 1200855 w 1492410"/>
                  <a:gd name="connsiteY1086" fmla="*/ 47357 h 941139"/>
                  <a:gd name="connsiteX1087" fmla="*/ 1202390 w 1492410"/>
                  <a:gd name="connsiteY1087" fmla="*/ 47357 h 941139"/>
                  <a:gd name="connsiteX1088" fmla="*/ 1206994 w 1492410"/>
                  <a:gd name="connsiteY1088" fmla="*/ 47357 h 941139"/>
                  <a:gd name="connsiteX1089" fmla="*/ 1208528 w 1492410"/>
                  <a:gd name="connsiteY1089" fmla="*/ 47357 h 941139"/>
                  <a:gd name="connsiteX1090" fmla="*/ 1210052 w 1492410"/>
                  <a:gd name="connsiteY1090" fmla="*/ 47357 h 941139"/>
                  <a:gd name="connsiteX1091" fmla="*/ 1211586 w 1492410"/>
                  <a:gd name="connsiteY1091" fmla="*/ 47357 h 941139"/>
                  <a:gd name="connsiteX1092" fmla="*/ 1217680 w 1492410"/>
                  <a:gd name="connsiteY1092" fmla="*/ 47357 h 941139"/>
                  <a:gd name="connsiteX1093" fmla="*/ 1219215 w 1492410"/>
                  <a:gd name="connsiteY1093" fmla="*/ 47357 h 941139"/>
                  <a:gd name="connsiteX1094" fmla="*/ 1220749 w 1492410"/>
                  <a:gd name="connsiteY1094" fmla="*/ 47357 h 941139"/>
                  <a:gd name="connsiteX1095" fmla="*/ 1222284 w 1492410"/>
                  <a:gd name="connsiteY1095" fmla="*/ 47357 h 941139"/>
                  <a:gd name="connsiteX1096" fmla="*/ 1223818 w 1492410"/>
                  <a:gd name="connsiteY1096" fmla="*/ 47357 h 941139"/>
                  <a:gd name="connsiteX1097" fmla="*/ 1225342 w 1492410"/>
                  <a:gd name="connsiteY1097" fmla="*/ 47357 h 941139"/>
                  <a:gd name="connsiteX1098" fmla="*/ 1225342 w 1492410"/>
                  <a:gd name="connsiteY1098" fmla="*/ 42508 h 941139"/>
                  <a:gd name="connsiteX1099" fmla="*/ 1228411 w 1492410"/>
                  <a:gd name="connsiteY1099" fmla="*/ 42508 h 941139"/>
                  <a:gd name="connsiteX1100" fmla="*/ 1231480 w 1492410"/>
                  <a:gd name="connsiteY1100" fmla="*/ 42508 h 941139"/>
                  <a:gd name="connsiteX1101" fmla="*/ 1233015 w 1492410"/>
                  <a:gd name="connsiteY1101" fmla="*/ 42508 h 941139"/>
                  <a:gd name="connsiteX1102" fmla="*/ 1234549 w 1492410"/>
                  <a:gd name="connsiteY1102" fmla="*/ 42508 h 941139"/>
                  <a:gd name="connsiteX1103" fmla="*/ 1239109 w 1492410"/>
                  <a:gd name="connsiteY1103" fmla="*/ 42508 h 941139"/>
                  <a:gd name="connsiteX1104" fmla="*/ 1242178 w 1492410"/>
                  <a:gd name="connsiteY1104" fmla="*/ 42508 h 941139"/>
                  <a:gd name="connsiteX1105" fmla="*/ 1243701 w 1492410"/>
                  <a:gd name="connsiteY1105" fmla="*/ 42508 h 941139"/>
                  <a:gd name="connsiteX1106" fmla="*/ 1243701 w 1492410"/>
                  <a:gd name="connsiteY1106" fmla="*/ 37214 h 941139"/>
                  <a:gd name="connsiteX1107" fmla="*/ 1245236 w 1492410"/>
                  <a:gd name="connsiteY1107" fmla="*/ 37214 h 941139"/>
                  <a:gd name="connsiteX1108" fmla="*/ 1249840 w 1492410"/>
                  <a:gd name="connsiteY1108" fmla="*/ 37214 h 941139"/>
                  <a:gd name="connsiteX1109" fmla="*/ 1251374 w 1492410"/>
                  <a:gd name="connsiteY1109" fmla="*/ 37214 h 941139"/>
                  <a:gd name="connsiteX1110" fmla="*/ 1252875 w 1492410"/>
                  <a:gd name="connsiteY1110" fmla="*/ 37214 h 941139"/>
                  <a:gd name="connsiteX1111" fmla="*/ 1255933 w 1492410"/>
                  <a:gd name="connsiteY1111" fmla="*/ 37214 h 941139"/>
                  <a:gd name="connsiteX1112" fmla="*/ 1260526 w 1492410"/>
                  <a:gd name="connsiteY1112" fmla="*/ 37214 h 941139"/>
                  <a:gd name="connsiteX1113" fmla="*/ 1260526 w 1492410"/>
                  <a:gd name="connsiteY1113" fmla="*/ 31364 h 941139"/>
                  <a:gd name="connsiteX1114" fmla="*/ 1262072 w 1492410"/>
                  <a:gd name="connsiteY1114" fmla="*/ 31364 h 941139"/>
                  <a:gd name="connsiteX1115" fmla="*/ 1263595 w 1492410"/>
                  <a:gd name="connsiteY1115" fmla="*/ 31364 h 941139"/>
                  <a:gd name="connsiteX1116" fmla="*/ 1263595 w 1492410"/>
                  <a:gd name="connsiteY1116" fmla="*/ 25302 h 941139"/>
                  <a:gd name="connsiteX1117" fmla="*/ 1265130 w 1492410"/>
                  <a:gd name="connsiteY1117" fmla="*/ 25302 h 941139"/>
                  <a:gd name="connsiteX1118" fmla="*/ 1266664 w 1492410"/>
                  <a:gd name="connsiteY1118" fmla="*/ 25302 h 941139"/>
                  <a:gd name="connsiteX1119" fmla="*/ 1271224 w 1492410"/>
                  <a:gd name="connsiteY1119" fmla="*/ 25302 h 941139"/>
                  <a:gd name="connsiteX1120" fmla="*/ 1272758 w 1492410"/>
                  <a:gd name="connsiteY1120" fmla="*/ 25302 h 941139"/>
                  <a:gd name="connsiteX1121" fmla="*/ 1274293 w 1492410"/>
                  <a:gd name="connsiteY1121" fmla="*/ 25302 h 941139"/>
                  <a:gd name="connsiteX1122" fmla="*/ 1274293 w 1492410"/>
                  <a:gd name="connsiteY1122" fmla="*/ 18640 h 941139"/>
                  <a:gd name="connsiteX1123" fmla="*/ 1275827 w 1492410"/>
                  <a:gd name="connsiteY1123" fmla="*/ 18640 h 941139"/>
                  <a:gd name="connsiteX1124" fmla="*/ 1277362 w 1492410"/>
                  <a:gd name="connsiteY1124" fmla="*/ 18640 h 941139"/>
                  <a:gd name="connsiteX1125" fmla="*/ 1283489 w 1492410"/>
                  <a:gd name="connsiteY1125" fmla="*/ 18640 h 941139"/>
                  <a:gd name="connsiteX1126" fmla="*/ 1285024 w 1492410"/>
                  <a:gd name="connsiteY1126" fmla="*/ 18640 h 941139"/>
                  <a:gd name="connsiteX1127" fmla="*/ 1286558 w 1492410"/>
                  <a:gd name="connsiteY1127" fmla="*/ 18640 h 941139"/>
                  <a:gd name="connsiteX1128" fmla="*/ 1288082 w 1492410"/>
                  <a:gd name="connsiteY1128" fmla="*/ 18640 h 941139"/>
                  <a:gd name="connsiteX1129" fmla="*/ 1292652 w 1492410"/>
                  <a:gd name="connsiteY1129" fmla="*/ 18640 h 941139"/>
                  <a:gd name="connsiteX1130" fmla="*/ 1294187 w 1492410"/>
                  <a:gd name="connsiteY1130" fmla="*/ 18640 h 941139"/>
                  <a:gd name="connsiteX1131" fmla="*/ 1295721 w 1492410"/>
                  <a:gd name="connsiteY1131" fmla="*/ 18640 h 941139"/>
                  <a:gd name="connsiteX1132" fmla="*/ 1297245 w 1492410"/>
                  <a:gd name="connsiteY1132" fmla="*/ 18640 h 941139"/>
                  <a:gd name="connsiteX1133" fmla="*/ 1298779 w 1492410"/>
                  <a:gd name="connsiteY1133" fmla="*/ 18640 h 941139"/>
                  <a:gd name="connsiteX1134" fmla="*/ 1303383 w 1492410"/>
                  <a:gd name="connsiteY1134" fmla="*/ 18640 h 941139"/>
                  <a:gd name="connsiteX1135" fmla="*/ 1304918 w 1492410"/>
                  <a:gd name="connsiteY1135" fmla="*/ 18640 h 941139"/>
                  <a:gd name="connsiteX1136" fmla="*/ 1306408 w 1492410"/>
                  <a:gd name="connsiteY1136" fmla="*/ 18640 h 941139"/>
                  <a:gd name="connsiteX1137" fmla="*/ 1307942 w 1492410"/>
                  <a:gd name="connsiteY1137" fmla="*/ 18640 h 941139"/>
                  <a:gd name="connsiteX1138" fmla="*/ 1309477 w 1492410"/>
                  <a:gd name="connsiteY1138" fmla="*/ 18640 h 941139"/>
                  <a:gd name="connsiteX1139" fmla="*/ 1315615 w 1492410"/>
                  <a:gd name="connsiteY1139" fmla="*/ 18640 h 941139"/>
                  <a:gd name="connsiteX1140" fmla="*/ 1317139 w 1492410"/>
                  <a:gd name="connsiteY1140" fmla="*/ 18640 h 941139"/>
                  <a:gd name="connsiteX1141" fmla="*/ 1318673 w 1492410"/>
                  <a:gd name="connsiteY1141" fmla="*/ 18640 h 941139"/>
                  <a:gd name="connsiteX1142" fmla="*/ 1320208 w 1492410"/>
                  <a:gd name="connsiteY1142" fmla="*/ 18640 h 941139"/>
                  <a:gd name="connsiteX1143" fmla="*/ 1324767 w 1492410"/>
                  <a:gd name="connsiteY1143" fmla="*/ 18640 h 941139"/>
                  <a:gd name="connsiteX1144" fmla="*/ 1326302 w 1492410"/>
                  <a:gd name="connsiteY1144" fmla="*/ 18640 h 941139"/>
                  <a:gd name="connsiteX1145" fmla="*/ 1327836 w 1492410"/>
                  <a:gd name="connsiteY1145" fmla="*/ 18640 h 941139"/>
                  <a:gd name="connsiteX1146" fmla="*/ 1329371 w 1492410"/>
                  <a:gd name="connsiteY1146" fmla="*/ 18640 h 941139"/>
                  <a:gd name="connsiteX1147" fmla="*/ 1330906 w 1492410"/>
                  <a:gd name="connsiteY1147" fmla="*/ 18640 h 941139"/>
                  <a:gd name="connsiteX1148" fmla="*/ 1335498 w 1492410"/>
                  <a:gd name="connsiteY1148" fmla="*/ 18640 h 941139"/>
                  <a:gd name="connsiteX1149" fmla="*/ 1337033 w 1492410"/>
                  <a:gd name="connsiteY1149" fmla="*/ 18640 h 941139"/>
                  <a:gd name="connsiteX1150" fmla="*/ 1340102 w 1492410"/>
                  <a:gd name="connsiteY1150" fmla="*/ 18640 h 941139"/>
                  <a:gd name="connsiteX1151" fmla="*/ 1341603 w 1492410"/>
                  <a:gd name="connsiteY1151" fmla="*/ 18640 h 941139"/>
                  <a:gd name="connsiteX1152" fmla="*/ 1347730 w 1492410"/>
                  <a:gd name="connsiteY1152" fmla="*/ 18640 h 941139"/>
                  <a:gd name="connsiteX1153" fmla="*/ 1349254 w 1492410"/>
                  <a:gd name="connsiteY1153" fmla="*/ 18640 h 941139"/>
                  <a:gd name="connsiteX1154" fmla="*/ 1350788 w 1492410"/>
                  <a:gd name="connsiteY1154" fmla="*/ 18640 h 941139"/>
                  <a:gd name="connsiteX1155" fmla="*/ 1352323 w 1492410"/>
                  <a:gd name="connsiteY1155" fmla="*/ 18640 h 941139"/>
                  <a:gd name="connsiteX1156" fmla="*/ 1358461 w 1492410"/>
                  <a:gd name="connsiteY1156" fmla="*/ 18640 h 941139"/>
                  <a:gd name="connsiteX1157" fmla="*/ 1359951 w 1492410"/>
                  <a:gd name="connsiteY1157" fmla="*/ 18640 h 941139"/>
                  <a:gd name="connsiteX1158" fmla="*/ 1361486 w 1492410"/>
                  <a:gd name="connsiteY1158" fmla="*/ 18640 h 941139"/>
                  <a:gd name="connsiteX1159" fmla="*/ 1363021 w 1492410"/>
                  <a:gd name="connsiteY1159" fmla="*/ 18640 h 941139"/>
                  <a:gd name="connsiteX1160" fmla="*/ 1367613 w 1492410"/>
                  <a:gd name="connsiteY1160" fmla="*/ 18640 h 941139"/>
                  <a:gd name="connsiteX1161" fmla="*/ 1370682 w 1492410"/>
                  <a:gd name="connsiteY1161" fmla="*/ 18640 h 941139"/>
                  <a:gd name="connsiteX1162" fmla="*/ 1372217 w 1492410"/>
                  <a:gd name="connsiteY1162" fmla="*/ 18640 h 941139"/>
                  <a:gd name="connsiteX1163" fmla="*/ 1373752 w 1492410"/>
                  <a:gd name="connsiteY1163" fmla="*/ 18640 h 941139"/>
                  <a:gd name="connsiteX1164" fmla="*/ 1375286 w 1492410"/>
                  <a:gd name="connsiteY1164" fmla="*/ 18640 h 941139"/>
                  <a:gd name="connsiteX1165" fmla="*/ 1375286 w 1492410"/>
                  <a:gd name="connsiteY1165" fmla="*/ 0 h 941139"/>
                  <a:gd name="connsiteX1166" fmla="*/ 1492410 w 1492410"/>
                  <a:gd name="connsiteY1166" fmla="*/ 1848 h 94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Lst>
                <a:rect l="l" t="t" r="r" b="b"/>
                <a:pathLst>
                  <a:path w="1492410" h="941139">
                    <a:moveTo>
                      <a:pt x="0" y="941139"/>
                    </a:moveTo>
                    <a:lnTo>
                      <a:pt x="1535" y="941139"/>
                    </a:lnTo>
                    <a:lnTo>
                      <a:pt x="1535" y="940338"/>
                    </a:lnTo>
                    <a:lnTo>
                      <a:pt x="3069" y="940338"/>
                    </a:lnTo>
                    <a:lnTo>
                      <a:pt x="3069" y="937202"/>
                    </a:lnTo>
                    <a:lnTo>
                      <a:pt x="4604" y="937202"/>
                    </a:lnTo>
                    <a:lnTo>
                      <a:pt x="4604" y="935634"/>
                    </a:lnTo>
                    <a:lnTo>
                      <a:pt x="6127" y="935634"/>
                    </a:lnTo>
                    <a:lnTo>
                      <a:pt x="6127" y="932497"/>
                    </a:lnTo>
                    <a:lnTo>
                      <a:pt x="7662" y="932497"/>
                    </a:lnTo>
                    <a:lnTo>
                      <a:pt x="7662" y="930128"/>
                    </a:lnTo>
                    <a:lnTo>
                      <a:pt x="9196" y="930128"/>
                    </a:lnTo>
                    <a:lnTo>
                      <a:pt x="9196" y="926191"/>
                    </a:lnTo>
                    <a:lnTo>
                      <a:pt x="10731" y="926191"/>
                    </a:lnTo>
                    <a:lnTo>
                      <a:pt x="10731" y="922254"/>
                    </a:lnTo>
                    <a:lnTo>
                      <a:pt x="12266" y="922254"/>
                    </a:lnTo>
                    <a:lnTo>
                      <a:pt x="12266" y="915180"/>
                    </a:lnTo>
                    <a:lnTo>
                      <a:pt x="13800" y="915180"/>
                    </a:lnTo>
                    <a:lnTo>
                      <a:pt x="13800" y="908874"/>
                    </a:lnTo>
                    <a:lnTo>
                      <a:pt x="15290" y="908874"/>
                    </a:lnTo>
                    <a:lnTo>
                      <a:pt x="15290" y="904170"/>
                    </a:lnTo>
                    <a:lnTo>
                      <a:pt x="16825" y="904170"/>
                    </a:lnTo>
                    <a:lnTo>
                      <a:pt x="16825" y="903369"/>
                    </a:lnTo>
                    <a:lnTo>
                      <a:pt x="18359" y="903369"/>
                    </a:lnTo>
                    <a:lnTo>
                      <a:pt x="18359" y="901801"/>
                    </a:lnTo>
                    <a:lnTo>
                      <a:pt x="19894" y="901801"/>
                    </a:lnTo>
                    <a:lnTo>
                      <a:pt x="19894" y="900232"/>
                    </a:lnTo>
                    <a:lnTo>
                      <a:pt x="21429" y="900232"/>
                    </a:lnTo>
                    <a:lnTo>
                      <a:pt x="21429" y="893926"/>
                    </a:lnTo>
                    <a:lnTo>
                      <a:pt x="22952" y="893926"/>
                    </a:lnTo>
                    <a:lnTo>
                      <a:pt x="22952" y="887653"/>
                    </a:lnTo>
                    <a:lnTo>
                      <a:pt x="24487" y="887653"/>
                    </a:lnTo>
                    <a:lnTo>
                      <a:pt x="24487" y="885296"/>
                    </a:lnTo>
                    <a:lnTo>
                      <a:pt x="26021" y="885296"/>
                    </a:lnTo>
                    <a:lnTo>
                      <a:pt x="26021" y="883716"/>
                    </a:lnTo>
                    <a:lnTo>
                      <a:pt x="27556" y="883716"/>
                    </a:lnTo>
                    <a:lnTo>
                      <a:pt x="27556" y="880547"/>
                    </a:lnTo>
                    <a:lnTo>
                      <a:pt x="29090" y="880547"/>
                    </a:lnTo>
                    <a:lnTo>
                      <a:pt x="29090" y="878211"/>
                    </a:lnTo>
                    <a:lnTo>
                      <a:pt x="30614" y="878211"/>
                    </a:lnTo>
                    <a:lnTo>
                      <a:pt x="30614" y="877421"/>
                    </a:lnTo>
                    <a:lnTo>
                      <a:pt x="32115" y="877421"/>
                    </a:lnTo>
                    <a:lnTo>
                      <a:pt x="32115" y="873484"/>
                    </a:lnTo>
                    <a:lnTo>
                      <a:pt x="33650" y="873484"/>
                    </a:lnTo>
                    <a:lnTo>
                      <a:pt x="33650" y="867167"/>
                    </a:lnTo>
                    <a:lnTo>
                      <a:pt x="35184" y="867167"/>
                    </a:lnTo>
                    <a:lnTo>
                      <a:pt x="35184" y="865599"/>
                    </a:lnTo>
                    <a:lnTo>
                      <a:pt x="36719" y="865599"/>
                    </a:lnTo>
                    <a:lnTo>
                      <a:pt x="36719" y="863230"/>
                    </a:lnTo>
                    <a:lnTo>
                      <a:pt x="38242" y="863230"/>
                    </a:lnTo>
                    <a:lnTo>
                      <a:pt x="38242" y="861661"/>
                    </a:lnTo>
                    <a:lnTo>
                      <a:pt x="39788" y="861661"/>
                    </a:lnTo>
                    <a:lnTo>
                      <a:pt x="39788" y="860861"/>
                    </a:lnTo>
                    <a:lnTo>
                      <a:pt x="41311" y="860861"/>
                    </a:lnTo>
                    <a:lnTo>
                      <a:pt x="42846" y="860861"/>
                    </a:lnTo>
                    <a:lnTo>
                      <a:pt x="42846" y="857691"/>
                    </a:lnTo>
                    <a:lnTo>
                      <a:pt x="44381" y="857691"/>
                    </a:lnTo>
                    <a:lnTo>
                      <a:pt x="44381" y="855366"/>
                    </a:lnTo>
                    <a:lnTo>
                      <a:pt x="45915" y="855366"/>
                    </a:lnTo>
                    <a:lnTo>
                      <a:pt x="45915" y="853754"/>
                    </a:lnTo>
                    <a:lnTo>
                      <a:pt x="47450" y="853754"/>
                    </a:lnTo>
                    <a:lnTo>
                      <a:pt x="47450" y="849016"/>
                    </a:lnTo>
                    <a:lnTo>
                      <a:pt x="48984" y="849016"/>
                    </a:lnTo>
                    <a:lnTo>
                      <a:pt x="48984" y="845079"/>
                    </a:lnTo>
                    <a:lnTo>
                      <a:pt x="50474" y="845079"/>
                    </a:lnTo>
                    <a:lnTo>
                      <a:pt x="50474" y="841108"/>
                    </a:lnTo>
                    <a:lnTo>
                      <a:pt x="52009" y="841108"/>
                    </a:lnTo>
                    <a:lnTo>
                      <a:pt x="52009" y="837171"/>
                    </a:lnTo>
                    <a:lnTo>
                      <a:pt x="53544" y="837171"/>
                    </a:lnTo>
                    <a:lnTo>
                      <a:pt x="53544" y="834802"/>
                    </a:lnTo>
                    <a:lnTo>
                      <a:pt x="55078" y="834802"/>
                    </a:lnTo>
                    <a:lnTo>
                      <a:pt x="55078" y="831632"/>
                    </a:lnTo>
                    <a:lnTo>
                      <a:pt x="56613" y="831632"/>
                    </a:lnTo>
                    <a:lnTo>
                      <a:pt x="56613" y="827695"/>
                    </a:lnTo>
                    <a:lnTo>
                      <a:pt x="58147" y="827695"/>
                    </a:lnTo>
                    <a:lnTo>
                      <a:pt x="58147" y="826894"/>
                    </a:lnTo>
                    <a:lnTo>
                      <a:pt x="59671" y="826894"/>
                    </a:lnTo>
                    <a:lnTo>
                      <a:pt x="59671" y="826127"/>
                    </a:lnTo>
                    <a:lnTo>
                      <a:pt x="61205" y="826127"/>
                    </a:lnTo>
                    <a:lnTo>
                      <a:pt x="61205" y="822957"/>
                    </a:lnTo>
                    <a:lnTo>
                      <a:pt x="62740" y="822957"/>
                    </a:lnTo>
                    <a:lnTo>
                      <a:pt x="62740" y="820588"/>
                    </a:lnTo>
                    <a:lnTo>
                      <a:pt x="64275" y="820588"/>
                    </a:lnTo>
                    <a:lnTo>
                      <a:pt x="64275" y="815049"/>
                    </a:lnTo>
                    <a:lnTo>
                      <a:pt x="65798" y="815049"/>
                    </a:lnTo>
                    <a:lnTo>
                      <a:pt x="65798" y="811112"/>
                    </a:lnTo>
                    <a:lnTo>
                      <a:pt x="67299" y="811112"/>
                    </a:lnTo>
                    <a:lnTo>
                      <a:pt x="67299" y="807942"/>
                    </a:lnTo>
                    <a:lnTo>
                      <a:pt x="68834" y="807942"/>
                    </a:lnTo>
                    <a:lnTo>
                      <a:pt x="68834" y="803972"/>
                    </a:lnTo>
                    <a:lnTo>
                      <a:pt x="70368" y="803972"/>
                    </a:lnTo>
                    <a:lnTo>
                      <a:pt x="70368" y="801603"/>
                    </a:lnTo>
                    <a:lnTo>
                      <a:pt x="71903" y="801603"/>
                    </a:lnTo>
                    <a:lnTo>
                      <a:pt x="71903" y="798467"/>
                    </a:lnTo>
                    <a:lnTo>
                      <a:pt x="73438" y="798467"/>
                    </a:lnTo>
                    <a:lnTo>
                      <a:pt x="73438" y="796865"/>
                    </a:lnTo>
                    <a:lnTo>
                      <a:pt x="74972" y="796865"/>
                    </a:lnTo>
                    <a:lnTo>
                      <a:pt x="74972" y="796086"/>
                    </a:lnTo>
                    <a:lnTo>
                      <a:pt x="76496" y="796086"/>
                    </a:lnTo>
                    <a:lnTo>
                      <a:pt x="76496" y="790548"/>
                    </a:lnTo>
                    <a:lnTo>
                      <a:pt x="78030" y="790548"/>
                    </a:lnTo>
                    <a:lnTo>
                      <a:pt x="78030" y="788190"/>
                    </a:lnTo>
                    <a:lnTo>
                      <a:pt x="79565" y="788190"/>
                    </a:lnTo>
                    <a:lnTo>
                      <a:pt x="79565" y="787378"/>
                    </a:lnTo>
                    <a:lnTo>
                      <a:pt x="81099" y="787378"/>
                    </a:lnTo>
                    <a:lnTo>
                      <a:pt x="81099" y="782651"/>
                    </a:lnTo>
                    <a:lnTo>
                      <a:pt x="82634" y="782651"/>
                    </a:lnTo>
                    <a:lnTo>
                      <a:pt x="82634" y="781038"/>
                    </a:lnTo>
                    <a:lnTo>
                      <a:pt x="84157" y="781038"/>
                    </a:lnTo>
                    <a:lnTo>
                      <a:pt x="84157" y="779470"/>
                    </a:lnTo>
                    <a:lnTo>
                      <a:pt x="85659" y="779470"/>
                    </a:lnTo>
                    <a:lnTo>
                      <a:pt x="85659" y="777101"/>
                    </a:lnTo>
                    <a:lnTo>
                      <a:pt x="87193" y="777101"/>
                    </a:lnTo>
                    <a:lnTo>
                      <a:pt x="87193" y="772363"/>
                    </a:lnTo>
                    <a:lnTo>
                      <a:pt x="88728" y="772363"/>
                    </a:lnTo>
                    <a:lnTo>
                      <a:pt x="88728" y="768393"/>
                    </a:lnTo>
                    <a:lnTo>
                      <a:pt x="90262" y="768393"/>
                    </a:lnTo>
                    <a:lnTo>
                      <a:pt x="90262" y="764456"/>
                    </a:lnTo>
                    <a:lnTo>
                      <a:pt x="91786" y="764456"/>
                    </a:lnTo>
                    <a:lnTo>
                      <a:pt x="91786" y="762854"/>
                    </a:lnTo>
                    <a:lnTo>
                      <a:pt x="93332" y="762854"/>
                    </a:lnTo>
                    <a:lnTo>
                      <a:pt x="93332" y="760485"/>
                    </a:lnTo>
                    <a:lnTo>
                      <a:pt x="94855" y="760485"/>
                    </a:lnTo>
                    <a:lnTo>
                      <a:pt x="94855" y="758116"/>
                    </a:lnTo>
                    <a:lnTo>
                      <a:pt x="96390" y="758116"/>
                    </a:lnTo>
                    <a:lnTo>
                      <a:pt x="96390" y="755747"/>
                    </a:lnTo>
                    <a:lnTo>
                      <a:pt x="97924" y="755747"/>
                    </a:lnTo>
                    <a:lnTo>
                      <a:pt x="97924" y="750208"/>
                    </a:lnTo>
                    <a:lnTo>
                      <a:pt x="99459" y="750208"/>
                    </a:lnTo>
                    <a:lnTo>
                      <a:pt x="99459" y="745437"/>
                    </a:lnTo>
                    <a:lnTo>
                      <a:pt x="100993" y="745437"/>
                    </a:lnTo>
                    <a:lnTo>
                      <a:pt x="100993" y="743068"/>
                    </a:lnTo>
                    <a:lnTo>
                      <a:pt x="102483" y="743068"/>
                    </a:lnTo>
                    <a:lnTo>
                      <a:pt x="102483" y="741500"/>
                    </a:lnTo>
                    <a:lnTo>
                      <a:pt x="104018" y="741500"/>
                    </a:lnTo>
                    <a:lnTo>
                      <a:pt x="104018" y="735961"/>
                    </a:lnTo>
                    <a:lnTo>
                      <a:pt x="105553" y="735961"/>
                    </a:lnTo>
                    <a:lnTo>
                      <a:pt x="105553" y="734360"/>
                    </a:lnTo>
                    <a:lnTo>
                      <a:pt x="107087" y="734360"/>
                    </a:lnTo>
                    <a:lnTo>
                      <a:pt x="107087" y="731991"/>
                    </a:lnTo>
                    <a:lnTo>
                      <a:pt x="108622" y="731991"/>
                    </a:lnTo>
                    <a:lnTo>
                      <a:pt x="108622" y="727253"/>
                    </a:lnTo>
                    <a:lnTo>
                      <a:pt x="110145" y="727253"/>
                    </a:lnTo>
                    <a:lnTo>
                      <a:pt x="110145" y="725673"/>
                    </a:lnTo>
                    <a:lnTo>
                      <a:pt x="111680" y="725673"/>
                    </a:lnTo>
                    <a:lnTo>
                      <a:pt x="111680" y="720135"/>
                    </a:lnTo>
                    <a:lnTo>
                      <a:pt x="113214" y="720135"/>
                    </a:lnTo>
                    <a:lnTo>
                      <a:pt x="113214" y="716164"/>
                    </a:lnTo>
                    <a:lnTo>
                      <a:pt x="114749" y="716164"/>
                    </a:lnTo>
                    <a:lnTo>
                      <a:pt x="114749" y="713806"/>
                    </a:lnTo>
                    <a:lnTo>
                      <a:pt x="116284" y="713806"/>
                    </a:lnTo>
                    <a:lnTo>
                      <a:pt x="116284" y="711426"/>
                    </a:lnTo>
                    <a:lnTo>
                      <a:pt x="117818" y="711426"/>
                    </a:lnTo>
                    <a:lnTo>
                      <a:pt x="117818" y="710625"/>
                    </a:lnTo>
                    <a:lnTo>
                      <a:pt x="119342" y="710625"/>
                    </a:lnTo>
                    <a:lnTo>
                      <a:pt x="119342" y="709825"/>
                    </a:lnTo>
                    <a:lnTo>
                      <a:pt x="120843" y="709825"/>
                    </a:lnTo>
                    <a:lnTo>
                      <a:pt x="120843" y="707456"/>
                    </a:lnTo>
                    <a:lnTo>
                      <a:pt x="122377" y="707456"/>
                    </a:lnTo>
                    <a:lnTo>
                      <a:pt x="122377" y="705854"/>
                    </a:lnTo>
                    <a:lnTo>
                      <a:pt x="125447" y="705854"/>
                    </a:lnTo>
                    <a:lnTo>
                      <a:pt x="125447" y="701917"/>
                    </a:lnTo>
                    <a:lnTo>
                      <a:pt x="126970" y="701917"/>
                    </a:lnTo>
                    <a:lnTo>
                      <a:pt x="126970" y="700315"/>
                    </a:lnTo>
                    <a:lnTo>
                      <a:pt x="128516" y="700315"/>
                    </a:lnTo>
                    <a:lnTo>
                      <a:pt x="128516" y="697146"/>
                    </a:lnTo>
                    <a:lnTo>
                      <a:pt x="130039" y="697146"/>
                    </a:lnTo>
                    <a:lnTo>
                      <a:pt x="130039" y="695578"/>
                    </a:lnTo>
                    <a:lnTo>
                      <a:pt x="131574" y="695578"/>
                    </a:lnTo>
                    <a:lnTo>
                      <a:pt x="131574" y="691607"/>
                    </a:lnTo>
                    <a:lnTo>
                      <a:pt x="133108" y="691607"/>
                    </a:lnTo>
                    <a:lnTo>
                      <a:pt x="133108" y="690039"/>
                    </a:lnTo>
                    <a:lnTo>
                      <a:pt x="134643" y="690039"/>
                    </a:lnTo>
                    <a:lnTo>
                      <a:pt x="134643" y="686068"/>
                    </a:lnTo>
                    <a:lnTo>
                      <a:pt x="136178" y="686068"/>
                    </a:lnTo>
                    <a:lnTo>
                      <a:pt x="136178" y="683699"/>
                    </a:lnTo>
                    <a:lnTo>
                      <a:pt x="137701" y="683699"/>
                    </a:lnTo>
                    <a:lnTo>
                      <a:pt x="137701" y="681297"/>
                    </a:lnTo>
                    <a:lnTo>
                      <a:pt x="139202" y="681297"/>
                    </a:lnTo>
                    <a:lnTo>
                      <a:pt x="139202" y="680529"/>
                    </a:lnTo>
                    <a:lnTo>
                      <a:pt x="140737" y="680529"/>
                    </a:lnTo>
                    <a:lnTo>
                      <a:pt x="140737" y="679729"/>
                    </a:lnTo>
                    <a:lnTo>
                      <a:pt x="142271" y="679729"/>
                    </a:lnTo>
                    <a:lnTo>
                      <a:pt x="142271" y="675758"/>
                    </a:lnTo>
                    <a:lnTo>
                      <a:pt x="143806" y="675758"/>
                    </a:lnTo>
                    <a:lnTo>
                      <a:pt x="143806" y="673378"/>
                    </a:lnTo>
                    <a:lnTo>
                      <a:pt x="146875" y="673378"/>
                    </a:lnTo>
                    <a:lnTo>
                      <a:pt x="148399" y="673378"/>
                    </a:lnTo>
                    <a:lnTo>
                      <a:pt x="148399" y="668607"/>
                    </a:lnTo>
                    <a:lnTo>
                      <a:pt x="149933" y="668607"/>
                    </a:lnTo>
                    <a:lnTo>
                      <a:pt x="149933" y="666238"/>
                    </a:lnTo>
                    <a:lnTo>
                      <a:pt x="151468" y="666238"/>
                    </a:lnTo>
                    <a:lnTo>
                      <a:pt x="151468" y="664636"/>
                    </a:lnTo>
                    <a:lnTo>
                      <a:pt x="154526" y="664636"/>
                    </a:lnTo>
                    <a:lnTo>
                      <a:pt x="154526" y="663068"/>
                    </a:lnTo>
                    <a:lnTo>
                      <a:pt x="156027" y="663068"/>
                    </a:lnTo>
                    <a:lnTo>
                      <a:pt x="156027" y="661466"/>
                    </a:lnTo>
                    <a:lnTo>
                      <a:pt x="157562" y="661466"/>
                    </a:lnTo>
                    <a:lnTo>
                      <a:pt x="157562" y="659898"/>
                    </a:lnTo>
                    <a:lnTo>
                      <a:pt x="159096" y="659898"/>
                    </a:lnTo>
                    <a:lnTo>
                      <a:pt x="159096" y="657496"/>
                    </a:lnTo>
                    <a:lnTo>
                      <a:pt x="160631" y="657496"/>
                    </a:lnTo>
                    <a:lnTo>
                      <a:pt x="160631" y="655928"/>
                    </a:lnTo>
                    <a:lnTo>
                      <a:pt x="162165" y="655928"/>
                    </a:lnTo>
                    <a:lnTo>
                      <a:pt x="162165" y="651156"/>
                    </a:lnTo>
                    <a:lnTo>
                      <a:pt x="163689" y="651156"/>
                    </a:lnTo>
                    <a:lnTo>
                      <a:pt x="163689" y="650356"/>
                    </a:lnTo>
                    <a:lnTo>
                      <a:pt x="165223" y="650356"/>
                    </a:lnTo>
                    <a:lnTo>
                      <a:pt x="165223" y="646385"/>
                    </a:lnTo>
                    <a:lnTo>
                      <a:pt x="166758" y="646385"/>
                    </a:lnTo>
                    <a:lnTo>
                      <a:pt x="166758" y="645584"/>
                    </a:lnTo>
                    <a:lnTo>
                      <a:pt x="168293" y="645584"/>
                    </a:lnTo>
                    <a:lnTo>
                      <a:pt x="168293" y="644016"/>
                    </a:lnTo>
                    <a:lnTo>
                      <a:pt x="169827" y="644016"/>
                    </a:lnTo>
                    <a:lnTo>
                      <a:pt x="169827" y="642415"/>
                    </a:lnTo>
                    <a:lnTo>
                      <a:pt x="171362" y="642415"/>
                    </a:lnTo>
                    <a:lnTo>
                      <a:pt x="171362" y="641603"/>
                    </a:lnTo>
                    <a:lnTo>
                      <a:pt x="172885" y="641603"/>
                    </a:lnTo>
                    <a:lnTo>
                      <a:pt x="172885" y="640034"/>
                    </a:lnTo>
                    <a:lnTo>
                      <a:pt x="174386" y="640034"/>
                    </a:lnTo>
                    <a:lnTo>
                      <a:pt x="174386" y="637632"/>
                    </a:lnTo>
                    <a:lnTo>
                      <a:pt x="175921" y="637632"/>
                    </a:lnTo>
                    <a:lnTo>
                      <a:pt x="175921" y="636876"/>
                    </a:lnTo>
                    <a:lnTo>
                      <a:pt x="177456" y="636876"/>
                    </a:lnTo>
                    <a:lnTo>
                      <a:pt x="177456" y="632093"/>
                    </a:lnTo>
                    <a:lnTo>
                      <a:pt x="178990" y="632093"/>
                    </a:lnTo>
                    <a:lnTo>
                      <a:pt x="182059" y="632093"/>
                    </a:lnTo>
                    <a:lnTo>
                      <a:pt x="182059" y="628924"/>
                    </a:lnTo>
                    <a:lnTo>
                      <a:pt x="183583" y="628924"/>
                    </a:lnTo>
                    <a:lnTo>
                      <a:pt x="183583" y="627322"/>
                    </a:lnTo>
                    <a:lnTo>
                      <a:pt x="185117" y="627322"/>
                    </a:lnTo>
                    <a:lnTo>
                      <a:pt x="185117" y="623352"/>
                    </a:lnTo>
                    <a:lnTo>
                      <a:pt x="186652" y="623352"/>
                    </a:lnTo>
                    <a:lnTo>
                      <a:pt x="186652" y="622551"/>
                    </a:lnTo>
                    <a:lnTo>
                      <a:pt x="189721" y="622551"/>
                    </a:lnTo>
                    <a:lnTo>
                      <a:pt x="189721" y="619381"/>
                    </a:lnTo>
                    <a:lnTo>
                      <a:pt x="191211" y="619381"/>
                    </a:lnTo>
                    <a:lnTo>
                      <a:pt x="191211" y="618580"/>
                    </a:lnTo>
                    <a:lnTo>
                      <a:pt x="192746" y="618580"/>
                    </a:lnTo>
                    <a:lnTo>
                      <a:pt x="192746" y="616211"/>
                    </a:lnTo>
                    <a:lnTo>
                      <a:pt x="194280" y="616211"/>
                    </a:lnTo>
                    <a:lnTo>
                      <a:pt x="194280" y="614610"/>
                    </a:lnTo>
                    <a:lnTo>
                      <a:pt x="195815" y="614610"/>
                    </a:lnTo>
                    <a:lnTo>
                      <a:pt x="195815" y="613798"/>
                    </a:lnTo>
                    <a:lnTo>
                      <a:pt x="197350" y="613798"/>
                    </a:lnTo>
                    <a:lnTo>
                      <a:pt x="197350" y="612241"/>
                    </a:lnTo>
                    <a:lnTo>
                      <a:pt x="198873" y="612241"/>
                    </a:lnTo>
                    <a:lnTo>
                      <a:pt x="198873" y="609827"/>
                    </a:lnTo>
                    <a:lnTo>
                      <a:pt x="200408" y="609827"/>
                    </a:lnTo>
                    <a:lnTo>
                      <a:pt x="200408" y="608259"/>
                    </a:lnTo>
                    <a:lnTo>
                      <a:pt x="201942" y="608259"/>
                    </a:lnTo>
                    <a:lnTo>
                      <a:pt x="201942" y="607469"/>
                    </a:lnTo>
                    <a:lnTo>
                      <a:pt x="205011" y="607469"/>
                    </a:lnTo>
                    <a:lnTo>
                      <a:pt x="205011" y="605056"/>
                    </a:lnTo>
                    <a:lnTo>
                      <a:pt x="206546" y="605056"/>
                    </a:lnTo>
                    <a:lnTo>
                      <a:pt x="206546" y="601085"/>
                    </a:lnTo>
                    <a:lnTo>
                      <a:pt x="208069" y="601085"/>
                    </a:lnTo>
                    <a:lnTo>
                      <a:pt x="209571" y="601085"/>
                    </a:lnTo>
                    <a:lnTo>
                      <a:pt x="209571" y="598683"/>
                    </a:lnTo>
                    <a:lnTo>
                      <a:pt x="211105" y="598683"/>
                    </a:lnTo>
                    <a:lnTo>
                      <a:pt x="211105" y="597115"/>
                    </a:lnTo>
                    <a:lnTo>
                      <a:pt x="212640" y="597115"/>
                    </a:lnTo>
                    <a:lnTo>
                      <a:pt x="212640" y="596314"/>
                    </a:lnTo>
                    <a:lnTo>
                      <a:pt x="214174" y="596314"/>
                    </a:lnTo>
                    <a:lnTo>
                      <a:pt x="214174" y="595513"/>
                    </a:lnTo>
                    <a:lnTo>
                      <a:pt x="215698" y="595513"/>
                    </a:lnTo>
                    <a:lnTo>
                      <a:pt x="215698" y="593912"/>
                    </a:lnTo>
                    <a:lnTo>
                      <a:pt x="217232" y="593912"/>
                    </a:lnTo>
                    <a:lnTo>
                      <a:pt x="217232" y="591543"/>
                    </a:lnTo>
                    <a:lnTo>
                      <a:pt x="218767" y="591543"/>
                    </a:lnTo>
                    <a:lnTo>
                      <a:pt x="218767" y="590742"/>
                    </a:lnTo>
                    <a:lnTo>
                      <a:pt x="221836" y="590742"/>
                    </a:lnTo>
                    <a:lnTo>
                      <a:pt x="223371" y="590742"/>
                    </a:lnTo>
                    <a:lnTo>
                      <a:pt x="223371" y="589941"/>
                    </a:lnTo>
                    <a:lnTo>
                      <a:pt x="224905" y="589941"/>
                    </a:lnTo>
                    <a:lnTo>
                      <a:pt x="224905" y="589141"/>
                    </a:lnTo>
                    <a:lnTo>
                      <a:pt x="226395" y="589141"/>
                    </a:lnTo>
                    <a:lnTo>
                      <a:pt x="226395" y="586727"/>
                    </a:lnTo>
                    <a:lnTo>
                      <a:pt x="227930" y="586727"/>
                    </a:lnTo>
                    <a:lnTo>
                      <a:pt x="229465" y="586727"/>
                    </a:lnTo>
                    <a:lnTo>
                      <a:pt x="229465" y="584358"/>
                    </a:lnTo>
                    <a:lnTo>
                      <a:pt x="230999" y="584358"/>
                    </a:lnTo>
                    <a:lnTo>
                      <a:pt x="230999" y="582756"/>
                    </a:lnTo>
                    <a:lnTo>
                      <a:pt x="234057" y="582756"/>
                    </a:lnTo>
                    <a:lnTo>
                      <a:pt x="234057" y="581967"/>
                    </a:lnTo>
                    <a:lnTo>
                      <a:pt x="235592" y="581967"/>
                    </a:lnTo>
                    <a:lnTo>
                      <a:pt x="235592" y="578753"/>
                    </a:lnTo>
                    <a:lnTo>
                      <a:pt x="237126" y="578753"/>
                    </a:lnTo>
                    <a:lnTo>
                      <a:pt x="237126" y="577184"/>
                    </a:lnTo>
                    <a:lnTo>
                      <a:pt x="238661" y="577184"/>
                    </a:lnTo>
                    <a:lnTo>
                      <a:pt x="238661" y="575583"/>
                    </a:lnTo>
                    <a:lnTo>
                      <a:pt x="241730" y="575583"/>
                    </a:lnTo>
                    <a:lnTo>
                      <a:pt x="241730" y="574782"/>
                    </a:lnTo>
                    <a:lnTo>
                      <a:pt x="243254" y="574782"/>
                    </a:lnTo>
                    <a:lnTo>
                      <a:pt x="243254" y="573981"/>
                    </a:lnTo>
                    <a:lnTo>
                      <a:pt x="244755" y="573981"/>
                    </a:lnTo>
                    <a:lnTo>
                      <a:pt x="244755" y="569977"/>
                    </a:lnTo>
                    <a:lnTo>
                      <a:pt x="246289" y="569977"/>
                    </a:lnTo>
                    <a:lnTo>
                      <a:pt x="246289" y="569210"/>
                    </a:lnTo>
                    <a:lnTo>
                      <a:pt x="247824" y="569210"/>
                    </a:lnTo>
                    <a:lnTo>
                      <a:pt x="247824" y="568409"/>
                    </a:lnTo>
                    <a:lnTo>
                      <a:pt x="249359" y="568409"/>
                    </a:lnTo>
                    <a:lnTo>
                      <a:pt x="249359" y="566808"/>
                    </a:lnTo>
                    <a:lnTo>
                      <a:pt x="250893" y="566808"/>
                    </a:lnTo>
                    <a:lnTo>
                      <a:pt x="250893" y="566007"/>
                    </a:lnTo>
                    <a:lnTo>
                      <a:pt x="252417" y="566007"/>
                    </a:lnTo>
                    <a:lnTo>
                      <a:pt x="252417" y="565206"/>
                    </a:lnTo>
                    <a:lnTo>
                      <a:pt x="253951" y="565206"/>
                    </a:lnTo>
                    <a:lnTo>
                      <a:pt x="255486" y="565206"/>
                    </a:lnTo>
                    <a:lnTo>
                      <a:pt x="255486" y="563593"/>
                    </a:lnTo>
                    <a:lnTo>
                      <a:pt x="257020" y="563593"/>
                    </a:lnTo>
                    <a:lnTo>
                      <a:pt x="257020" y="559623"/>
                    </a:lnTo>
                    <a:lnTo>
                      <a:pt x="260089" y="559623"/>
                    </a:lnTo>
                    <a:lnTo>
                      <a:pt x="260089" y="558822"/>
                    </a:lnTo>
                    <a:lnTo>
                      <a:pt x="261580" y="558822"/>
                    </a:lnTo>
                    <a:lnTo>
                      <a:pt x="261580" y="556420"/>
                    </a:lnTo>
                    <a:lnTo>
                      <a:pt x="263114" y="556420"/>
                    </a:lnTo>
                    <a:lnTo>
                      <a:pt x="263114" y="553217"/>
                    </a:lnTo>
                    <a:lnTo>
                      <a:pt x="264649" y="553217"/>
                    </a:lnTo>
                    <a:lnTo>
                      <a:pt x="264649" y="551615"/>
                    </a:lnTo>
                    <a:lnTo>
                      <a:pt x="266183" y="551615"/>
                    </a:lnTo>
                    <a:lnTo>
                      <a:pt x="266183" y="550814"/>
                    </a:lnTo>
                    <a:lnTo>
                      <a:pt x="267718" y="550814"/>
                    </a:lnTo>
                    <a:lnTo>
                      <a:pt x="267718" y="550013"/>
                    </a:lnTo>
                    <a:lnTo>
                      <a:pt x="269241" y="550013"/>
                    </a:lnTo>
                    <a:lnTo>
                      <a:pt x="269241" y="549213"/>
                    </a:lnTo>
                    <a:lnTo>
                      <a:pt x="270776" y="549213"/>
                    </a:lnTo>
                    <a:lnTo>
                      <a:pt x="270776" y="548401"/>
                    </a:lnTo>
                    <a:lnTo>
                      <a:pt x="272311" y="548401"/>
                    </a:lnTo>
                    <a:lnTo>
                      <a:pt x="272311" y="545998"/>
                    </a:lnTo>
                    <a:lnTo>
                      <a:pt x="273845" y="545998"/>
                    </a:lnTo>
                    <a:lnTo>
                      <a:pt x="273845" y="543596"/>
                    </a:lnTo>
                    <a:lnTo>
                      <a:pt x="275380" y="543596"/>
                    </a:lnTo>
                    <a:lnTo>
                      <a:pt x="275380" y="542028"/>
                    </a:lnTo>
                    <a:lnTo>
                      <a:pt x="276903" y="542028"/>
                    </a:lnTo>
                    <a:lnTo>
                      <a:pt x="276903" y="541227"/>
                    </a:lnTo>
                    <a:lnTo>
                      <a:pt x="278449" y="541227"/>
                    </a:lnTo>
                    <a:lnTo>
                      <a:pt x="278449" y="540426"/>
                    </a:lnTo>
                    <a:lnTo>
                      <a:pt x="279939" y="540426"/>
                    </a:lnTo>
                    <a:lnTo>
                      <a:pt x="279939" y="538024"/>
                    </a:lnTo>
                    <a:lnTo>
                      <a:pt x="281474" y="538024"/>
                    </a:lnTo>
                    <a:lnTo>
                      <a:pt x="281474" y="536422"/>
                    </a:lnTo>
                    <a:lnTo>
                      <a:pt x="283008" y="536422"/>
                    </a:lnTo>
                    <a:lnTo>
                      <a:pt x="283008" y="534821"/>
                    </a:lnTo>
                    <a:lnTo>
                      <a:pt x="284532" y="534821"/>
                    </a:lnTo>
                    <a:lnTo>
                      <a:pt x="284532" y="534020"/>
                    </a:lnTo>
                    <a:lnTo>
                      <a:pt x="286077" y="534020"/>
                    </a:lnTo>
                    <a:lnTo>
                      <a:pt x="286077" y="533219"/>
                    </a:lnTo>
                    <a:lnTo>
                      <a:pt x="287601" y="533219"/>
                    </a:lnTo>
                    <a:lnTo>
                      <a:pt x="287601" y="529972"/>
                    </a:lnTo>
                    <a:lnTo>
                      <a:pt x="289135" y="529972"/>
                    </a:lnTo>
                    <a:lnTo>
                      <a:pt x="289135" y="528370"/>
                    </a:lnTo>
                    <a:lnTo>
                      <a:pt x="290670" y="528370"/>
                    </a:lnTo>
                    <a:lnTo>
                      <a:pt x="290670" y="524333"/>
                    </a:lnTo>
                    <a:lnTo>
                      <a:pt x="292205" y="524333"/>
                    </a:lnTo>
                    <a:lnTo>
                      <a:pt x="292205" y="521897"/>
                    </a:lnTo>
                    <a:lnTo>
                      <a:pt x="293739" y="521897"/>
                    </a:lnTo>
                    <a:lnTo>
                      <a:pt x="293739" y="520251"/>
                    </a:lnTo>
                    <a:lnTo>
                      <a:pt x="295274" y="520251"/>
                    </a:lnTo>
                    <a:lnTo>
                      <a:pt x="295274" y="519450"/>
                    </a:lnTo>
                    <a:lnTo>
                      <a:pt x="296797" y="519450"/>
                    </a:lnTo>
                    <a:lnTo>
                      <a:pt x="296797" y="517815"/>
                    </a:lnTo>
                    <a:lnTo>
                      <a:pt x="298298" y="517815"/>
                    </a:lnTo>
                    <a:lnTo>
                      <a:pt x="298298" y="517015"/>
                    </a:lnTo>
                    <a:lnTo>
                      <a:pt x="299833" y="517015"/>
                    </a:lnTo>
                    <a:lnTo>
                      <a:pt x="299833" y="516180"/>
                    </a:lnTo>
                    <a:lnTo>
                      <a:pt x="301368" y="516180"/>
                    </a:lnTo>
                    <a:lnTo>
                      <a:pt x="302902" y="516180"/>
                    </a:lnTo>
                    <a:lnTo>
                      <a:pt x="302902" y="515380"/>
                    </a:lnTo>
                    <a:lnTo>
                      <a:pt x="304426" y="515380"/>
                    </a:lnTo>
                    <a:lnTo>
                      <a:pt x="304426" y="512866"/>
                    </a:lnTo>
                    <a:lnTo>
                      <a:pt x="305960" y="512866"/>
                    </a:lnTo>
                    <a:lnTo>
                      <a:pt x="305960" y="512032"/>
                    </a:lnTo>
                    <a:lnTo>
                      <a:pt x="307495" y="512032"/>
                    </a:lnTo>
                    <a:lnTo>
                      <a:pt x="307495" y="509563"/>
                    </a:lnTo>
                    <a:lnTo>
                      <a:pt x="309029" y="509563"/>
                    </a:lnTo>
                    <a:lnTo>
                      <a:pt x="309029" y="507884"/>
                    </a:lnTo>
                    <a:lnTo>
                      <a:pt x="310564" y="507884"/>
                    </a:lnTo>
                    <a:lnTo>
                      <a:pt x="310564" y="507049"/>
                    </a:lnTo>
                    <a:lnTo>
                      <a:pt x="312087" y="507049"/>
                    </a:lnTo>
                    <a:lnTo>
                      <a:pt x="312087" y="503702"/>
                    </a:lnTo>
                    <a:lnTo>
                      <a:pt x="313633" y="503702"/>
                    </a:lnTo>
                    <a:lnTo>
                      <a:pt x="313633" y="502834"/>
                    </a:lnTo>
                    <a:lnTo>
                      <a:pt x="315123" y="502834"/>
                    </a:lnTo>
                    <a:lnTo>
                      <a:pt x="315123" y="502000"/>
                    </a:lnTo>
                    <a:lnTo>
                      <a:pt x="316658" y="502000"/>
                    </a:lnTo>
                    <a:lnTo>
                      <a:pt x="316658" y="501155"/>
                    </a:lnTo>
                    <a:lnTo>
                      <a:pt x="318192" y="501155"/>
                    </a:lnTo>
                    <a:lnTo>
                      <a:pt x="318192" y="500287"/>
                    </a:lnTo>
                    <a:lnTo>
                      <a:pt x="319716" y="500287"/>
                    </a:lnTo>
                    <a:lnTo>
                      <a:pt x="319716" y="499453"/>
                    </a:lnTo>
                    <a:lnTo>
                      <a:pt x="321261" y="499453"/>
                    </a:lnTo>
                    <a:lnTo>
                      <a:pt x="321261" y="496917"/>
                    </a:lnTo>
                    <a:lnTo>
                      <a:pt x="322785" y="496917"/>
                    </a:lnTo>
                    <a:lnTo>
                      <a:pt x="322785" y="493469"/>
                    </a:lnTo>
                    <a:lnTo>
                      <a:pt x="324320" y="493469"/>
                    </a:lnTo>
                    <a:lnTo>
                      <a:pt x="324320" y="492591"/>
                    </a:lnTo>
                    <a:lnTo>
                      <a:pt x="327389" y="492591"/>
                    </a:lnTo>
                    <a:lnTo>
                      <a:pt x="327389" y="491723"/>
                    </a:lnTo>
                    <a:lnTo>
                      <a:pt x="328923" y="491723"/>
                    </a:lnTo>
                    <a:lnTo>
                      <a:pt x="328923" y="487397"/>
                    </a:lnTo>
                    <a:lnTo>
                      <a:pt x="330447" y="487397"/>
                    </a:lnTo>
                    <a:lnTo>
                      <a:pt x="330447" y="484783"/>
                    </a:lnTo>
                    <a:lnTo>
                      <a:pt x="331981" y="484783"/>
                    </a:lnTo>
                    <a:lnTo>
                      <a:pt x="331981" y="483916"/>
                    </a:lnTo>
                    <a:lnTo>
                      <a:pt x="333483" y="483916"/>
                    </a:lnTo>
                    <a:lnTo>
                      <a:pt x="333483" y="479567"/>
                    </a:lnTo>
                    <a:lnTo>
                      <a:pt x="335017" y="479567"/>
                    </a:lnTo>
                    <a:lnTo>
                      <a:pt x="335017" y="477788"/>
                    </a:lnTo>
                    <a:lnTo>
                      <a:pt x="338075" y="477788"/>
                    </a:lnTo>
                    <a:lnTo>
                      <a:pt x="338075" y="475174"/>
                    </a:lnTo>
                    <a:lnTo>
                      <a:pt x="339621" y="475174"/>
                    </a:lnTo>
                    <a:lnTo>
                      <a:pt x="339621" y="473394"/>
                    </a:lnTo>
                    <a:lnTo>
                      <a:pt x="341144" y="473394"/>
                    </a:lnTo>
                    <a:lnTo>
                      <a:pt x="342679" y="473394"/>
                    </a:lnTo>
                    <a:lnTo>
                      <a:pt x="342679" y="471615"/>
                    </a:lnTo>
                    <a:lnTo>
                      <a:pt x="344214" y="471615"/>
                    </a:lnTo>
                    <a:lnTo>
                      <a:pt x="344214" y="469847"/>
                    </a:lnTo>
                    <a:lnTo>
                      <a:pt x="345748" y="469847"/>
                    </a:lnTo>
                    <a:lnTo>
                      <a:pt x="345748" y="468968"/>
                    </a:lnTo>
                    <a:lnTo>
                      <a:pt x="348806" y="468968"/>
                    </a:lnTo>
                    <a:lnTo>
                      <a:pt x="348806" y="468067"/>
                    </a:lnTo>
                    <a:lnTo>
                      <a:pt x="350307" y="468067"/>
                    </a:lnTo>
                    <a:lnTo>
                      <a:pt x="350307" y="467155"/>
                    </a:lnTo>
                    <a:lnTo>
                      <a:pt x="351842" y="467155"/>
                    </a:lnTo>
                    <a:lnTo>
                      <a:pt x="353377" y="467155"/>
                    </a:lnTo>
                    <a:lnTo>
                      <a:pt x="353377" y="466287"/>
                    </a:lnTo>
                    <a:lnTo>
                      <a:pt x="354911" y="466287"/>
                    </a:lnTo>
                    <a:lnTo>
                      <a:pt x="354911" y="465387"/>
                    </a:lnTo>
                    <a:lnTo>
                      <a:pt x="356446" y="465387"/>
                    </a:lnTo>
                    <a:lnTo>
                      <a:pt x="356446" y="463574"/>
                    </a:lnTo>
                    <a:lnTo>
                      <a:pt x="357969" y="463574"/>
                    </a:lnTo>
                    <a:lnTo>
                      <a:pt x="357969" y="461750"/>
                    </a:lnTo>
                    <a:lnTo>
                      <a:pt x="359504" y="461750"/>
                    </a:lnTo>
                    <a:lnTo>
                      <a:pt x="359504" y="460849"/>
                    </a:lnTo>
                    <a:lnTo>
                      <a:pt x="361038" y="460849"/>
                    </a:lnTo>
                    <a:lnTo>
                      <a:pt x="361038" y="459036"/>
                    </a:lnTo>
                    <a:lnTo>
                      <a:pt x="362573" y="459036"/>
                    </a:lnTo>
                    <a:lnTo>
                      <a:pt x="364108" y="459036"/>
                    </a:lnTo>
                    <a:lnTo>
                      <a:pt x="364108" y="458135"/>
                    </a:lnTo>
                    <a:lnTo>
                      <a:pt x="365631" y="458135"/>
                    </a:lnTo>
                    <a:lnTo>
                      <a:pt x="365631" y="454476"/>
                    </a:lnTo>
                    <a:lnTo>
                      <a:pt x="367177" y="454476"/>
                    </a:lnTo>
                    <a:lnTo>
                      <a:pt x="368667" y="454476"/>
                    </a:lnTo>
                    <a:lnTo>
                      <a:pt x="370201" y="454476"/>
                    </a:lnTo>
                    <a:lnTo>
                      <a:pt x="370201" y="453575"/>
                    </a:lnTo>
                    <a:lnTo>
                      <a:pt x="371736" y="453575"/>
                    </a:lnTo>
                    <a:lnTo>
                      <a:pt x="371736" y="452630"/>
                    </a:lnTo>
                    <a:lnTo>
                      <a:pt x="373259" y="452630"/>
                    </a:lnTo>
                    <a:lnTo>
                      <a:pt x="373259" y="449883"/>
                    </a:lnTo>
                    <a:lnTo>
                      <a:pt x="374805" y="449883"/>
                    </a:lnTo>
                    <a:lnTo>
                      <a:pt x="374805" y="448937"/>
                    </a:lnTo>
                    <a:lnTo>
                      <a:pt x="376329" y="448937"/>
                    </a:lnTo>
                    <a:lnTo>
                      <a:pt x="376329" y="447091"/>
                    </a:lnTo>
                    <a:lnTo>
                      <a:pt x="377863" y="447091"/>
                    </a:lnTo>
                    <a:lnTo>
                      <a:pt x="380932" y="447091"/>
                    </a:lnTo>
                    <a:lnTo>
                      <a:pt x="380932" y="444266"/>
                    </a:lnTo>
                    <a:lnTo>
                      <a:pt x="382467" y="444266"/>
                    </a:lnTo>
                    <a:lnTo>
                      <a:pt x="383990" y="444266"/>
                    </a:lnTo>
                    <a:lnTo>
                      <a:pt x="385492" y="444266"/>
                    </a:lnTo>
                    <a:lnTo>
                      <a:pt x="385492" y="443321"/>
                    </a:lnTo>
                    <a:lnTo>
                      <a:pt x="387026" y="443321"/>
                    </a:lnTo>
                    <a:lnTo>
                      <a:pt x="388561" y="443321"/>
                    </a:lnTo>
                    <a:lnTo>
                      <a:pt x="388561" y="441441"/>
                    </a:lnTo>
                    <a:lnTo>
                      <a:pt x="390095" y="441441"/>
                    </a:lnTo>
                    <a:lnTo>
                      <a:pt x="390095" y="440507"/>
                    </a:lnTo>
                    <a:lnTo>
                      <a:pt x="391619" y="440507"/>
                    </a:lnTo>
                    <a:lnTo>
                      <a:pt x="391619" y="438583"/>
                    </a:lnTo>
                    <a:lnTo>
                      <a:pt x="393153" y="438583"/>
                    </a:lnTo>
                    <a:lnTo>
                      <a:pt x="393153" y="437648"/>
                    </a:lnTo>
                    <a:lnTo>
                      <a:pt x="394688" y="437648"/>
                    </a:lnTo>
                    <a:lnTo>
                      <a:pt x="394688" y="436703"/>
                    </a:lnTo>
                    <a:lnTo>
                      <a:pt x="396223" y="436703"/>
                    </a:lnTo>
                    <a:lnTo>
                      <a:pt x="397757" y="436703"/>
                    </a:lnTo>
                    <a:lnTo>
                      <a:pt x="399292" y="436703"/>
                    </a:lnTo>
                    <a:lnTo>
                      <a:pt x="399292" y="435736"/>
                    </a:lnTo>
                    <a:lnTo>
                      <a:pt x="400815" y="435736"/>
                    </a:lnTo>
                    <a:lnTo>
                      <a:pt x="400815" y="432833"/>
                    </a:lnTo>
                    <a:lnTo>
                      <a:pt x="402350" y="432833"/>
                    </a:lnTo>
                    <a:lnTo>
                      <a:pt x="402350" y="431865"/>
                    </a:lnTo>
                    <a:lnTo>
                      <a:pt x="403851" y="431865"/>
                    </a:lnTo>
                    <a:lnTo>
                      <a:pt x="405386" y="431865"/>
                    </a:lnTo>
                    <a:lnTo>
                      <a:pt x="406920" y="431865"/>
                    </a:lnTo>
                    <a:lnTo>
                      <a:pt x="406920" y="428973"/>
                    </a:lnTo>
                    <a:lnTo>
                      <a:pt x="408444" y="428973"/>
                    </a:lnTo>
                    <a:lnTo>
                      <a:pt x="408444" y="427016"/>
                    </a:lnTo>
                    <a:lnTo>
                      <a:pt x="409978" y="427016"/>
                    </a:lnTo>
                    <a:lnTo>
                      <a:pt x="411513" y="427016"/>
                    </a:lnTo>
                    <a:lnTo>
                      <a:pt x="411513" y="426048"/>
                    </a:lnTo>
                    <a:lnTo>
                      <a:pt x="413047" y="426048"/>
                    </a:lnTo>
                    <a:lnTo>
                      <a:pt x="413047" y="425070"/>
                    </a:lnTo>
                    <a:lnTo>
                      <a:pt x="414582" y="425070"/>
                    </a:lnTo>
                    <a:lnTo>
                      <a:pt x="416117" y="425070"/>
                    </a:lnTo>
                    <a:lnTo>
                      <a:pt x="416117" y="424091"/>
                    </a:lnTo>
                    <a:lnTo>
                      <a:pt x="417651" y="424091"/>
                    </a:lnTo>
                    <a:lnTo>
                      <a:pt x="419175" y="424091"/>
                    </a:lnTo>
                    <a:lnTo>
                      <a:pt x="420709" y="424091"/>
                    </a:lnTo>
                    <a:lnTo>
                      <a:pt x="420709" y="423079"/>
                    </a:lnTo>
                    <a:lnTo>
                      <a:pt x="422210" y="423079"/>
                    </a:lnTo>
                    <a:lnTo>
                      <a:pt x="422210" y="422111"/>
                    </a:lnTo>
                    <a:lnTo>
                      <a:pt x="423745" y="422111"/>
                    </a:lnTo>
                    <a:lnTo>
                      <a:pt x="423745" y="421099"/>
                    </a:lnTo>
                    <a:lnTo>
                      <a:pt x="425280" y="421099"/>
                    </a:lnTo>
                    <a:lnTo>
                      <a:pt x="425280" y="420120"/>
                    </a:lnTo>
                    <a:lnTo>
                      <a:pt x="426803" y="420120"/>
                    </a:lnTo>
                    <a:lnTo>
                      <a:pt x="428349" y="420120"/>
                    </a:lnTo>
                    <a:lnTo>
                      <a:pt x="428349" y="418096"/>
                    </a:lnTo>
                    <a:lnTo>
                      <a:pt x="429872" y="418096"/>
                    </a:lnTo>
                    <a:lnTo>
                      <a:pt x="429872" y="417128"/>
                    </a:lnTo>
                    <a:lnTo>
                      <a:pt x="431407" y="417128"/>
                    </a:lnTo>
                    <a:lnTo>
                      <a:pt x="432941" y="417128"/>
                    </a:lnTo>
                    <a:lnTo>
                      <a:pt x="432941" y="414092"/>
                    </a:lnTo>
                    <a:lnTo>
                      <a:pt x="434476" y="414092"/>
                    </a:lnTo>
                    <a:lnTo>
                      <a:pt x="434476" y="412035"/>
                    </a:lnTo>
                    <a:lnTo>
                      <a:pt x="435999" y="412035"/>
                    </a:lnTo>
                    <a:lnTo>
                      <a:pt x="435999" y="410022"/>
                    </a:lnTo>
                    <a:lnTo>
                      <a:pt x="437534" y="410022"/>
                    </a:lnTo>
                    <a:lnTo>
                      <a:pt x="437534" y="407997"/>
                    </a:lnTo>
                    <a:lnTo>
                      <a:pt x="439035" y="407997"/>
                    </a:lnTo>
                    <a:lnTo>
                      <a:pt x="439035" y="406985"/>
                    </a:lnTo>
                    <a:lnTo>
                      <a:pt x="440570" y="406985"/>
                    </a:lnTo>
                    <a:lnTo>
                      <a:pt x="440570" y="404928"/>
                    </a:lnTo>
                    <a:lnTo>
                      <a:pt x="442104" y="404928"/>
                    </a:lnTo>
                    <a:lnTo>
                      <a:pt x="442104" y="401869"/>
                    </a:lnTo>
                    <a:lnTo>
                      <a:pt x="445162" y="401869"/>
                    </a:lnTo>
                    <a:lnTo>
                      <a:pt x="445162" y="400857"/>
                    </a:lnTo>
                    <a:lnTo>
                      <a:pt x="446697" y="400857"/>
                    </a:lnTo>
                    <a:lnTo>
                      <a:pt x="448232" y="400857"/>
                    </a:lnTo>
                    <a:lnTo>
                      <a:pt x="449766" y="400857"/>
                    </a:lnTo>
                    <a:lnTo>
                      <a:pt x="451290" y="400857"/>
                    </a:lnTo>
                    <a:lnTo>
                      <a:pt x="451290" y="398766"/>
                    </a:lnTo>
                    <a:lnTo>
                      <a:pt x="452835" y="398766"/>
                    </a:lnTo>
                    <a:lnTo>
                      <a:pt x="455893" y="398766"/>
                    </a:lnTo>
                    <a:lnTo>
                      <a:pt x="455893" y="397754"/>
                    </a:lnTo>
                    <a:lnTo>
                      <a:pt x="457395" y="397754"/>
                    </a:lnTo>
                    <a:lnTo>
                      <a:pt x="457395" y="396709"/>
                    </a:lnTo>
                    <a:lnTo>
                      <a:pt x="458929" y="396709"/>
                    </a:lnTo>
                    <a:lnTo>
                      <a:pt x="458929" y="394618"/>
                    </a:lnTo>
                    <a:lnTo>
                      <a:pt x="460464" y="394618"/>
                    </a:lnTo>
                    <a:lnTo>
                      <a:pt x="460464" y="393572"/>
                    </a:lnTo>
                    <a:lnTo>
                      <a:pt x="461987" y="393572"/>
                    </a:lnTo>
                    <a:lnTo>
                      <a:pt x="461987" y="391515"/>
                    </a:lnTo>
                    <a:lnTo>
                      <a:pt x="463522" y="391515"/>
                    </a:lnTo>
                    <a:lnTo>
                      <a:pt x="463522" y="390469"/>
                    </a:lnTo>
                    <a:lnTo>
                      <a:pt x="465056" y="390469"/>
                    </a:lnTo>
                    <a:lnTo>
                      <a:pt x="465056" y="389390"/>
                    </a:lnTo>
                    <a:lnTo>
                      <a:pt x="466591" y="389390"/>
                    </a:lnTo>
                    <a:lnTo>
                      <a:pt x="466591" y="387299"/>
                    </a:lnTo>
                    <a:lnTo>
                      <a:pt x="469660" y="387299"/>
                    </a:lnTo>
                    <a:lnTo>
                      <a:pt x="469660" y="386254"/>
                    </a:lnTo>
                    <a:lnTo>
                      <a:pt x="471195" y="386254"/>
                    </a:lnTo>
                    <a:lnTo>
                      <a:pt x="471195" y="384163"/>
                    </a:lnTo>
                    <a:lnTo>
                      <a:pt x="472718" y="384163"/>
                    </a:lnTo>
                    <a:lnTo>
                      <a:pt x="472718" y="383084"/>
                    </a:lnTo>
                    <a:lnTo>
                      <a:pt x="474219" y="383084"/>
                    </a:lnTo>
                    <a:lnTo>
                      <a:pt x="474219" y="379914"/>
                    </a:lnTo>
                    <a:lnTo>
                      <a:pt x="475754" y="379914"/>
                    </a:lnTo>
                    <a:lnTo>
                      <a:pt x="475754" y="378869"/>
                    </a:lnTo>
                    <a:lnTo>
                      <a:pt x="477289" y="378869"/>
                    </a:lnTo>
                    <a:lnTo>
                      <a:pt x="478823" y="378869"/>
                    </a:lnTo>
                    <a:lnTo>
                      <a:pt x="480347" y="378869"/>
                    </a:lnTo>
                    <a:lnTo>
                      <a:pt x="481881" y="378869"/>
                    </a:lnTo>
                    <a:lnTo>
                      <a:pt x="481881" y="377824"/>
                    </a:lnTo>
                    <a:lnTo>
                      <a:pt x="483416" y="377824"/>
                    </a:lnTo>
                    <a:lnTo>
                      <a:pt x="484950" y="377824"/>
                    </a:lnTo>
                    <a:lnTo>
                      <a:pt x="484950" y="375666"/>
                    </a:lnTo>
                    <a:lnTo>
                      <a:pt x="486485" y="375666"/>
                    </a:lnTo>
                    <a:lnTo>
                      <a:pt x="486485" y="374620"/>
                    </a:lnTo>
                    <a:lnTo>
                      <a:pt x="488019" y="374620"/>
                    </a:lnTo>
                    <a:lnTo>
                      <a:pt x="488019" y="372463"/>
                    </a:lnTo>
                    <a:lnTo>
                      <a:pt x="491078" y="372463"/>
                    </a:lnTo>
                    <a:lnTo>
                      <a:pt x="491078" y="371373"/>
                    </a:lnTo>
                    <a:lnTo>
                      <a:pt x="492579" y="371373"/>
                    </a:lnTo>
                    <a:lnTo>
                      <a:pt x="494113" y="371373"/>
                    </a:lnTo>
                    <a:lnTo>
                      <a:pt x="494113" y="370294"/>
                    </a:lnTo>
                    <a:lnTo>
                      <a:pt x="495648" y="370294"/>
                    </a:lnTo>
                    <a:lnTo>
                      <a:pt x="495648" y="367058"/>
                    </a:lnTo>
                    <a:lnTo>
                      <a:pt x="497171" y="367058"/>
                    </a:lnTo>
                    <a:lnTo>
                      <a:pt x="497171" y="365979"/>
                    </a:lnTo>
                    <a:lnTo>
                      <a:pt x="498706" y="365979"/>
                    </a:lnTo>
                    <a:lnTo>
                      <a:pt x="498706" y="364900"/>
                    </a:lnTo>
                    <a:lnTo>
                      <a:pt x="500241" y="364900"/>
                    </a:lnTo>
                    <a:lnTo>
                      <a:pt x="501775" y="364900"/>
                    </a:lnTo>
                    <a:lnTo>
                      <a:pt x="503310" y="364900"/>
                    </a:lnTo>
                    <a:lnTo>
                      <a:pt x="504833" y="364900"/>
                    </a:lnTo>
                    <a:lnTo>
                      <a:pt x="506379" y="364900"/>
                    </a:lnTo>
                    <a:lnTo>
                      <a:pt x="506379" y="363821"/>
                    </a:lnTo>
                    <a:lnTo>
                      <a:pt x="507902" y="363821"/>
                    </a:lnTo>
                    <a:lnTo>
                      <a:pt x="507902" y="361630"/>
                    </a:lnTo>
                    <a:lnTo>
                      <a:pt x="510938" y="361630"/>
                    </a:lnTo>
                    <a:lnTo>
                      <a:pt x="510938" y="360507"/>
                    </a:lnTo>
                    <a:lnTo>
                      <a:pt x="512462" y="360507"/>
                    </a:lnTo>
                    <a:lnTo>
                      <a:pt x="512462" y="359428"/>
                    </a:lnTo>
                    <a:lnTo>
                      <a:pt x="514007" y="359428"/>
                    </a:lnTo>
                    <a:lnTo>
                      <a:pt x="514007" y="357237"/>
                    </a:lnTo>
                    <a:lnTo>
                      <a:pt x="515531" y="357237"/>
                    </a:lnTo>
                    <a:lnTo>
                      <a:pt x="515531" y="355001"/>
                    </a:lnTo>
                    <a:lnTo>
                      <a:pt x="517065" y="355001"/>
                    </a:lnTo>
                    <a:lnTo>
                      <a:pt x="518600" y="355001"/>
                    </a:lnTo>
                    <a:lnTo>
                      <a:pt x="518600" y="352810"/>
                    </a:lnTo>
                    <a:lnTo>
                      <a:pt x="521669" y="352810"/>
                    </a:lnTo>
                    <a:lnTo>
                      <a:pt x="523193" y="352810"/>
                    </a:lnTo>
                    <a:lnTo>
                      <a:pt x="523193" y="351687"/>
                    </a:lnTo>
                    <a:lnTo>
                      <a:pt x="524738" y="351687"/>
                    </a:lnTo>
                    <a:lnTo>
                      <a:pt x="524738" y="350575"/>
                    </a:lnTo>
                    <a:lnTo>
                      <a:pt x="526262" y="350575"/>
                    </a:lnTo>
                    <a:lnTo>
                      <a:pt x="526262" y="349463"/>
                    </a:lnTo>
                    <a:lnTo>
                      <a:pt x="527763" y="349463"/>
                    </a:lnTo>
                    <a:lnTo>
                      <a:pt x="527763" y="346082"/>
                    </a:lnTo>
                    <a:lnTo>
                      <a:pt x="529297" y="346082"/>
                    </a:lnTo>
                    <a:lnTo>
                      <a:pt x="529297" y="343813"/>
                    </a:lnTo>
                    <a:lnTo>
                      <a:pt x="530832" y="343813"/>
                    </a:lnTo>
                    <a:lnTo>
                      <a:pt x="530832" y="342700"/>
                    </a:lnTo>
                    <a:lnTo>
                      <a:pt x="532367" y="342700"/>
                    </a:lnTo>
                    <a:lnTo>
                      <a:pt x="533890" y="342700"/>
                    </a:lnTo>
                    <a:lnTo>
                      <a:pt x="533890" y="341588"/>
                    </a:lnTo>
                    <a:lnTo>
                      <a:pt x="535425" y="341588"/>
                    </a:lnTo>
                    <a:lnTo>
                      <a:pt x="536959" y="341588"/>
                    </a:lnTo>
                    <a:lnTo>
                      <a:pt x="536959" y="340443"/>
                    </a:lnTo>
                    <a:lnTo>
                      <a:pt x="538494" y="340443"/>
                    </a:lnTo>
                    <a:lnTo>
                      <a:pt x="538494" y="339286"/>
                    </a:lnTo>
                    <a:lnTo>
                      <a:pt x="540028" y="339286"/>
                    </a:lnTo>
                    <a:lnTo>
                      <a:pt x="540028" y="338174"/>
                    </a:lnTo>
                    <a:lnTo>
                      <a:pt x="541563" y="338174"/>
                    </a:lnTo>
                    <a:lnTo>
                      <a:pt x="541563" y="335872"/>
                    </a:lnTo>
                    <a:lnTo>
                      <a:pt x="543087" y="335872"/>
                    </a:lnTo>
                    <a:lnTo>
                      <a:pt x="544621" y="335872"/>
                    </a:lnTo>
                    <a:lnTo>
                      <a:pt x="544621" y="333580"/>
                    </a:lnTo>
                    <a:lnTo>
                      <a:pt x="546122" y="333580"/>
                    </a:lnTo>
                    <a:lnTo>
                      <a:pt x="547657" y="333580"/>
                    </a:lnTo>
                    <a:lnTo>
                      <a:pt x="547657" y="331278"/>
                    </a:lnTo>
                    <a:lnTo>
                      <a:pt x="549191" y="331278"/>
                    </a:lnTo>
                    <a:lnTo>
                      <a:pt x="552250" y="331278"/>
                    </a:lnTo>
                    <a:lnTo>
                      <a:pt x="552250" y="328943"/>
                    </a:lnTo>
                    <a:lnTo>
                      <a:pt x="553784" y="328943"/>
                    </a:lnTo>
                    <a:lnTo>
                      <a:pt x="555319" y="328943"/>
                    </a:lnTo>
                    <a:lnTo>
                      <a:pt x="555319" y="327797"/>
                    </a:lnTo>
                    <a:lnTo>
                      <a:pt x="556853" y="327797"/>
                    </a:lnTo>
                    <a:lnTo>
                      <a:pt x="556853" y="325428"/>
                    </a:lnTo>
                    <a:lnTo>
                      <a:pt x="558377" y="325428"/>
                    </a:lnTo>
                    <a:lnTo>
                      <a:pt x="558377" y="323048"/>
                    </a:lnTo>
                    <a:lnTo>
                      <a:pt x="559922" y="323048"/>
                    </a:lnTo>
                    <a:lnTo>
                      <a:pt x="562947" y="323048"/>
                    </a:lnTo>
                    <a:lnTo>
                      <a:pt x="562947" y="320679"/>
                    </a:lnTo>
                    <a:lnTo>
                      <a:pt x="564482" y="320679"/>
                    </a:lnTo>
                    <a:lnTo>
                      <a:pt x="566005" y="320679"/>
                    </a:lnTo>
                    <a:lnTo>
                      <a:pt x="566005" y="319500"/>
                    </a:lnTo>
                    <a:lnTo>
                      <a:pt x="567551" y="319500"/>
                    </a:lnTo>
                    <a:lnTo>
                      <a:pt x="567551" y="318310"/>
                    </a:lnTo>
                    <a:lnTo>
                      <a:pt x="569074" y="318310"/>
                    </a:lnTo>
                    <a:lnTo>
                      <a:pt x="570609" y="318310"/>
                    </a:lnTo>
                    <a:lnTo>
                      <a:pt x="573678" y="318310"/>
                    </a:lnTo>
                    <a:lnTo>
                      <a:pt x="573678" y="317098"/>
                    </a:lnTo>
                    <a:lnTo>
                      <a:pt x="575213" y="317098"/>
                    </a:lnTo>
                    <a:lnTo>
                      <a:pt x="575213" y="315874"/>
                    </a:lnTo>
                    <a:lnTo>
                      <a:pt x="576736" y="315874"/>
                    </a:lnTo>
                    <a:lnTo>
                      <a:pt x="576736" y="314695"/>
                    </a:lnTo>
                    <a:lnTo>
                      <a:pt x="578271" y="314695"/>
                    </a:lnTo>
                    <a:lnTo>
                      <a:pt x="578271" y="313472"/>
                    </a:lnTo>
                    <a:lnTo>
                      <a:pt x="579805" y="313472"/>
                    </a:lnTo>
                    <a:lnTo>
                      <a:pt x="579805" y="312260"/>
                    </a:lnTo>
                    <a:lnTo>
                      <a:pt x="581307" y="312260"/>
                    </a:lnTo>
                    <a:lnTo>
                      <a:pt x="582841" y="312260"/>
                    </a:lnTo>
                    <a:lnTo>
                      <a:pt x="582841" y="309813"/>
                    </a:lnTo>
                    <a:lnTo>
                      <a:pt x="585899" y="309813"/>
                    </a:lnTo>
                    <a:lnTo>
                      <a:pt x="585899" y="307377"/>
                    </a:lnTo>
                    <a:lnTo>
                      <a:pt x="587434" y="307377"/>
                    </a:lnTo>
                    <a:lnTo>
                      <a:pt x="588968" y="307377"/>
                    </a:lnTo>
                    <a:lnTo>
                      <a:pt x="590503" y="307377"/>
                    </a:lnTo>
                    <a:lnTo>
                      <a:pt x="592037" y="307377"/>
                    </a:lnTo>
                    <a:lnTo>
                      <a:pt x="592037" y="302428"/>
                    </a:lnTo>
                    <a:lnTo>
                      <a:pt x="595107" y="302428"/>
                    </a:lnTo>
                    <a:lnTo>
                      <a:pt x="595107" y="301171"/>
                    </a:lnTo>
                    <a:lnTo>
                      <a:pt x="596630" y="301171"/>
                    </a:lnTo>
                    <a:lnTo>
                      <a:pt x="596630" y="299914"/>
                    </a:lnTo>
                    <a:lnTo>
                      <a:pt x="598131" y="299914"/>
                    </a:lnTo>
                    <a:lnTo>
                      <a:pt x="598131" y="298658"/>
                    </a:lnTo>
                    <a:lnTo>
                      <a:pt x="599666" y="298658"/>
                    </a:lnTo>
                    <a:lnTo>
                      <a:pt x="601189" y="298658"/>
                    </a:lnTo>
                    <a:lnTo>
                      <a:pt x="602735" y="298658"/>
                    </a:lnTo>
                    <a:lnTo>
                      <a:pt x="604258" y="298658"/>
                    </a:lnTo>
                    <a:lnTo>
                      <a:pt x="604258" y="297412"/>
                    </a:lnTo>
                    <a:lnTo>
                      <a:pt x="607328" y="297412"/>
                    </a:lnTo>
                    <a:lnTo>
                      <a:pt x="607328" y="294865"/>
                    </a:lnTo>
                    <a:lnTo>
                      <a:pt x="608862" y="294865"/>
                    </a:lnTo>
                    <a:lnTo>
                      <a:pt x="610397" y="294865"/>
                    </a:lnTo>
                    <a:lnTo>
                      <a:pt x="610397" y="292329"/>
                    </a:lnTo>
                    <a:lnTo>
                      <a:pt x="611920" y="292329"/>
                    </a:lnTo>
                    <a:lnTo>
                      <a:pt x="613466" y="292329"/>
                    </a:lnTo>
                    <a:lnTo>
                      <a:pt x="616491" y="292329"/>
                    </a:lnTo>
                    <a:lnTo>
                      <a:pt x="616491" y="291028"/>
                    </a:lnTo>
                    <a:lnTo>
                      <a:pt x="618025" y="291028"/>
                    </a:lnTo>
                    <a:lnTo>
                      <a:pt x="618025" y="288459"/>
                    </a:lnTo>
                    <a:lnTo>
                      <a:pt x="619549" y="288459"/>
                    </a:lnTo>
                    <a:lnTo>
                      <a:pt x="619549" y="287135"/>
                    </a:lnTo>
                    <a:lnTo>
                      <a:pt x="621094" y="287135"/>
                    </a:lnTo>
                    <a:lnTo>
                      <a:pt x="621094" y="283231"/>
                    </a:lnTo>
                    <a:lnTo>
                      <a:pt x="622618" y="283231"/>
                    </a:lnTo>
                    <a:lnTo>
                      <a:pt x="622618" y="281941"/>
                    </a:lnTo>
                    <a:lnTo>
                      <a:pt x="624152" y="281941"/>
                    </a:lnTo>
                    <a:lnTo>
                      <a:pt x="624152" y="278004"/>
                    </a:lnTo>
                    <a:lnTo>
                      <a:pt x="627222" y="278004"/>
                    </a:lnTo>
                    <a:lnTo>
                      <a:pt x="627222" y="275357"/>
                    </a:lnTo>
                    <a:lnTo>
                      <a:pt x="628756" y="275357"/>
                    </a:lnTo>
                    <a:lnTo>
                      <a:pt x="628756" y="272710"/>
                    </a:lnTo>
                    <a:lnTo>
                      <a:pt x="630280" y="272710"/>
                    </a:lnTo>
                    <a:lnTo>
                      <a:pt x="631814" y="272710"/>
                    </a:lnTo>
                    <a:lnTo>
                      <a:pt x="633316" y="272710"/>
                    </a:lnTo>
                    <a:lnTo>
                      <a:pt x="633316" y="271387"/>
                    </a:lnTo>
                    <a:lnTo>
                      <a:pt x="634850" y="271387"/>
                    </a:lnTo>
                    <a:lnTo>
                      <a:pt x="634850" y="268728"/>
                    </a:lnTo>
                    <a:lnTo>
                      <a:pt x="636385" y="268728"/>
                    </a:lnTo>
                    <a:lnTo>
                      <a:pt x="636385" y="266048"/>
                    </a:lnTo>
                    <a:lnTo>
                      <a:pt x="637908" y="266048"/>
                    </a:lnTo>
                    <a:lnTo>
                      <a:pt x="637908" y="264736"/>
                    </a:lnTo>
                    <a:lnTo>
                      <a:pt x="639443" y="264736"/>
                    </a:lnTo>
                    <a:lnTo>
                      <a:pt x="639443" y="263368"/>
                    </a:lnTo>
                    <a:lnTo>
                      <a:pt x="640977" y="263368"/>
                    </a:lnTo>
                    <a:lnTo>
                      <a:pt x="642512" y="263368"/>
                    </a:lnTo>
                    <a:lnTo>
                      <a:pt x="644046" y="263368"/>
                    </a:lnTo>
                    <a:lnTo>
                      <a:pt x="644046" y="260687"/>
                    </a:lnTo>
                    <a:lnTo>
                      <a:pt x="645581" y="260687"/>
                    </a:lnTo>
                    <a:lnTo>
                      <a:pt x="647105" y="260687"/>
                    </a:lnTo>
                    <a:lnTo>
                      <a:pt x="647105" y="259330"/>
                    </a:lnTo>
                    <a:lnTo>
                      <a:pt x="648639" y="259330"/>
                    </a:lnTo>
                    <a:lnTo>
                      <a:pt x="648639" y="257973"/>
                    </a:lnTo>
                    <a:lnTo>
                      <a:pt x="651675" y="257973"/>
                    </a:lnTo>
                    <a:lnTo>
                      <a:pt x="653210" y="257973"/>
                    </a:lnTo>
                    <a:lnTo>
                      <a:pt x="654733" y="257973"/>
                    </a:lnTo>
                    <a:lnTo>
                      <a:pt x="654733" y="256617"/>
                    </a:lnTo>
                    <a:lnTo>
                      <a:pt x="656267" y="256617"/>
                    </a:lnTo>
                    <a:lnTo>
                      <a:pt x="662406" y="256617"/>
                    </a:lnTo>
                    <a:lnTo>
                      <a:pt x="663940" y="256617"/>
                    </a:lnTo>
                    <a:lnTo>
                      <a:pt x="665464" y="256617"/>
                    </a:lnTo>
                    <a:lnTo>
                      <a:pt x="666999" y="256617"/>
                    </a:lnTo>
                    <a:lnTo>
                      <a:pt x="666999" y="255215"/>
                    </a:lnTo>
                    <a:lnTo>
                      <a:pt x="668533" y="255215"/>
                    </a:lnTo>
                    <a:lnTo>
                      <a:pt x="670034" y="255215"/>
                    </a:lnTo>
                    <a:lnTo>
                      <a:pt x="670034" y="253825"/>
                    </a:lnTo>
                    <a:lnTo>
                      <a:pt x="671569" y="253825"/>
                    </a:lnTo>
                    <a:lnTo>
                      <a:pt x="671569" y="252435"/>
                    </a:lnTo>
                    <a:lnTo>
                      <a:pt x="673092" y="252435"/>
                    </a:lnTo>
                    <a:lnTo>
                      <a:pt x="674627" y="252435"/>
                    </a:lnTo>
                    <a:lnTo>
                      <a:pt x="674627" y="251033"/>
                    </a:lnTo>
                    <a:lnTo>
                      <a:pt x="676161" y="251033"/>
                    </a:lnTo>
                    <a:lnTo>
                      <a:pt x="677696" y="251033"/>
                    </a:lnTo>
                    <a:lnTo>
                      <a:pt x="677696" y="248208"/>
                    </a:lnTo>
                    <a:lnTo>
                      <a:pt x="682289" y="248208"/>
                    </a:lnTo>
                    <a:lnTo>
                      <a:pt x="683823" y="248208"/>
                    </a:lnTo>
                    <a:lnTo>
                      <a:pt x="685358" y="248208"/>
                    </a:lnTo>
                    <a:lnTo>
                      <a:pt x="686859" y="248208"/>
                    </a:lnTo>
                    <a:lnTo>
                      <a:pt x="686859" y="245395"/>
                    </a:lnTo>
                    <a:lnTo>
                      <a:pt x="688394" y="245395"/>
                    </a:lnTo>
                    <a:lnTo>
                      <a:pt x="688394" y="243960"/>
                    </a:lnTo>
                    <a:lnTo>
                      <a:pt x="689917" y="243960"/>
                    </a:lnTo>
                    <a:lnTo>
                      <a:pt x="689917" y="241113"/>
                    </a:lnTo>
                    <a:lnTo>
                      <a:pt x="691452" y="241113"/>
                    </a:lnTo>
                    <a:lnTo>
                      <a:pt x="692986" y="241113"/>
                    </a:lnTo>
                    <a:lnTo>
                      <a:pt x="694521" y="241113"/>
                    </a:lnTo>
                    <a:lnTo>
                      <a:pt x="696055" y="241113"/>
                    </a:lnTo>
                    <a:lnTo>
                      <a:pt x="697579" y="241113"/>
                    </a:lnTo>
                    <a:lnTo>
                      <a:pt x="699125" y="241113"/>
                    </a:lnTo>
                    <a:lnTo>
                      <a:pt x="699125" y="239678"/>
                    </a:lnTo>
                    <a:lnTo>
                      <a:pt x="703717" y="239678"/>
                    </a:lnTo>
                    <a:lnTo>
                      <a:pt x="703717" y="238254"/>
                    </a:lnTo>
                    <a:lnTo>
                      <a:pt x="705219" y="238254"/>
                    </a:lnTo>
                    <a:lnTo>
                      <a:pt x="706753" y="238254"/>
                    </a:lnTo>
                    <a:lnTo>
                      <a:pt x="708277" y="238254"/>
                    </a:lnTo>
                    <a:lnTo>
                      <a:pt x="709811" y="238254"/>
                    </a:lnTo>
                    <a:lnTo>
                      <a:pt x="712880" y="238254"/>
                    </a:lnTo>
                    <a:lnTo>
                      <a:pt x="714415" y="238254"/>
                    </a:lnTo>
                    <a:lnTo>
                      <a:pt x="715949" y="238254"/>
                    </a:lnTo>
                    <a:lnTo>
                      <a:pt x="717484" y="238254"/>
                    </a:lnTo>
                    <a:lnTo>
                      <a:pt x="719007" y="238254"/>
                    </a:lnTo>
                    <a:lnTo>
                      <a:pt x="720542" y="238254"/>
                    </a:lnTo>
                    <a:lnTo>
                      <a:pt x="725113" y="238254"/>
                    </a:lnTo>
                    <a:lnTo>
                      <a:pt x="725113" y="236753"/>
                    </a:lnTo>
                    <a:lnTo>
                      <a:pt x="726636" y="236753"/>
                    </a:lnTo>
                    <a:lnTo>
                      <a:pt x="726636" y="235251"/>
                    </a:lnTo>
                    <a:lnTo>
                      <a:pt x="728170" y="235251"/>
                    </a:lnTo>
                    <a:lnTo>
                      <a:pt x="728170" y="233750"/>
                    </a:lnTo>
                    <a:lnTo>
                      <a:pt x="729705" y="233750"/>
                    </a:lnTo>
                    <a:lnTo>
                      <a:pt x="729705" y="232260"/>
                    </a:lnTo>
                    <a:lnTo>
                      <a:pt x="731240" y="232260"/>
                    </a:lnTo>
                    <a:lnTo>
                      <a:pt x="731240" y="230758"/>
                    </a:lnTo>
                    <a:lnTo>
                      <a:pt x="732774" y="230758"/>
                    </a:lnTo>
                    <a:lnTo>
                      <a:pt x="735832" y="230758"/>
                    </a:lnTo>
                    <a:lnTo>
                      <a:pt x="737367" y="230758"/>
                    </a:lnTo>
                    <a:lnTo>
                      <a:pt x="738901" y="230758"/>
                    </a:lnTo>
                    <a:lnTo>
                      <a:pt x="740403" y="230758"/>
                    </a:lnTo>
                    <a:lnTo>
                      <a:pt x="741937" y="230758"/>
                    </a:lnTo>
                    <a:lnTo>
                      <a:pt x="744995" y="230758"/>
                    </a:lnTo>
                    <a:lnTo>
                      <a:pt x="744995" y="229190"/>
                    </a:lnTo>
                    <a:lnTo>
                      <a:pt x="746530" y="229190"/>
                    </a:lnTo>
                    <a:lnTo>
                      <a:pt x="746530" y="226120"/>
                    </a:lnTo>
                    <a:lnTo>
                      <a:pt x="748064" y="226120"/>
                    </a:lnTo>
                    <a:lnTo>
                      <a:pt x="749599" y="226120"/>
                    </a:lnTo>
                    <a:lnTo>
                      <a:pt x="749599" y="224552"/>
                    </a:lnTo>
                    <a:lnTo>
                      <a:pt x="751122" y="224552"/>
                    </a:lnTo>
                    <a:lnTo>
                      <a:pt x="752668" y="224552"/>
                    </a:lnTo>
                    <a:lnTo>
                      <a:pt x="752668" y="222995"/>
                    </a:lnTo>
                    <a:lnTo>
                      <a:pt x="754192" y="222995"/>
                    </a:lnTo>
                    <a:lnTo>
                      <a:pt x="757228" y="222995"/>
                    </a:lnTo>
                    <a:lnTo>
                      <a:pt x="758751" y="222995"/>
                    </a:lnTo>
                    <a:lnTo>
                      <a:pt x="760297" y="222995"/>
                    </a:lnTo>
                    <a:lnTo>
                      <a:pt x="761820" y="222995"/>
                    </a:lnTo>
                    <a:lnTo>
                      <a:pt x="761820" y="221427"/>
                    </a:lnTo>
                    <a:lnTo>
                      <a:pt x="763355" y="221427"/>
                    </a:lnTo>
                    <a:lnTo>
                      <a:pt x="763355" y="219825"/>
                    </a:lnTo>
                    <a:lnTo>
                      <a:pt x="766424" y="219825"/>
                    </a:lnTo>
                    <a:lnTo>
                      <a:pt x="766424" y="218246"/>
                    </a:lnTo>
                    <a:lnTo>
                      <a:pt x="767958" y="218246"/>
                    </a:lnTo>
                    <a:lnTo>
                      <a:pt x="767958" y="216644"/>
                    </a:lnTo>
                    <a:lnTo>
                      <a:pt x="769493" y="216644"/>
                    </a:lnTo>
                    <a:lnTo>
                      <a:pt x="769493" y="211906"/>
                    </a:lnTo>
                    <a:lnTo>
                      <a:pt x="771016" y="211906"/>
                    </a:lnTo>
                    <a:lnTo>
                      <a:pt x="771016" y="210305"/>
                    </a:lnTo>
                    <a:lnTo>
                      <a:pt x="772551" y="210305"/>
                    </a:lnTo>
                    <a:lnTo>
                      <a:pt x="774086" y="210305"/>
                    </a:lnTo>
                    <a:lnTo>
                      <a:pt x="778645" y="210305"/>
                    </a:lnTo>
                    <a:lnTo>
                      <a:pt x="778645" y="208703"/>
                    </a:lnTo>
                    <a:lnTo>
                      <a:pt x="780180" y="208703"/>
                    </a:lnTo>
                    <a:lnTo>
                      <a:pt x="781714" y="208703"/>
                    </a:lnTo>
                    <a:lnTo>
                      <a:pt x="784783" y="208703"/>
                    </a:lnTo>
                    <a:lnTo>
                      <a:pt x="784783" y="205467"/>
                    </a:lnTo>
                    <a:lnTo>
                      <a:pt x="786307" y="205467"/>
                    </a:lnTo>
                    <a:lnTo>
                      <a:pt x="786307" y="202219"/>
                    </a:lnTo>
                    <a:lnTo>
                      <a:pt x="789376" y="202219"/>
                    </a:lnTo>
                    <a:lnTo>
                      <a:pt x="789376" y="200618"/>
                    </a:lnTo>
                    <a:lnTo>
                      <a:pt x="790910" y="200618"/>
                    </a:lnTo>
                    <a:lnTo>
                      <a:pt x="792445" y="200618"/>
                    </a:lnTo>
                    <a:lnTo>
                      <a:pt x="793935" y="200618"/>
                    </a:lnTo>
                    <a:lnTo>
                      <a:pt x="795481" y="200618"/>
                    </a:lnTo>
                    <a:lnTo>
                      <a:pt x="797004" y="200618"/>
                    </a:lnTo>
                    <a:lnTo>
                      <a:pt x="797004" y="198983"/>
                    </a:lnTo>
                    <a:lnTo>
                      <a:pt x="800074" y="198983"/>
                    </a:lnTo>
                    <a:lnTo>
                      <a:pt x="801608" y="198983"/>
                    </a:lnTo>
                    <a:lnTo>
                      <a:pt x="803143" y="198983"/>
                    </a:lnTo>
                    <a:lnTo>
                      <a:pt x="803143" y="197314"/>
                    </a:lnTo>
                    <a:lnTo>
                      <a:pt x="804666" y="197314"/>
                    </a:lnTo>
                    <a:lnTo>
                      <a:pt x="804666" y="194000"/>
                    </a:lnTo>
                    <a:lnTo>
                      <a:pt x="806212" y="194000"/>
                    </a:lnTo>
                    <a:lnTo>
                      <a:pt x="806212" y="192332"/>
                    </a:lnTo>
                    <a:lnTo>
                      <a:pt x="810771" y="192332"/>
                    </a:lnTo>
                    <a:lnTo>
                      <a:pt x="810771" y="188984"/>
                    </a:lnTo>
                    <a:lnTo>
                      <a:pt x="812295" y="188984"/>
                    </a:lnTo>
                    <a:lnTo>
                      <a:pt x="812295" y="187316"/>
                    </a:lnTo>
                    <a:lnTo>
                      <a:pt x="813840" y="187316"/>
                    </a:lnTo>
                    <a:lnTo>
                      <a:pt x="815364" y="187316"/>
                    </a:lnTo>
                    <a:lnTo>
                      <a:pt x="816898" y="187316"/>
                    </a:lnTo>
                    <a:lnTo>
                      <a:pt x="816898" y="185603"/>
                    </a:lnTo>
                    <a:lnTo>
                      <a:pt x="818433" y="185603"/>
                    </a:lnTo>
                    <a:lnTo>
                      <a:pt x="818433" y="182222"/>
                    </a:lnTo>
                    <a:lnTo>
                      <a:pt x="823025" y="182222"/>
                    </a:lnTo>
                    <a:lnTo>
                      <a:pt x="824560" y="182222"/>
                    </a:lnTo>
                    <a:lnTo>
                      <a:pt x="826095" y="182222"/>
                    </a:lnTo>
                    <a:lnTo>
                      <a:pt x="826095" y="178808"/>
                    </a:lnTo>
                    <a:lnTo>
                      <a:pt x="827629" y="178808"/>
                    </a:lnTo>
                    <a:lnTo>
                      <a:pt x="829130" y="178808"/>
                    </a:lnTo>
                    <a:lnTo>
                      <a:pt x="829130" y="177106"/>
                    </a:lnTo>
                    <a:lnTo>
                      <a:pt x="830654" y="177106"/>
                    </a:lnTo>
                    <a:lnTo>
                      <a:pt x="830654" y="175393"/>
                    </a:lnTo>
                    <a:lnTo>
                      <a:pt x="832189" y="175393"/>
                    </a:lnTo>
                    <a:lnTo>
                      <a:pt x="833723" y="175393"/>
                    </a:lnTo>
                    <a:lnTo>
                      <a:pt x="833723" y="173658"/>
                    </a:lnTo>
                    <a:lnTo>
                      <a:pt x="835258" y="173658"/>
                    </a:lnTo>
                    <a:lnTo>
                      <a:pt x="835258" y="171945"/>
                    </a:lnTo>
                    <a:lnTo>
                      <a:pt x="836792" y="171945"/>
                    </a:lnTo>
                    <a:lnTo>
                      <a:pt x="838327" y="171945"/>
                    </a:lnTo>
                    <a:lnTo>
                      <a:pt x="839850" y="171945"/>
                    </a:lnTo>
                    <a:lnTo>
                      <a:pt x="839850" y="170166"/>
                    </a:lnTo>
                    <a:lnTo>
                      <a:pt x="842919" y="170166"/>
                    </a:lnTo>
                    <a:lnTo>
                      <a:pt x="844454" y="170166"/>
                    </a:lnTo>
                    <a:lnTo>
                      <a:pt x="845955" y="170166"/>
                    </a:lnTo>
                    <a:lnTo>
                      <a:pt x="845955" y="166651"/>
                    </a:lnTo>
                    <a:lnTo>
                      <a:pt x="847479" y="166651"/>
                    </a:lnTo>
                    <a:lnTo>
                      <a:pt x="849024" y="166651"/>
                    </a:lnTo>
                    <a:lnTo>
                      <a:pt x="849024" y="164872"/>
                    </a:lnTo>
                    <a:lnTo>
                      <a:pt x="850548" y="164872"/>
                    </a:lnTo>
                    <a:lnTo>
                      <a:pt x="850548" y="163092"/>
                    </a:lnTo>
                    <a:lnTo>
                      <a:pt x="852083" y="163092"/>
                    </a:lnTo>
                    <a:lnTo>
                      <a:pt x="852083" y="161324"/>
                    </a:lnTo>
                    <a:lnTo>
                      <a:pt x="853617" y="161324"/>
                    </a:lnTo>
                    <a:lnTo>
                      <a:pt x="855152" y="161324"/>
                    </a:lnTo>
                    <a:lnTo>
                      <a:pt x="856686" y="161324"/>
                    </a:lnTo>
                    <a:lnTo>
                      <a:pt x="856686" y="159544"/>
                    </a:lnTo>
                    <a:lnTo>
                      <a:pt x="858210" y="159544"/>
                    </a:lnTo>
                    <a:lnTo>
                      <a:pt x="858210" y="157731"/>
                    </a:lnTo>
                    <a:lnTo>
                      <a:pt x="859744" y="157731"/>
                    </a:lnTo>
                    <a:lnTo>
                      <a:pt x="859744" y="155919"/>
                    </a:lnTo>
                    <a:lnTo>
                      <a:pt x="865838" y="155919"/>
                    </a:lnTo>
                    <a:lnTo>
                      <a:pt x="867373" y="155919"/>
                    </a:lnTo>
                    <a:lnTo>
                      <a:pt x="868907" y="155919"/>
                    </a:lnTo>
                    <a:lnTo>
                      <a:pt x="870442" y="155919"/>
                    </a:lnTo>
                    <a:lnTo>
                      <a:pt x="873511" y="155919"/>
                    </a:lnTo>
                    <a:lnTo>
                      <a:pt x="873511" y="154072"/>
                    </a:lnTo>
                    <a:lnTo>
                      <a:pt x="875034" y="154072"/>
                    </a:lnTo>
                    <a:lnTo>
                      <a:pt x="876569" y="154072"/>
                    </a:lnTo>
                    <a:lnTo>
                      <a:pt x="876569" y="152226"/>
                    </a:lnTo>
                    <a:lnTo>
                      <a:pt x="878104" y="152226"/>
                    </a:lnTo>
                    <a:lnTo>
                      <a:pt x="879638" y="152226"/>
                    </a:lnTo>
                    <a:lnTo>
                      <a:pt x="879638" y="150380"/>
                    </a:lnTo>
                    <a:lnTo>
                      <a:pt x="881139" y="150380"/>
                    </a:lnTo>
                    <a:lnTo>
                      <a:pt x="887267" y="150380"/>
                    </a:lnTo>
                    <a:lnTo>
                      <a:pt x="888801" y="150380"/>
                    </a:lnTo>
                    <a:lnTo>
                      <a:pt x="890336" y="150380"/>
                    </a:lnTo>
                    <a:lnTo>
                      <a:pt x="891870" y="150380"/>
                    </a:lnTo>
                    <a:lnTo>
                      <a:pt x="891870" y="148467"/>
                    </a:lnTo>
                    <a:lnTo>
                      <a:pt x="896463" y="148467"/>
                    </a:lnTo>
                    <a:lnTo>
                      <a:pt x="896463" y="146543"/>
                    </a:lnTo>
                    <a:lnTo>
                      <a:pt x="897998" y="146543"/>
                    </a:lnTo>
                    <a:lnTo>
                      <a:pt x="899499" y="146543"/>
                    </a:lnTo>
                    <a:lnTo>
                      <a:pt x="901022" y="146543"/>
                    </a:lnTo>
                    <a:lnTo>
                      <a:pt x="902557" y="146543"/>
                    </a:lnTo>
                    <a:lnTo>
                      <a:pt x="902557" y="144563"/>
                    </a:lnTo>
                    <a:lnTo>
                      <a:pt x="904092" y="144563"/>
                    </a:lnTo>
                    <a:lnTo>
                      <a:pt x="904092" y="142606"/>
                    </a:lnTo>
                    <a:lnTo>
                      <a:pt x="907161" y="142606"/>
                    </a:lnTo>
                    <a:lnTo>
                      <a:pt x="911753" y="142606"/>
                    </a:lnTo>
                    <a:lnTo>
                      <a:pt x="913288" y="142606"/>
                    </a:lnTo>
                    <a:lnTo>
                      <a:pt x="916357" y="142606"/>
                    </a:lnTo>
                    <a:lnTo>
                      <a:pt x="916357" y="140593"/>
                    </a:lnTo>
                    <a:lnTo>
                      <a:pt x="919382" y="140593"/>
                    </a:lnTo>
                    <a:lnTo>
                      <a:pt x="920916" y="140593"/>
                    </a:lnTo>
                    <a:lnTo>
                      <a:pt x="923985" y="140593"/>
                    </a:lnTo>
                    <a:lnTo>
                      <a:pt x="925520" y="140593"/>
                    </a:lnTo>
                    <a:lnTo>
                      <a:pt x="925520" y="138568"/>
                    </a:lnTo>
                    <a:lnTo>
                      <a:pt x="928578" y="138568"/>
                    </a:lnTo>
                    <a:lnTo>
                      <a:pt x="930113" y="138568"/>
                    </a:lnTo>
                    <a:lnTo>
                      <a:pt x="931647" y="138568"/>
                    </a:lnTo>
                    <a:lnTo>
                      <a:pt x="931647" y="136511"/>
                    </a:lnTo>
                    <a:lnTo>
                      <a:pt x="933182" y="136511"/>
                    </a:lnTo>
                    <a:lnTo>
                      <a:pt x="934683" y="136511"/>
                    </a:lnTo>
                    <a:lnTo>
                      <a:pt x="934683" y="134453"/>
                    </a:lnTo>
                    <a:lnTo>
                      <a:pt x="939276" y="134453"/>
                    </a:lnTo>
                    <a:lnTo>
                      <a:pt x="940810" y="134453"/>
                    </a:lnTo>
                    <a:lnTo>
                      <a:pt x="940810" y="132329"/>
                    </a:lnTo>
                    <a:lnTo>
                      <a:pt x="942345" y="132329"/>
                    </a:lnTo>
                    <a:lnTo>
                      <a:pt x="943879" y="132329"/>
                    </a:lnTo>
                    <a:lnTo>
                      <a:pt x="945414" y="132329"/>
                    </a:lnTo>
                    <a:lnTo>
                      <a:pt x="946937" y="132329"/>
                    </a:lnTo>
                    <a:lnTo>
                      <a:pt x="946937" y="130205"/>
                    </a:lnTo>
                    <a:lnTo>
                      <a:pt x="950007" y="130205"/>
                    </a:lnTo>
                    <a:lnTo>
                      <a:pt x="951541" y="130205"/>
                    </a:lnTo>
                    <a:lnTo>
                      <a:pt x="951541" y="128047"/>
                    </a:lnTo>
                    <a:lnTo>
                      <a:pt x="953042" y="128047"/>
                    </a:lnTo>
                    <a:lnTo>
                      <a:pt x="953042" y="123765"/>
                    </a:lnTo>
                    <a:lnTo>
                      <a:pt x="954566" y="123765"/>
                    </a:lnTo>
                    <a:lnTo>
                      <a:pt x="956100" y="123765"/>
                    </a:lnTo>
                    <a:lnTo>
                      <a:pt x="959170" y="123765"/>
                    </a:lnTo>
                    <a:lnTo>
                      <a:pt x="959170" y="121563"/>
                    </a:lnTo>
                    <a:lnTo>
                      <a:pt x="960704" y="121563"/>
                    </a:lnTo>
                    <a:lnTo>
                      <a:pt x="962239" y="121563"/>
                    </a:lnTo>
                    <a:lnTo>
                      <a:pt x="963762" y="121563"/>
                    </a:lnTo>
                    <a:lnTo>
                      <a:pt x="965297" y="121563"/>
                    </a:lnTo>
                    <a:lnTo>
                      <a:pt x="965297" y="119338"/>
                    </a:lnTo>
                    <a:lnTo>
                      <a:pt x="966831" y="119338"/>
                    </a:lnTo>
                    <a:lnTo>
                      <a:pt x="972925" y="119338"/>
                    </a:lnTo>
                    <a:lnTo>
                      <a:pt x="972925" y="114879"/>
                    </a:lnTo>
                    <a:lnTo>
                      <a:pt x="974460" y="114879"/>
                    </a:lnTo>
                    <a:lnTo>
                      <a:pt x="975994" y="114879"/>
                    </a:lnTo>
                    <a:lnTo>
                      <a:pt x="975994" y="112576"/>
                    </a:lnTo>
                    <a:lnTo>
                      <a:pt x="977529" y="112576"/>
                    </a:lnTo>
                    <a:lnTo>
                      <a:pt x="980598" y="112576"/>
                    </a:lnTo>
                    <a:lnTo>
                      <a:pt x="980598" y="110274"/>
                    </a:lnTo>
                    <a:lnTo>
                      <a:pt x="982122" y="110274"/>
                    </a:lnTo>
                    <a:lnTo>
                      <a:pt x="983656" y="110274"/>
                    </a:lnTo>
                    <a:lnTo>
                      <a:pt x="985191" y="110274"/>
                    </a:lnTo>
                    <a:lnTo>
                      <a:pt x="986725" y="110274"/>
                    </a:lnTo>
                    <a:lnTo>
                      <a:pt x="988227" y="110274"/>
                    </a:lnTo>
                    <a:lnTo>
                      <a:pt x="992819" y="110274"/>
                    </a:lnTo>
                    <a:lnTo>
                      <a:pt x="994354" y="110274"/>
                    </a:lnTo>
                    <a:lnTo>
                      <a:pt x="995888" y="110274"/>
                    </a:lnTo>
                    <a:lnTo>
                      <a:pt x="997412" y="110274"/>
                    </a:lnTo>
                    <a:lnTo>
                      <a:pt x="998958" y="110274"/>
                    </a:lnTo>
                    <a:lnTo>
                      <a:pt x="1005040" y="110274"/>
                    </a:lnTo>
                    <a:lnTo>
                      <a:pt x="1006586" y="110274"/>
                    </a:lnTo>
                    <a:lnTo>
                      <a:pt x="1008109" y="110274"/>
                    </a:lnTo>
                    <a:lnTo>
                      <a:pt x="1008109" y="107905"/>
                    </a:lnTo>
                    <a:lnTo>
                      <a:pt x="1009644" y="107905"/>
                    </a:lnTo>
                    <a:lnTo>
                      <a:pt x="1009644" y="105503"/>
                    </a:lnTo>
                    <a:lnTo>
                      <a:pt x="1015782" y="105503"/>
                    </a:lnTo>
                    <a:lnTo>
                      <a:pt x="1017306" y="105503"/>
                    </a:lnTo>
                    <a:lnTo>
                      <a:pt x="1018840" y="105503"/>
                    </a:lnTo>
                    <a:lnTo>
                      <a:pt x="1018840" y="103100"/>
                    </a:lnTo>
                    <a:lnTo>
                      <a:pt x="1020375" y="103100"/>
                    </a:lnTo>
                    <a:lnTo>
                      <a:pt x="1020375" y="100665"/>
                    </a:lnTo>
                    <a:lnTo>
                      <a:pt x="1023411" y="100665"/>
                    </a:lnTo>
                    <a:lnTo>
                      <a:pt x="1023411" y="98185"/>
                    </a:lnTo>
                    <a:lnTo>
                      <a:pt x="1024934" y="98185"/>
                    </a:lnTo>
                    <a:lnTo>
                      <a:pt x="1026469" y="98185"/>
                    </a:lnTo>
                    <a:lnTo>
                      <a:pt x="1028003" y="98185"/>
                    </a:lnTo>
                    <a:lnTo>
                      <a:pt x="1029538" y="98185"/>
                    </a:lnTo>
                    <a:lnTo>
                      <a:pt x="1031073" y="98185"/>
                    </a:lnTo>
                    <a:lnTo>
                      <a:pt x="1034142" y="98185"/>
                    </a:lnTo>
                    <a:lnTo>
                      <a:pt x="1035665" y="98185"/>
                    </a:lnTo>
                    <a:lnTo>
                      <a:pt x="1037200" y="98185"/>
                    </a:lnTo>
                    <a:lnTo>
                      <a:pt x="1040269" y="98185"/>
                    </a:lnTo>
                    <a:lnTo>
                      <a:pt x="1041770" y="98185"/>
                    </a:lnTo>
                    <a:lnTo>
                      <a:pt x="1041770" y="95615"/>
                    </a:lnTo>
                    <a:lnTo>
                      <a:pt x="1046363" y="95615"/>
                    </a:lnTo>
                    <a:lnTo>
                      <a:pt x="1047897" y="95615"/>
                    </a:lnTo>
                    <a:lnTo>
                      <a:pt x="1047897" y="93002"/>
                    </a:lnTo>
                    <a:lnTo>
                      <a:pt x="1049432" y="93002"/>
                    </a:lnTo>
                    <a:lnTo>
                      <a:pt x="1050956" y="93002"/>
                    </a:lnTo>
                    <a:lnTo>
                      <a:pt x="1055559" y="93002"/>
                    </a:lnTo>
                    <a:lnTo>
                      <a:pt x="1057094" y="93002"/>
                    </a:lnTo>
                    <a:lnTo>
                      <a:pt x="1057094" y="90344"/>
                    </a:lnTo>
                    <a:lnTo>
                      <a:pt x="1058584" y="90344"/>
                    </a:lnTo>
                    <a:lnTo>
                      <a:pt x="1060118" y="90344"/>
                    </a:lnTo>
                    <a:lnTo>
                      <a:pt x="1061653" y="90344"/>
                    </a:lnTo>
                    <a:lnTo>
                      <a:pt x="1063188" y="90344"/>
                    </a:lnTo>
                    <a:lnTo>
                      <a:pt x="1064722" y="90344"/>
                    </a:lnTo>
                    <a:lnTo>
                      <a:pt x="1067780" y="90344"/>
                    </a:lnTo>
                    <a:lnTo>
                      <a:pt x="1069315" y="90344"/>
                    </a:lnTo>
                    <a:lnTo>
                      <a:pt x="1072384" y="90344"/>
                    </a:lnTo>
                    <a:lnTo>
                      <a:pt x="1073919" y="90344"/>
                    </a:lnTo>
                    <a:lnTo>
                      <a:pt x="1075453" y="90344"/>
                    </a:lnTo>
                    <a:lnTo>
                      <a:pt x="1075453" y="87530"/>
                    </a:lnTo>
                    <a:lnTo>
                      <a:pt x="1080012" y="87530"/>
                    </a:lnTo>
                    <a:lnTo>
                      <a:pt x="1081547" y="87530"/>
                    </a:lnTo>
                    <a:lnTo>
                      <a:pt x="1083082" y="87530"/>
                    </a:lnTo>
                    <a:lnTo>
                      <a:pt x="1089209" y="87530"/>
                    </a:lnTo>
                    <a:lnTo>
                      <a:pt x="1090743" y="87530"/>
                    </a:lnTo>
                    <a:lnTo>
                      <a:pt x="1092278" y="87530"/>
                    </a:lnTo>
                    <a:lnTo>
                      <a:pt x="1093768" y="87530"/>
                    </a:lnTo>
                    <a:lnTo>
                      <a:pt x="1093768" y="84594"/>
                    </a:lnTo>
                    <a:lnTo>
                      <a:pt x="1095314" y="84594"/>
                    </a:lnTo>
                    <a:lnTo>
                      <a:pt x="1096837" y="84594"/>
                    </a:lnTo>
                    <a:lnTo>
                      <a:pt x="1096837" y="81635"/>
                    </a:lnTo>
                    <a:lnTo>
                      <a:pt x="1098372" y="81635"/>
                    </a:lnTo>
                    <a:lnTo>
                      <a:pt x="1101441" y="81635"/>
                    </a:lnTo>
                    <a:lnTo>
                      <a:pt x="1101441" y="72649"/>
                    </a:lnTo>
                    <a:lnTo>
                      <a:pt x="1102976" y="72649"/>
                    </a:lnTo>
                    <a:lnTo>
                      <a:pt x="1104499" y="72649"/>
                    </a:lnTo>
                    <a:lnTo>
                      <a:pt x="1106034" y="72649"/>
                    </a:lnTo>
                    <a:lnTo>
                      <a:pt x="1109103" y="72649"/>
                    </a:lnTo>
                    <a:lnTo>
                      <a:pt x="1110626" y="72649"/>
                    </a:lnTo>
                    <a:lnTo>
                      <a:pt x="1112127" y="72649"/>
                    </a:lnTo>
                    <a:lnTo>
                      <a:pt x="1113662" y="72649"/>
                    </a:lnTo>
                    <a:lnTo>
                      <a:pt x="1113662" y="69512"/>
                    </a:lnTo>
                    <a:lnTo>
                      <a:pt x="1115197" y="69512"/>
                    </a:lnTo>
                    <a:lnTo>
                      <a:pt x="1116731" y="69512"/>
                    </a:lnTo>
                    <a:lnTo>
                      <a:pt x="1121324" y="69512"/>
                    </a:lnTo>
                    <a:lnTo>
                      <a:pt x="1121324" y="66309"/>
                    </a:lnTo>
                    <a:lnTo>
                      <a:pt x="1122858" y="66309"/>
                    </a:lnTo>
                    <a:lnTo>
                      <a:pt x="1124393" y="66309"/>
                    </a:lnTo>
                    <a:lnTo>
                      <a:pt x="1125928" y="66309"/>
                    </a:lnTo>
                    <a:lnTo>
                      <a:pt x="1127462" y="66309"/>
                    </a:lnTo>
                    <a:lnTo>
                      <a:pt x="1133556" y="66309"/>
                    </a:lnTo>
                    <a:lnTo>
                      <a:pt x="1135091" y="66309"/>
                    </a:lnTo>
                    <a:lnTo>
                      <a:pt x="1136625" y="66309"/>
                    </a:lnTo>
                    <a:lnTo>
                      <a:pt x="1138160" y="66309"/>
                    </a:lnTo>
                    <a:lnTo>
                      <a:pt x="1138160" y="62895"/>
                    </a:lnTo>
                    <a:lnTo>
                      <a:pt x="1142752" y="62895"/>
                    </a:lnTo>
                    <a:lnTo>
                      <a:pt x="1144287" y="62895"/>
                    </a:lnTo>
                    <a:lnTo>
                      <a:pt x="1145822" y="62895"/>
                    </a:lnTo>
                    <a:lnTo>
                      <a:pt x="1145822" y="59413"/>
                    </a:lnTo>
                    <a:lnTo>
                      <a:pt x="1147312" y="59413"/>
                    </a:lnTo>
                    <a:lnTo>
                      <a:pt x="1148857" y="59413"/>
                    </a:lnTo>
                    <a:lnTo>
                      <a:pt x="1150381" y="59413"/>
                    </a:lnTo>
                    <a:lnTo>
                      <a:pt x="1153450" y="59413"/>
                    </a:lnTo>
                    <a:lnTo>
                      <a:pt x="1153450" y="55821"/>
                    </a:lnTo>
                    <a:lnTo>
                      <a:pt x="1154985" y="55821"/>
                    </a:lnTo>
                    <a:lnTo>
                      <a:pt x="1156508" y="55821"/>
                    </a:lnTo>
                    <a:lnTo>
                      <a:pt x="1158043" y="55821"/>
                    </a:lnTo>
                    <a:lnTo>
                      <a:pt x="1159577" y="55821"/>
                    </a:lnTo>
                    <a:lnTo>
                      <a:pt x="1164170" y="55821"/>
                    </a:lnTo>
                    <a:lnTo>
                      <a:pt x="1165671" y="55821"/>
                    </a:lnTo>
                    <a:lnTo>
                      <a:pt x="1167206" y="55821"/>
                    </a:lnTo>
                    <a:lnTo>
                      <a:pt x="1168740" y="55821"/>
                    </a:lnTo>
                    <a:lnTo>
                      <a:pt x="1170275" y="55821"/>
                    </a:lnTo>
                    <a:lnTo>
                      <a:pt x="1176402" y="55821"/>
                    </a:lnTo>
                    <a:lnTo>
                      <a:pt x="1177937" y="55821"/>
                    </a:lnTo>
                    <a:lnTo>
                      <a:pt x="1179471" y="55821"/>
                    </a:lnTo>
                    <a:lnTo>
                      <a:pt x="1181006" y="55821"/>
                    </a:lnTo>
                    <a:lnTo>
                      <a:pt x="1184030" y="55821"/>
                    </a:lnTo>
                    <a:lnTo>
                      <a:pt x="1184030" y="51784"/>
                    </a:lnTo>
                    <a:lnTo>
                      <a:pt x="1187100" y="51784"/>
                    </a:lnTo>
                    <a:lnTo>
                      <a:pt x="1188634" y="51784"/>
                    </a:lnTo>
                    <a:lnTo>
                      <a:pt x="1190169" y="51784"/>
                    </a:lnTo>
                    <a:lnTo>
                      <a:pt x="1191703" y="51784"/>
                    </a:lnTo>
                    <a:lnTo>
                      <a:pt x="1196296" y="51784"/>
                    </a:lnTo>
                    <a:lnTo>
                      <a:pt x="1197831" y="51784"/>
                    </a:lnTo>
                    <a:lnTo>
                      <a:pt x="1199354" y="51784"/>
                    </a:lnTo>
                    <a:lnTo>
                      <a:pt x="1200855" y="51784"/>
                    </a:lnTo>
                    <a:lnTo>
                      <a:pt x="1200855" y="47357"/>
                    </a:lnTo>
                    <a:lnTo>
                      <a:pt x="1202390" y="47357"/>
                    </a:lnTo>
                    <a:lnTo>
                      <a:pt x="1206994" y="47357"/>
                    </a:lnTo>
                    <a:lnTo>
                      <a:pt x="1208528" y="47357"/>
                    </a:lnTo>
                    <a:lnTo>
                      <a:pt x="1210052" y="47357"/>
                    </a:lnTo>
                    <a:lnTo>
                      <a:pt x="1211586" y="47357"/>
                    </a:lnTo>
                    <a:lnTo>
                      <a:pt x="1217680" y="47357"/>
                    </a:lnTo>
                    <a:lnTo>
                      <a:pt x="1219215" y="47357"/>
                    </a:lnTo>
                    <a:lnTo>
                      <a:pt x="1220749" y="47357"/>
                    </a:lnTo>
                    <a:lnTo>
                      <a:pt x="1222284" y="47357"/>
                    </a:lnTo>
                    <a:lnTo>
                      <a:pt x="1223818" y="47357"/>
                    </a:lnTo>
                    <a:lnTo>
                      <a:pt x="1225342" y="47357"/>
                    </a:lnTo>
                    <a:lnTo>
                      <a:pt x="1225342" y="42508"/>
                    </a:lnTo>
                    <a:lnTo>
                      <a:pt x="1228411" y="42508"/>
                    </a:lnTo>
                    <a:lnTo>
                      <a:pt x="1231480" y="42508"/>
                    </a:lnTo>
                    <a:lnTo>
                      <a:pt x="1233015" y="42508"/>
                    </a:lnTo>
                    <a:lnTo>
                      <a:pt x="1234549" y="42508"/>
                    </a:lnTo>
                    <a:lnTo>
                      <a:pt x="1239109" y="42508"/>
                    </a:lnTo>
                    <a:lnTo>
                      <a:pt x="1242178" y="42508"/>
                    </a:lnTo>
                    <a:lnTo>
                      <a:pt x="1243701" y="42508"/>
                    </a:lnTo>
                    <a:lnTo>
                      <a:pt x="1243701" y="37214"/>
                    </a:lnTo>
                    <a:lnTo>
                      <a:pt x="1245236" y="37214"/>
                    </a:lnTo>
                    <a:lnTo>
                      <a:pt x="1249840" y="37214"/>
                    </a:lnTo>
                    <a:lnTo>
                      <a:pt x="1251374" y="37214"/>
                    </a:lnTo>
                    <a:lnTo>
                      <a:pt x="1252875" y="37214"/>
                    </a:lnTo>
                    <a:lnTo>
                      <a:pt x="1255933" y="37214"/>
                    </a:lnTo>
                    <a:lnTo>
                      <a:pt x="1260526" y="37214"/>
                    </a:lnTo>
                    <a:lnTo>
                      <a:pt x="1260526" y="31364"/>
                    </a:lnTo>
                    <a:lnTo>
                      <a:pt x="1262072" y="31364"/>
                    </a:lnTo>
                    <a:lnTo>
                      <a:pt x="1263595" y="31364"/>
                    </a:lnTo>
                    <a:lnTo>
                      <a:pt x="1263595" y="25302"/>
                    </a:lnTo>
                    <a:lnTo>
                      <a:pt x="1265130" y="25302"/>
                    </a:lnTo>
                    <a:lnTo>
                      <a:pt x="1266664" y="25302"/>
                    </a:lnTo>
                    <a:lnTo>
                      <a:pt x="1271224" y="25302"/>
                    </a:lnTo>
                    <a:lnTo>
                      <a:pt x="1272758" y="25302"/>
                    </a:lnTo>
                    <a:lnTo>
                      <a:pt x="1274293" y="25302"/>
                    </a:lnTo>
                    <a:lnTo>
                      <a:pt x="1274293" y="18640"/>
                    </a:lnTo>
                    <a:lnTo>
                      <a:pt x="1275827" y="18640"/>
                    </a:lnTo>
                    <a:lnTo>
                      <a:pt x="1277362" y="18640"/>
                    </a:lnTo>
                    <a:lnTo>
                      <a:pt x="1283489" y="18640"/>
                    </a:lnTo>
                    <a:lnTo>
                      <a:pt x="1285024" y="18640"/>
                    </a:lnTo>
                    <a:lnTo>
                      <a:pt x="1286558" y="18640"/>
                    </a:lnTo>
                    <a:lnTo>
                      <a:pt x="1288082" y="18640"/>
                    </a:lnTo>
                    <a:lnTo>
                      <a:pt x="1292652" y="18640"/>
                    </a:lnTo>
                    <a:lnTo>
                      <a:pt x="1294187" y="18640"/>
                    </a:lnTo>
                    <a:lnTo>
                      <a:pt x="1295721" y="18640"/>
                    </a:lnTo>
                    <a:lnTo>
                      <a:pt x="1297245" y="18640"/>
                    </a:lnTo>
                    <a:lnTo>
                      <a:pt x="1298779" y="18640"/>
                    </a:lnTo>
                    <a:lnTo>
                      <a:pt x="1303383" y="18640"/>
                    </a:lnTo>
                    <a:lnTo>
                      <a:pt x="1304918" y="18640"/>
                    </a:lnTo>
                    <a:lnTo>
                      <a:pt x="1306408" y="18640"/>
                    </a:lnTo>
                    <a:lnTo>
                      <a:pt x="1307942" y="18640"/>
                    </a:lnTo>
                    <a:lnTo>
                      <a:pt x="1309477" y="18640"/>
                    </a:lnTo>
                    <a:lnTo>
                      <a:pt x="1315615" y="18640"/>
                    </a:lnTo>
                    <a:lnTo>
                      <a:pt x="1317139" y="18640"/>
                    </a:lnTo>
                    <a:lnTo>
                      <a:pt x="1318673" y="18640"/>
                    </a:lnTo>
                    <a:lnTo>
                      <a:pt x="1320208" y="18640"/>
                    </a:lnTo>
                    <a:lnTo>
                      <a:pt x="1324767" y="18640"/>
                    </a:lnTo>
                    <a:lnTo>
                      <a:pt x="1326302" y="18640"/>
                    </a:lnTo>
                    <a:lnTo>
                      <a:pt x="1327836" y="18640"/>
                    </a:lnTo>
                    <a:lnTo>
                      <a:pt x="1329371" y="18640"/>
                    </a:lnTo>
                    <a:lnTo>
                      <a:pt x="1330906" y="18640"/>
                    </a:lnTo>
                    <a:lnTo>
                      <a:pt x="1335498" y="18640"/>
                    </a:lnTo>
                    <a:lnTo>
                      <a:pt x="1337033" y="18640"/>
                    </a:lnTo>
                    <a:lnTo>
                      <a:pt x="1340102" y="18640"/>
                    </a:lnTo>
                    <a:lnTo>
                      <a:pt x="1341603" y="18640"/>
                    </a:lnTo>
                    <a:lnTo>
                      <a:pt x="1347730" y="18640"/>
                    </a:lnTo>
                    <a:lnTo>
                      <a:pt x="1349254" y="18640"/>
                    </a:lnTo>
                    <a:lnTo>
                      <a:pt x="1350788" y="18640"/>
                    </a:lnTo>
                    <a:lnTo>
                      <a:pt x="1352323" y="18640"/>
                    </a:lnTo>
                    <a:lnTo>
                      <a:pt x="1358461" y="18640"/>
                    </a:lnTo>
                    <a:lnTo>
                      <a:pt x="1359951" y="18640"/>
                    </a:lnTo>
                    <a:lnTo>
                      <a:pt x="1361486" y="18640"/>
                    </a:lnTo>
                    <a:lnTo>
                      <a:pt x="1363021" y="18640"/>
                    </a:lnTo>
                    <a:lnTo>
                      <a:pt x="1367613" y="18640"/>
                    </a:lnTo>
                    <a:lnTo>
                      <a:pt x="1370682" y="18640"/>
                    </a:lnTo>
                    <a:lnTo>
                      <a:pt x="1372217" y="18640"/>
                    </a:lnTo>
                    <a:lnTo>
                      <a:pt x="1373752" y="18640"/>
                    </a:lnTo>
                    <a:lnTo>
                      <a:pt x="1375286" y="18640"/>
                    </a:lnTo>
                    <a:lnTo>
                      <a:pt x="1375286" y="0"/>
                    </a:lnTo>
                    <a:lnTo>
                      <a:pt x="1492410" y="1848"/>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4" name="Group 3">
            <a:extLst>
              <a:ext uri="{FF2B5EF4-FFF2-40B4-BE49-F238E27FC236}">
                <a16:creationId xmlns:a16="http://schemas.microsoft.com/office/drawing/2014/main" id="{75D1C043-E542-460D-AD3D-DD2FEC3A6707}"/>
              </a:ext>
            </a:extLst>
          </p:cNvPr>
          <p:cNvGrpSpPr/>
          <p:nvPr/>
        </p:nvGrpSpPr>
        <p:grpSpPr>
          <a:xfrm>
            <a:off x="7742793" y="1808163"/>
            <a:ext cx="2771213" cy="3076337"/>
            <a:chOff x="7967359" y="1720815"/>
            <a:chExt cx="2771213" cy="3076337"/>
          </a:xfrm>
        </p:grpSpPr>
        <p:sp>
          <p:nvSpPr>
            <p:cNvPr id="71" name="Rectangle 70">
              <a:extLst>
                <a:ext uri="{FF2B5EF4-FFF2-40B4-BE49-F238E27FC236}">
                  <a16:creationId xmlns:a16="http://schemas.microsoft.com/office/drawing/2014/main" id="{0A8F1A39-4A6E-44A5-904D-3A43AE7D5383}"/>
                </a:ext>
              </a:extLst>
            </p:cNvPr>
            <p:cNvSpPr/>
            <p:nvPr/>
          </p:nvSpPr>
          <p:spPr>
            <a:xfrm>
              <a:off x="7967359" y="1720815"/>
              <a:ext cx="2771213" cy="3076337"/>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46280A49-2DAF-43D3-8210-90DD0AAD55B0}"/>
                </a:ext>
              </a:extLst>
            </p:cNvPr>
            <p:cNvSpPr/>
            <p:nvPr/>
          </p:nvSpPr>
          <p:spPr>
            <a:xfrm>
              <a:off x="7989380" y="1808820"/>
              <a:ext cx="2749192" cy="585610"/>
            </a:xfrm>
            <a:prstGeom prst="rect">
              <a:avLst/>
            </a:prstGeom>
            <a:noFill/>
            <a:ln>
              <a:noFill/>
            </a:ln>
          </p:spPr>
          <p:txBody>
            <a:bodyPr wrap="square">
              <a:spAutoFit/>
            </a:bodyPr>
            <a:lstStyle/>
            <a:p>
              <a:pPr marL="0" marR="0" lvl="0" indent="0" algn="l" defTabSz="914377" rtl="0" eaLnBrk="1" fontAlgn="auto" latinLnBrk="0" hangingPunct="1">
                <a:lnSpc>
                  <a:spcPct val="12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FC3B2D"/>
                  </a:solidFill>
                  <a:effectLst/>
                  <a:uLnTx/>
                  <a:uFillTx/>
                  <a:latin typeface="Arial"/>
                  <a:ea typeface="+mn-ea"/>
                  <a:cs typeface="+mn-cs"/>
                </a:rPr>
                <a:t>Median treatment duration for primary endpoint:</a:t>
              </a:r>
              <a:r>
                <a:rPr kumimoji="0" lang="en-US" sz="1400" b="0" i="0" u="none" strike="noStrike" kern="1200" cap="none" spc="0" normalizeH="0" baseline="0" noProof="0">
                  <a:ln>
                    <a:noFill/>
                  </a:ln>
                  <a:solidFill>
                    <a:srgbClr val="FC3B2D"/>
                  </a:solidFill>
                  <a:effectLst/>
                  <a:uLnTx/>
                  <a:uFillTx/>
                  <a:latin typeface="Arial"/>
                  <a:ea typeface="+mn-ea"/>
                  <a:cs typeface="+mn-cs"/>
                </a:rPr>
                <a:t> </a:t>
              </a:r>
              <a:r>
                <a:rPr kumimoji="0" lang="en-US" sz="1400" b="0" i="0" u="none" strike="noStrike" kern="1200" cap="none" spc="0" normalizeH="0" baseline="0" noProof="0">
                  <a:ln>
                    <a:noFill/>
                  </a:ln>
                  <a:solidFill>
                    <a:srgbClr val="000000"/>
                  </a:solidFill>
                  <a:effectLst/>
                  <a:uLnTx/>
                  <a:uFillTx/>
                  <a:latin typeface="Arial"/>
                  <a:ea typeface="+mn-ea"/>
                  <a:cs typeface="+mn-cs"/>
                </a:rPr>
                <a:t>10.8 months</a:t>
              </a:r>
            </a:p>
          </p:txBody>
        </p:sp>
        <p:graphicFrame>
          <p:nvGraphicFramePr>
            <p:cNvPr id="73" name="Table Placeholder 5">
              <a:extLst>
                <a:ext uri="{FF2B5EF4-FFF2-40B4-BE49-F238E27FC236}">
                  <a16:creationId xmlns:a16="http://schemas.microsoft.com/office/drawing/2014/main" id="{DCD16911-AB1B-44C6-9E17-92372BE06806}"/>
                </a:ext>
              </a:extLst>
            </p:cNvPr>
            <p:cNvGraphicFramePr>
              <a:graphicFrameLocks/>
            </p:cNvGraphicFramePr>
            <p:nvPr/>
          </p:nvGraphicFramePr>
          <p:xfrm>
            <a:off x="7989376" y="2514151"/>
            <a:ext cx="2713160" cy="914400"/>
          </p:xfrm>
          <a:graphic>
            <a:graphicData uri="http://schemas.openxmlformats.org/drawingml/2006/table">
              <a:tbl>
                <a:tblPr firstRow="1" bandRow="1">
                  <a:tableStyleId>{5C22544A-7EE6-4342-B048-85BDC9FD1C3A}</a:tableStyleId>
                </a:tblPr>
                <a:tblGrid>
                  <a:gridCol w="1356580">
                    <a:extLst>
                      <a:ext uri="{9D8B030D-6E8A-4147-A177-3AD203B41FA5}">
                        <a16:colId xmlns:a16="http://schemas.microsoft.com/office/drawing/2014/main" val="20000"/>
                      </a:ext>
                    </a:extLst>
                  </a:gridCol>
                  <a:gridCol w="1356580">
                    <a:extLst>
                      <a:ext uri="{9D8B030D-6E8A-4147-A177-3AD203B41FA5}">
                        <a16:colId xmlns:a16="http://schemas.microsoft.com/office/drawing/2014/main" val="20002"/>
                      </a:ext>
                    </a:extLst>
                  </a:gridCol>
                </a:tblGrid>
                <a:tr h="187740">
                  <a:tc gridSpan="2">
                    <a:txBody>
                      <a:bodyPr/>
                      <a:lstStyle/>
                      <a:p>
                        <a:pPr algn="l"/>
                        <a:r>
                          <a:rPr lang="en-US" sz="1400" strike="noStrike" baseline="0" noProof="0">
                            <a:solidFill>
                              <a:schemeClr val="accent1"/>
                            </a:solidFill>
                          </a:rPr>
                          <a:t>Annual event rate per 100 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59080">
                  <a:tc>
                    <a:txBody>
                      <a:bodyPr/>
                      <a:lstStyle/>
                      <a:p>
                        <a:pPr marL="0" marR="0">
                          <a:lnSpc>
                            <a:spcPct val="100000"/>
                          </a:lnSpc>
                          <a:spcBef>
                            <a:spcPts val="0"/>
                          </a:spcBef>
                          <a:spcAft>
                            <a:spcPts val="0"/>
                          </a:spcAft>
                        </a:pPr>
                        <a:r>
                          <a:rPr lang="en-US" sz="1400" b="1" noProof="0">
                            <a:effectLst/>
                            <a:latin typeface="+mn-lt"/>
                            <a:ea typeface="Calibri" panose="020F0502020204030204" pitchFamily="34" charset="0"/>
                            <a:cs typeface="Times New Roman" panose="02020603050405020304" pitchFamily="18" charset="0"/>
                          </a:rPr>
                          <a:t>Vericigu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55575" marR="0" algn="ctr">
                          <a:lnSpc>
                            <a:spcPct val="100000"/>
                          </a:lnSpc>
                          <a:spcBef>
                            <a:spcPts val="0"/>
                          </a:spcBef>
                          <a:spcAft>
                            <a:spcPts val="0"/>
                          </a:spcAft>
                        </a:pPr>
                        <a:r>
                          <a:rPr lang="en-US" sz="1400" noProof="0">
                            <a:effectLst/>
                            <a:latin typeface="+mn-lt"/>
                            <a:ea typeface="Calibri" panose="020F0502020204030204" pitchFamily="34" charset="0"/>
                            <a:cs typeface="Times New Roman" panose="02020603050405020304" pitchFamily="18" charset="0"/>
                          </a:rPr>
                          <a:t>3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59080">
                  <a:tc>
                    <a:txBody>
                      <a:bodyPr/>
                      <a:lstStyle/>
                      <a:p>
                        <a:pPr marL="0" marR="0">
                          <a:lnSpc>
                            <a:spcPct val="100000"/>
                          </a:lnSpc>
                          <a:spcBef>
                            <a:spcPts val="0"/>
                          </a:spcBef>
                          <a:spcAft>
                            <a:spcPts val="0"/>
                          </a:spcAft>
                        </a:pPr>
                        <a:r>
                          <a:rPr lang="en-US" sz="1400" b="1" noProof="0">
                            <a:effectLst/>
                            <a:latin typeface="+mn-lt"/>
                            <a:ea typeface="Calibri" panose="020F0502020204030204" pitchFamily="34" charset="0"/>
                            <a:cs typeface="Times New Roman" panose="02020603050405020304" pitchFamily="18" charset="0"/>
                          </a:rPr>
                          <a:t>Placeb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55575" marR="0" algn="ctr">
                          <a:lnSpc>
                            <a:spcPct val="100000"/>
                          </a:lnSpc>
                          <a:spcBef>
                            <a:spcPts val="0"/>
                          </a:spcBef>
                          <a:spcAft>
                            <a:spcPts val="0"/>
                          </a:spcAft>
                        </a:pPr>
                        <a:r>
                          <a:rPr lang="en-US" sz="1400" noProof="0">
                            <a:effectLst/>
                            <a:latin typeface="+mn-lt"/>
                            <a:ea typeface="Calibri" panose="020F0502020204030204" pitchFamily="34" charset="0"/>
                            <a:cs typeface="Times New Roman" panose="02020603050405020304" pitchFamily="18" charset="0"/>
                          </a:rPr>
                          <a:t>37.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258922"/>
                    </a:ext>
                  </a:extLst>
                </a:tr>
              </a:tbl>
            </a:graphicData>
          </a:graphic>
        </p:graphicFrame>
        <p:sp>
          <p:nvSpPr>
            <p:cNvPr id="74" name="Rectangle 73">
              <a:extLst>
                <a:ext uri="{FF2B5EF4-FFF2-40B4-BE49-F238E27FC236}">
                  <a16:creationId xmlns:a16="http://schemas.microsoft.com/office/drawing/2014/main" id="{DF788307-36E8-4AFB-BD84-397A19136241}"/>
                </a:ext>
              </a:extLst>
            </p:cNvPr>
            <p:cNvSpPr/>
            <p:nvPr/>
          </p:nvSpPr>
          <p:spPr>
            <a:xfrm>
              <a:off x="7989379" y="3503246"/>
              <a:ext cx="2530035" cy="1179618"/>
            </a:xfrm>
            <a:prstGeom prst="rect">
              <a:avLst/>
            </a:prstGeom>
            <a:noFill/>
            <a:ln>
              <a:noFill/>
            </a:ln>
          </p:spPr>
          <p:txBody>
            <a:bodyPr wrap="square">
              <a:spAutoFit/>
            </a:bodyPr>
            <a:lstStyle/>
            <a:p>
              <a:pPr marL="0" marR="0" lvl="0" indent="0" algn="l" defTabSz="914377" rtl="0" eaLnBrk="1" fontAlgn="auto" latinLnBrk="0" hangingPunct="1">
                <a:lnSpc>
                  <a:spcPct val="12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FC3B2D"/>
                  </a:solidFill>
                  <a:effectLst/>
                  <a:uLnTx/>
                  <a:uFillTx/>
                  <a:latin typeface="Arial"/>
                  <a:ea typeface="+mn-ea"/>
                  <a:cs typeface="Arial" panose="020B0604020202020204" pitchFamily="34" charset="0"/>
                </a:rPr>
                <a:t>HR</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0.90 (95% CI 0.82–0.98); </a:t>
              </a:r>
              <a:r>
                <a:rPr kumimoji="0" lang="en-US" sz="1400" b="0" i="0" u="none" strike="noStrike" kern="1200" cap="none" spc="0" normalizeH="0" baseline="0" noProof="0">
                  <a:ln>
                    <a:noFill/>
                  </a:ln>
                  <a:solidFill>
                    <a:srgbClr val="000000"/>
                  </a:solidFill>
                  <a:effectLst/>
                  <a:uLnTx/>
                  <a:uFillTx/>
                  <a:latin typeface="Arial"/>
                  <a:ea typeface="Calibri" panose="020F0502020204030204" pitchFamily="34" charset="0"/>
                  <a:cs typeface="Arial" panose="020B0604020202020204" pitchFamily="34" charset="0"/>
                </a:rPr>
                <a:t>p=0.02</a:t>
              </a:r>
            </a:p>
            <a:p>
              <a:pPr marL="0" marR="0" lvl="0" indent="0" algn="l" defTabSz="914377" rtl="0" eaLnBrk="1" fontAlgn="auto" latinLnBrk="0" hangingPunct="1">
                <a:lnSpc>
                  <a:spcPct val="12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FC3B2D"/>
                  </a:solidFill>
                  <a:effectLst/>
                  <a:uLnTx/>
                  <a:uFillTx/>
                  <a:latin typeface="Arial"/>
                  <a:ea typeface="+mn-ea"/>
                  <a:cs typeface="Arial" panose="020B0604020202020204" pitchFamily="34" charset="0"/>
                </a:rPr>
                <a:t>ARR</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4.2 events/100 PY</a:t>
              </a:r>
            </a:p>
            <a:p>
              <a:pPr marL="0" marR="0" lvl="0" indent="0" algn="l" defTabSz="914377"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C3B2D"/>
                  </a:solidFill>
                  <a:effectLst/>
                  <a:uLnTx/>
                  <a:uFillTx/>
                  <a:latin typeface="Arial"/>
                  <a:ea typeface="+mn-ea"/>
                  <a:cs typeface="Arial" panose="020B0604020202020204" pitchFamily="34" charset="0"/>
                </a:rPr>
                <a:t>Annual NNT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24*</a:t>
              </a:r>
            </a:p>
          </p:txBody>
        </p:sp>
      </p:grpSp>
      <p:sp>
        <p:nvSpPr>
          <p:cNvPr id="76" name="Text Placeholder 1">
            <a:extLst>
              <a:ext uri="{FF2B5EF4-FFF2-40B4-BE49-F238E27FC236}">
                <a16:creationId xmlns:a16="http://schemas.microsoft.com/office/drawing/2014/main" id="{06AD3FA4-BB5A-45A8-A082-337A831C1E53}"/>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6002766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2">
            <a:extLst>
              <a:ext uri="{FF2B5EF4-FFF2-40B4-BE49-F238E27FC236}">
                <a16:creationId xmlns:a16="http://schemas.microsoft.com/office/drawing/2014/main" id="{3C1F6CB6-A5E8-434A-92C4-BAAB6A3A782A}"/>
              </a:ext>
            </a:extLst>
          </p:cNvPr>
          <p:cNvSpPr txBox="1">
            <a:spLocks/>
          </p:cNvSpPr>
          <p:nvPr/>
        </p:nvSpPr>
        <p:spPr>
          <a:xfrm>
            <a:off x="482850" y="1600201"/>
            <a:ext cx="11232899" cy="45259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Clr>
                <a:srgbClr val="FFFF00"/>
              </a:buClr>
              <a:buSzPct val="100000"/>
              <a:buFont typeface="Arial" panose="020B0604020202020204" pitchFamily="34" charset="0"/>
              <a:buNone/>
              <a:defRPr sz="2400" b="1" kern="1200">
                <a:solidFill>
                  <a:schemeClr val="tx1"/>
                </a:solidFill>
                <a:latin typeface="+mn-lt"/>
                <a:ea typeface="+mn-ea"/>
                <a:cs typeface="+mn-cs"/>
              </a:defRPr>
            </a:lvl1pPr>
            <a:lvl2pPr marL="227013" indent="-227013" algn="l" defTabSz="914400" rtl="0" eaLnBrk="1" latinLnBrk="0" hangingPunct="1">
              <a:lnSpc>
                <a:spcPct val="100000"/>
              </a:lnSpc>
              <a:spcBef>
                <a:spcPts val="600"/>
              </a:spcBef>
              <a:buClr>
                <a:schemeClr val="accent3"/>
              </a:buClr>
              <a:buFont typeface="Arial" panose="020B0604020202020204" pitchFamily="34" charset="0"/>
              <a:buChar char="•"/>
              <a:tabLst/>
              <a:defRPr sz="2000" kern="1200">
                <a:solidFill>
                  <a:schemeClr val="tx1"/>
                </a:solidFill>
                <a:latin typeface="+mn-lt"/>
                <a:ea typeface="+mn-ea"/>
                <a:cs typeface="+mn-cs"/>
              </a:defRPr>
            </a:lvl2pPr>
            <a:lvl3pPr marL="461963" indent="-234950" algn="l" defTabSz="914400" rtl="0" eaLnBrk="1" latinLnBrk="0" hangingPunct="1">
              <a:lnSpc>
                <a:spcPct val="100000"/>
              </a:lnSpc>
              <a:spcBef>
                <a:spcPts val="600"/>
              </a:spcBef>
              <a:buClr>
                <a:schemeClr val="accent3"/>
              </a:buClr>
              <a:buFont typeface="Arial" panose="020B0604020202020204" pitchFamily="34" charset="0"/>
              <a:buChar char="–"/>
              <a:defRPr sz="1800" kern="1200">
                <a:solidFill>
                  <a:schemeClr val="tx1"/>
                </a:solidFill>
                <a:latin typeface="+mn-lt"/>
                <a:ea typeface="+mn-ea"/>
                <a:cs typeface="+mn-cs"/>
              </a:defRPr>
            </a:lvl3pPr>
            <a:lvl4pPr marL="687388" indent="-225425"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914400" indent="-227013" algn="l" defTabSz="914400" rtl="0" eaLnBrk="1" latinLnBrk="0" hangingPunct="1">
              <a:lnSpc>
                <a:spcPct val="100000"/>
              </a:lnSpc>
              <a:spcBef>
                <a:spcPts val="6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600" cap="none" spc="10" normalizeH="0" baseline="0" noProof="0">
                <a:ln>
                  <a:noFill/>
                </a:ln>
                <a:solidFill>
                  <a:srgbClr val="000000"/>
                </a:solidFill>
                <a:effectLst/>
                <a:uLnTx/>
                <a:uFillTx/>
                <a:latin typeface="Arial"/>
                <a:ea typeface="+mn-ea"/>
                <a:cs typeface="+mn-cs"/>
              </a:rPr>
              <a:t>Time to CV death</a:t>
            </a:r>
          </a:p>
        </p:txBody>
      </p:sp>
      <p:sp>
        <p:nvSpPr>
          <p:cNvPr id="79" name="Rectangle 78">
            <a:extLst>
              <a:ext uri="{FF2B5EF4-FFF2-40B4-BE49-F238E27FC236}">
                <a16:creationId xmlns:a16="http://schemas.microsoft.com/office/drawing/2014/main" id="{9CF410BB-3B37-4520-9C27-10CB6F443B4D}"/>
              </a:ext>
            </a:extLst>
          </p:cNvPr>
          <p:cNvSpPr/>
          <p:nvPr/>
        </p:nvSpPr>
        <p:spPr>
          <a:xfrm>
            <a:off x="8437060" y="2141179"/>
            <a:ext cx="3320275" cy="1646605"/>
          </a:xfrm>
          <a:prstGeom prst="rect">
            <a:avLst/>
          </a:prstGeom>
        </p:spPr>
        <p:txBody>
          <a:bodyPr wrap="square">
            <a:spAutoFit/>
          </a:bodyPr>
          <a:lstStyle/>
          <a:p>
            <a:pPr marL="285750" marR="0" lvl="0" indent="-285750" algn="l" defTabSz="914286" rtl="0" eaLnBrk="1" fontAlgn="auto" latinLnBrk="0" hangingPunct="1">
              <a:lnSpc>
                <a:spcPct val="100000"/>
              </a:lnSpc>
              <a:spcBef>
                <a:spcPts val="0"/>
              </a:spcBef>
              <a:spcAft>
                <a:spcPts val="600"/>
              </a:spcAft>
              <a:buClr>
                <a:srgbClr val="B4008D"/>
              </a:buClr>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Median treatment duration: 10.8 months</a:t>
            </a:r>
            <a:r>
              <a:rPr kumimoji="0" lang="en-GB" sz="1600" b="0" i="0" u="none" strike="noStrike" kern="1200" cap="none" spc="0" normalizeH="0" baseline="30000" noProof="0">
                <a:ln>
                  <a:noFill/>
                </a:ln>
                <a:solidFill>
                  <a:srgbClr val="000000"/>
                </a:solidFill>
                <a:effectLst/>
                <a:uLnTx/>
                <a:uFillTx/>
                <a:latin typeface="Arial"/>
                <a:ea typeface="+mn-ea"/>
                <a:cs typeface="+mn-cs"/>
              </a:rPr>
              <a:t>1</a:t>
            </a:r>
          </a:p>
          <a:p>
            <a:pPr marL="285750" marR="0" lvl="0" indent="-285750" algn="l" defTabSz="914286" rtl="0" eaLnBrk="1" fontAlgn="auto" latinLnBrk="0" hangingPunct="1">
              <a:lnSpc>
                <a:spcPct val="100000"/>
              </a:lnSpc>
              <a:spcBef>
                <a:spcPts val="0"/>
              </a:spcBef>
              <a:spcAft>
                <a:spcPts val="600"/>
              </a:spcAft>
              <a:buClr>
                <a:srgbClr val="B4008D"/>
              </a:buClr>
              <a:buSzTx/>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Annual event rates for vericiguat and placebo per 100 patient-years were 12.9 and 13.9, respectively</a:t>
            </a:r>
            <a:r>
              <a:rPr kumimoji="0" lang="en-GB" sz="1600" b="0" i="0" u="none" strike="noStrike" kern="1200" cap="none" spc="0" normalizeH="0" baseline="30000" noProof="0">
                <a:ln>
                  <a:noFill/>
                </a:ln>
                <a:solidFill>
                  <a:srgbClr val="000000"/>
                </a:solidFill>
                <a:effectLst/>
                <a:uLnTx/>
                <a:uFillTx/>
                <a:latin typeface="Arial"/>
                <a:ea typeface="+mn-ea"/>
                <a:cs typeface="+mn-cs"/>
              </a:rPr>
              <a:t>1</a:t>
            </a:r>
          </a:p>
        </p:txBody>
      </p:sp>
      <p:sp>
        <p:nvSpPr>
          <p:cNvPr id="80" name="Rectangle 79">
            <a:extLst>
              <a:ext uri="{FF2B5EF4-FFF2-40B4-BE49-F238E27FC236}">
                <a16:creationId xmlns:a16="http://schemas.microsoft.com/office/drawing/2014/main" id="{C860E47D-07F8-4B2B-AB9B-2103BCB0BB5C}"/>
              </a:ext>
            </a:extLst>
          </p:cNvPr>
          <p:cNvSpPr/>
          <p:nvPr/>
        </p:nvSpPr>
        <p:spPr>
          <a:xfrm>
            <a:off x="8721912" y="3863760"/>
            <a:ext cx="2887714" cy="83099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B4008D"/>
                </a:solidFill>
                <a:effectLst/>
                <a:uLnTx/>
                <a:uFillTx/>
                <a:latin typeface="Arial"/>
                <a:ea typeface="+mn-ea"/>
                <a:cs typeface="Arial" panose="020B0604020202020204" pitchFamily="34" charset="0"/>
              </a:rPr>
              <a:t>HR=0.93 (95% CI 0.81–1.06)</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B4008D"/>
                </a:solidFill>
                <a:effectLst/>
                <a:uLnTx/>
                <a:uFillTx/>
                <a:latin typeface="Arial"/>
                <a:ea typeface="+mn-ea"/>
                <a:cs typeface="Arial" panose="020B0604020202020204" pitchFamily="34" charset="0"/>
              </a:rPr>
              <a:t>ARR=1.0 event per 100 patient-yr</a:t>
            </a:r>
            <a:r>
              <a:rPr kumimoji="0" lang="it-IT" sz="1600" b="0" i="0" u="none" strike="noStrike" kern="1200" cap="none" spc="0" normalizeH="0" baseline="30000" noProof="0">
                <a:ln>
                  <a:noFill/>
                </a:ln>
                <a:solidFill>
                  <a:srgbClr val="B4008D"/>
                </a:solidFill>
                <a:effectLst/>
                <a:uLnTx/>
                <a:uFillTx/>
                <a:latin typeface="Arial"/>
                <a:ea typeface="+mn-ea"/>
                <a:cs typeface="Arial" panose="020B0604020202020204" pitchFamily="34" charset="0"/>
              </a:rPr>
              <a:t>2</a:t>
            </a:r>
          </a:p>
        </p:txBody>
      </p:sp>
      <p:grpSp>
        <p:nvGrpSpPr>
          <p:cNvPr id="77" name="Group 76">
            <a:extLst>
              <a:ext uri="{FF2B5EF4-FFF2-40B4-BE49-F238E27FC236}">
                <a16:creationId xmlns:a16="http://schemas.microsoft.com/office/drawing/2014/main" id="{AA3E510B-AEF9-410E-9431-6958501813D7}"/>
              </a:ext>
            </a:extLst>
          </p:cNvPr>
          <p:cNvGrpSpPr/>
          <p:nvPr/>
        </p:nvGrpSpPr>
        <p:grpSpPr>
          <a:xfrm>
            <a:off x="1915516" y="1943453"/>
            <a:ext cx="6372806" cy="3215526"/>
            <a:chOff x="1915516" y="1943453"/>
            <a:chExt cx="6372806" cy="3215526"/>
          </a:xfrm>
        </p:grpSpPr>
        <p:grpSp>
          <p:nvGrpSpPr>
            <p:cNvPr id="183" name="Group 182">
              <a:extLst>
                <a:ext uri="{FF2B5EF4-FFF2-40B4-BE49-F238E27FC236}">
                  <a16:creationId xmlns:a16="http://schemas.microsoft.com/office/drawing/2014/main" id="{E456D36F-898E-4227-A459-4311E2C58802}"/>
                </a:ext>
              </a:extLst>
            </p:cNvPr>
            <p:cNvGrpSpPr/>
            <p:nvPr/>
          </p:nvGrpSpPr>
          <p:grpSpPr>
            <a:xfrm>
              <a:off x="1915516" y="1943453"/>
              <a:ext cx="6372806" cy="3215526"/>
              <a:chOff x="1915516" y="1943453"/>
              <a:chExt cx="6372806" cy="3215526"/>
            </a:xfrm>
          </p:grpSpPr>
          <p:sp>
            <p:nvSpPr>
              <p:cNvPr id="184" name="TextBox 183">
                <a:extLst>
                  <a:ext uri="{FF2B5EF4-FFF2-40B4-BE49-F238E27FC236}">
                    <a16:creationId xmlns:a16="http://schemas.microsoft.com/office/drawing/2014/main" id="{561D1B74-2845-4C9F-8A46-AAB0B52A51C5}"/>
                  </a:ext>
                </a:extLst>
              </p:cNvPr>
              <p:cNvSpPr txBox="1"/>
              <p:nvPr/>
            </p:nvSpPr>
            <p:spPr>
              <a:xfrm>
                <a:off x="4422756"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12</a:t>
                </a:r>
              </a:p>
            </p:txBody>
          </p:sp>
          <p:sp>
            <p:nvSpPr>
              <p:cNvPr id="185" name="TextBox 184">
                <a:extLst>
                  <a:ext uri="{FF2B5EF4-FFF2-40B4-BE49-F238E27FC236}">
                    <a16:creationId xmlns:a16="http://schemas.microsoft.com/office/drawing/2014/main" id="{93A96113-3C49-4942-AC9F-E52F79085EA9}"/>
                  </a:ext>
                </a:extLst>
              </p:cNvPr>
              <p:cNvSpPr txBox="1"/>
              <p:nvPr/>
            </p:nvSpPr>
            <p:spPr>
              <a:xfrm>
                <a:off x="3701763"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8</a:t>
                </a:r>
              </a:p>
            </p:txBody>
          </p:sp>
          <p:sp>
            <p:nvSpPr>
              <p:cNvPr id="186" name="TextBox 185">
                <a:extLst>
                  <a:ext uri="{FF2B5EF4-FFF2-40B4-BE49-F238E27FC236}">
                    <a16:creationId xmlns:a16="http://schemas.microsoft.com/office/drawing/2014/main" id="{A4EA84CD-6150-40F8-BF12-3855D103D97B}"/>
                  </a:ext>
                </a:extLst>
              </p:cNvPr>
              <p:cNvSpPr txBox="1"/>
              <p:nvPr/>
            </p:nvSpPr>
            <p:spPr>
              <a:xfrm>
                <a:off x="2980958"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4</a:t>
                </a:r>
              </a:p>
            </p:txBody>
          </p:sp>
          <p:sp>
            <p:nvSpPr>
              <p:cNvPr id="187" name="TextBox 186">
                <a:extLst>
                  <a:ext uri="{FF2B5EF4-FFF2-40B4-BE49-F238E27FC236}">
                    <a16:creationId xmlns:a16="http://schemas.microsoft.com/office/drawing/2014/main" id="{F692A137-BCEB-4E4E-9BB3-5C87065D5E22}"/>
                  </a:ext>
                </a:extLst>
              </p:cNvPr>
              <p:cNvSpPr txBox="1"/>
              <p:nvPr/>
            </p:nvSpPr>
            <p:spPr>
              <a:xfrm>
                <a:off x="2259881"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a:t>
                </a:r>
              </a:p>
            </p:txBody>
          </p:sp>
          <p:sp>
            <p:nvSpPr>
              <p:cNvPr id="188" name="TextBox 187">
                <a:extLst>
                  <a:ext uri="{FF2B5EF4-FFF2-40B4-BE49-F238E27FC236}">
                    <a16:creationId xmlns:a16="http://schemas.microsoft.com/office/drawing/2014/main" id="{2322DB0E-54DF-4F0C-A9B8-FCBB79418632}"/>
                  </a:ext>
                </a:extLst>
              </p:cNvPr>
              <p:cNvSpPr txBox="1"/>
              <p:nvPr/>
            </p:nvSpPr>
            <p:spPr>
              <a:xfrm>
                <a:off x="5149286"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16</a:t>
                </a:r>
              </a:p>
            </p:txBody>
          </p:sp>
          <p:sp>
            <p:nvSpPr>
              <p:cNvPr id="189" name="TextBox 188">
                <a:extLst>
                  <a:ext uri="{FF2B5EF4-FFF2-40B4-BE49-F238E27FC236}">
                    <a16:creationId xmlns:a16="http://schemas.microsoft.com/office/drawing/2014/main" id="{D8E0F1C5-78E8-4EBB-8E0F-4D7F2B2884AB}"/>
                  </a:ext>
                </a:extLst>
              </p:cNvPr>
              <p:cNvSpPr txBox="1"/>
              <p:nvPr/>
            </p:nvSpPr>
            <p:spPr>
              <a:xfrm>
                <a:off x="5872662"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20</a:t>
                </a:r>
              </a:p>
            </p:txBody>
          </p:sp>
          <p:sp>
            <p:nvSpPr>
              <p:cNvPr id="190" name="TextBox 189">
                <a:extLst>
                  <a:ext uri="{FF2B5EF4-FFF2-40B4-BE49-F238E27FC236}">
                    <a16:creationId xmlns:a16="http://schemas.microsoft.com/office/drawing/2014/main" id="{A4BC0C21-7B2C-4D54-8E8E-B0FB824B2432}"/>
                  </a:ext>
                </a:extLst>
              </p:cNvPr>
              <p:cNvSpPr txBox="1"/>
              <p:nvPr/>
            </p:nvSpPr>
            <p:spPr>
              <a:xfrm>
                <a:off x="6590059"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24</a:t>
                </a:r>
              </a:p>
            </p:txBody>
          </p:sp>
          <p:sp>
            <p:nvSpPr>
              <p:cNvPr id="191" name="TextBox 190">
                <a:extLst>
                  <a:ext uri="{FF2B5EF4-FFF2-40B4-BE49-F238E27FC236}">
                    <a16:creationId xmlns:a16="http://schemas.microsoft.com/office/drawing/2014/main" id="{B12333E1-12F0-442C-89F9-95548DCD5066}"/>
                  </a:ext>
                </a:extLst>
              </p:cNvPr>
              <p:cNvSpPr txBox="1"/>
              <p:nvPr/>
            </p:nvSpPr>
            <p:spPr>
              <a:xfrm>
                <a:off x="7320571"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28</a:t>
                </a:r>
              </a:p>
            </p:txBody>
          </p:sp>
          <p:sp>
            <p:nvSpPr>
              <p:cNvPr id="192" name="TextBox 191">
                <a:extLst>
                  <a:ext uri="{FF2B5EF4-FFF2-40B4-BE49-F238E27FC236}">
                    <a16:creationId xmlns:a16="http://schemas.microsoft.com/office/drawing/2014/main" id="{02553E21-3F33-4E43-9893-6A953721C28B}"/>
                  </a:ext>
                </a:extLst>
              </p:cNvPr>
              <p:cNvSpPr txBox="1"/>
              <p:nvPr/>
            </p:nvSpPr>
            <p:spPr>
              <a:xfrm>
                <a:off x="8045108" y="4943535"/>
                <a:ext cx="243214"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32</a:t>
                </a:r>
              </a:p>
            </p:txBody>
          </p:sp>
          <p:sp>
            <p:nvSpPr>
              <p:cNvPr id="193" name="TextBox 192">
                <a:extLst>
                  <a:ext uri="{FF2B5EF4-FFF2-40B4-BE49-F238E27FC236}">
                    <a16:creationId xmlns:a16="http://schemas.microsoft.com/office/drawing/2014/main" id="{BDBC4AC7-E04C-4F0C-985F-C69286C5DB6A}"/>
                  </a:ext>
                </a:extLst>
              </p:cNvPr>
              <p:cNvSpPr txBox="1"/>
              <p:nvPr/>
            </p:nvSpPr>
            <p:spPr>
              <a:xfrm>
                <a:off x="1915516" y="1943453"/>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55</a:t>
                </a:r>
              </a:p>
            </p:txBody>
          </p:sp>
          <p:sp>
            <p:nvSpPr>
              <p:cNvPr id="194" name="TextBox 193">
                <a:extLst>
                  <a:ext uri="{FF2B5EF4-FFF2-40B4-BE49-F238E27FC236}">
                    <a16:creationId xmlns:a16="http://schemas.microsoft.com/office/drawing/2014/main" id="{6C4EF0B7-3361-46F8-A563-CE65C41BE7C0}"/>
                  </a:ext>
                </a:extLst>
              </p:cNvPr>
              <p:cNvSpPr txBox="1"/>
              <p:nvPr/>
            </p:nvSpPr>
            <p:spPr>
              <a:xfrm>
                <a:off x="1915516" y="2204736"/>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50</a:t>
                </a:r>
              </a:p>
            </p:txBody>
          </p:sp>
          <p:sp>
            <p:nvSpPr>
              <p:cNvPr id="195" name="TextBox 194">
                <a:extLst>
                  <a:ext uri="{FF2B5EF4-FFF2-40B4-BE49-F238E27FC236}">
                    <a16:creationId xmlns:a16="http://schemas.microsoft.com/office/drawing/2014/main" id="{436F50DC-69D9-4898-8148-70849E134252}"/>
                  </a:ext>
                </a:extLst>
              </p:cNvPr>
              <p:cNvSpPr txBox="1"/>
              <p:nvPr/>
            </p:nvSpPr>
            <p:spPr>
              <a:xfrm>
                <a:off x="1915516" y="2461337"/>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45</a:t>
                </a:r>
              </a:p>
            </p:txBody>
          </p:sp>
          <p:sp>
            <p:nvSpPr>
              <p:cNvPr id="196" name="TextBox 195">
                <a:extLst>
                  <a:ext uri="{FF2B5EF4-FFF2-40B4-BE49-F238E27FC236}">
                    <a16:creationId xmlns:a16="http://schemas.microsoft.com/office/drawing/2014/main" id="{0B5015EE-F7C2-4DE7-94C5-BA9C75BC44CD}"/>
                  </a:ext>
                </a:extLst>
              </p:cNvPr>
              <p:cNvSpPr txBox="1"/>
              <p:nvPr/>
            </p:nvSpPr>
            <p:spPr>
              <a:xfrm>
                <a:off x="1915516" y="2717938"/>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40</a:t>
                </a:r>
              </a:p>
            </p:txBody>
          </p:sp>
          <p:sp>
            <p:nvSpPr>
              <p:cNvPr id="197" name="TextBox 196">
                <a:extLst>
                  <a:ext uri="{FF2B5EF4-FFF2-40B4-BE49-F238E27FC236}">
                    <a16:creationId xmlns:a16="http://schemas.microsoft.com/office/drawing/2014/main" id="{433FC36A-9562-4AB6-ACC2-01AB7E266E42}"/>
                  </a:ext>
                </a:extLst>
              </p:cNvPr>
              <p:cNvSpPr txBox="1"/>
              <p:nvPr/>
            </p:nvSpPr>
            <p:spPr>
              <a:xfrm>
                <a:off x="1915516" y="2970191"/>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35</a:t>
                </a:r>
              </a:p>
            </p:txBody>
          </p:sp>
          <p:sp>
            <p:nvSpPr>
              <p:cNvPr id="198" name="TextBox 197">
                <a:extLst>
                  <a:ext uri="{FF2B5EF4-FFF2-40B4-BE49-F238E27FC236}">
                    <a16:creationId xmlns:a16="http://schemas.microsoft.com/office/drawing/2014/main" id="{E77FA199-858C-458F-B447-E5344465D97C}"/>
                  </a:ext>
                </a:extLst>
              </p:cNvPr>
              <p:cNvSpPr txBox="1"/>
              <p:nvPr/>
            </p:nvSpPr>
            <p:spPr>
              <a:xfrm>
                <a:off x="1915516" y="3235491"/>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30</a:t>
                </a:r>
              </a:p>
            </p:txBody>
          </p:sp>
          <p:sp>
            <p:nvSpPr>
              <p:cNvPr id="199" name="TextBox 198">
                <a:extLst>
                  <a:ext uri="{FF2B5EF4-FFF2-40B4-BE49-F238E27FC236}">
                    <a16:creationId xmlns:a16="http://schemas.microsoft.com/office/drawing/2014/main" id="{A0D15604-2B85-42F1-B927-BCD90BA22A49}"/>
                  </a:ext>
                </a:extLst>
              </p:cNvPr>
              <p:cNvSpPr txBox="1"/>
              <p:nvPr/>
            </p:nvSpPr>
            <p:spPr>
              <a:xfrm>
                <a:off x="1915516" y="3487744"/>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25</a:t>
                </a:r>
              </a:p>
            </p:txBody>
          </p:sp>
          <p:sp>
            <p:nvSpPr>
              <p:cNvPr id="200" name="TextBox 199">
                <a:extLst>
                  <a:ext uri="{FF2B5EF4-FFF2-40B4-BE49-F238E27FC236}">
                    <a16:creationId xmlns:a16="http://schemas.microsoft.com/office/drawing/2014/main" id="{2CC32D75-2FAC-4C2C-BBFD-598C280E3B60}"/>
                  </a:ext>
                </a:extLst>
              </p:cNvPr>
              <p:cNvSpPr txBox="1"/>
              <p:nvPr/>
            </p:nvSpPr>
            <p:spPr>
              <a:xfrm>
                <a:off x="1915516" y="3739997"/>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20</a:t>
                </a:r>
              </a:p>
            </p:txBody>
          </p:sp>
          <p:sp>
            <p:nvSpPr>
              <p:cNvPr id="201" name="TextBox 200">
                <a:extLst>
                  <a:ext uri="{FF2B5EF4-FFF2-40B4-BE49-F238E27FC236}">
                    <a16:creationId xmlns:a16="http://schemas.microsoft.com/office/drawing/2014/main" id="{5E2A9381-C9F3-468E-934F-C77E8B8AD766}"/>
                  </a:ext>
                </a:extLst>
              </p:cNvPr>
              <p:cNvSpPr txBox="1"/>
              <p:nvPr/>
            </p:nvSpPr>
            <p:spPr>
              <a:xfrm>
                <a:off x="1915516" y="3996598"/>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15</a:t>
                </a:r>
              </a:p>
            </p:txBody>
          </p:sp>
          <p:sp>
            <p:nvSpPr>
              <p:cNvPr id="202" name="TextBox 201">
                <a:extLst>
                  <a:ext uri="{FF2B5EF4-FFF2-40B4-BE49-F238E27FC236}">
                    <a16:creationId xmlns:a16="http://schemas.microsoft.com/office/drawing/2014/main" id="{7C758FC6-62A6-411E-AA40-33187D5B8F06}"/>
                  </a:ext>
                </a:extLst>
              </p:cNvPr>
              <p:cNvSpPr txBox="1"/>
              <p:nvPr/>
            </p:nvSpPr>
            <p:spPr>
              <a:xfrm>
                <a:off x="1915516" y="4266247"/>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10</a:t>
                </a:r>
              </a:p>
            </p:txBody>
          </p:sp>
          <p:sp>
            <p:nvSpPr>
              <p:cNvPr id="203" name="TextBox 202">
                <a:extLst>
                  <a:ext uri="{FF2B5EF4-FFF2-40B4-BE49-F238E27FC236}">
                    <a16:creationId xmlns:a16="http://schemas.microsoft.com/office/drawing/2014/main" id="{0A32DBD3-AB1D-480B-AB66-4FCC35186D85}"/>
                  </a:ext>
                </a:extLst>
              </p:cNvPr>
              <p:cNvSpPr txBox="1"/>
              <p:nvPr/>
            </p:nvSpPr>
            <p:spPr>
              <a:xfrm>
                <a:off x="1915516" y="4501102"/>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05</a:t>
                </a:r>
              </a:p>
            </p:txBody>
          </p:sp>
          <p:sp>
            <p:nvSpPr>
              <p:cNvPr id="204" name="TextBox 203">
                <a:extLst>
                  <a:ext uri="{FF2B5EF4-FFF2-40B4-BE49-F238E27FC236}">
                    <a16:creationId xmlns:a16="http://schemas.microsoft.com/office/drawing/2014/main" id="{A8FC7E9F-9881-4D4E-A83C-0D996F3A49FE}"/>
                  </a:ext>
                </a:extLst>
              </p:cNvPr>
              <p:cNvSpPr txBox="1"/>
              <p:nvPr/>
            </p:nvSpPr>
            <p:spPr>
              <a:xfrm>
                <a:off x="1915516" y="4770752"/>
                <a:ext cx="389613" cy="216216"/>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prstClr val="black"/>
                    </a:solidFill>
                    <a:effectLst/>
                    <a:uLnTx/>
                    <a:uFillTx/>
                    <a:latin typeface="Arial"/>
                    <a:ea typeface="+mn-ea"/>
                    <a:cs typeface="+mn-cs"/>
                  </a:rPr>
                  <a:t>0.00</a:t>
                </a:r>
              </a:p>
            </p:txBody>
          </p:sp>
        </p:grpSp>
        <p:grpSp>
          <p:nvGrpSpPr>
            <p:cNvPr id="84" name="Group 83">
              <a:extLst>
                <a:ext uri="{FF2B5EF4-FFF2-40B4-BE49-F238E27FC236}">
                  <a16:creationId xmlns:a16="http://schemas.microsoft.com/office/drawing/2014/main" id="{6030D5BB-30EB-4107-AD29-594E815926AE}"/>
                </a:ext>
              </a:extLst>
            </p:cNvPr>
            <p:cNvGrpSpPr/>
            <p:nvPr/>
          </p:nvGrpSpPr>
          <p:grpSpPr>
            <a:xfrm>
              <a:off x="2324432" y="2057400"/>
              <a:ext cx="5843260" cy="2862263"/>
              <a:chOff x="2324432" y="2057400"/>
              <a:chExt cx="5843260" cy="2862263"/>
            </a:xfrm>
          </p:grpSpPr>
          <p:cxnSp>
            <p:nvCxnSpPr>
              <p:cNvPr id="85" name="Straight Connector 84">
                <a:extLst>
                  <a:ext uri="{FF2B5EF4-FFF2-40B4-BE49-F238E27FC236}">
                    <a16:creationId xmlns:a16="http://schemas.microsoft.com/office/drawing/2014/main" id="{FE2D21CD-629B-4A1E-BE9C-4DB2E2331ED0}"/>
                  </a:ext>
                </a:extLst>
              </p:cNvPr>
              <p:cNvCxnSpPr>
                <a:cxnSpLocks/>
              </p:cNvCxnSpPr>
              <p:nvPr/>
            </p:nvCxnSpPr>
            <p:spPr>
              <a:xfrm rot="5400000">
                <a:off x="2347292" y="2543747"/>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A3694A4-3138-4292-ADDE-21340AB3DC2C}"/>
                  </a:ext>
                </a:extLst>
              </p:cNvPr>
              <p:cNvCxnSpPr>
                <a:cxnSpLocks/>
              </p:cNvCxnSpPr>
              <p:nvPr/>
            </p:nvCxnSpPr>
            <p:spPr>
              <a:xfrm rot="5400000">
                <a:off x="2347292" y="280034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5395F6A0-F151-4DC5-8F43-420CC6F9DB0D}"/>
                  </a:ext>
                </a:extLst>
              </p:cNvPr>
              <p:cNvCxnSpPr>
                <a:cxnSpLocks/>
              </p:cNvCxnSpPr>
              <p:nvPr/>
            </p:nvCxnSpPr>
            <p:spPr>
              <a:xfrm rot="5400000">
                <a:off x="2347292" y="228585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DAB4F70-6002-4EFC-A3ED-F6D05546FBCB}"/>
                  </a:ext>
                </a:extLst>
              </p:cNvPr>
              <p:cNvCxnSpPr>
                <a:cxnSpLocks/>
              </p:cNvCxnSpPr>
              <p:nvPr/>
            </p:nvCxnSpPr>
            <p:spPr>
              <a:xfrm rot="5400000">
                <a:off x="2347292" y="2543033"/>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8E089DDF-CDB4-4BF7-B967-DE0925A281C6}"/>
                  </a:ext>
                </a:extLst>
              </p:cNvPr>
              <p:cNvCxnSpPr>
                <a:cxnSpLocks/>
              </p:cNvCxnSpPr>
              <p:nvPr/>
            </p:nvCxnSpPr>
            <p:spPr>
              <a:xfrm rot="5400000">
                <a:off x="2347292" y="2800207"/>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3A46520-C60E-4F52-9EA8-801F8A1C8633}"/>
                  </a:ext>
                </a:extLst>
              </p:cNvPr>
              <p:cNvCxnSpPr>
                <a:cxnSpLocks/>
              </p:cNvCxnSpPr>
              <p:nvPr/>
            </p:nvCxnSpPr>
            <p:spPr>
              <a:xfrm rot="5400000">
                <a:off x="2347292" y="3047857"/>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705B829B-5158-4266-9D48-AE18A35E71A8}"/>
                  </a:ext>
                </a:extLst>
              </p:cNvPr>
              <p:cNvCxnSpPr>
                <a:cxnSpLocks/>
              </p:cNvCxnSpPr>
              <p:nvPr/>
            </p:nvCxnSpPr>
            <p:spPr>
              <a:xfrm rot="5400000">
                <a:off x="2347292" y="331455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2893EBE-B8AC-4D2B-AB61-14E1D3055A68}"/>
                  </a:ext>
                </a:extLst>
              </p:cNvPr>
              <p:cNvCxnSpPr>
                <a:cxnSpLocks/>
              </p:cNvCxnSpPr>
              <p:nvPr/>
            </p:nvCxnSpPr>
            <p:spPr>
              <a:xfrm rot="5400000">
                <a:off x="2347292" y="3824145"/>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5E5CB52B-FD24-4358-98BA-1A9C5B6C93EF}"/>
                  </a:ext>
                </a:extLst>
              </p:cNvPr>
              <p:cNvCxnSpPr>
                <a:cxnSpLocks/>
              </p:cNvCxnSpPr>
              <p:nvPr/>
            </p:nvCxnSpPr>
            <p:spPr>
              <a:xfrm rot="5400000">
                <a:off x="2347292" y="4076556"/>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477FE412-B99E-4235-965E-18F188524F5F}"/>
                  </a:ext>
                </a:extLst>
              </p:cNvPr>
              <p:cNvCxnSpPr>
                <a:cxnSpLocks/>
              </p:cNvCxnSpPr>
              <p:nvPr/>
            </p:nvCxnSpPr>
            <p:spPr>
              <a:xfrm rot="5400000">
                <a:off x="2347292" y="434801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2A844D7F-E0E4-4815-AAFF-36B16650F4F6}"/>
                  </a:ext>
                </a:extLst>
              </p:cNvPr>
              <p:cNvCxnSpPr>
                <a:cxnSpLocks/>
              </p:cNvCxnSpPr>
              <p:nvPr/>
            </p:nvCxnSpPr>
            <p:spPr>
              <a:xfrm rot="5400000">
                <a:off x="2347292" y="4581381"/>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3AF6FA8-9656-400F-8C21-132E1E97AC57}"/>
                  </a:ext>
                </a:extLst>
              </p:cNvPr>
              <p:cNvCxnSpPr>
                <a:cxnSpLocks/>
              </p:cNvCxnSpPr>
              <p:nvPr/>
            </p:nvCxnSpPr>
            <p:spPr>
              <a:xfrm rot="5400000">
                <a:off x="2347292" y="2035993"/>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8DAF5EE8-9012-4945-814B-DA45F9C89432}"/>
                  </a:ext>
                </a:extLst>
              </p:cNvPr>
              <p:cNvCxnSpPr>
                <a:cxnSpLocks/>
              </p:cNvCxnSpPr>
              <p:nvPr/>
            </p:nvCxnSpPr>
            <p:spPr>
              <a:xfrm rot="5400000">
                <a:off x="2347292" y="3566970"/>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132D905D-C4DA-4025-B7FF-4E474B6B044A}"/>
                  </a:ext>
                </a:extLst>
              </p:cNvPr>
              <p:cNvCxnSpPr>
                <a:cxnSpLocks/>
              </p:cNvCxnSpPr>
              <p:nvPr/>
            </p:nvCxnSpPr>
            <p:spPr>
              <a:xfrm rot="10800000">
                <a:off x="3819297"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4EA9702-8192-4F31-B22D-7ED87F940902}"/>
                  </a:ext>
                </a:extLst>
              </p:cNvPr>
              <p:cNvCxnSpPr>
                <a:cxnSpLocks/>
              </p:cNvCxnSpPr>
              <p:nvPr/>
            </p:nvCxnSpPr>
            <p:spPr>
              <a:xfrm rot="10800000">
                <a:off x="31001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B9E99AB-6BF4-48C8-B362-A2B9BAE0DDD0}"/>
                  </a:ext>
                </a:extLst>
              </p:cNvPr>
              <p:cNvCxnSpPr>
                <a:cxnSpLocks/>
              </p:cNvCxnSpPr>
              <p:nvPr/>
            </p:nvCxnSpPr>
            <p:spPr>
              <a:xfrm rot="10800000">
                <a:off x="45479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B367BD9-78D1-4A96-89CE-BE17F9814DB0}"/>
                  </a:ext>
                </a:extLst>
              </p:cNvPr>
              <p:cNvCxnSpPr>
                <a:cxnSpLocks/>
              </p:cNvCxnSpPr>
              <p:nvPr/>
            </p:nvCxnSpPr>
            <p:spPr>
              <a:xfrm rot="10800000">
                <a:off x="5267085"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6C6299C-629F-4BA2-B571-D60B658A0874}"/>
                  </a:ext>
                </a:extLst>
              </p:cNvPr>
              <p:cNvCxnSpPr>
                <a:cxnSpLocks/>
              </p:cNvCxnSpPr>
              <p:nvPr/>
            </p:nvCxnSpPr>
            <p:spPr>
              <a:xfrm rot="10800000">
                <a:off x="59957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7C3CBC5-DBCD-4774-BC5D-8DA684629050}"/>
                  </a:ext>
                </a:extLst>
              </p:cNvPr>
              <p:cNvCxnSpPr>
                <a:cxnSpLocks/>
              </p:cNvCxnSpPr>
              <p:nvPr/>
            </p:nvCxnSpPr>
            <p:spPr>
              <a:xfrm rot="10800000">
                <a:off x="6714886"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921F5C18-6AC0-43A5-A93B-B3FB51489FEA}"/>
                  </a:ext>
                </a:extLst>
              </p:cNvPr>
              <p:cNvCxnSpPr>
                <a:cxnSpLocks/>
              </p:cNvCxnSpPr>
              <p:nvPr/>
            </p:nvCxnSpPr>
            <p:spPr>
              <a:xfrm rot="10800000">
                <a:off x="7438785"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8CAE224-3EDE-4D57-943E-E30E8B12F987}"/>
                  </a:ext>
                </a:extLst>
              </p:cNvPr>
              <p:cNvCxnSpPr>
                <a:cxnSpLocks/>
              </p:cNvCxnSpPr>
              <p:nvPr/>
            </p:nvCxnSpPr>
            <p:spPr>
              <a:xfrm rot="10800000">
                <a:off x="8167448" y="4871012"/>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76C7877E-1935-4EFF-8A33-13A3833D6D14}"/>
                  </a:ext>
                </a:extLst>
              </p:cNvPr>
              <p:cNvGrpSpPr/>
              <p:nvPr/>
            </p:nvGrpSpPr>
            <p:grpSpPr>
              <a:xfrm>
                <a:off x="2324432" y="4872037"/>
                <a:ext cx="5843260" cy="0"/>
                <a:chOff x="2324432" y="2308718"/>
                <a:chExt cx="5843260" cy="0"/>
              </a:xfrm>
            </p:grpSpPr>
            <p:cxnSp>
              <p:nvCxnSpPr>
                <p:cNvPr id="140" name="Straight Connector 139">
                  <a:extLst>
                    <a:ext uri="{FF2B5EF4-FFF2-40B4-BE49-F238E27FC236}">
                      <a16:creationId xmlns:a16="http://schemas.microsoft.com/office/drawing/2014/main" id="{3D4F2A62-D96F-4AF3-B72C-2D99921B581F}"/>
                    </a:ext>
                  </a:extLst>
                </p:cNvPr>
                <p:cNvCxnSpPr>
                  <a:cxnSpLocks/>
                </p:cNvCxnSpPr>
                <p:nvPr/>
              </p:nvCxnSpPr>
              <p:spPr>
                <a:xfrm rot="5400000">
                  <a:off x="2347292" y="2285858"/>
                  <a:ext cx="0" cy="457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0E85B330-CFF2-4358-AD9E-BEA18BE6CD25}"/>
                    </a:ext>
                  </a:extLst>
                </p:cNvPr>
                <p:cNvCxnSpPr>
                  <a:cxnSpLocks/>
                </p:cNvCxnSpPr>
                <p:nvPr/>
              </p:nvCxnSpPr>
              <p:spPr>
                <a:xfrm flipH="1">
                  <a:off x="2376488" y="2308718"/>
                  <a:ext cx="5791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9" name="Straight Connector 138">
                <a:extLst>
                  <a:ext uri="{FF2B5EF4-FFF2-40B4-BE49-F238E27FC236}">
                    <a16:creationId xmlns:a16="http://schemas.microsoft.com/office/drawing/2014/main" id="{1B0B5E60-C6AA-44AB-91B7-3B32C73F740C}"/>
                  </a:ext>
                </a:extLst>
              </p:cNvPr>
              <p:cNvCxnSpPr>
                <a:cxnSpLocks/>
              </p:cNvCxnSpPr>
              <p:nvPr/>
            </p:nvCxnSpPr>
            <p:spPr>
              <a:xfrm>
                <a:off x="2371725" y="2057400"/>
                <a:ext cx="0" cy="28622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aphicFrame>
        <p:nvGraphicFramePr>
          <p:cNvPr id="205" name="Table Placeholder 5">
            <a:extLst>
              <a:ext uri="{FF2B5EF4-FFF2-40B4-BE49-F238E27FC236}">
                <a16:creationId xmlns:a16="http://schemas.microsoft.com/office/drawing/2014/main" id="{9AEE87A8-3554-4FB4-B53A-D62A08313FF7}"/>
              </a:ext>
            </a:extLst>
          </p:cNvPr>
          <p:cNvGraphicFramePr>
            <a:graphicFrameLocks/>
          </p:cNvGraphicFramePr>
          <p:nvPr/>
        </p:nvGraphicFramePr>
        <p:xfrm>
          <a:off x="942313" y="5388064"/>
          <a:ext cx="7494765" cy="777240"/>
        </p:xfrm>
        <a:graphic>
          <a:graphicData uri="http://schemas.openxmlformats.org/drawingml/2006/table">
            <a:tbl>
              <a:tblPr firstRow="1" bandRow="1">
                <a:tableStyleId>{5C22544A-7EE6-4342-B048-85BDC9FD1C3A}</a:tableStyleId>
              </a:tblPr>
              <a:tblGrid>
                <a:gridCol w="993561">
                  <a:extLst>
                    <a:ext uri="{9D8B030D-6E8A-4147-A177-3AD203B41FA5}">
                      <a16:colId xmlns:a16="http://schemas.microsoft.com/office/drawing/2014/main" val="20000"/>
                    </a:ext>
                  </a:extLst>
                </a:gridCol>
                <a:gridCol w="722356">
                  <a:extLst>
                    <a:ext uri="{9D8B030D-6E8A-4147-A177-3AD203B41FA5}">
                      <a16:colId xmlns:a16="http://schemas.microsoft.com/office/drawing/2014/main" val="20002"/>
                    </a:ext>
                  </a:extLst>
                </a:gridCol>
                <a:gridCol w="722356">
                  <a:extLst>
                    <a:ext uri="{9D8B030D-6E8A-4147-A177-3AD203B41FA5}">
                      <a16:colId xmlns:a16="http://schemas.microsoft.com/office/drawing/2014/main" val="1577222836"/>
                    </a:ext>
                  </a:extLst>
                </a:gridCol>
                <a:gridCol w="722356">
                  <a:extLst>
                    <a:ext uri="{9D8B030D-6E8A-4147-A177-3AD203B41FA5}">
                      <a16:colId xmlns:a16="http://schemas.microsoft.com/office/drawing/2014/main" val="672927634"/>
                    </a:ext>
                  </a:extLst>
                </a:gridCol>
                <a:gridCol w="722356">
                  <a:extLst>
                    <a:ext uri="{9D8B030D-6E8A-4147-A177-3AD203B41FA5}">
                      <a16:colId xmlns:a16="http://schemas.microsoft.com/office/drawing/2014/main" val="3478128122"/>
                    </a:ext>
                  </a:extLst>
                </a:gridCol>
                <a:gridCol w="722356">
                  <a:extLst>
                    <a:ext uri="{9D8B030D-6E8A-4147-A177-3AD203B41FA5}">
                      <a16:colId xmlns:a16="http://schemas.microsoft.com/office/drawing/2014/main" val="4200255387"/>
                    </a:ext>
                  </a:extLst>
                </a:gridCol>
                <a:gridCol w="722356">
                  <a:extLst>
                    <a:ext uri="{9D8B030D-6E8A-4147-A177-3AD203B41FA5}">
                      <a16:colId xmlns:a16="http://schemas.microsoft.com/office/drawing/2014/main" val="4264237533"/>
                    </a:ext>
                  </a:extLst>
                </a:gridCol>
                <a:gridCol w="722356">
                  <a:extLst>
                    <a:ext uri="{9D8B030D-6E8A-4147-A177-3AD203B41FA5}">
                      <a16:colId xmlns:a16="http://schemas.microsoft.com/office/drawing/2014/main" val="3204389226"/>
                    </a:ext>
                  </a:extLst>
                </a:gridCol>
                <a:gridCol w="722356">
                  <a:extLst>
                    <a:ext uri="{9D8B030D-6E8A-4147-A177-3AD203B41FA5}">
                      <a16:colId xmlns:a16="http://schemas.microsoft.com/office/drawing/2014/main" val="852687898"/>
                    </a:ext>
                  </a:extLst>
                </a:gridCol>
                <a:gridCol w="722356">
                  <a:extLst>
                    <a:ext uri="{9D8B030D-6E8A-4147-A177-3AD203B41FA5}">
                      <a16:colId xmlns:a16="http://schemas.microsoft.com/office/drawing/2014/main" val="1064255070"/>
                    </a:ext>
                  </a:extLst>
                </a:gridCol>
              </a:tblGrid>
              <a:tr h="155999">
                <a:tc gridSpan="10">
                  <a:txBody>
                    <a:bodyPr/>
                    <a:lstStyle/>
                    <a:p>
                      <a:pPr algn="l"/>
                      <a:r>
                        <a:rPr lang="en-US" sz="1100" strike="noStrike" baseline="0"/>
                        <a:t>Number of patients at risk </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ctr"/>
                      <a:endParaRPr lang="en-US" sz="1400"/>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tc hMerge="1">
                  <a:txBody>
                    <a:bodyPr/>
                    <a:lstStyle/>
                    <a:p>
                      <a:pPr algn="l"/>
                      <a:endParaRPr lang="en-US" sz="1400" strike="noStrike" baseline="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87740">
                <a:tc>
                  <a:txBody>
                    <a:bodyPr/>
                    <a:lstStyle/>
                    <a:p>
                      <a:pPr marL="0" marR="0">
                        <a:lnSpc>
                          <a:spcPct val="100000"/>
                        </a:lnSpc>
                        <a:spcBef>
                          <a:spcPts val="0"/>
                        </a:spcBef>
                        <a:spcAft>
                          <a:spcPts val="0"/>
                        </a:spcAft>
                      </a:pPr>
                      <a:r>
                        <a:rPr lang="en-US" sz="1100" b="0">
                          <a:effectLst/>
                          <a:latin typeface="+mn-lt"/>
                          <a:ea typeface="Calibri" panose="020F0502020204030204" pitchFamily="34" charset="0"/>
                          <a:cs typeface="Times New Roman" panose="02020603050405020304" pitchFamily="18" charset="0"/>
                        </a:rPr>
                        <a:t>Vericiguat</a:t>
                      </a:r>
                    </a:p>
                  </a:txBody>
                  <a:tcPr anchor="ctr">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25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23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9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4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0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7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4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a:t>
                      </a:r>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0006"/>
                  </a:ext>
                </a:extLst>
              </a:tr>
              <a:tr h="187740">
                <a:tc>
                  <a:txBody>
                    <a:bodyPr/>
                    <a:lstStyle/>
                    <a:p>
                      <a:pPr marL="0" marR="0">
                        <a:lnSpc>
                          <a:spcPct val="100000"/>
                        </a:lnSpc>
                        <a:spcBef>
                          <a:spcPts val="0"/>
                        </a:spcBef>
                        <a:spcAft>
                          <a:spcPts val="0"/>
                        </a:spcAft>
                      </a:pPr>
                      <a:r>
                        <a:rPr lang="en-US" sz="1100" b="0">
                          <a:effectLst/>
                          <a:latin typeface="+mn-lt"/>
                          <a:ea typeface="Calibri" panose="020F0502020204030204" pitchFamily="34" charset="0"/>
                          <a:cs typeface="Times New Roman" panose="02020603050405020304" pitchFamily="18" charset="0"/>
                        </a:rPr>
                        <a:t>Placebo</a:t>
                      </a:r>
                    </a:p>
                  </a:txBody>
                  <a:tcPr anchor="ctr">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25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23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9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4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0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7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4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1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155575" marR="0" algn="ctr">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0</a:t>
                      </a:r>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499258922"/>
                  </a:ext>
                </a:extLst>
              </a:tr>
            </a:tbl>
          </a:graphicData>
        </a:graphic>
      </p:graphicFrame>
      <p:sp>
        <p:nvSpPr>
          <p:cNvPr id="206" name="Freeform 145">
            <a:extLst>
              <a:ext uri="{FF2B5EF4-FFF2-40B4-BE49-F238E27FC236}">
                <a16:creationId xmlns:a16="http://schemas.microsoft.com/office/drawing/2014/main" id="{E63344FD-7018-4D86-9EAE-2239FAA4076C}"/>
              </a:ext>
            </a:extLst>
          </p:cNvPr>
          <p:cNvSpPr/>
          <p:nvPr/>
        </p:nvSpPr>
        <p:spPr>
          <a:xfrm>
            <a:off x="2381648" y="3556565"/>
            <a:ext cx="5785799" cy="1295402"/>
          </a:xfrm>
          <a:custGeom>
            <a:avLst/>
            <a:gdLst>
              <a:gd name="connsiteX0" fmla="*/ 0 w 1503367"/>
              <a:gd name="connsiteY0" fmla="*/ 498230 h 498229"/>
              <a:gd name="connsiteX1" fmla="*/ 3058 w 1503367"/>
              <a:gd name="connsiteY1" fmla="*/ 498230 h 498229"/>
              <a:gd name="connsiteX2" fmla="*/ 3058 w 1503367"/>
              <a:gd name="connsiteY2" fmla="*/ 495127 h 498229"/>
              <a:gd name="connsiteX3" fmla="*/ 4604 w 1503367"/>
              <a:gd name="connsiteY3" fmla="*/ 495127 h 498229"/>
              <a:gd name="connsiteX4" fmla="*/ 4604 w 1503367"/>
              <a:gd name="connsiteY4" fmla="*/ 493570 h 498229"/>
              <a:gd name="connsiteX5" fmla="*/ 12277 w 1503367"/>
              <a:gd name="connsiteY5" fmla="*/ 493570 h 498229"/>
              <a:gd name="connsiteX6" fmla="*/ 12277 w 1503367"/>
              <a:gd name="connsiteY6" fmla="*/ 492780 h 498229"/>
              <a:gd name="connsiteX7" fmla="*/ 13800 w 1503367"/>
              <a:gd name="connsiteY7" fmla="*/ 492780 h 498229"/>
              <a:gd name="connsiteX8" fmla="*/ 13800 w 1503367"/>
              <a:gd name="connsiteY8" fmla="*/ 491979 h 498229"/>
              <a:gd name="connsiteX9" fmla="*/ 15301 w 1503367"/>
              <a:gd name="connsiteY9" fmla="*/ 491979 h 498229"/>
              <a:gd name="connsiteX10" fmla="*/ 15301 w 1503367"/>
              <a:gd name="connsiteY10" fmla="*/ 491223 h 498229"/>
              <a:gd name="connsiteX11" fmla="*/ 21440 w 1503367"/>
              <a:gd name="connsiteY11" fmla="*/ 491223 h 498229"/>
              <a:gd name="connsiteX12" fmla="*/ 21440 w 1503367"/>
              <a:gd name="connsiteY12" fmla="*/ 490433 h 498229"/>
              <a:gd name="connsiteX13" fmla="*/ 24509 w 1503367"/>
              <a:gd name="connsiteY13" fmla="*/ 490433 h 498229"/>
              <a:gd name="connsiteX14" fmla="*/ 24509 w 1503367"/>
              <a:gd name="connsiteY14" fmla="*/ 489666 h 498229"/>
              <a:gd name="connsiteX15" fmla="*/ 26043 w 1503367"/>
              <a:gd name="connsiteY15" fmla="*/ 489666 h 498229"/>
              <a:gd name="connsiteX16" fmla="*/ 26043 w 1503367"/>
              <a:gd name="connsiteY16" fmla="*/ 488876 h 498229"/>
              <a:gd name="connsiteX17" fmla="*/ 27567 w 1503367"/>
              <a:gd name="connsiteY17" fmla="*/ 488876 h 498229"/>
              <a:gd name="connsiteX18" fmla="*/ 27567 w 1503367"/>
              <a:gd name="connsiteY18" fmla="*/ 487330 h 498229"/>
              <a:gd name="connsiteX19" fmla="*/ 32148 w 1503367"/>
              <a:gd name="connsiteY19" fmla="*/ 487330 h 498229"/>
              <a:gd name="connsiteX20" fmla="*/ 33672 w 1503367"/>
              <a:gd name="connsiteY20" fmla="*/ 487330 h 498229"/>
              <a:gd name="connsiteX21" fmla="*/ 33672 w 1503367"/>
              <a:gd name="connsiteY21" fmla="*/ 485773 h 498229"/>
              <a:gd name="connsiteX22" fmla="*/ 36752 w 1503367"/>
              <a:gd name="connsiteY22" fmla="*/ 485773 h 498229"/>
              <a:gd name="connsiteX23" fmla="*/ 41345 w 1503367"/>
              <a:gd name="connsiteY23" fmla="*/ 485773 h 498229"/>
              <a:gd name="connsiteX24" fmla="*/ 42879 w 1503367"/>
              <a:gd name="connsiteY24" fmla="*/ 485773 h 498229"/>
              <a:gd name="connsiteX25" fmla="*/ 42879 w 1503367"/>
              <a:gd name="connsiteY25" fmla="*/ 484216 h 498229"/>
              <a:gd name="connsiteX26" fmla="*/ 44414 w 1503367"/>
              <a:gd name="connsiteY26" fmla="*/ 484216 h 498229"/>
              <a:gd name="connsiteX27" fmla="*/ 45948 w 1503367"/>
              <a:gd name="connsiteY27" fmla="*/ 484216 h 498229"/>
              <a:gd name="connsiteX28" fmla="*/ 47483 w 1503367"/>
              <a:gd name="connsiteY28" fmla="*/ 484216 h 498229"/>
              <a:gd name="connsiteX29" fmla="*/ 47483 w 1503367"/>
              <a:gd name="connsiteY29" fmla="*/ 482637 h 498229"/>
              <a:gd name="connsiteX30" fmla="*/ 49018 w 1503367"/>
              <a:gd name="connsiteY30" fmla="*/ 482637 h 498229"/>
              <a:gd name="connsiteX31" fmla="*/ 49018 w 1503367"/>
              <a:gd name="connsiteY31" fmla="*/ 481869 h 498229"/>
              <a:gd name="connsiteX32" fmla="*/ 50519 w 1503367"/>
              <a:gd name="connsiteY32" fmla="*/ 481869 h 498229"/>
              <a:gd name="connsiteX33" fmla="*/ 50519 w 1503367"/>
              <a:gd name="connsiteY33" fmla="*/ 477943 h 498229"/>
              <a:gd name="connsiteX34" fmla="*/ 52053 w 1503367"/>
              <a:gd name="connsiteY34" fmla="*/ 477943 h 498229"/>
              <a:gd name="connsiteX35" fmla="*/ 52053 w 1503367"/>
              <a:gd name="connsiteY35" fmla="*/ 475630 h 498229"/>
              <a:gd name="connsiteX36" fmla="*/ 53577 w 1503367"/>
              <a:gd name="connsiteY36" fmla="*/ 475630 h 498229"/>
              <a:gd name="connsiteX37" fmla="*/ 53577 w 1503367"/>
              <a:gd name="connsiteY37" fmla="*/ 474829 h 498229"/>
              <a:gd name="connsiteX38" fmla="*/ 55111 w 1503367"/>
              <a:gd name="connsiteY38" fmla="*/ 474829 h 498229"/>
              <a:gd name="connsiteX39" fmla="*/ 55111 w 1503367"/>
              <a:gd name="connsiteY39" fmla="*/ 474039 h 498229"/>
              <a:gd name="connsiteX40" fmla="*/ 56657 w 1503367"/>
              <a:gd name="connsiteY40" fmla="*/ 474039 h 498229"/>
              <a:gd name="connsiteX41" fmla="*/ 56657 w 1503367"/>
              <a:gd name="connsiteY41" fmla="*/ 473283 h 498229"/>
              <a:gd name="connsiteX42" fmla="*/ 59715 w 1503367"/>
              <a:gd name="connsiteY42" fmla="*/ 473283 h 498229"/>
              <a:gd name="connsiteX43" fmla="*/ 59715 w 1503367"/>
              <a:gd name="connsiteY43" fmla="*/ 471693 h 498229"/>
              <a:gd name="connsiteX44" fmla="*/ 61250 w 1503367"/>
              <a:gd name="connsiteY44" fmla="*/ 471693 h 498229"/>
              <a:gd name="connsiteX45" fmla="*/ 61250 w 1503367"/>
              <a:gd name="connsiteY45" fmla="*/ 470936 h 498229"/>
              <a:gd name="connsiteX46" fmla="*/ 65854 w 1503367"/>
              <a:gd name="connsiteY46" fmla="*/ 470936 h 498229"/>
              <a:gd name="connsiteX47" fmla="*/ 65854 w 1503367"/>
              <a:gd name="connsiteY47" fmla="*/ 470147 h 498229"/>
              <a:gd name="connsiteX48" fmla="*/ 68878 w 1503367"/>
              <a:gd name="connsiteY48" fmla="*/ 470147 h 498229"/>
              <a:gd name="connsiteX49" fmla="*/ 68878 w 1503367"/>
              <a:gd name="connsiteY49" fmla="*/ 468590 h 498229"/>
              <a:gd name="connsiteX50" fmla="*/ 70424 w 1503367"/>
              <a:gd name="connsiteY50" fmla="*/ 468590 h 498229"/>
              <a:gd name="connsiteX51" fmla="*/ 70424 w 1503367"/>
              <a:gd name="connsiteY51" fmla="*/ 466999 h 498229"/>
              <a:gd name="connsiteX52" fmla="*/ 71959 w 1503367"/>
              <a:gd name="connsiteY52" fmla="*/ 466999 h 498229"/>
              <a:gd name="connsiteX53" fmla="*/ 71959 w 1503367"/>
              <a:gd name="connsiteY53" fmla="*/ 465453 h 498229"/>
              <a:gd name="connsiteX54" fmla="*/ 75017 w 1503367"/>
              <a:gd name="connsiteY54" fmla="*/ 465453 h 498229"/>
              <a:gd name="connsiteX55" fmla="*/ 75017 w 1503367"/>
              <a:gd name="connsiteY55" fmla="*/ 464653 h 498229"/>
              <a:gd name="connsiteX56" fmla="*/ 76562 w 1503367"/>
              <a:gd name="connsiteY56" fmla="*/ 464653 h 498229"/>
              <a:gd name="connsiteX57" fmla="*/ 76562 w 1503367"/>
              <a:gd name="connsiteY57" fmla="*/ 463896 h 498229"/>
              <a:gd name="connsiteX58" fmla="*/ 79620 w 1503367"/>
              <a:gd name="connsiteY58" fmla="*/ 463896 h 498229"/>
              <a:gd name="connsiteX59" fmla="*/ 79620 w 1503367"/>
              <a:gd name="connsiteY59" fmla="*/ 463107 h 498229"/>
              <a:gd name="connsiteX60" fmla="*/ 81155 w 1503367"/>
              <a:gd name="connsiteY60" fmla="*/ 463107 h 498229"/>
              <a:gd name="connsiteX61" fmla="*/ 81155 w 1503367"/>
              <a:gd name="connsiteY61" fmla="*/ 461550 h 498229"/>
              <a:gd name="connsiteX62" fmla="*/ 82700 w 1503367"/>
              <a:gd name="connsiteY62" fmla="*/ 461550 h 498229"/>
              <a:gd name="connsiteX63" fmla="*/ 82700 w 1503367"/>
              <a:gd name="connsiteY63" fmla="*/ 460760 h 498229"/>
              <a:gd name="connsiteX64" fmla="*/ 84224 w 1503367"/>
              <a:gd name="connsiteY64" fmla="*/ 460760 h 498229"/>
              <a:gd name="connsiteX65" fmla="*/ 84224 w 1503367"/>
              <a:gd name="connsiteY65" fmla="*/ 459203 h 498229"/>
              <a:gd name="connsiteX66" fmla="*/ 85725 w 1503367"/>
              <a:gd name="connsiteY66" fmla="*/ 459203 h 498229"/>
              <a:gd name="connsiteX67" fmla="*/ 85725 w 1503367"/>
              <a:gd name="connsiteY67" fmla="*/ 458413 h 498229"/>
              <a:gd name="connsiteX68" fmla="*/ 88794 w 1503367"/>
              <a:gd name="connsiteY68" fmla="*/ 458413 h 498229"/>
              <a:gd name="connsiteX69" fmla="*/ 88794 w 1503367"/>
              <a:gd name="connsiteY69" fmla="*/ 455277 h 498229"/>
              <a:gd name="connsiteX70" fmla="*/ 91864 w 1503367"/>
              <a:gd name="connsiteY70" fmla="*/ 455277 h 498229"/>
              <a:gd name="connsiteX71" fmla="*/ 91864 w 1503367"/>
              <a:gd name="connsiteY71" fmla="*/ 453720 h 498229"/>
              <a:gd name="connsiteX72" fmla="*/ 93387 w 1503367"/>
              <a:gd name="connsiteY72" fmla="*/ 453720 h 498229"/>
              <a:gd name="connsiteX73" fmla="*/ 93387 w 1503367"/>
              <a:gd name="connsiteY73" fmla="*/ 451373 h 498229"/>
              <a:gd name="connsiteX74" fmla="*/ 94933 w 1503367"/>
              <a:gd name="connsiteY74" fmla="*/ 451373 h 498229"/>
              <a:gd name="connsiteX75" fmla="*/ 94933 w 1503367"/>
              <a:gd name="connsiteY75" fmla="*/ 449816 h 498229"/>
              <a:gd name="connsiteX76" fmla="*/ 96467 w 1503367"/>
              <a:gd name="connsiteY76" fmla="*/ 449816 h 498229"/>
              <a:gd name="connsiteX77" fmla="*/ 96467 w 1503367"/>
              <a:gd name="connsiteY77" fmla="*/ 448225 h 498229"/>
              <a:gd name="connsiteX78" fmla="*/ 99525 w 1503367"/>
              <a:gd name="connsiteY78" fmla="*/ 448225 h 498229"/>
              <a:gd name="connsiteX79" fmla="*/ 99525 w 1503367"/>
              <a:gd name="connsiteY79" fmla="*/ 445879 h 498229"/>
              <a:gd name="connsiteX80" fmla="*/ 101071 w 1503367"/>
              <a:gd name="connsiteY80" fmla="*/ 445879 h 498229"/>
              <a:gd name="connsiteX81" fmla="*/ 101071 w 1503367"/>
              <a:gd name="connsiteY81" fmla="*/ 445122 h 498229"/>
              <a:gd name="connsiteX82" fmla="*/ 102572 w 1503367"/>
              <a:gd name="connsiteY82" fmla="*/ 445122 h 498229"/>
              <a:gd name="connsiteX83" fmla="*/ 102572 w 1503367"/>
              <a:gd name="connsiteY83" fmla="*/ 444333 h 498229"/>
              <a:gd name="connsiteX84" fmla="*/ 104096 w 1503367"/>
              <a:gd name="connsiteY84" fmla="*/ 444333 h 498229"/>
              <a:gd name="connsiteX85" fmla="*/ 104096 w 1503367"/>
              <a:gd name="connsiteY85" fmla="*/ 443543 h 498229"/>
              <a:gd name="connsiteX86" fmla="*/ 105630 w 1503367"/>
              <a:gd name="connsiteY86" fmla="*/ 443543 h 498229"/>
              <a:gd name="connsiteX87" fmla="*/ 107165 w 1503367"/>
              <a:gd name="connsiteY87" fmla="*/ 443543 h 498229"/>
              <a:gd name="connsiteX88" fmla="*/ 107165 w 1503367"/>
              <a:gd name="connsiteY88" fmla="*/ 441196 h 498229"/>
              <a:gd name="connsiteX89" fmla="*/ 108700 w 1503367"/>
              <a:gd name="connsiteY89" fmla="*/ 441196 h 498229"/>
              <a:gd name="connsiteX90" fmla="*/ 108700 w 1503367"/>
              <a:gd name="connsiteY90" fmla="*/ 438850 h 498229"/>
              <a:gd name="connsiteX91" fmla="*/ 110234 w 1503367"/>
              <a:gd name="connsiteY91" fmla="*/ 438850 h 498229"/>
              <a:gd name="connsiteX92" fmla="*/ 110234 w 1503367"/>
              <a:gd name="connsiteY92" fmla="*/ 438049 h 498229"/>
              <a:gd name="connsiteX93" fmla="*/ 111769 w 1503367"/>
              <a:gd name="connsiteY93" fmla="*/ 438049 h 498229"/>
              <a:gd name="connsiteX94" fmla="*/ 111769 w 1503367"/>
              <a:gd name="connsiteY94" fmla="*/ 435702 h 498229"/>
              <a:gd name="connsiteX95" fmla="*/ 113292 w 1503367"/>
              <a:gd name="connsiteY95" fmla="*/ 435702 h 498229"/>
              <a:gd name="connsiteX96" fmla="*/ 113292 w 1503367"/>
              <a:gd name="connsiteY96" fmla="*/ 434156 h 498229"/>
              <a:gd name="connsiteX97" fmla="*/ 122478 w 1503367"/>
              <a:gd name="connsiteY97" fmla="*/ 434156 h 498229"/>
              <a:gd name="connsiteX98" fmla="*/ 122478 w 1503367"/>
              <a:gd name="connsiteY98" fmla="*/ 433355 h 498229"/>
              <a:gd name="connsiteX99" fmla="*/ 124001 w 1503367"/>
              <a:gd name="connsiteY99" fmla="*/ 433355 h 498229"/>
              <a:gd name="connsiteX100" fmla="*/ 124001 w 1503367"/>
              <a:gd name="connsiteY100" fmla="*/ 431809 h 498229"/>
              <a:gd name="connsiteX101" fmla="*/ 125536 w 1503367"/>
              <a:gd name="connsiteY101" fmla="*/ 431809 h 498229"/>
              <a:gd name="connsiteX102" fmla="*/ 125536 w 1503367"/>
              <a:gd name="connsiteY102" fmla="*/ 429463 h 498229"/>
              <a:gd name="connsiteX103" fmla="*/ 128605 w 1503367"/>
              <a:gd name="connsiteY103" fmla="*/ 429463 h 498229"/>
              <a:gd name="connsiteX104" fmla="*/ 128605 w 1503367"/>
              <a:gd name="connsiteY104" fmla="*/ 428673 h 498229"/>
              <a:gd name="connsiteX105" fmla="*/ 133208 w 1503367"/>
              <a:gd name="connsiteY105" fmla="*/ 428673 h 498229"/>
              <a:gd name="connsiteX106" fmla="*/ 133208 w 1503367"/>
              <a:gd name="connsiteY106" fmla="*/ 427872 h 498229"/>
              <a:gd name="connsiteX107" fmla="*/ 134743 w 1503367"/>
              <a:gd name="connsiteY107" fmla="*/ 427872 h 498229"/>
              <a:gd name="connsiteX108" fmla="*/ 134743 w 1503367"/>
              <a:gd name="connsiteY108" fmla="*/ 426326 h 498229"/>
              <a:gd name="connsiteX109" fmla="*/ 136278 w 1503367"/>
              <a:gd name="connsiteY109" fmla="*/ 426326 h 498229"/>
              <a:gd name="connsiteX110" fmla="*/ 137812 w 1503367"/>
              <a:gd name="connsiteY110" fmla="*/ 426326 h 498229"/>
              <a:gd name="connsiteX111" fmla="*/ 137812 w 1503367"/>
              <a:gd name="connsiteY111" fmla="*/ 424736 h 498229"/>
              <a:gd name="connsiteX112" fmla="*/ 142382 w 1503367"/>
              <a:gd name="connsiteY112" fmla="*/ 424736 h 498229"/>
              <a:gd name="connsiteX113" fmla="*/ 142382 w 1503367"/>
              <a:gd name="connsiteY113" fmla="*/ 422389 h 498229"/>
              <a:gd name="connsiteX114" fmla="*/ 143906 w 1503367"/>
              <a:gd name="connsiteY114" fmla="*/ 422389 h 498229"/>
              <a:gd name="connsiteX115" fmla="*/ 143906 w 1503367"/>
              <a:gd name="connsiteY115" fmla="*/ 421588 h 498229"/>
              <a:gd name="connsiteX116" fmla="*/ 146986 w 1503367"/>
              <a:gd name="connsiteY116" fmla="*/ 421588 h 498229"/>
              <a:gd name="connsiteX117" fmla="*/ 148510 w 1503367"/>
              <a:gd name="connsiteY117" fmla="*/ 421588 h 498229"/>
              <a:gd name="connsiteX118" fmla="*/ 148510 w 1503367"/>
              <a:gd name="connsiteY118" fmla="*/ 420042 h 498229"/>
              <a:gd name="connsiteX119" fmla="*/ 151579 w 1503367"/>
              <a:gd name="connsiteY119" fmla="*/ 420042 h 498229"/>
              <a:gd name="connsiteX120" fmla="*/ 151579 w 1503367"/>
              <a:gd name="connsiteY120" fmla="*/ 418452 h 498229"/>
              <a:gd name="connsiteX121" fmla="*/ 153125 w 1503367"/>
              <a:gd name="connsiteY121" fmla="*/ 418452 h 498229"/>
              <a:gd name="connsiteX122" fmla="*/ 153125 w 1503367"/>
              <a:gd name="connsiteY122" fmla="*/ 417696 h 498229"/>
              <a:gd name="connsiteX123" fmla="*/ 154648 w 1503367"/>
              <a:gd name="connsiteY123" fmla="*/ 417696 h 498229"/>
              <a:gd name="connsiteX124" fmla="*/ 154648 w 1503367"/>
              <a:gd name="connsiteY124" fmla="*/ 416906 h 498229"/>
              <a:gd name="connsiteX125" fmla="*/ 157684 w 1503367"/>
              <a:gd name="connsiteY125" fmla="*/ 416906 h 498229"/>
              <a:gd name="connsiteX126" fmla="*/ 159207 w 1503367"/>
              <a:gd name="connsiteY126" fmla="*/ 416906 h 498229"/>
              <a:gd name="connsiteX127" fmla="*/ 159207 w 1503367"/>
              <a:gd name="connsiteY127" fmla="*/ 415316 h 498229"/>
              <a:gd name="connsiteX128" fmla="*/ 160753 w 1503367"/>
              <a:gd name="connsiteY128" fmla="*/ 415316 h 498229"/>
              <a:gd name="connsiteX129" fmla="*/ 160753 w 1503367"/>
              <a:gd name="connsiteY129" fmla="*/ 412969 h 498229"/>
              <a:gd name="connsiteX130" fmla="*/ 162288 w 1503367"/>
              <a:gd name="connsiteY130" fmla="*/ 412969 h 498229"/>
              <a:gd name="connsiteX131" fmla="*/ 162288 w 1503367"/>
              <a:gd name="connsiteY131" fmla="*/ 411378 h 498229"/>
              <a:gd name="connsiteX132" fmla="*/ 165346 w 1503367"/>
              <a:gd name="connsiteY132" fmla="*/ 411378 h 498229"/>
              <a:gd name="connsiteX133" fmla="*/ 165346 w 1503367"/>
              <a:gd name="connsiteY133" fmla="*/ 410622 h 498229"/>
              <a:gd name="connsiteX134" fmla="*/ 166891 w 1503367"/>
              <a:gd name="connsiteY134" fmla="*/ 410622 h 498229"/>
              <a:gd name="connsiteX135" fmla="*/ 166891 w 1503367"/>
              <a:gd name="connsiteY135" fmla="*/ 409821 h 498229"/>
              <a:gd name="connsiteX136" fmla="*/ 168426 w 1503367"/>
              <a:gd name="connsiteY136" fmla="*/ 409821 h 498229"/>
              <a:gd name="connsiteX137" fmla="*/ 168426 w 1503367"/>
              <a:gd name="connsiteY137" fmla="*/ 409032 h 498229"/>
              <a:gd name="connsiteX138" fmla="*/ 169949 w 1503367"/>
              <a:gd name="connsiteY138" fmla="*/ 409032 h 498229"/>
              <a:gd name="connsiteX139" fmla="*/ 169949 w 1503367"/>
              <a:gd name="connsiteY139" fmla="*/ 408242 h 498229"/>
              <a:gd name="connsiteX140" fmla="*/ 171484 w 1503367"/>
              <a:gd name="connsiteY140" fmla="*/ 408242 h 498229"/>
              <a:gd name="connsiteX141" fmla="*/ 171484 w 1503367"/>
              <a:gd name="connsiteY141" fmla="*/ 406685 h 498229"/>
              <a:gd name="connsiteX142" fmla="*/ 173030 w 1503367"/>
              <a:gd name="connsiteY142" fmla="*/ 406685 h 498229"/>
              <a:gd name="connsiteX143" fmla="*/ 173030 w 1503367"/>
              <a:gd name="connsiteY143" fmla="*/ 405895 h 498229"/>
              <a:gd name="connsiteX144" fmla="*/ 177589 w 1503367"/>
              <a:gd name="connsiteY144" fmla="*/ 405895 h 498229"/>
              <a:gd name="connsiteX145" fmla="*/ 177589 w 1503367"/>
              <a:gd name="connsiteY145" fmla="*/ 404338 h 498229"/>
              <a:gd name="connsiteX146" fmla="*/ 179112 w 1503367"/>
              <a:gd name="connsiteY146" fmla="*/ 404338 h 498229"/>
              <a:gd name="connsiteX147" fmla="*/ 179112 w 1503367"/>
              <a:gd name="connsiteY147" fmla="*/ 403549 h 498229"/>
              <a:gd name="connsiteX148" fmla="*/ 182193 w 1503367"/>
              <a:gd name="connsiteY148" fmla="*/ 403549 h 498229"/>
              <a:gd name="connsiteX149" fmla="*/ 182193 w 1503367"/>
              <a:gd name="connsiteY149" fmla="*/ 402759 h 498229"/>
              <a:gd name="connsiteX150" fmla="*/ 183716 w 1503367"/>
              <a:gd name="connsiteY150" fmla="*/ 402759 h 498229"/>
              <a:gd name="connsiteX151" fmla="*/ 183716 w 1503367"/>
              <a:gd name="connsiteY151" fmla="*/ 401958 h 498229"/>
              <a:gd name="connsiteX152" fmla="*/ 185251 w 1503367"/>
              <a:gd name="connsiteY152" fmla="*/ 401958 h 498229"/>
              <a:gd name="connsiteX153" fmla="*/ 185251 w 1503367"/>
              <a:gd name="connsiteY153" fmla="*/ 401157 h 498229"/>
              <a:gd name="connsiteX154" fmla="*/ 189855 w 1503367"/>
              <a:gd name="connsiteY154" fmla="*/ 401157 h 498229"/>
              <a:gd name="connsiteX155" fmla="*/ 189855 w 1503367"/>
              <a:gd name="connsiteY155" fmla="*/ 399611 h 498229"/>
              <a:gd name="connsiteX156" fmla="*/ 192901 w 1503367"/>
              <a:gd name="connsiteY156" fmla="*/ 399611 h 498229"/>
              <a:gd name="connsiteX157" fmla="*/ 194425 w 1503367"/>
              <a:gd name="connsiteY157" fmla="*/ 399611 h 498229"/>
              <a:gd name="connsiteX158" fmla="*/ 195960 w 1503367"/>
              <a:gd name="connsiteY158" fmla="*/ 399611 h 498229"/>
              <a:gd name="connsiteX159" fmla="*/ 195960 w 1503367"/>
              <a:gd name="connsiteY159" fmla="*/ 398822 h 498229"/>
              <a:gd name="connsiteX160" fmla="*/ 197494 w 1503367"/>
              <a:gd name="connsiteY160" fmla="*/ 398822 h 498229"/>
              <a:gd name="connsiteX161" fmla="*/ 197494 w 1503367"/>
              <a:gd name="connsiteY161" fmla="*/ 398021 h 498229"/>
              <a:gd name="connsiteX162" fmla="*/ 199028 w 1503367"/>
              <a:gd name="connsiteY162" fmla="*/ 398021 h 498229"/>
              <a:gd name="connsiteX163" fmla="*/ 199028 w 1503367"/>
              <a:gd name="connsiteY163" fmla="*/ 397231 h 498229"/>
              <a:gd name="connsiteX164" fmla="*/ 200563 w 1503367"/>
              <a:gd name="connsiteY164" fmla="*/ 397231 h 498229"/>
              <a:gd name="connsiteX165" fmla="*/ 203632 w 1503367"/>
              <a:gd name="connsiteY165" fmla="*/ 397231 h 498229"/>
              <a:gd name="connsiteX166" fmla="*/ 203632 w 1503367"/>
              <a:gd name="connsiteY166" fmla="*/ 396442 h 498229"/>
              <a:gd name="connsiteX167" fmla="*/ 206701 w 1503367"/>
              <a:gd name="connsiteY167" fmla="*/ 396442 h 498229"/>
              <a:gd name="connsiteX168" fmla="*/ 206701 w 1503367"/>
              <a:gd name="connsiteY168" fmla="*/ 394885 h 498229"/>
              <a:gd name="connsiteX169" fmla="*/ 208236 w 1503367"/>
              <a:gd name="connsiteY169" fmla="*/ 394885 h 498229"/>
              <a:gd name="connsiteX170" fmla="*/ 209726 w 1503367"/>
              <a:gd name="connsiteY170" fmla="*/ 394885 h 498229"/>
              <a:gd name="connsiteX171" fmla="*/ 209726 w 1503367"/>
              <a:gd name="connsiteY171" fmla="*/ 394095 h 498229"/>
              <a:gd name="connsiteX172" fmla="*/ 212806 w 1503367"/>
              <a:gd name="connsiteY172" fmla="*/ 394095 h 498229"/>
              <a:gd name="connsiteX173" fmla="*/ 212806 w 1503367"/>
              <a:gd name="connsiteY173" fmla="*/ 393294 h 498229"/>
              <a:gd name="connsiteX174" fmla="*/ 214330 w 1503367"/>
              <a:gd name="connsiteY174" fmla="*/ 393294 h 498229"/>
              <a:gd name="connsiteX175" fmla="*/ 214330 w 1503367"/>
              <a:gd name="connsiteY175" fmla="*/ 392505 h 498229"/>
              <a:gd name="connsiteX176" fmla="*/ 218934 w 1503367"/>
              <a:gd name="connsiteY176" fmla="*/ 392505 h 498229"/>
              <a:gd name="connsiteX177" fmla="*/ 218934 w 1503367"/>
              <a:gd name="connsiteY177" fmla="*/ 391715 h 498229"/>
              <a:gd name="connsiteX178" fmla="*/ 222003 w 1503367"/>
              <a:gd name="connsiteY178" fmla="*/ 391715 h 498229"/>
              <a:gd name="connsiteX179" fmla="*/ 223537 w 1503367"/>
              <a:gd name="connsiteY179" fmla="*/ 391715 h 498229"/>
              <a:gd name="connsiteX180" fmla="*/ 223537 w 1503367"/>
              <a:gd name="connsiteY180" fmla="*/ 390914 h 498229"/>
              <a:gd name="connsiteX181" fmla="*/ 225072 w 1503367"/>
              <a:gd name="connsiteY181" fmla="*/ 390914 h 498229"/>
              <a:gd name="connsiteX182" fmla="*/ 225072 w 1503367"/>
              <a:gd name="connsiteY182" fmla="*/ 389357 h 498229"/>
              <a:gd name="connsiteX183" fmla="*/ 228108 w 1503367"/>
              <a:gd name="connsiteY183" fmla="*/ 389357 h 498229"/>
              <a:gd name="connsiteX184" fmla="*/ 228108 w 1503367"/>
              <a:gd name="connsiteY184" fmla="*/ 387778 h 498229"/>
              <a:gd name="connsiteX185" fmla="*/ 229631 w 1503367"/>
              <a:gd name="connsiteY185" fmla="*/ 387778 h 498229"/>
              <a:gd name="connsiteX186" fmla="*/ 229631 w 1503367"/>
              <a:gd name="connsiteY186" fmla="*/ 386187 h 498229"/>
              <a:gd name="connsiteX187" fmla="*/ 234235 w 1503367"/>
              <a:gd name="connsiteY187" fmla="*/ 386187 h 498229"/>
              <a:gd name="connsiteX188" fmla="*/ 234235 w 1503367"/>
              <a:gd name="connsiteY188" fmla="*/ 384608 h 498229"/>
              <a:gd name="connsiteX189" fmla="*/ 235770 w 1503367"/>
              <a:gd name="connsiteY189" fmla="*/ 384608 h 498229"/>
              <a:gd name="connsiteX190" fmla="*/ 235770 w 1503367"/>
              <a:gd name="connsiteY190" fmla="*/ 383017 h 498229"/>
              <a:gd name="connsiteX191" fmla="*/ 237304 w 1503367"/>
              <a:gd name="connsiteY191" fmla="*/ 383017 h 498229"/>
              <a:gd name="connsiteX192" fmla="*/ 237304 w 1503367"/>
              <a:gd name="connsiteY192" fmla="*/ 382217 h 498229"/>
              <a:gd name="connsiteX193" fmla="*/ 240373 w 1503367"/>
              <a:gd name="connsiteY193" fmla="*/ 382217 h 498229"/>
              <a:gd name="connsiteX194" fmla="*/ 240373 w 1503367"/>
              <a:gd name="connsiteY194" fmla="*/ 381427 h 498229"/>
              <a:gd name="connsiteX195" fmla="*/ 243443 w 1503367"/>
              <a:gd name="connsiteY195" fmla="*/ 381427 h 498229"/>
              <a:gd name="connsiteX196" fmla="*/ 243443 w 1503367"/>
              <a:gd name="connsiteY196" fmla="*/ 380671 h 498229"/>
              <a:gd name="connsiteX197" fmla="*/ 244933 w 1503367"/>
              <a:gd name="connsiteY197" fmla="*/ 380671 h 498229"/>
              <a:gd name="connsiteX198" fmla="*/ 244933 w 1503367"/>
              <a:gd name="connsiteY198" fmla="*/ 379080 h 498229"/>
              <a:gd name="connsiteX199" fmla="*/ 246478 w 1503367"/>
              <a:gd name="connsiteY199" fmla="*/ 379080 h 498229"/>
              <a:gd name="connsiteX200" fmla="*/ 246478 w 1503367"/>
              <a:gd name="connsiteY200" fmla="*/ 378291 h 498229"/>
              <a:gd name="connsiteX201" fmla="*/ 248013 w 1503367"/>
              <a:gd name="connsiteY201" fmla="*/ 378291 h 498229"/>
              <a:gd name="connsiteX202" fmla="*/ 248013 w 1503367"/>
              <a:gd name="connsiteY202" fmla="*/ 376700 h 498229"/>
              <a:gd name="connsiteX203" fmla="*/ 251082 w 1503367"/>
              <a:gd name="connsiteY203" fmla="*/ 376700 h 498229"/>
              <a:gd name="connsiteX204" fmla="*/ 251082 w 1503367"/>
              <a:gd name="connsiteY204" fmla="*/ 375899 h 498229"/>
              <a:gd name="connsiteX205" fmla="*/ 252617 w 1503367"/>
              <a:gd name="connsiteY205" fmla="*/ 375899 h 498229"/>
              <a:gd name="connsiteX206" fmla="*/ 252617 w 1503367"/>
              <a:gd name="connsiteY206" fmla="*/ 375110 h 498229"/>
              <a:gd name="connsiteX207" fmla="*/ 254140 w 1503367"/>
              <a:gd name="connsiteY207" fmla="*/ 375110 h 498229"/>
              <a:gd name="connsiteX208" fmla="*/ 254140 w 1503367"/>
              <a:gd name="connsiteY208" fmla="*/ 374320 h 498229"/>
              <a:gd name="connsiteX209" fmla="*/ 257220 w 1503367"/>
              <a:gd name="connsiteY209" fmla="*/ 374320 h 498229"/>
              <a:gd name="connsiteX210" fmla="*/ 257220 w 1503367"/>
              <a:gd name="connsiteY210" fmla="*/ 373530 h 498229"/>
              <a:gd name="connsiteX211" fmla="*/ 261780 w 1503367"/>
              <a:gd name="connsiteY211" fmla="*/ 373530 h 498229"/>
              <a:gd name="connsiteX212" fmla="*/ 261780 w 1503367"/>
              <a:gd name="connsiteY212" fmla="*/ 371940 h 498229"/>
              <a:gd name="connsiteX213" fmla="*/ 263314 w 1503367"/>
              <a:gd name="connsiteY213" fmla="*/ 371940 h 498229"/>
              <a:gd name="connsiteX214" fmla="*/ 263314 w 1503367"/>
              <a:gd name="connsiteY214" fmla="*/ 370383 h 498229"/>
              <a:gd name="connsiteX215" fmla="*/ 264849 w 1503367"/>
              <a:gd name="connsiteY215" fmla="*/ 370383 h 498229"/>
              <a:gd name="connsiteX216" fmla="*/ 264849 w 1503367"/>
              <a:gd name="connsiteY216" fmla="*/ 369593 h 498229"/>
              <a:gd name="connsiteX217" fmla="*/ 266383 w 1503367"/>
              <a:gd name="connsiteY217" fmla="*/ 369593 h 498229"/>
              <a:gd name="connsiteX218" fmla="*/ 266383 w 1503367"/>
              <a:gd name="connsiteY218" fmla="*/ 368792 h 498229"/>
              <a:gd name="connsiteX219" fmla="*/ 267918 w 1503367"/>
              <a:gd name="connsiteY219" fmla="*/ 368792 h 498229"/>
              <a:gd name="connsiteX220" fmla="*/ 267918 w 1503367"/>
              <a:gd name="connsiteY220" fmla="*/ 367213 h 498229"/>
              <a:gd name="connsiteX221" fmla="*/ 269441 w 1503367"/>
              <a:gd name="connsiteY221" fmla="*/ 367213 h 498229"/>
              <a:gd name="connsiteX222" fmla="*/ 269441 w 1503367"/>
              <a:gd name="connsiteY222" fmla="*/ 366412 h 498229"/>
              <a:gd name="connsiteX223" fmla="*/ 270987 w 1503367"/>
              <a:gd name="connsiteY223" fmla="*/ 366412 h 498229"/>
              <a:gd name="connsiteX224" fmla="*/ 270987 w 1503367"/>
              <a:gd name="connsiteY224" fmla="*/ 365623 h 498229"/>
              <a:gd name="connsiteX225" fmla="*/ 272522 w 1503367"/>
              <a:gd name="connsiteY225" fmla="*/ 365623 h 498229"/>
              <a:gd name="connsiteX226" fmla="*/ 272522 w 1503367"/>
              <a:gd name="connsiteY226" fmla="*/ 364833 h 498229"/>
              <a:gd name="connsiteX227" fmla="*/ 274056 w 1503367"/>
              <a:gd name="connsiteY227" fmla="*/ 364833 h 498229"/>
              <a:gd name="connsiteX228" fmla="*/ 274056 w 1503367"/>
              <a:gd name="connsiteY228" fmla="*/ 363243 h 498229"/>
              <a:gd name="connsiteX229" fmla="*/ 275580 w 1503367"/>
              <a:gd name="connsiteY229" fmla="*/ 363243 h 498229"/>
              <a:gd name="connsiteX230" fmla="*/ 275580 w 1503367"/>
              <a:gd name="connsiteY230" fmla="*/ 362453 h 498229"/>
              <a:gd name="connsiteX231" fmla="*/ 277125 w 1503367"/>
              <a:gd name="connsiteY231" fmla="*/ 362453 h 498229"/>
              <a:gd name="connsiteX232" fmla="*/ 278660 w 1503367"/>
              <a:gd name="connsiteY232" fmla="*/ 362453 h 498229"/>
              <a:gd name="connsiteX233" fmla="*/ 278660 w 1503367"/>
              <a:gd name="connsiteY233" fmla="*/ 361652 h 498229"/>
              <a:gd name="connsiteX234" fmla="*/ 280150 w 1503367"/>
              <a:gd name="connsiteY234" fmla="*/ 361652 h 498229"/>
              <a:gd name="connsiteX235" fmla="*/ 280150 w 1503367"/>
              <a:gd name="connsiteY235" fmla="*/ 360073 h 498229"/>
              <a:gd name="connsiteX236" fmla="*/ 281685 w 1503367"/>
              <a:gd name="connsiteY236" fmla="*/ 360073 h 498229"/>
              <a:gd name="connsiteX237" fmla="*/ 283219 w 1503367"/>
              <a:gd name="connsiteY237" fmla="*/ 360073 h 498229"/>
              <a:gd name="connsiteX238" fmla="*/ 283219 w 1503367"/>
              <a:gd name="connsiteY238" fmla="*/ 359272 h 498229"/>
              <a:gd name="connsiteX239" fmla="*/ 284754 w 1503367"/>
              <a:gd name="connsiteY239" fmla="*/ 359272 h 498229"/>
              <a:gd name="connsiteX240" fmla="*/ 284754 w 1503367"/>
              <a:gd name="connsiteY240" fmla="*/ 357693 h 498229"/>
              <a:gd name="connsiteX241" fmla="*/ 286289 w 1503367"/>
              <a:gd name="connsiteY241" fmla="*/ 357693 h 498229"/>
              <a:gd name="connsiteX242" fmla="*/ 286289 w 1503367"/>
              <a:gd name="connsiteY242" fmla="*/ 356892 h 498229"/>
              <a:gd name="connsiteX243" fmla="*/ 287823 w 1503367"/>
              <a:gd name="connsiteY243" fmla="*/ 356892 h 498229"/>
              <a:gd name="connsiteX244" fmla="*/ 287823 w 1503367"/>
              <a:gd name="connsiteY244" fmla="*/ 355268 h 498229"/>
              <a:gd name="connsiteX245" fmla="*/ 289358 w 1503367"/>
              <a:gd name="connsiteY245" fmla="*/ 355268 h 498229"/>
              <a:gd name="connsiteX246" fmla="*/ 290892 w 1503367"/>
              <a:gd name="connsiteY246" fmla="*/ 355268 h 498229"/>
              <a:gd name="connsiteX247" fmla="*/ 290892 w 1503367"/>
              <a:gd name="connsiteY247" fmla="*/ 354479 h 498229"/>
              <a:gd name="connsiteX248" fmla="*/ 292427 w 1503367"/>
              <a:gd name="connsiteY248" fmla="*/ 354479 h 498229"/>
              <a:gd name="connsiteX249" fmla="*/ 293961 w 1503367"/>
              <a:gd name="connsiteY249" fmla="*/ 354479 h 498229"/>
              <a:gd name="connsiteX250" fmla="*/ 293961 w 1503367"/>
              <a:gd name="connsiteY250" fmla="*/ 353678 h 498229"/>
              <a:gd name="connsiteX251" fmla="*/ 295485 w 1503367"/>
              <a:gd name="connsiteY251" fmla="*/ 353678 h 498229"/>
              <a:gd name="connsiteX252" fmla="*/ 295485 w 1503367"/>
              <a:gd name="connsiteY252" fmla="*/ 352855 h 498229"/>
              <a:gd name="connsiteX253" fmla="*/ 297031 w 1503367"/>
              <a:gd name="connsiteY253" fmla="*/ 352855 h 498229"/>
              <a:gd name="connsiteX254" fmla="*/ 298532 w 1503367"/>
              <a:gd name="connsiteY254" fmla="*/ 352855 h 498229"/>
              <a:gd name="connsiteX255" fmla="*/ 298532 w 1503367"/>
              <a:gd name="connsiteY255" fmla="*/ 352065 h 498229"/>
              <a:gd name="connsiteX256" fmla="*/ 300055 w 1503367"/>
              <a:gd name="connsiteY256" fmla="*/ 352065 h 498229"/>
              <a:gd name="connsiteX257" fmla="*/ 301590 w 1503367"/>
              <a:gd name="connsiteY257" fmla="*/ 352065 h 498229"/>
              <a:gd name="connsiteX258" fmla="*/ 303125 w 1503367"/>
              <a:gd name="connsiteY258" fmla="*/ 352065 h 498229"/>
              <a:gd name="connsiteX259" fmla="*/ 304659 w 1503367"/>
              <a:gd name="connsiteY259" fmla="*/ 352065 h 498229"/>
              <a:gd name="connsiteX260" fmla="*/ 304659 w 1503367"/>
              <a:gd name="connsiteY260" fmla="*/ 351231 h 498229"/>
              <a:gd name="connsiteX261" fmla="*/ 306194 w 1503367"/>
              <a:gd name="connsiteY261" fmla="*/ 351231 h 498229"/>
              <a:gd name="connsiteX262" fmla="*/ 307728 w 1503367"/>
              <a:gd name="connsiteY262" fmla="*/ 351231 h 498229"/>
              <a:gd name="connsiteX263" fmla="*/ 307728 w 1503367"/>
              <a:gd name="connsiteY263" fmla="*/ 350408 h 498229"/>
              <a:gd name="connsiteX264" fmla="*/ 309274 w 1503367"/>
              <a:gd name="connsiteY264" fmla="*/ 350408 h 498229"/>
              <a:gd name="connsiteX265" fmla="*/ 309274 w 1503367"/>
              <a:gd name="connsiteY265" fmla="*/ 349618 h 498229"/>
              <a:gd name="connsiteX266" fmla="*/ 310797 w 1503367"/>
              <a:gd name="connsiteY266" fmla="*/ 349618 h 498229"/>
              <a:gd name="connsiteX267" fmla="*/ 312332 w 1503367"/>
              <a:gd name="connsiteY267" fmla="*/ 349618 h 498229"/>
              <a:gd name="connsiteX268" fmla="*/ 312332 w 1503367"/>
              <a:gd name="connsiteY268" fmla="*/ 347961 h 498229"/>
              <a:gd name="connsiteX269" fmla="*/ 313867 w 1503367"/>
              <a:gd name="connsiteY269" fmla="*/ 347961 h 498229"/>
              <a:gd name="connsiteX270" fmla="*/ 315357 w 1503367"/>
              <a:gd name="connsiteY270" fmla="*/ 347961 h 498229"/>
              <a:gd name="connsiteX271" fmla="*/ 316902 w 1503367"/>
              <a:gd name="connsiteY271" fmla="*/ 347961 h 498229"/>
              <a:gd name="connsiteX272" fmla="*/ 316902 w 1503367"/>
              <a:gd name="connsiteY272" fmla="*/ 347094 h 498229"/>
              <a:gd name="connsiteX273" fmla="*/ 318437 w 1503367"/>
              <a:gd name="connsiteY273" fmla="*/ 347094 h 498229"/>
              <a:gd name="connsiteX274" fmla="*/ 318437 w 1503367"/>
              <a:gd name="connsiteY274" fmla="*/ 346259 h 498229"/>
              <a:gd name="connsiteX275" fmla="*/ 319960 w 1503367"/>
              <a:gd name="connsiteY275" fmla="*/ 346259 h 498229"/>
              <a:gd name="connsiteX276" fmla="*/ 321495 w 1503367"/>
              <a:gd name="connsiteY276" fmla="*/ 346259 h 498229"/>
              <a:gd name="connsiteX277" fmla="*/ 321495 w 1503367"/>
              <a:gd name="connsiteY277" fmla="*/ 345403 h 498229"/>
              <a:gd name="connsiteX278" fmla="*/ 323041 w 1503367"/>
              <a:gd name="connsiteY278" fmla="*/ 345403 h 498229"/>
              <a:gd name="connsiteX279" fmla="*/ 323041 w 1503367"/>
              <a:gd name="connsiteY279" fmla="*/ 344580 h 498229"/>
              <a:gd name="connsiteX280" fmla="*/ 324564 w 1503367"/>
              <a:gd name="connsiteY280" fmla="*/ 344580 h 498229"/>
              <a:gd name="connsiteX281" fmla="*/ 324564 w 1503367"/>
              <a:gd name="connsiteY281" fmla="*/ 343713 h 498229"/>
              <a:gd name="connsiteX282" fmla="*/ 327633 w 1503367"/>
              <a:gd name="connsiteY282" fmla="*/ 343713 h 498229"/>
              <a:gd name="connsiteX283" fmla="*/ 329179 w 1503367"/>
              <a:gd name="connsiteY283" fmla="*/ 343713 h 498229"/>
              <a:gd name="connsiteX284" fmla="*/ 330702 w 1503367"/>
              <a:gd name="connsiteY284" fmla="*/ 343713 h 498229"/>
              <a:gd name="connsiteX285" fmla="*/ 330702 w 1503367"/>
              <a:gd name="connsiteY285" fmla="*/ 342845 h 498229"/>
              <a:gd name="connsiteX286" fmla="*/ 332237 w 1503367"/>
              <a:gd name="connsiteY286" fmla="*/ 342845 h 498229"/>
              <a:gd name="connsiteX287" fmla="*/ 333738 w 1503367"/>
              <a:gd name="connsiteY287" fmla="*/ 342845 h 498229"/>
              <a:gd name="connsiteX288" fmla="*/ 333738 w 1503367"/>
              <a:gd name="connsiteY288" fmla="*/ 341989 h 498229"/>
              <a:gd name="connsiteX289" fmla="*/ 335262 w 1503367"/>
              <a:gd name="connsiteY289" fmla="*/ 341989 h 498229"/>
              <a:gd name="connsiteX290" fmla="*/ 338342 w 1503367"/>
              <a:gd name="connsiteY290" fmla="*/ 341989 h 498229"/>
              <a:gd name="connsiteX291" fmla="*/ 338342 w 1503367"/>
              <a:gd name="connsiteY291" fmla="*/ 341132 h 498229"/>
              <a:gd name="connsiteX292" fmla="*/ 339865 w 1503367"/>
              <a:gd name="connsiteY292" fmla="*/ 341132 h 498229"/>
              <a:gd name="connsiteX293" fmla="*/ 341400 w 1503367"/>
              <a:gd name="connsiteY293" fmla="*/ 341132 h 498229"/>
              <a:gd name="connsiteX294" fmla="*/ 341400 w 1503367"/>
              <a:gd name="connsiteY294" fmla="*/ 340265 h 498229"/>
              <a:gd name="connsiteX295" fmla="*/ 342946 w 1503367"/>
              <a:gd name="connsiteY295" fmla="*/ 340265 h 498229"/>
              <a:gd name="connsiteX296" fmla="*/ 342946 w 1503367"/>
              <a:gd name="connsiteY296" fmla="*/ 335883 h 498229"/>
              <a:gd name="connsiteX297" fmla="*/ 344480 w 1503367"/>
              <a:gd name="connsiteY297" fmla="*/ 335883 h 498229"/>
              <a:gd name="connsiteX298" fmla="*/ 344480 w 1503367"/>
              <a:gd name="connsiteY298" fmla="*/ 335015 h 498229"/>
              <a:gd name="connsiteX299" fmla="*/ 346004 w 1503367"/>
              <a:gd name="connsiteY299" fmla="*/ 335015 h 498229"/>
              <a:gd name="connsiteX300" fmla="*/ 349084 w 1503367"/>
              <a:gd name="connsiteY300" fmla="*/ 335015 h 498229"/>
              <a:gd name="connsiteX301" fmla="*/ 349084 w 1503367"/>
              <a:gd name="connsiteY301" fmla="*/ 334125 h 498229"/>
              <a:gd name="connsiteX302" fmla="*/ 350574 w 1503367"/>
              <a:gd name="connsiteY302" fmla="*/ 334125 h 498229"/>
              <a:gd name="connsiteX303" fmla="*/ 350574 w 1503367"/>
              <a:gd name="connsiteY303" fmla="*/ 332357 h 498229"/>
              <a:gd name="connsiteX304" fmla="*/ 352109 w 1503367"/>
              <a:gd name="connsiteY304" fmla="*/ 332357 h 498229"/>
              <a:gd name="connsiteX305" fmla="*/ 353643 w 1503367"/>
              <a:gd name="connsiteY305" fmla="*/ 332357 h 498229"/>
              <a:gd name="connsiteX306" fmla="*/ 353643 w 1503367"/>
              <a:gd name="connsiteY306" fmla="*/ 331456 h 498229"/>
              <a:gd name="connsiteX307" fmla="*/ 355167 w 1503367"/>
              <a:gd name="connsiteY307" fmla="*/ 331456 h 498229"/>
              <a:gd name="connsiteX308" fmla="*/ 356713 w 1503367"/>
              <a:gd name="connsiteY308" fmla="*/ 331456 h 498229"/>
              <a:gd name="connsiteX309" fmla="*/ 358247 w 1503367"/>
              <a:gd name="connsiteY309" fmla="*/ 331456 h 498229"/>
              <a:gd name="connsiteX310" fmla="*/ 358247 w 1503367"/>
              <a:gd name="connsiteY310" fmla="*/ 330566 h 498229"/>
              <a:gd name="connsiteX311" fmla="*/ 359782 w 1503367"/>
              <a:gd name="connsiteY311" fmla="*/ 330566 h 498229"/>
              <a:gd name="connsiteX312" fmla="*/ 359782 w 1503367"/>
              <a:gd name="connsiteY312" fmla="*/ 329666 h 498229"/>
              <a:gd name="connsiteX313" fmla="*/ 361316 w 1503367"/>
              <a:gd name="connsiteY313" fmla="*/ 329666 h 498229"/>
              <a:gd name="connsiteX314" fmla="*/ 361316 w 1503367"/>
              <a:gd name="connsiteY314" fmla="*/ 328776 h 498229"/>
              <a:gd name="connsiteX315" fmla="*/ 362851 w 1503367"/>
              <a:gd name="connsiteY315" fmla="*/ 328776 h 498229"/>
              <a:gd name="connsiteX316" fmla="*/ 362851 w 1503367"/>
              <a:gd name="connsiteY316" fmla="*/ 327875 h 498229"/>
              <a:gd name="connsiteX317" fmla="*/ 364386 w 1503367"/>
              <a:gd name="connsiteY317" fmla="*/ 327875 h 498229"/>
              <a:gd name="connsiteX318" fmla="*/ 365909 w 1503367"/>
              <a:gd name="connsiteY318" fmla="*/ 327875 h 498229"/>
              <a:gd name="connsiteX319" fmla="*/ 365909 w 1503367"/>
              <a:gd name="connsiteY319" fmla="*/ 326073 h 498229"/>
              <a:gd name="connsiteX320" fmla="*/ 367455 w 1503367"/>
              <a:gd name="connsiteY320" fmla="*/ 326073 h 498229"/>
              <a:gd name="connsiteX321" fmla="*/ 368956 w 1503367"/>
              <a:gd name="connsiteY321" fmla="*/ 326073 h 498229"/>
              <a:gd name="connsiteX322" fmla="*/ 370479 w 1503367"/>
              <a:gd name="connsiteY322" fmla="*/ 326073 h 498229"/>
              <a:gd name="connsiteX323" fmla="*/ 370479 w 1503367"/>
              <a:gd name="connsiteY323" fmla="*/ 325183 h 498229"/>
              <a:gd name="connsiteX324" fmla="*/ 372014 w 1503367"/>
              <a:gd name="connsiteY324" fmla="*/ 325183 h 498229"/>
              <a:gd name="connsiteX325" fmla="*/ 373548 w 1503367"/>
              <a:gd name="connsiteY325" fmla="*/ 325183 h 498229"/>
              <a:gd name="connsiteX326" fmla="*/ 375083 w 1503367"/>
              <a:gd name="connsiteY326" fmla="*/ 325183 h 498229"/>
              <a:gd name="connsiteX327" fmla="*/ 375083 w 1503367"/>
              <a:gd name="connsiteY327" fmla="*/ 324249 h 498229"/>
              <a:gd name="connsiteX328" fmla="*/ 376617 w 1503367"/>
              <a:gd name="connsiteY328" fmla="*/ 324249 h 498229"/>
              <a:gd name="connsiteX329" fmla="*/ 376617 w 1503367"/>
              <a:gd name="connsiteY329" fmla="*/ 322425 h 498229"/>
              <a:gd name="connsiteX330" fmla="*/ 378152 w 1503367"/>
              <a:gd name="connsiteY330" fmla="*/ 322425 h 498229"/>
              <a:gd name="connsiteX331" fmla="*/ 381221 w 1503367"/>
              <a:gd name="connsiteY331" fmla="*/ 322425 h 498229"/>
              <a:gd name="connsiteX332" fmla="*/ 381221 w 1503367"/>
              <a:gd name="connsiteY332" fmla="*/ 321491 h 498229"/>
              <a:gd name="connsiteX333" fmla="*/ 382756 w 1503367"/>
              <a:gd name="connsiteY333" fmla="*/ 321491 h 498229"/>
              <a:gd name="connsiteX334" fmla="*/ 384290 w 1503367"/>
              <a:gd name="connsiteY334" fmla="*/ 321491 h 498229"/>
              <a:gd name="connsiteX335" fmla="*/ 385781 w 1503367"/>
              <a:gd name="connsiteY335" fmla="*/ 321491 h 498229"/>
              <a:gd name="connsiteX336" fmla="*/ 385781 w 1503367"/>
              <a:gd name="connsiteY336" fmla="*/ 320557 h 498229"/>
              <a:gd name="connsiteX337" fmla="*/ 387315 w 1503367"/>
              <a:gd name="connsiteY337" fmla="*/ 320557 h 498229"/>
              <a:gd name="connsiteX338" fmla="*/ 387315 w 1503367"/>
              <a:gd name="connsiteY338" fmla="*/ 319656 h 498229"/>
              <a:gd name="connsiteX339" fmla="*/ 388861 w 1503367"/>
              <a:gd name="connsiteY339" fmla="*/ 319656 h 498229"/>
              <a:gd name="connsiteX340" fmla="*/ 388861 w 1503367"/>
              <a:gd name="connsiteY340" fmla="*/ 317765 h 498229"/>
              <a:gd name="connsiteX341" fmla="*/ 390384 w 1503367"/>
              <a:gd name="connsiteY341" fmla="*/ 317765 h 498229"/>
              <a:gd name="connsiteX342" fmla="*/ 390384 w 1503367"/>
              <a:gd name="connsiteY342" fmla="*/ 316831 h 498229"/>
              <a:gd name="connsiteX343" fmla="*/ 391919 w 1503367"/>
              <a:gd name="connsiteY343" fmla="*/ 316831 h 498229"/>
              <a:gd name="connsiteX344" fmla="*/ 391919 w 1503367"/>
              <a:gd name="connsiteY344" fmla="*/ 314962 h 498229"/>
              <a:gd name="connsiteX345" fmla="*/ 393453 w 1503367"/>
              <a:gd name="connsiteY345" fmla="*/ 314962 h 498229"/>
              <a:gd name="connsiteX346" fmla="*/ 393453 w 1503367"/>
              <a:gd name="connsiteY346" fmla="*/ 313105 h 498229"/>
              <a:gd name="connsiteX347" fmla="*/ 394999 w 1503367"/>
              <a:gd name="connsiteY347" fmla="*/ 313105 h 498229"/>
              <a:gd name="connsiteX348" fmla="*/ 396523 w 1503367"/>
              <a:gd name="connsiteY348" fmla="*/ 313105 h 498229"/>
              <a:gd name="connsiteX349" fmla="*/ 398057 w 1503367"/>
              <a:gd name="connsiteY349" fmla="*/ 313105 h 498229"/>
              <a:gd name="connsiteX350" fmla="*/ 399592 w 1503367"/>
              <a:gd name="connsiteY350" fmla="*/ 313105 h 498229"/>
              <a:gd name="connsiteX351" fmla="*/ 401126 w 1503367"/>
              <a:gd name="connsiteY351" fmla="*/ 313105 h 498229"/>
              <a:gd name="connsiteX352" fmla="*/ 404162 w 1503367"/>
              <a:gd name="connsiteY352" fmla="*/ 313105 h 498229"/>
              <a:gd name="connsiteX353" fmla="*/ 405686 w 1503367"/>
              <a:gd name="connsiteY353" fmla="*/ 313105 h 498229"/>
              <a:gd name="connsiteX354" fmla="*/ 407220 w 1503367"/>
              <a:gd name="connsiteY354" fmla="*/ 313105 h 498229"/>
              <a:gd name="connsiteX355" fmla="*/ 408766 w 1503367"/>
              <a:gd name="connsiteY355" fmla="*/ 313105 h 498229"/>
              <a:gd name="connsiteX356" fmla="*/ 410289 w 1503367"/>
              <a:gd name="connsiteY356" fmla="*/ 313105 h 498229"/>
              <a:gd name="connsiteX357" fmla="*/ 413359 w 1503367"/>
              <a:gd name="connsiteY357" fmla="*/ 313105 h 498229"/>
              <a:gd name="connsiteX358" fmla="*/ 413359 w 1503367"/>
              <a:gd name="connsiteY358" fmla="*/ 311170 h 498229"/>
              <a:gd name="connsiteX359" fmla="*/ 414904 w 1503367"/>
              <a:gd name="connsiteY359" fmla="*/ 311170 h 498229"/>
              <a:gd name="connsiteX360" fmla="*/ 416428 w 1503367"/>
              <a:gd name="connsiteY360" fmla="*/ 311170 h 498229"/>
              <a:gd name="connsiteX361" fmla="*/ 416428 w 1503367"/>
              <a:gd name="connsiteY361" fmla="*/ 310202 h 498229"/>
              <a:gd name="connsiteX362" fmla="*/ 417962 w 1503367"/>
              <a:gd name="connsiteY362" fmla="*/ 310202 h 498229"/>
              <a:gd name="connsiteX363" fmla="*/ 419508 w 1503367"/>
              <a:gd name="connsiteY363" fmla="*/ 310202 h 498229"/>
              <a:gd name="connsiteX364" fmla="*/ 421032 w 1503367"/>
              <a:gd name="connsiteY364" fmla="*/ 310202 h 498229"/>
              <a:gd name="connsiteX365" fmla="*/ 424067 w 1503367"/>
              <a:gd name="connsiteY365" fmla="*/ 310202 h 498229"/>
              <a:gd name="connsiteX366" fmla="*/ 424067 w 1503367"/>
              <a:gd name="connsiteY366" fmla="*/ 309201 h 498229"/>
              <a:gd name="connsiteX367" fmla="*/ 425591 w 1503367"/>
              <a:gd name="connsiteY367" fmla="*/ 309201 h 498229"/>
              <a:gd name="connsiteX368" fmla="*/ 425591 w 1503367"/>
              <a:gd name="connsiteY368" fmla="*/ 308234 h 498229"/>
              <a:gd name="connsiteX369" fmla="*/ 427136 w 1503367"/>
              <a:gd name="connsiteY369" fmla="*/ 308234 h 498229"/>
              <a:gd name="connsiteX370" fmla="*/ 427136 w 1503367"/>
              <a:gd name="connsiteY370" fmla="*/ 307244 h 498229"/>
              <a:gd name="connsiteX371" fmla="*/ 428671 w 1503367"/>
              <a:gd name="connsiteY371" fmla="*/ 307244 h 498229"/>
              <a:gd name="connsiteX372" fmla="*/ 430206 w 1503367"/>
              <a:gd name="connsiteY372" fmla="*/ 307244 h 498229"/>
              <a:gd name="connsiteX373" fmla="*/ 431729 w 1503367"/>
              <a:gd name="connsiteY373" fmla="*/ 307244 h 498229"/>
              <a:gd name="connsiteX374" fmla="*/ 431729 w 1503367"/>
              <a:gd name="connsiteY374" fmla="*/ 306276 h 498229"/>
              <a:gd name="connsiteX375" fmla="*/ 433275 w 1503367"/>
              <a:gd name="connsiteY375" fmla="*/ 306276 h 498229"/>
              <a:gd name="connsiteX376" fmla="*/ 433275 w 1503367"/>
              <a:gd name="connsiteY376" fmla="*/ 304274 h 498229"/>
              <a:gd name="connsiteX377" fmla="*/ 434809 w 1503367"/>
              <a:gd name="connsiteY377" fmla="*/ 304274 h 498229"/>
              <a:gd name="connsiteX378" fmla="*/ 436333 w 1503367"/>
              <a:gd name="connsiteY378" fmla="*/ 304274 h 498229"/>
              <a:gd name="connsiteX379" fmla="*/ 436333 w 1503367"/>
              <a:gd name="connsiteY379" fmla="*/ 302272 h 498229"/>
              <a:gd name="connsiteX380" fmla="*/ 437868 w 1503367"/>
              <a:gd name="connsiteY380" fmla="*/ 302272 h 498229"/>
              <a:gd name="connsiteX381" fmla="*/ 437868 w 1503367"/>
              <a:gd name="connsiteY381" fmla="*/ 300270 h 498229"/>
              <a:gd name="connsiteX382" fmla="*/ 439369 w 1503367"/>
              <a:gd name="connsiteY382" fmla="*/ 300270 h 498229"/>
              <a:gd name="connsiteX383" fmla="*/ 439369 w 1503367"/>
              <a:gd name="connsiteY383" fmla="*/ 299269 h 498229"/>
              <a:gd name="connsiteX384" fmla="*/ 440903 w 1503367"/>
              <a:gd name="connsiteY384" fmla="*/ 299269 h 498229"/>
              <a:gd name="connsiteX385" fmla="*/ 442438 w 1503367"/>
              <a:gd name="connsiteY385" fmla="*/ 299269 h 498229"/>
              <a:gd name="connsiteX386" fmla="*/ 442438 w 1503367"/>
              <a:gd name="connsiteY386" fmla="*/ 298268 h 498229"/>
              <a:gd name="connsiteX387" fmla="*/ 443972 w 1503367"/>
              <a:gd name="connsiteY387" fmla="*/ 298268 h 498229"/>
              <a:gd name="connsiteX388" fmla="*/ 443972 w 1503367"/>
              <a:gd name="connsiteY388" fmla="*/ 297267 h 498229"/>
              <a:gd name="connsiteX389" fmla="*/ 445507 w 1503367"/>
              <a:gd name="connsiteY389" fmla="*/ 297267 h 498229"/>
              <a:gd name="connsiteX390" fmla="*/ 445507 w 1503367"/>
              <a:gd name="connsiteY390" fmla="*/ 295232 h 498229"/>
              <a:gd name="connsiteX391" fmla="*/ 447042 w 1503367"/>
              <a:gd name="connsiteY391" fmla="*/ 295232 h 498229"/>
              <a:gd name="connsiteX392" fmla="*/ 448576 w 1503367"/>
              <a:gd name="connsiteY392" fmla="*/ 295232 h 498229"/>
              <a:gd name="connsiteX393" fmla="*/ 448576 w 1503367"/>
              <a:gd name="connsiteY393" fmla="*/ 294231 h 498229"/>
              <a:gd name="connsiteX394" fmla="*/ 450111 w 1503367"/>
              <a:gd name="connsiteY394" fmla="*/ 294231 h 498229"/>
              <a:gd name="connsiteX395" fmla="*/ 451634 w 1503367"/>
              <a:gd name="connsiteY395" fmla="*/ 294231 h 498229"/>
              <a:gd name="connsiteX396" fmla="*/ 453180 w 1503367"/>
              <a:gd name="connsiteY396" fmla="*/ 294231 h 498229"/>
              <a:gd name="connsiteX397" fmla="*/ 453180 w 1503367"/>
              <a:gd name="connsiteY397" fmla="*/ 293197 h 498229"/>
              <a:gd name="connsiteX398" fmla="*/ 456238 w 1503367"/>
              <a:gd name="connsiteY398" fmla="*/ 293197 h 498229"/>
              <a:gd name="connsiteX399" fmla="*/ 456238 w 1503367"/>
              <a:gd name="connsiteY399" fmla="*/ 292196 h 498229"/>
              <a:gd name="connsiteX400" fmla="*/ 457739 w 1503367"/>
              <a:gd name="connsiteY400" fmla="*/ 292196 h 498229"/>
              <a:gd name="connsiteX401" fmla="*/ 457739 w 1503367"/>
              <a:gd name="connsiteY401" fmla="*/ 291161 h 498229"/>
              <a:gd name="connsiteX402" fmla="*/ 459274 w 1503367"/>
              <a:gd name="connsiteY402" fmla="*/ 291161 h 498229"/>
              <a:gd name="connsiteX403" fmla="*/ 459274 w 1503367"/>
              <a:gd name="connsiteY403" fmla="*/ 290127 h 498229"/>
              <a:gd name="connsiteX404" fmla="*/ 460808 w 1503367"/>
              <a:gd name="connsiteY404" fmla="*/ 290127 h 498229"/>
              <a:gd name="connsiteX405" fmla="*/ 462343 w 1503367"/>
              <a:gd name="connsiteY405" fmla="*/ 290127 h 498229"/>
              <a:gd name="connsiteX406" fmla="*/ 463878 w 1503367"/>
              <a:gd name="connsiteY406" fmla="*/ 290127 h 498229"/>
              <a:gd name="connsiteX407" fmla="*/ 465412 w 1503367"/>
              <a:gd name="connsiteY407" fmla="*/ 290127 h 498229"/>
              <a:gd name="connsiteX408" fmla="*/ 468481 w 1503367"/>
              <a:gd name="connsiteY408" fmla="*/ 290127 h 498229"/>
              <a:gd name="connsiteX409" fmla="*/ 468481 w 1503367"/>
              <a:gd name="connsiteY409" fmla="*/ 289093 h 498229"/>
              <a:gd name="connsiteX410" fmla="*/ 470016 w 1503367"/>
              <a:gd name="connsiteY410" fmla="*/ 289093 h 498229"/>
              <a:gd name="connsiteX411" fmla="*/ 471539 w 1503367"/>
              <a:gd name="connsiteY411" fmla="*/ 289093 h 498229"/>
              <a:gd name="connsiteX412" fmla="*/ 471539 w 1503367"/>
              <a:gd name="connsiteY412" fmla="*/ 288058 h 498229"/>
              <a:gd name="connsiteX413" fmla="*/ 473085 w 1503367"/>
              <a:gd name="connsiteY413" fmla="*/ 288058 h 498229"/>
              <a:gd name="connsiteX414" fmla="*/ 474586 w 1503367"/>
              <a:gd name="connsiteY414" fmla="*/ 288058 h 498229"/>
              <a:gd name="connsiteX415" fmla="*/ 476110 w 1503367"/>
              <a:gd name="connsiteY415" fmla="*/ 288058 h 498229"/>
              <a:gd name="connsiteX416" fmla="*/ 476110 w 1503367"/>
              <a:gd name="connsiteY416" fmla="*/ 287024 h 498229"/>
              <a:gd name="connsiteX417" fmla="*/ 477644 w 1503367"/>
              <a:gd name="connsiteY417" fmla="*/ 287024 h 498229"/>
              <a:gd name="connsiteX418" fmla="*/ 479190 w 1503367"/>
              <a:gd name="connsiteY418" fmla="*/ 287024 h 498229"/>
              <a:gd name="connsiteX419" fmla="*/ 480714 w 1503367"/>
              <a:gd name="connsiteY419" fmla="*/ 287024 h 498229"/>
              <a:gd name="connsiteX420" fmla="*/ 480714 w 1503367"/>
              <a:gd name="connsiteY420" fmla="*/ 284911 h 498229"/>
              <a:gd name="connsiteX421" fmla="*/ 482248 w 1503367"/>
              <a:gd name="connsiteY421" fmla="*/ 284911 h 498229"/>
              <a:gd name="connsiteX422" fmla="*/ 482248 w 1503367"/>
              <a:gd name="connsiteY422" fmla="*/ 283877 h 498229"/>
              <a:gd name="connsiteX423" fmla="*/ 483783 w 1503367"/>
              <a:gd name="connsiteY423" fmla="*/ 283877 h 498229"/>
              <a:gd name="connsiteX424" fmla="*/ 483783 w 1503367"/>
              <a:gd name="connsiteY424" fmla="*/ 282809 h 498229"/>
              <a:gd name="connsiteX425" fmla="*/ 485328 w 1503367"/>
              <a:gd name="connsiteY425" fmla="*/ 282809 h 498229"/>
              <a:gd name="connsiteX426" fmla="*/ 485328 w 1503367"/>
              <a:gd name="connsiteY426" fmla="*/ 279639 h 498229"/>
              <a:gd name="connsiteX427" fmla="*/ 491456 w 1503367"/>
              <a:gd name="connsiteY427" fmla="*/ 279639 h 498229"/>
              <a:gd name="connsiteX428" fmla="*/ 492957 w 1503367"/>
              <a:gd name="connsiteY428" fmla="*/ 279639 h 498229"/>
              <a:gd name="connsiteX429" fmla="*/ 494491 w 1503367"/>
              <a:gd name="connsiteY429" fmla="*/ 279639 h 498229"/>
              <a:gd name="connsiteX430" fmla="*/ 496015 w 1503367"/>
              <a:gd name="connsiteY430" fmla="*/ 279639 h 498229"/>
              <a:gd name="connsiteX431" fmla="*/ 496015 w 1503367"/>
              <a:gd name="connsiteY431" fmla="*/ 278594 h 498229"/>
              <a:gd name="connsiteX432" fmla="*/ 497549 w 1503367"/>
              <a:gd name="connsiteY432" fmla="*/ 278594 h 498229"/>
              <a:gd name="connsiteX433" fmla="*/ 497549 w 1503367"/>
              <a:gd name="connsiteY433" fmla="*/ 277526 h 498229"/>
              <a:gd name="connsiteX434" fmla="*/ 500630 w 1503367"/>
              <a:gd name="connsiteY434" fmla="*/ 277526 h 498229"/>
              <a:gd name="connsiteX435" fmla="*/ 500630 w 1503367"/>
              <a:gd name="connsiteY435" fmla="*/ 276458 h 498229"/>
              <a:gd name="connsiteX436" fmla="*/ 502153 w 1503367"/>
              <a:gd name="connsiteY436" fmla="*/ 276458 h 498229"/>
              <a:gd name="connsiteX437" fmla="*/ 503688 w 1503367"/>
              <a:gd name="connsiteY437" fmla="*/ 276458 h 498229"/>
              <a:gd name="connsiteX438" fmla="*/ 505233 w 1503367"/>
              <a:gd name="connsiteY438" fmla="*/ 276458 h 498229"/>
              <a:gd name="connsiteX439" fmla="*/ 506757 w 1503367"/>
              <a:gd name="connsiteY439" fmla="*/ 276458 h 498229"/>
              <a:gd name="connsiteX440" fmla="*/ 508291 w 1503367"/>
              <a:gd name="connsiteY440" fmla="*/ 276458 h 498229"/>
              <a:gd name="connsiteX441" fmla="*/ 508291 w 1503367"/>
              <a:gd name="connsiteY441" fmla="*/ 275357 h 498229"/>
              <a:gd name="connsiteX442" fmla="*/ 511316 w 1503367"/>
              <a:gd name="connsiteY442" fmla="*/ 275357 h 498229"/>
              <a:gd name="connsiteX443" fmla="*/ 511316 w 1503367"/>
              <a:gd name="connsiteY443" fmla="*/ 274289 h 498229"/>
              <a:gd name="connsiteX444" fmla="*/ 512862 w 1503367"/>
              <a:gd name="connsiteY444" fmla="*/ 274289 h 498229"/>
              <a:gd name="connsiteX445" fmla="*/ 514396 w 1503367"/>
              <a:gd name="connsiteY445" fmla="*/ 274289 h 498229"/>
              <a:gd name="connsiteX446" fmla="*/ 515931 w 1503367"/>
              <a:gd name="connsiteY446" fmla="*/ 274289 h 498229"/>
              <a:gd name="connsiteX447" fmla="*/ 517454 w 1503367"/>
              <a:gd name="connsiteY447" fmla="*/ 274289 h 498229"/>
              <a:gd name="connsiteX448" fmla="*/ 519000 w 1503367"/>
              <a:gd name="connsiteY448" fmla="*/ 274289 h 498229"/>
              <a:gd name="connsiteX449" fmla="*/ 519000 w 1503367"/>
              <a:gd name="connsiteY449" fmla="*/ 273188 h 498229"/>
              <a:gd name="connsiteX450" fmla="*/ 522058 w 1503367"/>
              <a:gd name="connsiteY450" fmla="*/ 273188 h 498229"/>
              <a:gd name="connsiteX451" fmla="*/ 523593 w 1503367"/>
              <a:gd name="connsiteY451" fmla="*/ 273188 h 498229"/>
              <a:gd name="connsiteX452" fmla="*/ 523593 w 1503367"/>
              <a:gd name="connsiteY452" fmla="*/ 270975 h 498229"/>
              <a:gd name="connsiteX453" fmla="*/ 525139 w 1503367"/>
              <a:gd name="connsiteY453" fmla="*/ 270975 h 498229"/>
              <a:gd name="connsiteX454" fmla="*/ 525139 w 1503367"/>
              <a:gd name="connsiteY454" fmla="*/ 268762 h 498229"/>
              <a:gd name="connsiteX455" fmla="*/ 526662 w 1503367"/>
              <a:gd name="connsiteY455" fmla="*/ 268762 h 498229"/>
              <a:gd name="connsiteX456" fmla="*/ 528163 w 1503367"/>
              <a:gd name="connsiteY456" fmla="*/ 268762 h 498229"/>
              <a:gd name="connsiteX457" fmla="*/ 528163 w 1503367"/>
              <a:gd name="connsiteY457" fmla="*/ 265414 h 498229"/>
              <a:gd name="connsiteX458" fmla="*/ 529698 w 1503367"/>
              <a:gd name="connsiteY458" fmla="*/ 265414 h 498229"/>
              <a:gd name="connsiteX459" fmla="*/ 529698 w 1503367"/>
              <a:gd name="connsiteY459" fmla="*/ 263179 h 498229"/>
              <a:gd name="connsiteX460" fmla="*/ 532767 w 1503367"/>
              <a:gd name="connsiteY460" fmla="*/ 263179 h 498229"/>
              <a:gd name="connsiteX461" fmla="*/ 534302 w 1503367"/>
              <a:gd name="connsiteY461" fmla="*/ 263179 h 498229"/>
              <a:gd name="connsiteX462" fmla="*/ 535836 w 1503367"/>
              <a:gd name="connsiteY462" fmla="*/ 263179 h 498229"/>
              <a:gd name="connsiteX463" fmla="*/ 537371 w 1503367"/>
              <a:gd name="connsiteY463" fmla="*/ 263179 h 498229"/>
              <a:gd name="connsiteX464" fmla="*/ 538905 w 1503367"/>
              <a:gd name="connsiteY464" fmla="*/ 263179 h 498229"/>
              <a:gd name="connsiteX465" fmla="*/ 540440 w 1503367"/>
              <a:gd name="connsiteY465" fmla="*/ 263179 h 498229"/>
              <a:gd name="connsiteX466" fmla="*/ 540440 w 1503367"/>
              <a:gd name="connsiteY466" fmla="*/ 262033 h 498229"/>
              <a:gd name="connsiteX467" fmla="*/ 541963 w 1503367"/>
              <a:gd name="connsiteY467" fmla="*/ 262033 h 498229"/>
              <a:gd name="connsiteX468" fmla="*/ 541963 w 1503367"/>
              <a:gd name="connsiteY468" fmla="*/ 260899 h 498229"/>
              <a:gd name="connsiteX469" fmla="*/ 543509 w 1503367"/>
              <a:gd name="connsiteY469" fmla="*/ 260899 h 498229"/>
              <a:gd name="connsiteX470" fmla="*/ 545044 w 1503367"/>
              <a:gd name="connsiteY470" fmla="*/ 260899 h 498229"/>
              <a:gd name="connsiteX471" fmla="*/ 545044 w 1503367"/>
              <a:gd name="connsiteY471" fmla="*/ 258619 h 498229"/>
              <a:gd name="connsiteX472" fmla="*/ 546534 w 1503367"/>
              <a:gd name="connsiteY472" fmla="*/ 258619 h 498229"/>
              <a:gd name="connsiteX473" fmla="*/ 548068 w 1503367"/>
              <a:gd name="connsiteY473" fmla="*/ 258619 h 498229"/>
              <a:gd name="connsiteX474" fmla="*/ 549603 w 1503367"/>
              <a:gd name="connsiteY474" fmla="*/ 258619 h 498229"/>
              <a:gd name="connsiteX475" fmla="*/ 551148 w 1503367"/>
              <a:gd name="connsiteY475" fmla="*/ 258619 h 498229"/>
              <a:gd name="connsiteX476" fmla="*/ 552672 w 1503367"/>
              <a:gd name="connsiteY476" fmla="*/ 258619 h 498229"/>
              <a:gd name="connsiteX477" fmla="*/ 552672 w 1503367"/>
              <a:gd name="connsiteY477" fmla="*/ 256316 h 498229"/>
              <a:gd name="connsiteX478" fmla="*/ 554206 w 1503367"/>
              <a:gd name="connsiteY478" fmla="*/ 256316 h 498229"/>
              <a:gd name="connsiteX479" fmla="*/ 555741 w 1503367"/>
              <a:gd name="connsiteY479" fmla="*/ 256316 h 498229"/>
              <a:gd name="connsiteX480" fmla="*/ 557276 w 1503367"/>
              <a:gd name="connsiteY480" fmla="*/ 256316 h 498229"/>
              <a:gd name="connsiteX481" fmla="*/ 557276 w 1503367"/>
              <a:gd name="connsiteY481" fmla="*/ 254003 h 498229"/>
              <a:gd name="connsiteX482" fmla="*/ 558810 w 1503367"/>
              <a:gd name="connsiteY482" fmla="*/ 254003 h 498229"/>
              <a:gd name="connsiteX483" fmla="*/ 560345 w 1503367"/>
              <a:gd name="connsiteY483" fmla="*/ 254003 h 498229"/>
              <a:gd name="connsiteX484" fmla="*/ 560345 w 1503367"/>
              <a:gd name="connsiteY484" fmla="*/ 252824 h 498229"/>
              <a:gd name="connsiteX485" fmla="*/ 563370 w 1503367"/>
              <a:gd name="connsiteY485" fmla="*/ 252824 h 498229"/>
              <a:gd name="connsiteX486" fmla="*/ 563370 w 1503367"/>
              <a:gd name="connsiteY486" fmla="*/ 251656 h 498229"/>
              <a:gd name="connsiteX487" fmla="*/ 564915 w 1503367"/>
              <a:gd name="connsiteY487" fmla="*/ 251656 h 498229"/>
              <a:gd name="connsiteX488" fmla="*/ 566439 w 1503367"/>
              <a:gd name="connsiteY488" fmla="*/ 251656 h 498229"/>
              <a:gd name="connsiteX489" fmla="*/ 567973 w 1503367"/>
              <a:gd name="connsiteY489" fmla="*/ 251656 h 498229"/>
              <a:gd name="connsiteX490" fmla="*/ 567973 w 1503367"/>
              <a:gd name="connsiteY490" fmla="*/ 250444 h 498229"/>
              <a:gd name="connsiteX491" fmla="*/ 569508 w 1503367"/>
              <a:gd name="connsiteY491" fmla="*/ 250444 h 498229"/>
              <a:gd name="connsiteX492" fmla="*/ 571054 w 1503367"/>
              <a:gd name="connsiteY492" fmla="*/ 250444 h 498229"/>
              <a:gd name="connsiteX493" fmla="*/ 575646 w 1503367"/>
              <a:gd name="connsiteY493" fmla="*/ 250444 h 498229"/>
              <a:gd name="connsiteX494" fmla="*/ 577181 w 1503367"/>
              <a:gd name="connsiteY494" fmla="*/ 250444 h 498229"/>
              <a:gd name="connsiteX495" fmla="*/ 577181 w 1503367"/>
              <a:gd name="connsiteY495" fmla="*/ 249265 h 498229"/>
              <a:gd name="connsiteX496" fmla="*/ 578715 w 1503367"/>
              <a:gd name="connsiteY496" fmla="*/ 249265 h 498229"/>
              <a:gd name="connsiteX497" fmla="*/ 580250 w 1503367"/>
              <a:gd name="connsiteY497" fmla="*/ 249265 h 498229"/>
              <a:gd name="connsiteX498" fmla="*/ 581740 w 1503367"/>
              <a:gd name="connsiteY498" fmla="*/ 249265 h 498229"/>
              <a:gd name="connsiteX499" fmla="*/ 583286 w 1503367"/>
              <a:gd name="connsiteY499" fmla="*/ 249265 h 498229"/>
              <a:gd name="connsiteX500" fmla="*/ 583286 w 1503367"/>
              <a:gd name="connsiteY500" fmla="*/ 245650 h 498229"/>
              <a:gd name="connsiteX501" fmla="*/ 586355 w 1503367"/>
              <a:gd name="connsiteY501" fmla="*/ 245650 h 498229"/>
              <a:gd name="connsiteX502" fmla="*/ 586355 w 1503367"/>
              <a:gd name="connsiteY502" fmla="*/ 244438 h 498229"/>
              <a:gd name="connsiteX503" fmla="*/ 587878 w 1503367"/>
              <a:gd name="connsiteY503" fmla="*/ 244438 h 498229"/>
              <a:gd name="connsiteX504" fmla="*/ 589424 w 1503367"/>
              <a:gd name="connsiteY504" fmla="*/ 244438 h 498229"/>
              <a:gd name="connsiteX505" fmla="*/ 590959 w 1503367"/>
              <a:gd name="connsiteY505" fmla="*/ 244438 h 498229"/>
              <a:gd name="connsiteX506" fmla="*/ 592482 w 1503367"/>
              <a:gd name="connsiteY506" fmla="*/ 244438 h 498229"/>
              <a:gd name="connsiteX507" fmla="*/ 592482 w 1503367"/>
              <a:gd name="connsiteY507" fmla="*/ 241991 h 498229"/>
              <a:gd name="connsiteX508" fmla="*/ 594017 w 1503367"/>
              <a:gd name="connsiteY508" fmla="*/ 241991 h 498229"/>
              <a:gd name="connsiteX509" fmla="*/ 594017 w 1503367"/>
              <a:gd name="connsiteY509" fmla="*/ 240746 h 498229"/>
              <a:gd name="connsiteX510" fmla="*/ 597086 w 1503367"/>
              <a:gd name="connsiteY510" fmla="*/ 240746 h 498229"/>
              <a:gd name="connsiteX511" fmla="*/ 598587 w 1503367"/>
              <a:gd name="connsiteY511" fmla="*/ 240746 h 498229"/>
              <a:gd name="connsiteX512" fmla="*/ 600122 w 1503367"/>
              <a:gd name="connsiteY512" fmla="*/ 240746 h 498229"/>
              <a:gd name="connsiteX513" fmla="*/ 601645 w 1503367"/>
              <a:gd name="connsiteY513" fmla="*/ 240746 h 498229"/>
              <a:gd name="connsiteX514" fmla="*/ 603191 w 1503367"/>
              <a:gd name="connsiteY514" fmla="*/ 240746 h 498229"/>
              <a:gd name="connsiteX515" fmla="*/ 607784 w 1503367"/>
              <a:gd name="connsiteY515" fmla="*/ 240746 h 498229"/>
              <a:gd name="connsiteX516" fmla="*/ 607784 w 1503367"/>
              <a:gd name="connsiteY516" fmla="*/ 239500 h 498229"/>
              <a:gd name="connsiteX517" fmla="*/ 609329 w 1503367"/>
              <a:gd name="connsiteY517" fmla="*/ 239500 h 498229"/>
              <a:gd name="connsiteX518" fmla="*/ 610864 w 1503367"/>
              <a:gd name="connsiteY518" fmla="*/ 239500 h 498229"/>
              <a:gd name="connsiteX519" fmla="*/ 610864 w 1503367"/>
              <a:gd name="connsiteY519" fmla="*/ 238254 h 498229"/>
              <a:gd name="connsiteX520" fmla="*/ 612387 w 1503367"/>
              <a:gd name="connsiteY520" fmla="*/ 238254 h 498229"/>
              <a:gd name="connsiteX521" fmla="*/ 613922 w 1503367"/>
              <a:gd name="connsiteY521" fmla="*/ 238254 h 498229"/>
              <a:gd name="connsiteX522" fmla="*/ 613922 w 1503367"/>
              <a:gd name="connsiteY522" fmla="*/ 236986 h 498229"/>
              <a:gd name="connsiteX523" fmla="*/ 616958 w 1503367"/>
              <a:gd name="connsiteY523" fmla="*/ 236986 h 498229"/>
              <a:gd name="connsiteX524" fmla="*/ 616958 w 1503367"/>
              <a:gd name="connsiteY524" fmla="*/ 235707 h 498229"/>
              <a:gd name="connsiteX525" fmla="*/ 618492 w 1503367"/>
              <a:gd name="connsiteY525" fmla="*/ 235707 h 498229"/>
              <a:gd name="connsiteX526" fmla="*/ 618492 w 1503367"/>
              <a:gd name="connsiteY526" fmla="*/ 234428 h 498229"/>
              <a:gd name="connsiteX527" fmla="*/ 620027 w 1503367"/>
              <a:gd name="connsiteY527" fmla="*/ 234428 h 498229"/>
              <a:gd name="connsiteX528" fmla="*/ 621561 w 1503367"/>
              <a:gd name="connsiteY528" fmla="*/ 234428 h 498229"/>
              <a:gd name="connsiteX529" fmla="*/ 623096 w 1503367"/>
              <a:gd name="connsiteY529" fmla="*/ 234428 h 498229"/>
              <a:gd name="connsiteX530" fmla="*/ 623096 w 1503367"/>
              <a:gd name="connsiteY530" fmla="*/ 231848 h 498229"/>
              <a:gd name="connsiteX531" fmla="*/ 624631 w 1503367"/>
              <a:gd name="connsiteY531" fmla="*/ 231848 h 498229"/>
              <a:gd name="connsiteX532" fmla="*/ 626165 w 1503367"/>
              <a:gd name="connsiteY532" fmla="*/ 231848 h 498229"/>
              <a:gd name="connsiteX533" fmla="*/ 627689 w 1503367"/>
              <a:gd name="connsiteY533" fmla="*/ 231848 h 498229"/>
              <a:gd name="connsiteX534" fmla="*/ 627689 w 1503367"/>
              <a:gd name="connsiteY534" fmla="*/ 229257 h 498229"/>
              <a:gd name="connsiteX535" fmla="*/ 629234 w 1503367"/>
              <a:gd name="connsiteY535" fmla="*/ 229257 h 498229"/>
              <a:gd name="connsiteX536" fmla="*/ 629234 w 1503367"/>
              <a:gd name="connsiteY536" fmla="*/ 227944 h 498229"/>
              <a:gd name="connsiteX537" fmla="*/ 630769 w 1503367"/>
              <a:gd name="connsiteY537" fmla="*/ 227944 h 498229"/>
              <a:gd name="connsiteX538" fmla="*/ 632292 w 1503367"/>
              <a:gd name="connsiteY538" fmla="*/ 227944 h 498229"/>
              <a:gd name="connsiteX539" fmla="*/ 632292 w 1503367"/>
              <a:gd name="connsiteY539" fmla="*/ 226632 h 498229"/>
              <a:gd name="connsiteX540" fmla="*/ 633794 w 1503367"/>
              <a:gd name="connsiteY540" fmla="*/ 226632 h 498229"/>
              <a:gd name="connsiteX541" fmla="*/ 633794 w 1503367"/>
              <a:gd name="connsiteY541" fmla="*/ 224007 h 498229"/>
              <a:gd name="connsiteX542" fmla="*/ 635339 w 1503367"/>
              <a:gd name="connsiteY542" fmla="*/ 224007 h 498229"/>
              <a:gd name="connsiteX543" fmla="*/ 635339 w 1503367"/>
              <a:gd name="connsiteY543" fmla="*/ 221349 h 498229"/>
              <a:gd name="connsiteX544" fmla="*/ 636863 w 1503367"/>
              <a:gd name="connsiteY544" fmla="*/ 221349 h 498229"/>
              <a:gd name="connsiteX545" fmla="*/ 636863 w 1503367"/>
              <a:gd name="connsiteY545" fmla="*/ 220048 h 498229"/>
              <a:gd name="connsiteX546" fmla="*/ 638397 w 1503367"/>
              <a:gd name="connsiteY546" fmla="*/ 220048 h 498229"/>
              <a:gd name="connsiteX547" fmla="*/ 639932 w 1503367"/>
              <a:gd name="connsiteY547" fmla="*/ 220048 h 498229"/>
              <a:gd name="connsiteX548" fmla="*/ 639932 w 1503367"/>
              <a:gd name="connsiteY548" fmla="*/ 218735 h 498229"/>
              <a:gd name="connsiteX549" fmla="*/ 641478 w 1503367"/>
              <a:gd name="connsiteY549" fmla="*/ 218735 h 498229"/>
              <a:gd name="connsiteX550" fmla="*/ 643001 w 1503367"/>
              <a:gd name="connsiteY550" fmla="*/ 218735 h 498229"/>
              <a:gd name="connsiteX551" fmla="*/ 643001 w 1503367"/>
              <a:gd name="connsiteY551" fmla="*/ 217423 h 498229"/>
              <a:gd name="connsiteX552" fmla="*/ 644536 w 1503367"/>
              <a:gd name="connsiteY552" fmla="*/ 217423 h 498229"/>
              <a:gd name="connsiteX553" fmla="*/ 646070 w 1503367"/>
              <a:gd name="connsiteY553" fmla="*/ 217423 h 498229"/>
              <a:gd name="connsiteX554" fmla="*/ 646070 w 1503367"/>
              <a:gd name="connsiteY554" fmla="*/ 216077 h 498229"/>
              <a:gd name="connsiteX555" fmla="*/ 647605 w 1503367"/>
              <a:gd name="connsiteY555" fmla="*/ 216077 h 498229"/>
              <a:gd name="connsiteX556" fmla="*/ 647605 w 1503367"/>
              <a:gd name="connsiteY556" fmla="*/ 214731 h 498229"/>
              <a:gd name="connsiteX557" fmla="*/ 652164 w 1503367"/>
              <a:gd name="connsiteY557" fmla="*/ 214731 h 498229"/>
              <a:gd name="connsiteX558" fmla="*/ 653699 w 1503367"/>
              <a:gd name="connsiteY558" fmla="*/ 214731 h 498229"/>
              <a:gd name="connsiteX559" fmla="*/ 653699 w 1503367"/>
              <a:gd name="connsiteY559" fmla="*/ 213386 h 498229"/>
              <a:gd name="connsiteX560" fmla="*/ 655244 w 1503367"/>
              <a:gd name="connsiteY560" fmla="*/ 213386 h 498229"/>
              <a:gd name="connsiteX561" fmla="*/ 655244 w 1503367"/>
              <a:gd name="connsiteY561" fmla="*/ 212040 h 498229"/>
              <a:gd name="connsiteX562" fmla="*/ 656779 w 1503367"/>
              <a:gd name="connsiteY562" fmla="*/ 212040 h 498229"/>
              <a:gd name="connsiteX563" fmla="*/ 661383 w 1503367"/>
              <a:gd name="connsiteY563" fmla="*/ 212040 h 498229"/>
              <a:gd name="connsiteX564" fmla="*/ 661383 w 1503367"/>
              <a:gd name="connsiteY564" fmla="*/ 210694 h 498229"/>
              <a:gd name="connsiteX565" fmla="*/ 662906 w 1503367"/>
              <a:gd name="connsiteY565" fmla="*/ 210694 h 498229"/>
              <a:gd name="connsiteX566" fmla="*/ 662906 w 1503367"/>
              <a:gd name="connsiteY566" fmla="*/ 209304 h 498229"/>
              <a:gd name="connsiteX567" fmla="*/ 664441 w 1503367"/>
              <a:gd name="connsiteY567" fmla="*/ 209304 h 498229"/>
              <a:gd name="connsiteX568" fmla="*/ 665975 w 1503367"/>
              <a:gd name="connsiteY568" fmla="*/ 209304 h 498229"/>
              <a:gd name="connsiteX569" fmla="*/ 667510 w 1503367"/>
              <a:gd name="connsiteY569" fmla="*/ 209304 h 498229"/>
              <a:gd name="connsiteX570" fmla="*/ 667510 w 1503367"/>
              <a:gd name="connsiteY570" fmla="*/ 207969 h 498229"/>
              <a:gd name="connsiteX571" fmla="*/ 669045 w 1503367"/>
              <a:gd name="connsiteY571" fmla="*/ 207969 h 498229"/>
              <a:gd name="connsiteX572" fmla="*/ 670546 w 1503367"/>
              <a:gd name="connsiteY572" fmla="*/ 207969 h 498229"/>
              <a:gd name="connsiteX573" fmla="*/ 670546 w 1503367"/>
              <a:gd name="connsiteY573" fmla="*/ 206590 h 498229"/>
              <a:gd name="connsiteX574" fmla="*/ 672080 w 1503367"/>
              <a:gd name="connsiteY574" fmla="*/ 206590 h 498229"/>
              <a:gd name="connsiteX575" fmla="*/ 673604 w 1503367"/>
              <a:gd name="connsiteY575" fmla="*/ 206590 h 498229"/>
              <a:gd name="connsiteX576" fmla="*/ 675149 w 1503367"/>
              <a:gd name="connsiteY576" fmla="*/ 206590 h 498229"/>
              <a:gd name="connsiteX577" fmla="*/ 675149 w 1503367"/>
              <a:gd name="connsiteY577" fmla="*/ 205166 h 498229"/>
              <a:gd name="connsiteX578" fmla="*/ 676684 w 1503367"/>
              <a:gd name="connsiteY578" fmla="*/ 205166 h 498229"/>
              <a:gd name="connsiteX579" fmla="*/ 678207 w 1503367"/>
              <a:gd name="connsiteY579" fmla="*/ 205166 h 498229"/>
              <a:gd name="connsiteX580" fmla="*/ 679742 w 1503367"/>
              <a:gd name="connsiteY580" fmla="*/ 205166 h 498229"/>
              <a:gd name="connsiteX581" fmla="*/ 679742 w 1503367"/>
              <a:gd name="connsiteY581" fmla="*/ 203787 h 498229"/>
              <a:gd name="connsiteX582" fmla="*/ 682811 w 1503367"/>
              <a:gd name="connsiteY582" fmla="*/ 203787 h 498229"/>
              <a:gd name="connsiteX583" fmla="*/ 682811 w 1503367"/>
              <a:gd name="connsiteY583" fmla="*/ 202375 h 498229"/>
              <a:gd name="connsiteX584" fmla="*/ 684346 w 1503367"/>
              <a:gd name="connsiteY584" fmla="*/ 202375 h 498229"/>
              <a:gd name="connsiteX585" fmla="*/ 685880 w 1503367"/>
              <a:gd name="connsiteY585" fmla="*/ 202375 h 498229"/>
              <a:gd name="connsiteX586" fmla="*/ 687370 w 1503367"/>
              <a:gd name="connsiteY586" fmla="*/ 202375 h 498229"/>
              <a:gd name="connsiteX587" fmla="*/ 688916 w 1503367"/>
              <a:gd name="connsiteY587" fmla="*/ 202375 h 498229"/>
              <a:gd name="connsiteX588" fmla="*/ 688916 w 1503367"/>
              <a:gd name="connsiteY588" fmla="*/ 199550 h 498229"/>
              <a:gd name="connsiteX589" fmla="*/ 691985 w 1503367"/>
              <a:gd name="connsiteY589" fmla="*/ 199550 h 498229"/>
              <a:gd name="connsiteX590" fmla="*/ 693520 w 1503367"/>
              <a:gd name="connsiteY590" fmla="*/ 199550 h 498229"/>
              <a:gd name="connsiteX591" fmla="*/ 695055 w 1503367"/>
              <a:gd name="connsiteY591" fmla="*/ 199550 h 498229"/>
              <a:gd name="connsiteX592" fmla="*/ 696589 w 1503367"/>
              <a:gd name="connsiteY592" fmla="*/ 199550 h 498229"/>
              <a:gd name="connsiteX593" fmla="*/ 698113 w 1503367"/>
              <a:gd name="connsiteY593" fmla="*/ 199550 h 498229"/>
              <a:gd name="connsiteX594" fmla="*/ 698113 w 1503367"/>
              <a:gd name="connsiteY594" fmla="*/ 198137 h 498229"/>
              <a:gd name="connsiteX595" fmla="*/ 699658 w 1503367"/>
              <a:gd name="connsiteY595" fmla="*/ 198137 h 498229"/>
              <a:gd name="connsiteX596" fmla="*/ 704251 w 1503367"/>
              <a:gd name="connsiteY596" fmla="*/ 198137 h 498229"/>
              <a:gd name="connsiteX597" fmla="*/ 704251 w 1503367"/>
              <a:gd name="connsiteY597" fmla="*/ 196714 h 498229"/>
              <a:gd name="connsiteX598" fmla="*/ 705752 w 1503367"/>
              <a:gd name="connsiteY598" fmla="*/ 196714 h 498229"/>
              <a:gd name="connsiteX599" fmla="*/ 707287 w 1503367"/>
              <a:gd name="connsiteY599" fmla="*/ 196714 h 498229"/>
              <a:gd name="connsiteX600" fmla="*/ 707287 w 1503367"/>
              <a:gd name="connsiteY600" fmla="*/ 195268 h 498229"/>
              <a:gd name="connsiteX601" fmla="*/ 708821 w 1503367"/>
              <a:gd name="connsiteY601" fmla="*/ 195268 h 498229"/>
              <a:gd name="connsiteX602" fmla="*/ 708821 w 1503367"/>
              <a:gd name="connsiteY602" fmla="*/ 192376 h 498229"/>
              <a:gd name="connsiteX603" fmla="*/ 710356 w 1503367"/>
              <a:gd name="connsiteY603" fmla="*/ 192376 h 498229"/>
              <a:gd name="connsiteX604" fmla="*/ 711891 w 1503367"/>
              <a:gd name="connsiteY604" fmla="*/ 192376 h 498229"/>
              <a:gd name="connsiteX605" fmla="*/ 711891 w 1503367"/>
              <a:gd name="connsiteY605" fmla="*/ 190919 h 498229"/>
              <a:gd name="connsiteX606" fmla="*/ 714960 w 1503367"/>
              <a:gd name="connsiteY606" fmla="*/ 190919 h 498229"/>
              <a:gd name="connsiteX607" fmla="*/ 716494 w 1503367"/>
              <a:gd name="connsiteY607" fmla="*/ 190919 h 498229"/>
              <a:gd name="connsiteX608" fmla="*/ 718018 w 1503367"/>
              <a:gd name="connsiteY608" fmla="*/ 190919 h 498229"/>
              <a:gd name="connsiteX609" fmla="*/ 718018 w 1503367"/>
              <a:gd name="connsiteY609" fmla="*/ 189440 h 498229"/>
              <a:gd name="connsiteX610" fmla="*/ 719564 w 1503367"/>
              <a:gd name="connsiteY610" fmla="*/ 189440 h 498229"/>
              <a:gd name="connsiteX611" fmla="*/ 719564 w 1503367"/>
              <a:gd name="connsiteY611" fmla="*/ 187983 h 498229"/>
              <a:gd name="connsiteX612" fmla="*/ 721098 w 1503367"/>
              <a:gd name="connsiteY612" fmla="*/ 187983 h 498229"/>
              <a:gd name="connsiteX613" fmla="*/ 721098 w 1503367"/>
              <a:gd name="connsiteY613" fmla="*/ 186504 h 498229"/>
              <a:gd name="connsiteX614" fmla="*/ 725657 w 1503367"/>
              <a:gd name="connsiteY614" fmla="*/ 186504 h 498229"/>
              <a:gd name="connsiteX615" fmla="*/ 725657 w 1503367"/>
              <a:gd name="connsiteY615" fmla="*/ 183534 h 498229"/>
              <a:gd name="connsiteX616" fmla="*/ 727203 w 1503367"/>
              <a:gd name="connsiteY616" fmla="*/ 183534 h 498229"/>
              <a:gd name="connsiteX617" fmla="*/ 727203 w 1503367"/>
              <a:gd name="connsiteY617" fmla="*/ 182055 h 498229"/>
              <a:gd name="connsiteX618" fmla="*/ 728726 w 1503367"/>
              <a:gd name="connsiteY618" fmla="*/ 182055 h 498229"/>
              <a:gd name="connsiteX619" fmla="*/ 728726 w 1503367"/>
              <a:gd name="connsiteY619" fmla="*/ 180531 h 498229"/>
              <a:gd name="connsiteX620" fmla="*/ 730261 w 1503367"/>
              <a:gd name="connsiteY620" fmla="*/ 180531 h 498229"/>
              <a:gd name="connsiteX621" fmla="*/ 731795 w 1503367"/>
              <a:gd name="connsiteY621" fmla="*/ 180531 h 498229"/>
              <a:gd name="connsiteX622" fmla="*/ 731795 w 1503367"/>
              <a:gd name="connsiteY622" fmla="*/ 179052 h 498229"/>
              <a:gd name="connsiteX623" fmla="*/ 733330 w 1503367"/>
              <a:gd name="connsiteY623" fmla="*/ 179052 h 498229"/>
              <a:gd name="connsiteX624" fmla="*/ 736399 w 1503367"/>
              <a:gd name="connsiteY624" fmla="*/ 179052 h 498229"/>
              <a:gd name="connsiteX625" fmla="*/ 737923 w 1503367"/>
              <a:gd name="connsiteY625" fmla="*/ 179052 h 498229"/>
              <a:gd name="connsiteX626" fmla="*/ 737923 w 1503367"/>
              <a:gd name="connsiteY626" fmla="*/ 177528 h 498229"/>
              <a:gd name="connsiteX627" fmla="*/ 739468 w 1503367"/>
              <a:gd name="connsiteY627" fmla="*/ 177528 h 498229"/>
              <a:gd name="connsiteX628" fmla="*/ 739468 w 1503367"/>
              <a:gd name="connsiteY628" fmla="*/ 176016 h 498229"/>
              <a:gd name="connsiteX629" fmla="*/ 740970 w 1503367"/>
              <a:gd name="connsiteY629" fmla="*/ 176016 h 498229"/>
              <a:gd name="connsiteX630" fmla="*/ 742504 w 1503367"/>
              <a:gd name="connsiteY630" fmla="*/ 176016 h 498229"/>
              <a:gd name="connsiteX631" fmla="*/ 745562 w 1503367"/>
              <a:gd name="connsiteY631" fmla="*/ 176016 h 498229"/>
              <a:gd name="connsiteX632" fmla="*/ 748631 w 1503367"/>
              <a:gd name="connsiteY632" fmla="*/ 176016 h 498229"/>
              <a:gd name="connsiteX633" fmla="*/ 750166 w 1503367"/>
              <a:gd name="connsiteY633" fmla="*/ 176016 h 498229"/>
              <a:gd name="connsiteX634" fmla="*/ 751712 w 1503367"/>
              <a:gd name="connsiteY634" fmla="*/ 176016 h 498229"/>
              <a:gd name="connsiteX635" fmla="*/ 753235 w 1503367"/>
              <a:gd name="connsiteY635" fmla="*/ 176016 h 498229"/>
              <a:gd name="connsiteX636" fmla="*/ 754770 w 1503367"/>
              <a:gd name="connsiteY636" fmla="*/ 176016 h 498229"/>
              <a:gd name="connsiteX637" fmla="*/ 754770 w 1503367"/>
              <a:gd name="connsiteY637" fmla="*/ 174459 h 498229"/>
              <a:gd name="connsiteX638" fmla="*/ 757795 w 1503367"/>
              <a:gd name="connsiteY638" fmla="*/ 174459 h 498229"/>
              <a:gd name="connsiteX639" fmla="*/ 759340 w 1503367"/>
              <a:gd name="connsiteY639" fmla="*/ 174459 h 498229"/>
              <a:gd name="connsiteX640" fmla="*/ 760875 w 1503367"/>
              <a:gd name="connsiteY640" fmla="*/ 174459 h 498229"/>
              <a:gd name="connsiteX641" fmla="*/ 760875 w 1503367"/>
              <a:gd name="connsiteY641" fmla="*/ 171322 h 498229"/>
              <a:gd name="connsiteX642" fmla="*/ 762410 w 1503367"/>
              <a:gd name="connsiteY642" fmla="*/ 171322 h 498229"/>
              <a:gd name="connsiteX643" fmla="*/ 762410 w 1503367"/>
              <a:gd name="connsiteY643" fmla="*/ 169765 h 498229"/>
              <a:gd name="connsiteX644" fmla="*/ 763933 w 1503367"/>
              <a:gd name="connsiteY644" fmla="*/ 169765 h 498229"/>
              <a:gd name="connsiteX645" fmla="*/ 763933 w 1503367"/>
              <a:gd name="connsiteY645" fmla="*/ 166629 h 498229"/>
              <a:gd name="connsiteX646" fmla="*/ 768537 w 1503367"/>
              <a:gd name="connsiteY646" fmla="*/ 166629 h 498229"/>
              <a:gd name="connsiteX647" fmla="*/ 770071 w 1503367"/>
              <a:gd name="connsiteY647" fmla="*/ 166629 h 498229"/>
              <a:gd name="connsiteX648" fmla="*/ 770071 w 1503367"/>
              <a:gd name="connsiteY648" fmla="*/ 163448 h 498229"/>
              <a:gd name="connsiteX649" fmla="*/ 771617 w 1503367"/>
              <a:gd name="connsiteY649" fmla="*/ 163448 h 498229"/>
              <a:gd name="connsiteX650" fmla="*/ 771617 w 1503367"/>
              <a:gd name="connsiteY650" fmla="*/ 161869 h 498229"/>
              <a:gd name="connsiteX651" fmla="*/ 773140 w 1503367"/>
              <a:gd name="connsiteY651" fmla="*/ 161869 h 498229"/>
              <a:gd name="connsiteX652" fmla="*/ 774675 w 1503367"/>
              <a:gd name="connsiteY652" fmla="*/ 161869 h 498229"/>
              <a:gd name="connsiteX653" fmla="*/ 779245 w 1503367"/>
              <a:gd name="connsiteY653" fmla="*/ 161869 h 498229"/>
              <a:gd name="connsiteX654" fmla="*/ 780780 w 1503367"/>
              <a:gd name="connsiteY654" fmla="*/ 161869 h 498229"/>
              <a:gd name="connsiteX655" fmla="*/ 782314 w 1503367"/>
              <a:gd name="connsiteY655" fmla="*/ 161869 h 498229"/>
              <a:gd name="connsiteX656" fmla="*/ 785384 w 1503367"/>
              <a:gd name="connsiteY656" fmla="*/ 161869 h 498229"/>
              <a:gd name="connsiteX657" fmla="*/ 789976 w 1503367"/>
              <a:gd name="connsiteY657" fmla="*/ 161869 h 498229"/>
              <a:gd name="connsiteX658" fmla="*/ 791522 w 1503367"/>
              <a:gd name="connsiteY658" fmla="*/ 161869 h 498229"/>
              <a:gd name="connsiteX659" fmla="*/ 793046 w 1503367"/>
              <a:gd name="connsiteY659" fmla="*/ 161869 h 498229"/>
              <a:gd name="connsiteX660" fmla="*/ 793046 w 1503367"/>
              <a:gd name="connsiteY660" fmla="*/ 160245 h 498229"/>
              <a:gd name="connsiteX661" fmla="*/ 794547 w 1503367"/>
              <a:gd name="connsiteY661" fmla="*/ 160245 h 498229"/>
              <a:gd name="connsiteX662" fmla="*/ 796081 w 1503367"/>
              <a:gd name="connsiteY662" fmla="*/ 160245 h 498229"/>
              <a:gd name="connsiteX663" fmla="*/ 797616 w 1503367"/>
              <a:gd name="connsiteY663" fmla="*/ 160245 h 498229"/>
              <a:gd name="connsiteX664" fmla="*/ 797616 w 1503367"/>
              <a:gd name="connsiteY664" fmla="*/ 158588 h 498229"/>
              <a:gd name="connsiteX665" fmla="*/ 800685 w 1503367"/>
              <a:gd name="connsiteY665" fmla="*/ 158588 h 498229"/>
              <a:gd name="connsiteX666" fmla="*/ 802220 w 1503367"/>
              <a:gd name="connsiteY666" fmla="*/ 158588 h 498229"/>
              <a:gd name="connsiteX667" fmla="*/ 803754 w 1503367"/>
              <a:gd name="connsiteY667" fmla="*/ 158588 h 498229"/>
              <a:gd name="connsiteX668" fmla="*/ 803754 w 1503367"/>
              <a:gd name="connsiteY668" fmla="*/ 156964 h 498229"/>
              <a:gd name="connsiteX669" fmla="*/ 805289 w 1503367"/>
              <a:gd name="connsiteY669" fmla="*/ 156964 h 498229"/>
              <a:gd name="connsiteX670" fmla="*/ 805289 w 1503367"/>
              <a:gd name="connsiteY670" fmla="*/ 155307 h 498229"/>
              <a:gd name="connsiteX671" fmla="*/ 806823 w 1503367"/>
              <a:gd name="connsiteY671" fmla="*/ 155307 h 498229"/>
              <a:gd name="connsiteX672" fmla="*/ 808347 w 1503367"/>
              <a:gd name="connsiteY672" fmla="*/ 155307 h 498229"/>
              <a:gd name="connsiteX673" fmla="*/ 811394 w 1503367"/>
              <a:gd name="connsiteY673" fmla="*/ 155307 h 498229"/>
              <a:gd name="connsiteX674" fmla="*/ 811394 w 1503367"/>
              <a:gd name="connsiteY674" fmla="*/ 153616 h 498229"/>
              <a:gd name="connsiteX675" fmla="*/ 812928 w 1503367"/>
              <a:gd name="connsiteY675" fmla="*/ 153616 h 498229"/>
              <a:gd name="connsiteX676" fmla="*/ 812928 w 1503367"/>
              <a:gd name="connsiteY676" fmla="*/ 151959 h 498229"/>
              <a:gd name="connsiteX677" fmla="*/ 814452 w 1503367"/>
              <a:gd name="connsiteY677" fmla="*/ 151959 h 498229"/>
              <a:gd name="connsiteX678" fmla="*/ 815986 w 1503367"/>
              <a:gd name="connsiteY678" fmla="*/ 151959 h 498229"/>
              <a:gd name="connsiteX679" fmla="*/ 819056 w 1503367"/>
              <a:gd name="connsiteY679" fmla="*/ 151959 h 498229"/>
              <a:gd name="connsiteX680" fmla="*/ 822125 w 1503367"/>
              <a:gd name="connsiteY680" fmla="*/ 151959 h 498229"/>
              <a:gd name="connsiteX681" fmla="*/ 823659 w 1503367"/>
              <a:gd name="connsiteY681" fmla="*/ 151959 h 498229"/>
              <a:gd name="connsiteX682" fmla="*/ 825194 w 1503367"/>
              <a:gd name="connsiteY682" fmla="*/ 151959 h 498229"/>
              <a:gd name="connsiteX683" fmla="*/ 826728 w 1503367"/>
              <a:gd name="connsiteY683" fmla="*/ 151959 h 498229"/>
              <a:gd name="connsiteX684" fmla="*/ 826728 w 1503367"/>
              <a:gd name="connsiteY684" fmla="*/ 150269 h 498229"/>
              <a:gd name="connsiteX685" fmla="*/ 828252 w 1503367"/>
              <a:gd name="connsiteY685" fmla="*/ 150269 h 498229"/>
              <a:gd name="connsiteX686" fmla="*/ 829753 w 1503367"/>
              <a:gd name="connsiteY686" fmla="*/ 150269 h 498229"/>
              <a:gd name="connsiteX687" fmla="*/ 831299 w 1503367"/>
              <a:gd name="connsiteY687" fmla="*/ 150269 h 498229"/>
              <a:gd name="connsiteX688" fmla="*/ 831299 w 1503367"/>
              <a:gd name="connsiteY688" fmla="*/ 146854 h 498229"/>
              <a:gd name="connsiteX689" fmla="*/ 832833 w 1503367"/>
              <a:gd name="connsiteY689" fmla="*/ 146854 h 498229"/>
              <a:gd name="connsiteX690" fmla="*/ 834357 w 1503367"/>
              <a:gd name="connsiteY690" fmla="*/ 146854 h 498229"/>
              <a:gd name="connsiteX691" fmla="*/ 835892 w 1503367"/>
              <a:gd name="connsiteY691" fmla="*/ 146854 h 498229"/>
              <a:gd name="connsiteX692" fmla="*/ 837437 w 1503367"/>
              <a:gd name="connsiteY692" fmla="*/ 146854 h 498229"/>
              <a:gd name="connsiteX693" fmla="*/ 838961 w 1503367"/>
              <a:gd name="connsiteY693" fmla="*/ 146854 h 498229"/>
              <a:gd name="connsiteX694" fmla="*/ 840495 w 1503367"/>
              <a:gd name="connsiteY694" fmla="*/ 146854 h 498229"/>
              <a:gd name="connsiteX695" fmla="*/ 840495 w 1503367"/>
              <a:gd name="connsiteY695" fmla="*/ 143373 h 498229"/>
              <a:gd name="connsiteX696" fmla="*/ 842030 w 1503367"/>
              <a:gd name="connsiteY696" fmla="*/ 143373 h 498229"/>
              <a:gd name="connsiteX697" fmla="*/ 842030 w 1503367"/>
              <a:gd name="connsiteY697" fmla="*/ 139881 h 498229"/>
              <a:gd name="connsiteX698" fmla="*/ 843564 w 1503367"/>
              <a:gd name="connsiteY698" fmla="*/ 139881 h 498229"/>
              <a:gd name="connsiteX699" fmla="*/ 845099 w 1503367"/>
              <a:gd name="connsiteY699" fmla="*/ 139881 h 498229"/>
              <a:gd name="connsiteX700" fmla="*/ 845099 w 1503367"/>
              <a:gd name="connsiteY700" fmla="*/ 138157 h 498229"/>
              <a:gd name="connsiteX701" fmla="*/ 846600 w 1503367"/>
              <a:gd name="connsiteY701" fmla="*/ 138157 h 498229"/>
              <a:gd name="connsiteX702" fmla="*/ 846600 w 1503367"/>
              <a:gd name="connsiteY702" fmla="*/ 136400 h 498229"/>
              <a:gd name="connsiteX703" fmla="*/ 848135 w 1503367"/>
              <a:gd name="connsiteY703" fmla="*/ 136400 h 498229"/>
              <a:gd name="connsiteX704" fmla="*/ 849658 w 1503367"/>
              <a:gd name="connsiteY704" fmla="*/ 136400 h 498229"/>
              <a:gd name="connsiteX705" fmla="*/ 851204 w 1503367"/>
              <a:gd name="connsiteY705" fmla="*/ 136400 h 498229"/>
              <a:gd name="connsiteX706" fmla="*/ 851204 w 1503367"/>
              <a:gd name="connsiteY706" fmla="*/ 134642 h 498229"/>
              <a:gd name="connsiteX707" fmla="*/ 852738 w 1503367"/>
              <a:gd name="connsiteY707" fmla="*/ 134642 h 498229"/>
              <a:gd name="connsiteX708" fmla="*/ 852738 w 1503367"/>
              <a:gd name="connsiteY708" fmla="*/ 132841 h 498229"/>
              <a:gd name="connsiteX709" fmla="*/ 854262 w 1503367"/>
              <a:gd name="connsiteY709" fmla="*/ 132841 h 498229"/>
              <a:gd name="connsiteX710" fmla="*/ 855796 w 1503367"/>
              <a:gd name="connsiteY710" fmla="*/ 132841 h 498229"/>
              <a:gd name="connsiteX711" fmla="*/ 857342 w 1503367"/>
              <a:gd name="connsiteY711" fmla="*/ 132841 h 498229"/>
              <a:gd name="connsiteX712" fmla="*/ 858866 w 1503367"/>
              <a:gd name="connsiteY712" fmla="*/ 132841 h 498229"/>
              <a:gd name="connsiteX713" fmla="*/ 860400 w 1503367"/>
              <a:gd name="connsiteY713" fmla="*/ 132841 h 498229"/>
              <a:gd name="connsiteX714" fmla="*/ 866505 w 1503367"/>
              <a:gd name="connsiteY714" fmla="*/ 132841 h 498229"/>
              <a:gd name="connsiteX715" fmla="*/ 868040 w 1503367"/>
              <a:gd name="connsiteY715" fmla="*/ 132841 h 498229"/>
              <a:gd name="connsiteX716" fmla="*/ 869574 w 1503367"/>
              <a:gd name="connsiteY716" fmla="*/ 132841 h 498229"/>
              <a:gd name="connsiteX717" fmla="*/ 871109 w 1503367"/>
              <a:gd name="connsiteY717" fmla="*/ 132841 h 498229"/>
              <a:gd name="connsiteX718" fmla="*/ 875713 w 1503367"/>
              <a:gd name="connsiteY718" fmla="*/ 132841 h 498229"/>
              <a:gd name="connsiteX719" fmla="*/ 877247 w 1503367"/>
              <a:gd name="connsiteY719" fmla="*/ 132841 h 498229"/>
              <a:gd name="connsiteX720" fmla="*/ 878771 w 1503367"/>
              <a:gd name="connsiteY720" fmla="*/ 132841 h 498229"/>
              <a:gd name="connsiteX721" fmla="*/ 880305 w 1503367"/>
              <a:gd name="connsiteY721" fmla="*/ 132841 h 498229"/>
              <a:gd name="connsiteX722" fmla="*/ 880305 w 1503367"/>
              <a:gd name="connsiteY722" fmla="*/ 129148 h 498229"/>
              <a:gd name="connsiteX723" fmla="*/ 881807 w 1503367"/>
              <a:gd name="connsiteY723" fmla="*/ 129148 h 498229"/>
              <a:gd name="connsiteX724" fmla="*/ 887945 w 1503367"/>
              <a:gd name="connsiteY724" fmla="*/ 129148 h 498229"/>
              <a:gd name="connsiteX725" fmla="*/ 889480 w 1503367"/>
              <a:gd name="connsiteY725" fmla="*/ 129148 h 498229"/>
              <a:gd name="connsiteX726" fmla="*/ 891014 w 1503367"/>
              <a:gd name="connsiteY726" fmla="*/ 129148 h 498229"/>
              <a:gd name="connsiteX727" fmla="*/ 892549 w 1503367"/>
              <a:gd name="connsiteY727" fmla="*/ 129148 h 498229"/>
              <a:gd name="connsiteX728" fmla="*/ 897153 w 1503367"/>
              <a:gd name="connsiteY728" fmla="*/ 129148 h 498229"/>
              <a:gd name="connsiteX729" fmla="*/ 897153 w 1503367"/>
              <a:gd name="connsiteY729" fmla="*/ 127257 h 498229"/>
              <a:gd name="connsiteX730" fmla="*/ 898676 w 1503367"/>
              <a:gd name="connsiteY730" fmla="*/ 127257 h 498229"/>
              <a:gd name="connsiteX731" fmla="*/ 898676 w 1503367"/>
              <a:gd name="connsiteY731" fmla="*/ 125322 h 498229"/>
              <a:gd name="connsiteX732" fmla="*/ 900177 w 1503367"/>
              <a:gd name="connsiteY732" fmla="*/ 125322 h 498229"/>
              <a:gd name="connsiteX733" fmla="*/ 901712 w 1503367"/>
              <a:gd name="connsiteY733" fmla="*/ 125322 h 498229"/>
              <a:gd name="connsiteX734" fmla="*/ 903257 w 1503367"/>
              <a:gd name="connsiteY734" fmla="*/ 125322 h 498229"/>
              <a:gd name="connsiteX735" fmla="*/ 904781 w 1503367"/>
              <a:gd name="connsiteY735" fmla="*/ 125322 h 498229"/>
              <a:gd name="connsiteX736" fmla="*/ 904781 w 1503367"/>
              <a:gd name="connsiteY736" fmla="*/ 121429 h 498229"/>
              <a:gd name="connsiteX737" fmla="*/ 907850 w 1503367"/>
              <a:gd name="connsiteY737" fmla="*/ 121429 h 498229"/>
              <a:gd name="connsiteX738" fmla="*/ 909384 w 1503367"/>
              <a:gd name="connsiteY738" fmla="*/ 121429 h 498229"/>
              <a:gd name="connsiteX739" fmla="*/ 912454 w 1503367"/>
              <a:gd name="connsiteY739" fmla="*/ 121429 h 498229"/>
              <a:gd name="connsiteX740" fmla="*/ 913988 w 1503367"/>
              <a:gd name="connsiteY740" fmla="*/ 121429 h 498229"/>
              <a:gd name="connsiteX741" fmla="*/ 917057 w 1503367"/>
              <a:gd name="connsiteY741" fmla="*/ 121429 h 498229"/>
              <a:gd name="connsiteX742" fmla="*/ 917057 w 1503367"/>
              <a:gd name="connsiteY742" fmla="*/ 119461 h 498229"/>
              <a:gd name="connsiteX743" fmla="*/ 920082 w 1503367"/>
              <a:gd name="connsiteY743" fmla="*/ 119461 h 498229"/>
              <a:gd name="connsiteX744" fmla="*/ 921628 w 1503367"/>
              <a:gd name="connsiteY744" fmla="*/ 119461 h 498229"/>
              <a:gd name="connsiteX745" fmla="*/ 923162 w 1503367"/>
              <a:gd name="connsiteY745" fmla="*/ 119461 h 498229"/>
              <a:gd name="connsiteX746" fmla="*/ 924686 w 1503367"/>
              <a:gd name="connsiteY746" fmla="*/ 119461 h 498229"/>
              <a:gd name="connsiteX747" fmla="*/ 924686 w 1503367"/>
              <a:gd name="connsiteY747" fmla="*/ 117459 h 498229"/>
              <a:gd name="connsiteX748" fmla="*/ 926220 w 1503367"/>
              <a:gd name="connsiteY748" fmla="*/ 117459 h 498229"/>
              <a:gd name="connsiteX749" fmla="*/ 926220 w 1503367"/>
              <a:gd name="connsiteY749" fmla="*/ 115424 h 498229"/>
              <a:gd name="connsiteX750" fmla="*/ 929290 w 1503367"/>
              <a:gd name="connsiteY750" fmla="*/ 115424 h 498229"/>
              <a:gd name="connsiteX751" fmla="*/ 930824 w 1503367"/>
              <a:gd name="connsiteY751" fmla="*/ 115424 h 498229"/>
              <a:gd name="connsiteX752" fmla="*/ 932359 w 1503367"/>
              <a:gd name="connsiteY752" fmla="*/ 115424 h 498229"/>
              <a:gd name="connsiteX753" fmla="*/ 932359 w 1503367"/>
              <a:gd name="connsiteY753" fmla="*/ 113377 h 498229"/>
              <a:gd name="connsiteX754" fmla="*/ 933893 w 1503367"/>
              <a:gd name="connsiteY754" fmla="*/ 113377 h 498229"/>
              <a:gd name="connsiteX755" fmla="*/ 935395 w 1503367"/>
              <a:gd name="connsiteY755" fmla="*/ 113377 h 498229"/>
              <a:gd name="connsiteX756" fmla="*/ 939987 w 1503367"/>
              <a:gd name="connsiteY756" fmla="*/ 113377 h 498229"/>
              <a:gd name="connsiteX757" fmla="*/ 941533 w 1503367"/>
              <a:gd name="connsiteY757" fmla="*/ 113377 h 498229"/>
              <a:gd name="connsiteX758" fmla="*/ 943068 w 1503367"/>
              <a:gd name="connsiteY758" fmla="*/ 113377 h 498229"/>
              <a:gd name="connsiteX759" fmla="*/ 943068 w 1503367"/>
              <a:gd name="connsiteY759" fmla="*/ 111308 h 498229"/>
              <a:gd name="connsiteX760" fmla="*/ 944591 w 1503367"/>
              <a:gd name="connsiteY760" fmla="*/ 111308 h 498229"/>
              <a:gd name="connsiteX761" fmla="*/ 946126 w 1503367"/>
              <a:gd name="connsiteY761" fmla="*/ 111308 h 498229"/>
              <a:gd name="connsiteX762" fmla="*/ 946126 w 1503367"/>
              <a:gd name="connsiteY762" fmla="*/ 109173 h 498229"/>
              <a:gd name="connsiteX763" fmla="*/ 947671 w 1503367"/>
              <a:gd name="connsiteY763" fmla="*/ 109173 h 498229"/>
              <a:gd name="connsiteX764" fmla="*/ 947671 w 1503367"/>
              <a:gd name="connsiteY764" fmla="*/ 107071 h 498229"/>
              <a:gd name="connsiteX765" fmla="*/ 949195 w 1503367"/>
              <a:gd name="connsiteY765" fmla="*/ 107071 h 498229"/>
              <a:gd name="connsiteX766" fmla="*/ 949195 w 1503367"/>
              <a:gd name="connsiteY766" fmla="*/ 104936 h 498229"/>
              <a:gd name="connsiteX767" fmla="*/ 950729 w 1503367"/>
              <a:gd name="connsiteY767" fmla="*/ 104936 h 498229"/>
              <a:gd name="connsiteX768" fmla="*/ 952264 w 1503367"/>
              <a:gd name="connsiteY768" fmla="*/ 104936 h 498229"/>
              <a:gd name="connsiteX769" fmla="*/ 953765 w 1503367"/>
              <a:gd name="connsiteY769" fmla="*/ 104936 h 498229"/>
              <a:gd name="connsiteX770" fmla="*/ 955300 w 1503367"/>
              <a:gd name="connsiteY770" fmla="*/ 104936 h 498229"/>
              <a:gd name="connsiteX771" fmla="*/ 956834 w 1503367"/>
              <a:gd name="connsiteY771" fmla="*/ 104936 h 498229"/>
              <a:gd name="connsiteX772" fmla="*/ 959892 w 1503367"/>
              <a:gd name="connsiteY772" fmla="*/ 104936 h 498229"/>
              <a:gd name="connsiteX773" fmla="*/ 959892 w 1503367"/>
              <a:gd name="connsiteY773" fmla="*/ 102756 h 498229"/>
              <a:gd name="connsiteX774" fmla="*/ 961438 w 1503367"/>
              <a:gd name="connsiteY774" fmla="*/ 102756 h 498229"/>
              <a:gd name="connsiteX775" fmla="*/ 962973 w 1503367"/>
              <a:gd name="connsiteY775" fmla="*/ 102756 h 498229"/>
              <a:gd name="connsiteX776" fmla="*/ 964496 w 1503367"/>
              <a:gd name="connsiteY776" fmla="*/ 102756 h 498229"/>
              <a:gd name="connsiteX777" fmla="*/ 966031 w 1503367"/>
              <a:gd name="connsiteY777" fmla="*/ 102756 h 498229"/>
              <a:gd name="connsiteX778" fmla="*/ 967576 w 1503367"/>
              <a:gd name="connsiteY778" fmla="*/ 102756 h 498229"/>
              <a:gd name="connsiteX779" fmla="*/ 973681 w 1503367"/>
              <a:gd name="connsiteY779" fmla="*/ 102756 h 498229"/>
              <a:gd name="connsiteX780" fmla="*/ 973681 w 1503367"/>
              <a:gd name="connsiteY780" fmla="*/ 100509 h 498229"/>
              <a:gd name="connsiteX781" fmla="*/ 975205 w 1503367"/>
              <a:gd name="connsiteY781" fmla="*/ 100509 h 498229"/>
              <a:gd name="connsiteX782" fmla="*/ 976739 w 1503367"/>
              <a:gd name="connsiteY782" fmla="*/ 100509 h 498229"/>
              <a:gd name="connsiteX783" fmla="*/ 978274 w 1503367"/>
              <a:gd name="connsiteY783" fmla="*/ 100509 h 498229"/>
              <a:gd name="connsiteX784" fmla="*/ 981343 w 1503367"/>
              <a:gd name="connsiteY784" fmla="*/ 100509 h 498229"/>
              <a:gd name="connsiteX785" fmla="*/ 981343 w 1503367"/>
              <a:gd name="connsiteY785" fmla="*/ 95960 h 498229"/>
              <a:gd name="connsiteX786" fmla="*/ 982878 w 1503367"/>
              <a:gd name="connsiteY786" fmla="*/ 95960 h 498229"/>
              <a:gd name="connsiteX787" fmla="*/ 984401 w 1503367"/>
              <a:gd name="connsiteY787" fmla="*/ 95960 h 498229"/>
              <a:gd name="connsiteX788" fmla="*/ 985947 w 1503367"/>
              <a:gd name="connsiteY788" fmla="*/ 95960 h 498229"/>
              <a:gd name="connsiteX789" fmla="*/ 987481 w 1503367"/>
              <a:gd name="connsiteY789" fmla="*/ 95960 h 498229"/>
              <a:gd name="connsiteX790" fmla="*/ 988983 w 1503367"/>
              <a:gd name="connsiteY790" fmla="*/ 95960 h 498229"/>
              <a:gd name="connsiteX791" fmla="*/ 988983 w 1503367"/>
              <a:gd name="connsiteY791" fmla="*/ 93613 h 498229"/>
              <a:gd name="connsiteX792" fmla="*/ 992041 w 1503367"/>
              <a:gd name="connsiteY792" fmla="*/ 93613 h 498229"/>
              <a:gd name="connsiteX793" fmla="*/ 992041 w 1503367"/>
              <a:gd name="connsiteY793" fmla="*/ 91267 h 498229"/>
              <a:gd name="connsiteX794" fmla="*/ 993587 w 1503367"/>
              <a:gd name="connsiteY794" fmla="*/ 91267 h 498229"/>
              <a:gd name="connsiteX795" fmla="*/ 995110 w 1503367"/>
              <a:gd name="connsiteY795" fmla="*/ 91267 h 498229"/>
              <a:gd name="connsiteX796" fmla="*/ 996645 w 1503367"/>
              <a:gd name="connsiteY796" fmla="*/ 91267 h 498229"/>
              <a:gd name="connsiteX797" fmla="*/ 998179 w 1503367"/>
              <a:gd name="connsiteY797" fmla="*/ 91267 h 498229"/>
              <a:gd name="connsiteX798" fmla="*/ 998179 w 1503367"/>
              <a:gd name="connsiteY798" fmla="*/ 88920 h 498229"/>
              <a:gd name="connsiteX799" fmla="*/ 999714 w 1503367"/>
              <a:gd name="connsiteY799" fmla="*/ 88920 h 498229"/>
              <a:gd name="connsiteX800" fmla="*/ 1004306 w 1503367"/>
              <a:gd name="connsiteY800" fmla="*/ 88920 h 498229"/>
              <a:gd name="connsiteX801" fmla="*/ 1005808 w 1503367"/>
              <a:gd name="connsiteY801" fmla="*/ 88920 h 498229"/>
              <a:gd name="connsiteX802" fmla="*/ 1007353 w 1503367"/>
              <a:gd name="connsiteY802" fmla="*/ 88920 h 498229"/>
              <a:gd name="connsiteX803" fmla="*/ 1008888 w 1503367"/>
              <a:gd name="connsiteY803" fmla="*/ 88920 h 498229"/>
              <a:gd name="connsiteX804" fmla="*/ 1008888 w 1503367"/>
              <a:gd name="connsiteY804" fmla="*/ 86540 h 498229"/>
              <a:gd name="connsiteX805" fmla="*/ 1010411 w 1503367"/>
              <a:gd name="connsiteY805" fmla="*/ 86540 h 498229"/>
              <a:gd name="connsiteX806" fmla="*/ 1015015 w 1503367"/>
              <a:gd name="connsiteY806" fmla="*/ 86540 h 498229"/>
              <a:gd name="connsiteX807" fmla="*/ 1016550 w 1503367"/>
              <a:gd name="connsiteY807" fmla="*/ 86540 h 498229"/>
              <a:gd name="connsiteX808" fmla="*/ 1018084 w 1503367"/>
              <a:gd name="connsiteY808" fmla="*/ 86540 h 498229"/>
              <a:gd name="connsiteX809" fmla="*/ 1019619 w 1503367"/>
              <a:gd name="connsiteY809" fmla="*/ 86540 h 498229"/>
              <a:gd name="connsiteX810" fmla="*/ 1019619 w 1503367"/>
              <a:gd name="connsiteY810" fmla="*/ 84093 h 498229"/>
              <a:gd name="connsiteX811" fmla="*/ 1021153 w 1503367"/>
              <a:gd name="connsiteY811" fmla="*/ 84093 h 498229"/>
              <a:gd name="connsiteX812" fmla="*/ 1021153 w 1503367"/>
              <a:gd name="connsiteY812" fmla="*/ 81668 h 498229"/>
              <a:gd name="connsiteX813" fmla="*/ 1024189 w 1503367"/>
              <a:gd name="connsiteY813" fmla="*/ 81668 h 498229"/>
              <a:gd name="connsiteX814" fmla="*/ 1024189 w 1503367"/>
              <a:gd name="connsiteY814" fmla="*/ 79188 h 498229"/>
              <a:gd name="connsiteX815" fmla="*/ 1025724 w 1503367"/>
              <a:gd name="connsiteY815" fmla="*/ 79188 h 498229"/>
              <a:gd name="connsiteX816" fmla="*/ 1027258 w 1503367"/>
              <a:gd name="connsiteY816" fmla="*/ 79188 h 498229"/>
              <a:gd name="connsiteX817" fmla="*/ 1028793 w 1503367"/>
              <a:gd name="connsiteY817" fmla="*/ 79188 h 498229"/>
              <a:gd name="connsiteX818" fmla="*/ 1030316 w 1503367"/>
              <a:gd name="connsiteY818" fmla="*/ 79188 h 498229"/>
              <a:gd name="connsiteX819" fmla="*/ 1031862 w 1503367"/>
              <a:gd name="connsiteY819" fmla="*/ 79188 h 498229"/>
              <a:gd name="connsiteX820" fmla="*/ 1034920 w 1503367"/>
              <a:gd name="connsiteY820" fmla="*/ 79188 h 498229"/>
              <a:gd name="connsiteX821" fmla="*/ 1036455 w 1503367"/>
              <a:gd name="connsiteY821" fmla="*/ 79188 h 498229"/>
              <a:gd name="connsiteX822" fmla="*/ 1038000 w 1503367"/>
              <a:gd name="connsiteY822" fmla="*/ 79188 h 498229"/>
              <a:gd name="connsiteX823" fmla="*/ 1041058 w 1503367"/>
              <a:gd name="connsiteY823" fmla="*/ 79188 h 498229"/>
              <a:gd name="connsiteX824" fmla="*/ 1042560 w 1503367"/>
              <a:gd name="connsiteY824" fmla="*/ 79188 h 498229"/>
              <a:gd name="connsiteX825" fmla="*/ 1047163 w 1503367"/>
              <a:gd name="connsiteY825" fmla="*/ 79188 h 498229"/>
              <a:gd name="connsiteX826" fmla="*/ 1048698 w 1503367"/>
              <a:gd name="connsiteY826" fmla="*/ 79188 h 498229"/>
              <a:gd name="connsiteX827" fmla="*/ 1050221 w 1503367"/>
              <a:gd name="connsiteY827" fmla="*/ 79188 h 498229"/>
              <a:gd name="connsiteX828" fmla="*/ 1051767 w 1503367"/>
              <a:gd name="connsiteY828" fmla="*/ 79188 h 498229"/>
              <a:gd name="connsiteX829" fmla="*/ 1053302 w 1503367"/>
              <a:gd name="connsiteY829" fmla="*/ 79188 h 498229"/>
              <a:gd name="connsiteX830" fmla="*/ 1056360 w 1503367"/>
              <a:gd name="connsiteY830" fmla="*/ 79188 h 498229"/>
              <a:gd name="connsiteX831" fmla="*/ 1057906 w 1503367"/>
              <a:gd name="connsiteY831" fmla="*/ 79188 h 498229"/>
              <a:gd name="connsiteX832" fmla="*/ 1059407 w 1503367"/>
              <a:gd name="connsiteY832" fmla="*/ 79188 h 498229"/>
              <a:gd name="connsiteX833" fmla="*/ 1060930 w 1503367"/>
              <a:gd name="connsiteY833" fmla="*/ 79188 h 498229"/>
              <a:gd name="connsiteX834" fmla="*/ 1062465 w 1503367"/>
              <a:gd name="connsiteY834" fmla="*/ 79188 h 498229"/>
              <a:gd name="connsiteX835" fmla="*/ 1063999 w 1503367"/>
              <a:gd name="connsiteY835" fmla="*/ 79188 h 498229"/>
              <a:gd name="connsiteX836" fmla="*/ 1067069 w 1503367"/>
              <a:gd name="connsiteY836" fmla="*/ 79188 h 498229"/>
              <a:gd name="connsiteX837" fmla="*/ 1067069 w 1503367"/>
              <a:gd name="connsiteY837" fmla="*/ 76463 h 498229"/>
              <a:gd name="connsiteX838" fmla="*/ 1068603 w 1503367"/>
              <a:gd name="connsiteY838" fmla="*/ 76463 h 498229"/>
              <a:gd name="connsiteX839" fmla="*/ 1070127 w 1503367"/>
              <a:gd name="connsiteY839" fmla="*/ 76463 h 498229"/>
              <a:gd name="connsiteX840" fmla="*/ 1073207 w 1503367"/>
              <a:gd name="connsiteY840" fmla="*/ 76463 h 498229"/>
              <a:gd name="connsiteX841" fmla="*/ 1074730 w 1503367"/>
              <a:gd name="connsiteY841" fmla="*/ 76463 h 498229"/>
              <a:gd name="connsiteX842" fmla="*/ 1076265 w 1503367"/>
              <a:gd name="connsiteY842" fmla="*/ 76463 h 498229"/>
              <a:gd name="connsiteX843" fmla="*/ 1076265 w 1503367"/>
              <a:gd name="connsiteY843" fmla="*/ 70869 h 498229"/>
              <a:gd name="connsiteX844" fmla="*/ 1080835 w 1503367"/>
              <a:gd name="connsiteY844" fmla="*/ 70869 h 498229"/>
              <a:gd name="connsiteX845" fmla="*/ 1082370 w 1503367"/>
              <a:gd name="connsiteY845" fmla="*/ 70869 h 498229"/>
              <a:gd name="connsiteX846" fmla="*/ 1083916 w 1503367"/>
              <a:gd name="connsiteY846" fmla="*/ 70869 h 498229"/>
              <a:gd name="connsiteX847" fmla="*/ 1085439 w 1503367"/>
              <a:gd name="connsiteY847" fmla="*/ 70869 h 498229"/>
              <a:gd name="connsiteX848" fmla="*/ 1090043 w 1503367"/>
              <a:gd name="connsiteY848" fmla="*/ 70869 h 498229"/>
              <a:gd name="connsiteX849" fmla="*/ 1091577 w 1503367"/>
              <a:gd name="connsiteY849" fmla="*/ 70869 h 498229"/>
              <a:gd name="connsiteX850" fmla="*/ 1093112 w 1503367"/>
              <a:gd name="connsiteY850" fmla="*/ 70869 h 498229"/>
              <a:gd name="connsiteX851" fmla="*/ 1094613 w 1503367"/>
              <a:gd name="connsiteY851" fmla="*/ 70869 h 498229"/>
              <a:gd name="connsiteX852" fmla="*/ 1096137 w 1503367"/>
              <a:gd name="connsiteY852" fmla="*/ 70869 h 498229"/>
              <a:gd name="connsiteX853" fmla="*/ 1097682 w 1503367"/>
              <a:gd name="connsiteY853" fmla="*/ 70869 h 498229"/>
              <a:gd name="connsiteX854" fmla="*/ 1097682 w 1503367"/>
              <a:gd name="connsiteY854" fmla="*/ 67911 h 498229"/>
              <a:gd name="connsiteX855" fmla="*/ 1099217 w 1503367"/>
              <a:gd name="connsiteY855" fmla="*/ 67911 h 498229"/>
              <a:gd name="connsiteX856" fmla="*/ 1102275 w 1503367"/>
              <a:gd name="connsiteY856" fmla="*/ 67911 h 498229"/>
              <a:gd name="connsiteX857" fmla="*/ 1102275 w 1503367"/>
              <a:gd name="connsiteY857" fmla="*/ 64941 h 498229"/>
              <a:gd name="connsiteX858" fmla="*/ 1103821 w 1503367"/>
              <a:gd name="connsiteY858" fmla="*/ 64941 h 498229"/>
              <a:gd name="connsiteX859" fmla="*/ 1105344 w 1503367"/>
              <a:gd name="connsiteY859" fmla="*/ 64941 h 498229"/>
              <a:gd name="connsiteX860" fmla="*/ 1106879 w 1503367"/>
              <a:gd name="connsiteY860" fmla="*/ 64941 h 498229"/>
              <a:gd name="connsiteX861" fmla="*/ 1109948 w 1503367"/>
              <a:gd name="connsiteY861" fmla="*/ 64941 h 498229"/>
              <a:gd name="connsiteX862" fmla="*/ 1111482 w 1503367"/>
              <a:gd name="connsiteY862" fmla="*/ 64941 h 498229"/>
              <a:gd name="connsiteX863" fmla="*/ 1112984 w 1503367"/>
              <a:gd name="connsiteY863" fmla="*/ 64941 h 498229"/>
              <a:gd name="connsiteX864" fmla="*/ 1114518 w 1503367"/>
              <a:gd name="connsiteY864" fmla="*/ 64941 h 498229"/>
              <a:gd name="connsiteX865" fmla="*/ 1116042 w 1503367"/>
              <a:gd name="connsiteY865" fmla="*/ 64941 h 498229"/>
              <a:gd name="connsiteX866" fmla="*/ 1117588 w 1503367"/>
              <a:gd name="connsiteY866" fmla="*/ 64941 h 498229"/>
              <a:gd name="connsiteX867" fmla="*/ 1122180 w 1503367"/>
              <a:gd name="connsiteY867" fmla="*/ 64941 h 498229"/>
              <a:gd name="connsiteX868" fmla="*/ 1123726 w 1503367"/>
              <a:gd name="connsiteY868" fmla="*/ 64941 h 498229"/>
              <a:gd name="connsiteX869" fmla="*/ 1125249 w 1503367"/>
              <a:gd name="connsiteY869" fmla="*/ 64941 h 498229"/>
              <a:gd name="connsiteX870" fmla="*/ 1126784 w 1503367"/>
              <a:gd name="connsiteY870" fmla="*/ 64941 h 498229"/>
              <a:gd name="connsiteX871" fmla="*/ 1128318 w 1503367"/>
              <a:gd name="connsiteY871" fmla="*/ 64941 h 498229"/>
              <a:gd name="connsiteX872" fmla="*/ 1129831 w 1503367"/>
              <a:gd name="connsiteY872" fmla="*/ 64941 h 498229"/>
              <a:gd name="connsiteX873" fmla="*/ 1129831 w 1503367"/>
              <a:gd name="connsiteY873" fmla="*/ 61693 h 498229"/>
              <a:gd name="connsiteX874" fmla="*/ 1134423 w 1503367"/>
              <a:gd name="connsiteY874" fmla="*/ 61693 h 498229"/>
              <a:gd name="connsiteX875" fmla="*/ 1135958 w 1503367"/>
              <a:gd name="connsiteY875" fmla="*/ 61693 h 498229"/>
              <a:gd name="connsiteX876" fmla="*/ 1137492 w 1503367"/>
              <a:gd name="connsiteY876" fmla="*/ 61693 h 498229"/>
              <a:gd name="connsiteX877" fmla="*/ 1137492 w 1503367"/>
              <a:gd name="connsiteY877" fmla="*/ 58379 h 498229"/>
              <a:gd name="connsiteX878" fmla="*/ 1139027 w 1503367"/>
              <a:gd name="connsiteY878" fmla="*/ 58379 h 498229"/>
              <a:gd name="connsiteX879" fmla="*/ 1139027 w 1503367"/>
              <a:gd name="connsiteY879" fmla="*/ 55031 h 498229"/>
              <a:gd name="connsiteX880" fmla="*/ 1142096 w 1503367"/>
              <a:gd name="connsiteY880" fmla="*/ 55031 h 498229"/>
              <a:gd name="connsiteX881" fmla="*/ 1142096 w 1503367"/>
              <a:gd name="connsiteY881" fmla="*/ 51695 h 498229"/>
              <a:gd name="connsiteX882" fmla="*/ 1143631 w 1503367"/>
              <a:gd name="connsiteY882" fmla="*/ 51695 h 498229"/>
              <a:gd name="connsiteX883" fmla="*/ 1145154 w 1503367"/>
              <a:gd name="connsiteY883" fmla="*/ 51695 h 498229"/>
              <a:gd name="connsiteX884" fmla="*/ 1146689 w 1503367"/>
              <a:gd name="connsiteY884" fmla="*/ 51695 h 498229"/>
              <a:gd name="connsiteX885" fmla="*/ 1146689 w 1503367"/>
              <a:gd name="connsiteY885" fmla="*/ 48269 h 498229"/>
              <a:gd name="connsiteX886" fmla="*/ 1148190 w 1503367"/>
              <a:gd name="connsiteY886" fmla="*/ 48269 h 498229"/>
              <a:gd name="connsiteX887" fmla="*/ 1148190 w 1503367"/>
              <a:gd name="connsiteY887" fmla="*/ 41407 h 498229"/>
              <a:gd name="connsiteX888" fmla="*/ 1149736 w 1503367"/>
              <a:gd name="connsiteY888" fmla="*/ 41407 h 498229"/>
              <a:gd name="connsiteX889" fmla="*/ 1151259 w 1503367"/>
              <a:gd name="connsiteY889" fmla="*/ 41407 h 498229"/>
              <a:gd name="connsiteX890" fmla="*/ 1154328 w 1503367"/>
              <a:gd name="connsiteY890" fmla="*/ 41407 h 498229"/>
              <a:gd name="connsiteX891" fmla="*/ 1154328 w 1503367"/>
              <a:gd name="connsiteY891" fmla="*/ 37881 h 498229"/>
              <a:gd name="connsiteX892" fmla="*/ 1155863 w 1503367"/>
              <a:gd name="connsiteY892" fmla="*/ 37881 h 498229"/>
              <a:gd name="connsiteX893" fmla="*/ 1157398 w 1503367"/>
              <a:gd name="connsiteY893" fmla="*/ 37881 h 498229"/>
              <a:gd name="connsiteX894" fmla="*/ 1158932 w 1503367"/>
              <a:gd name="connsiteY894" fmla="*/ 37881 h 498229"/>
              <a:gd name="connsiteX895" fmla="*/ 1160456 w 1503367"/>
              <a:gd name="connsiteY895" fmla="*/ 37881 h 498229"/>
              <a:gd name="connsiteX896" fmla="*/ 1163536 w 1503367"/>
              <a:gd name="connsiteY896" fmla="*/ 37881 h 498229"/>
              <a:gd name="connsiteX897" fmla="*/ 1163536 w 1503367"/>
              <a:gd name="connsiteY897" fmla="*/ 34267 h 498229"/>
              <a:gd name="connsiteX898" fmla="*/ 1165071 w 1503367"/>
              <a:gd name="connsiteY898" fmla="*/ 34267 h 498229"/>
              <a:gd name="connsiteX899" fmla="*/ 1166561 w 1503367"/>
              <a:gd name="connsiteY899" fmla="*/ 34267 h 498229"/>
              <a:gd name="connsiteX900" fmla="*/ 1168095 w 1503367"/>
              <a:gd name="connsiteY900" fmla="*/ 34267 h 498229"/>
              <a:gd name="connsiteX901" fmla="*/ 1169641 w 1503367"/>
              <a:gd name="connsiteY901" fmla="*/ 34267 h 498229"/>
              <a:gd name="connsiteX902" fmla="*/ 1169641 w 1503367"/>
              <a:gd name="connsiteY902" fmla="*/ 30541 h 498229"/>
              <a:gd name="connsiteX903" fmla="*/ 1171164 w 1503367"/>
              <a:gd name="connsiteY903" fmla="*/ 30541 h 498229"/>
              <a:gd name="connsiteX904" fmla="*/ 1177303 w 1503367"/>
              <a:gd name="connsiteY904" fmla="*/ 30541 h 498229"/>
              <a:gd name="connsiteX905" fmla="*/ 1178837 w 1503367"/>
              <a:gd name="connsiteY905" fmla="*/ 30541 h 498229"/>
              <a:gd name="connsiteX906" fmla="*/ 1180361 w 1503367"/>
              <a:gd name="connsiteY906" fmla="*/ 30541 h 498229"/>
              <a:gd name="connsiteX907" fmla="*/ 1181907 w 1503367"/>
              <a:gd name="connsiteY907" fmla="*/ 30541 h 498229"/>
              <a:gd name="connsiteX908" fmla="*/ 1184942 w 1503367"/>
              <a:gd name="connsiteY908" fmla="*/ 30541 h 498229"/>
              <a:gd name="connsiteX909" fmla="*/ 1186466 w 1503367"/>
              <a:gd name="connsiteY909" fmla="*/ 30541 h 498229"/>
              <a:gd name="connsiteX910" fmla="*/ 1188011 w 1503367"/>
              <a:gd name="connsiteY910" fmla="*/ 30541 h 498229"/>
              <a:gd name="connsiteX911" fmla="*/ 1189546 w 1503367"/>
              <a:gd name="connsiteY911" fmla="*/ 30541 h 498229"/>
              <a:gd name="connsiteX912" fmla="*/ 1191070 w 1503367"/>
              <a:gd name="connsiteY912" fmla="*/ 30541 h 498229"/>
              <a:gd name="connsiteX913" fmla="*/ 1192604 w 1503367"/>
              <a:gd name="connsiteY913" fmla="*/ 30541 h 498229"/>
              <a:gd name="connsiteX914" fmla="*/ 1197208 w 1503367"/>
              <a:gd name="connsiteY914" fmla="*/ 30541 h 498229"/>
              <a:gd name="connsiteX915" fmla="*/ 1198742 w 1503367"/>
              <a:gd name="connsiteY915" fmla="*/ 30541 h 498229"/>
              <a:gd name="connsiteX916" fmla="*/ 1200288 w 1503367"/>
              <a:gd name="connsiteY916" fmla="*/ 30541 h 498229"/>
              <a:gd name="connsiteX917" fmla="*/ 1201778 w 1503367"/>
              <a:gd name="connsiteY917" fmla="*/ 30541 h 498229"/>
              <a:gd name="connsiteX918" fmla="*/ 1203313 w 1503367"/>
              <a:gd name="connsiteY918" fmla="*/ 30541 h 498229"/>
              <a:gd name="connsiteX919" fmla="*/ 1207916 w 1503367"/>
              <a:gd name="connsiteY919" fmla="*/ 30541 h 498229"/>
              <a:gd name="connsiteX920" fmla="*/ 1207916 w 1503367"/>
              <a:gd name="connsiteY920" fmla="*/ 26192 h 498229"/>
              <a:gd name="connsiteX921" fmla="*/ 1209451 w 1503367"/>
              <a:gd name="connsiteY921" fmla="*/ 26192 h 498229"/>
              <a:gd name="connsiteX922" fmla="*/ 1210974 w 1503367"/>
              <a:gd name="connsiteY922" fmla="*/ 26192 h 498229"/>
              <a:gd name="connsiteX923" fmla="*/ 1212509 w 1503367"/>
              <a:gd name="connsiteY923" fmla="*/ 26192 h 498229"/>
              <a:gd name="connsiteX924" fmla="*/ 1218614 w 1503367"/>
              <a:gd name="connsiteY924" fmla="*/ 26192 h 498229"/>
              <a:gd name="connsiteX925" fmla="*/ 1220149 w 1503367"/>
              <a:gd name="connsiteY925" fmla="*/ 26192 h 498229"/>
              <a:gd name="connsiteX926" fmla="*/ 1221683 w 1503367"/>
              <a:gd name="connsiteY926" fmla="*/ 26192 h 498229"/>
              <a:gd name="connsiteX927" fmla="*/ 1223218 w 1503367"/>
              <a:gd name="connsiteY927" fmla="*/ 26192 h 498229"/>
              <a:gd name="connsiteX928" fmla="*/ 1224752 w 1503367"/>
              <a:gd name="connsiteY928" fmla="*/ 26192 h 498229"/>
              <a:gd name="connsiteX929" fmla="*/ 1229356 w 1503367"/>
              <a:gd name="connsiteY929" fmla="*/ 26192 h 498229"/>
              <a:gd name="connsiteX930" fmla="*/ 1230880 w 1503367"/>
              <a:gd name="connsiteY930" fmla="*/ 26192 h 498229"/>
              <a:gd name="connsiteX931" fmla="*/ 1232414 w 1503367"/>
              <a:gd name="connsiteY931" fmla="*/ 26192 h 498229"/>
              <a:gd name="connsiteX932" fmla="*/ 1233960 w 1503367"/>
              <a:gd name="connsiteY932" fmla="*/ 26192 h 498229"/>
              <a:gd name="connsiteX933" fmla="*/ 1235495 w 1503367"/>
              <a:gd name="connsiteY933" fmla="*/ 26192 h 498229"/>
              <a:gd name="connsiteX934" fmla="*/ 1235495 w 1503367"/>
              <a:gd name="connsiteY934" fmla="*/ 21221 h 498229"/>
              <a:gd name="connsiteX935" fmla="*/ 1240065 w 1503367"/>
              <a:gd name="connsiteY935" fmla="*/ 21221 h 498229"/>
              <a:gd name="connsiteX936" fmla="*/ 1243123 w 1503367"/>
              <a:gd name="connsiteY936" fmla="*/ 21221 h 498229"/>
              <a:gd name="connsiteX937" fmla="*/ 1244658 w 1503367"/>
              <a:gd name="connsiteY937" fmla="*/ 21221 h 498229"/>
              <a:gd name="connsiteX938" fmla="*/ 1246192 w 1503367"/>
              <a:gd name="connsiteY938" fmla="*/ 21221 h 498229"/>
              <a:gd name="connsiteX939" fmla="*/ 1250785 w 1503367"/>
              <a:gd name="connsiteY939" fmla="*/ 21221 h 498229"/>
              <a:gd name="connsiteX940" fmla="*/ 1252330 w 1503367"/>
              <a:gd name="connsiteY940" fmla="*/ 21221 h 498229"/>
              <a:gd name="connsiteX941" fmla="*/ 1253832 w 1503367"/>
              <a:gd name="connsiteY941" fmla="*/ 21221 h 498229"/>
              <a:gd name="connsiteX942" fmla="*/ 1255366 w 1503367"/>
              <a:gd name="connsiteY942" fmla="*/ 21221 h 498229"/>
              <a:gd name="connsiteX943" fmla="*/ 1256890 w 1503367"/>
              <a:gd name="connsiteY943" fmla="*/ 21221 h 498229"/>
              <a:gd name="connsiteX944" fmla="*/ 1261493 w 1503367"/>
              <a:gd name="connsiteY944" fmla="*/ 21221 h 498229"/>
              <a:gd name="connsiteX945" fmla="*/ 1263028 w 1503367"/>
              <a:gd name="connsiteY945" fmla="*/ 21221 h 498229"/>
              <a:gd name="connsiteX946" fmla="*/ 1264562 w 1503367"/>
              <a:gd name="connsiteY946" fmla="*/ 21221 h 498229"/>
              <a:gd name="connsiteX947" fmla="*/ 1266097 w 1503367"/>
              <a:gd name="connsiteY947" fmla="*/ 21221 h 498229"/>
              <a:gd name="connsiteX948" fmla="*/ 1267632 w 1503367"/>
              <a:gd name="connsiteY948" fmla="*/ 21221 h 498229"/>
              <a:gd name="connsiteX949" fmla="*/ 1272191 w 1503367"/>
              <a:gd name="connsiteY949" fmla="*/ 21221 h 498229"/>
              <a:gd name="connsiteX950" fmla="*/ 1273737 w 1503367"/>
              <a:gd name="connsiteY950" fmla="*/ 21221 h 498229"/>
              <a:gd name="connsiteX951" fmla="*/ 1275271 w 1503367"/>
              <a:gd name="connsiteY951" fmla="*/ 21221 h 498229"/>
              <a:gd name="connsiteX952" fmla="*/ 1276795 w 1503367"/>
              <a:gd name="connsiteY952" fmla="*/ 21221 h 498229"/>
              <a:gd name="connsiteX953" fmla="*/ 1278329 w 1503367"/>
              <a:gd name="connsiteY953" fmla="*/ 21221 h 498229"/>
              <a:gd name="connsiteX954" fmla="*/ 1282933 w 1503367"/>
              <a:gd name="connsiteY954" fmla="*/ 21221 h 498229"/>
              <a:gd name="connsiteX955" fmla="*/ 1284468 w 1503367"/>
              <a:gd name="connsiteY955" fmla="*/ 21221 h 498229"/>
              <a:gd name="connsiteX956" fmla="*/ 1286002 w 1503367"/>
              <a:gd name="connsiteY956" fmla="*/ 21221 h 498229"/>
              <a:gd name="connsiteX957" fmla="*/ 1287537 w 1503367"/>
              <a:gd name="connsiteY957" fmla="*/ 21221 h 498229"/>
              <a:gd name="connsiteX958" fmla="*/ 1289071 w 1503367"/>
              <a:gd name="connsiteY958" fmla="*/ 21221 h 498229"/>
              <a:gd name="connsiteX959" fmla="*/ 1293642 w 1503367"/>
              <a:gd name="connsiteY959" fmla="*/ 21221 h 498229"/>
              <a:gd name="connsiteX960" fmla="*/ 1295177 w 1503367"/>
              <a:gd name="connsiteY960" fmla="*/ 21221 h 498229"/>
              <a:gd name="connsiteX961" fmla="*/ 1296700 w 1503367"/>
              <a:gd name="connsiteY961" fmla="*/ 21221 h 498229"/>
              <a:gd name="connsiteX962" fmla="*/ 1298246 w 1503367"/>
              <a:gd name="connsiteY962" fmla="*/ 21221 h 498229"/>
              <a:gd name="connsiteX963" fmla="*/ 1299780 w 1503367"/>
              <a:gd name="connsiteY963" fmla="*/ 21221 h 498229"/>
              <a:gd name="connsiteX964" fmla="*/ 1304384 w 1503367"/>
              <a:gd name="connsiteY964" fmla="*/ 21221 h 498229"/>
              <a:gd name="connsiteX965" fmla="*/ 1305918 w 1503367"/>
              <a:gd name="connsiteY965" fmla="*/ 21221 h 498229"/>
              <a:gd name="connsiteX966" fmla="*/ 1307408 w 1503367"/>
              <a:gd name="connsiteY966" fmla="*/ 21221 h 498229"/>
              <a:gd name="connsiteX967" fmla="*/ 1308943 w 1503367"/>
              <a:gd name="connsiteY967" fmla="*/ 21221 h 498229"/>
              <a:gd name="connsiteX968" fmla="*/ 1310478 w 1503367"/>
              <a:gd name="connsiteY968" fmla="*/ 21221 h 498229"/>
              <a:gd name="connsiteX969" fmla="*/ 1315081 w 1503367"/>
              <a:gd name="connsiteY969" fmla="*/ 21221 h 498229"/>
              <a:gd name="connsiteX970" fmla="*/ 1316605 w 1503367"/>
              <a:gd name="connsiteY970" fmla="*/ 21221 h 498229"/>
              <a:gd name="connsiteX971" fmla="*/ 1318151 w 1503367"/>
              <a:gd name="connsiteY971" fmla="*/ 21221 h 498229"/>
              <a:gd name="connsiteX972" fmla="*/ 1319685 w 1503367"/>
              <a:gd name="connsiteY972" fmla="*/ 21221 h 498229"/>
              <a:gd name="connsiteX973" fmla="*/ 1321220 w 1503367"/>
              <a:gd name="connsiteY973" fmla="*/ 21221 h 498229"/>
              <a:gd name="connsiteX974" fmla="*/ 1322743 w 1503367"/>
              <a:gd name="connsiteY974" fmla="*/ 21221 h 498229"/>
              <a:gd name="connsiteX975" fmla="*/ 1322743 w 1503367"/>
              <a:gd name="connsiteY975" fmla="*/ 11311 h 498229"/>
              <a:gd name="connsiteX976" fmla="*/ 1325790 w 1503367"/>
              <a:gd name="connsiteY976" fmla="*/ 11311 h 498229"/>
              <a:gd name="connsiteX977" fmla="*/ 1327314 w 1503367"/>
              <a:gd name="connsiteY977" fmla="*/ 11311 h 498229"/>
              <a:gd name="connsiteX978" fmla="*/ 1328848 w 1503367"/>
              <a:gd name="connsiteY978" fmla="*/ 11311 h 498229"/>
              <a:gd name="connsiteX979" fmla="*/ 1330383 w 1503367"/>
              <a:gd name="connsiteY979" fmla="*/ 11311 h 498229"/>
              <a:gd name="connsiteX980" fmla="*/ 1331917 w 1503367"/>
              <a:gd name="connsiteY980" fmla="*/ 11311 h 498229"/>
              <a:gd name="connsiteX981" fmla="*/ 1333452 w 1503367"/>
              <a:gd name="connsiteY981" fmla="*/ 11311 h 498229"/>
              <a:gd name="connsiteX982" fmla="*/ 1334987 w 1503367"/>
              <a:gd name="connsiteY982" fmla="*/ 11311 h 498229"/>
              <a:gd name="connsiteX983" fmla="*/ 1334987 w 1503367"/>
              <a:gd name="connsiteY983" fmla="*/ 0 h 498229"/>
              <a:gd name="connsiteX984" fmla="*/ 1503368 w 1503367"/>
              <a:gd name="connsiteY984" fmla="*/ 0 h 498229"/>
              <a:gd name="connsiteX0" fmla="*/ 0 w 1490290"/>
              <a:gd name="connsiteY0" fmla="*/ 498230 h 498230"/>
              <a:gd name="connsiteX1" fmla="*/ 3058 w 1490290"/>
              <a:gd name="connsiteY1" fmla="*/ 498230 h 498230"/>
              <a:gd name="connsiteX2" fmla="*/ 3058 w 1490290"/>
              <a:gd name="connsiteY2" fmla="*/ 495127 h 498230"/>
              <a:gd name="connsiteX3" fmla="*/ 4604 w 1490290"/>
              <a:gd name="connsiteY3" fmla="*/ 495127 h 498230"/>
              <a:gd name="connsiteX4" fmla="*/ 4604 w 1490290"/>
              <a:gd name="connsiteY4" fmla="*/ 493570 h 498230"/>
              <a:gd name="connsiteX5" fmla="*/ 12277 w 1490290"/>
              <a:gd name="connsiteY5" fmla="*/ 493570 h 498230"/>
              <a:gd name="connsiteX6" fmla="*/ 12277 w 1490290"/>
              <a:gd name="connsiteY6" fmla="*/ 492780 h 498230"/>
              <a:gd name="connsiteX7" fmla="*/ 13800 w 1490290"/>
              <a:gd name="connsiteY7" fmla="*/ 492780 h 498230"/>
              <a:gd name="connsiteX8" fmla="*/ 13800 w 1490290"/>
              <a:gd name="connsiteY8" fmla="*/ 491979 h 498230"/>
              <a:gd name="connsiteX9" fmla="*/ 15301 w 1490290"/>
              <a:gd name="connsiteY9" fmla="*/ 491979 h 498230"/>
              <a:gd name="connsiteX10" fmla="*/ 15301 w 1490290"/>
              <a:gd name="connsiteY10" fmla="*/ 491223 h 498230"/>
              <a:gd name="connsiteX11" fmla="*/ 21440 w 1490290"/>
              <a:gd name="connsiteY11" fmla="*/ 491223 h 498230"/>
              <a:gd name="connsiteX12" fmla="*/ 21440 w 1490290"/>
              <a:gd name="connsiteY12" fmla="*/ 490433 h 498230"/>
              <a:gd name="connsiteX13" fmla="*/ 24509 w 1490290"/>
              <a:gd name="connsiteY13" fmla="*/ 490433 h 498230"/>
              <a:gd name="connsiteX14" fmla="*/ 24509 w 1490290"/>
              <a:gd name="connsiteY14" fmla="*/ 489666 h 498230"/>
              <a:gd name="connsiteX15" fmla="*/ 26043 w 1490290"/>
              <a:gd name="connsiteY15" fmla="*/ 489666 h 498230"/>
              <a:gd name="connsiteX16" fmla="*/ 26043 w 1490290"/>
              <a:gd name="connsiteY16" fmla="*/ 488876 h 498230"/>
              <a:gd name="connsiteX17" fmla="*/ 27567 w 1490290"/>
              <a:gd name="connsiteY17" fmla="*/ 488876 h 498230"/>
              <a:gd name="connsiteX18" fmla="*/ 27567 w 1490290"/>
              <a:gd name="connsiteY18" fmla="*/ 487330 h 498230"/>
              <a:gd name="connsiteX19" fmla="*/ 32148 w 1490290"/>
              <a:gd name="connsiteY19" fmla="*/ 487330 h 498230"/>
              <a:gd name="connsiteX20" fmla="*/ 33672 w 1490290"/>
              <a:gd name="connsiteY20" fmla="*/ 487330 h 498230"/>
              <a:gd name="connsiteX21" fmla="*/ 33672 w 1490290"/>
              <a:gd name="connsiteY21" fmla="*/ 485773 h 498230"/>
              <a:gd name="connsiteX22" fmla="*/ 36752 w 1490290"/>
              <a:gd name="connsiteY22" fmla="*/ 485773 h 498230"/>
              <a:gd name="connsiteX23" fmla="*/ 41345 w 1490290"/>
              <a:gd name="connsiteY23" fmla="*/ 485773 h 498230"/>
              <a:gd name="connsiteX24" fmla="*/ 42879 w 1490290"/>
              <a:gd name="connsiteY24" fmla="*/ 485773 h 498230"/>
              <a:gd name="connsiteX25" fmla="*/ 42879 w 1490290"/>
              <a:gd name="connsiteY25" fmla="*/ 484216 h 498230"/>
              <a:gd name="connsiteX26" fmla="*/ 44414 w 1490290"/>
              <a:gd name="connsiteY26" fmla="*/ 484216 h 498230"/>
              <a:gd name="connsiteX27" fmla="*/ 45948 w 1490290"/>
              <a:gd name="connsiteY27" fmla="*/ 484216 h 498230"/>
              <a:gd name="connsiteX28" fmla="*/ 47483 w 1490290"/>
              <a:gd name="connsiteY28" fmla="*/ 484216 h 498230"/>
              <a:gd name="connsiteX29" fmla="*/ 47483 w 1490290"/>
              <a:gd name="connsiteY29" fmla="*/ 482637 h 498230"/>
              <a:gd name="connsiteX30" fmla="*/ 49018 w 1490290"/>
              <a:gd name="connsiteY30" fmla="*/ 482637 h 498230"/>
              <a:gd name="connsiteX31" fmla="*/ 49018 w 1490290"/>
              <a:gd name="connsiteY31" fmla="*/ 481869 h 498230"/>
              <a:gd name="connsiteX32" fmla="*/ 50519 w 1490290"/>
              <a:gd name="connsiteY32" fmla="*/ 481869 h 498230"/>
              <a:gd name="connsiteX33" fmla="*/ 50519 w 1490290"/>
              <a:gd name="connsiteY33" fmla="*/ 477943 h 498230"/>
              <a:gd name="connsiteX34" fmla="*/ 52053 w 1490290"/>
              <a:gd name="connsiteY34" fmla="*/ 477943 h 498230"/>
              <a:gd name="connsiteX35" fmla="*/ 52053 w 1490290"/>
              <a:gd name="connsiteY35" fmla="*/ 475630 h 498230"/>
              <a:gd name="connsiteX36" fmla="*/ 53577 w 1490290"/>
              <a:gd name="connsiteY36" fmla="*/ 475630 h 498230"/>
              <a:gd name="connsiteX37" fmla="*/ 53577 w 1490290"/>
              <a:gd name="connsiteY37" fmla="*/ 474829 h 498230"/>
              <a:gd name="connsiteX38" fmla="*/ 55111 w 1490290"/>
              <a:gd name="connsiteY38" fmla="*/ 474829 h 498230"/>
              <a:gd name="connsiteX39" fmla="*/ 55111 w 1490290"/>
              <a:gd name="connsiteY39" fmla="*/ 474039 h 498230"/>
              <a:gd name="connsiteX40" fmla="*/ 56657 w 1490290"/>
              <a:gd name="connsiteY40" fmla="*/ 474039 h 498230"/>
              <a:gd name="connsiteX41" fmla="*/ 56657 w 1490290"/>
              <a:gd name="connsiteY41" fmla="*/ 473283 h 498230"/>
              <a:gd name="connsiteX42" fmla="*/ 59715 w 1490290"/>
              <a:gd name="connsiteY42" fmla="*/ 473283 h 498230"/>
              <a:gd name="connsiteX43" fmla="*/ 59715 w 1490290"/>
              <a:gd name="connsiteY43" fmla="*/ 471693 h 498230"/>
              <a:gd name="connsiteX44" fmla="*/ 61250 w 1490290"/>
              <a:gd name="connsiteY44" fmla="*/ 471693 h 498230"/>
              <a:gd name="connsiteX45" fmla="*/ 61250 w 1490290"/>
              <a:gd name="connsiteY45" fmla="*/ 470936 h 498230"/>
              <a:gd name="connsiteX46" fmla="*/ 65854 w 1490290"/>
              <a:gd name="connsiteY46" fmla="*/ 470936 h 498230"/>
              <a:gd name="connsiteX47" fmla="*/ 65854 w 1490290"/>
              <a:gd name="connsiteY47" fmla="*/ 470147 h 498230"/>
              <a:gd name="connsiteX48" fmla="*/ 68878 w 1490290"/>
              <a:gd name="connsiteY48" fmla="*/ 470147 h 498230"/>
              <a:gd name="connsiteX49" fmla="*/ 68878 w 1490290"/>
              <a:gd name="connsiteY49" fmla="*/ 468590 h 498230"/>
              <a:gd name="connsiteX50" fmla="*/ 70424 w 1490290"/>
              <a:gd name="connsiteY50" fmla="*/ 468590 h 498230"/>
              <a:gd name="connsiteX51" fmla="*/ 70424 w 1490290"/>
              <a:gd name="connsiteY51" fmla="*/ 466999 h 498230"/>
              <a:gd name="connsiteX52" fmla="*/ 71959 w 1490290"/>
              <a:gd name="connsiteY52" fmla="*/ 466999 h 498230"/>
              <a:gd name="connsiteX53" fmla="*/ 71959 w 1490290"/>
              <a:gd name="connsiteY53" fmla="*/ 465453 h 498230"/>
              <a:gd name="connsiteX54" fmla="*/ 75017 w 1490290"/>
              <a:gd name="connsiteY54" fmla="*/ 465453 h 498230"/>
              <a:gd name="connsiteX55" fmla="*/ 75017 w 1490290"/>
              <a:gd name="connsiteY55" fmla="*/ 464653 h 498230"/>
              <a:gd name="connsiteX56" fmla="*/ 76562 w 1490290"/>
              <a:gd name="connsiteY56" fmla="*/ 464653 h 498230"/>
              <a:gd name="connsiteX57" fmla="*/ 76562 w 1490290"/>
              <a:gd name="connsiteY57" fmla="*/ 463896 h 498230"/>
              <a:gd name="connsiteX58" fmla="*/ 79620 w 1490290"/>
              <a:gd name="connsiteY58" fmla="*/ 463896 h 498230"/>
              <a:gd name="connsiteX59" fmla="*/ 79620 w 1490290"/>
              <a:gd name="connsiteY59" fmla="*/ 463107 h 498230"/>
              <a:gd name="connsiteX60" fmla="*/ 81155 w 1490290"/>
              <a:gd name="connsiteY60" fmla="*/ 463107 h 498230"/>
              <a:gd name="connsiteX61" fmla="*/ 81155 w 1490290"/>
              <a:gd name="connsiteY61" fmla="*/ 461550 h 498230"/>
              <a:gd name="connsiteX62" fmla="*/ 82700 w 1490290"/>
              <a:gd name="connsiteY62" fmla="*/ 461550 h 498230"/>
              <a:gd name="connsiteX63" fmla="*/ 82700 w 1490290"/>
              <a:gd name="connsiteY63" fmla="*/ 460760 h 498230"/>
              <a:gd name="connsiteX64" fmla="*/ 84224 w 1490290"/>
              <a:gd name="connsiteY64" fmla="*/ 460760 h 498230"/>
              <a:gd name="connsiteX65" fmla="*/ 84224 w 1490290"/>
              <a:gd name="connsiteY65" fmla="*/ 459203 h 498230"/>
              <a:gd name="connsiteX66" fmla="*/ 85725 w 1490290"/>
              <a:gd name="connsiteY66" fmla="*/ 459203 h 498230"/>
              <a:gd name="connsiteX67" fmla="*/ 85725 w 1490290"/>
              <a:gd name="connsiteY67" fmla="*/ 458413 h 498230"/>
              <a:gd name="connsiteX68" fmla="*/ 88794 w 1490290"/>
              <a:gd name="connsiteY68" fmla="*/ 458413 h 498230"/>
              <a:gd name="connsiteX69" fmla="*/ 88794 w 1490290"/>
              <a:gd name="connsiteY69" fmla="*/ 455277 h 498230"/>
              <a:gd name="connsiteX70" fmla="*/ 91864 w 1490290"/>
              <a:gd name="connsiteY70" fmla="*/ 455277 h 498230"/>
              <a:gd name="connsiteX71" fmla="*/ 91864 w 1490290"/>
              <a:gd name="connsiteY71" fmla="*/ 453720 h 498230"/>
              <a:gd name="connsiteX72" fmla="*/ 93387 w 1490290"/>
              <a:gd name="connsiteY72" fmla="*/ 453720 h 498230"/>
              <a:gd name="connsiteX73" fmla="*/ 93387 w 1490290"/>
              <a:gd name="connsiteY73" fmla="*/ 451373 h 498230"/>
              <a:gd name="connsiteX74" fmla="*/ 94933 w 1490290"/>
              <a:gd name="connsiteY74" fmla="*/ 451373 h 498230"/>
              <a:gd name="connsiteX75" fmla="*/ 94933 w 1490290"/>
              <a:gd name="connsiteY75" fmla="*/ 449816 h 498230"/>
              <a:gd name="connsiteX76" fmla="*/ 96467 w 1490290"/>
              <a:gd name="connsiteY76" fmla="*/ 449816 h 498230"/>
              <a:gd name="connsiteX77" fmla="*/ 96467 w 1490290"/>
              <a:gd name="connsiteY77" fmla="*/ 448225 h 498230"/>
              <a:gd name="connsiteX78" fmla="*/ 99525 w 1490290"/>
              <a:gd name="connsiteY78" fmla="*/ 448225 h 498230"/>
              <a:gd name="connsiteX79" fmla="*/ 99525 w 1490290"/>
              <a:gd name="connsiteY79" fmla="*/ 445879 h 498230"/>
              <a:gd name="connsiteX80" fmla="*/ 101071 w 1490290"/>
              <a:gd name="connsiteY80" fmla="*/ 445879 h 498230"/>
              <a:gd name="connsiteX81" fmla="*/ 101071 w 1490290"/>
              <a:gd name="connsiteY81" fmla="*/ 445122 h 498230"/>
              <a:gd name="connsiteX82" fmla="*/ 102572 w 1490290"/>
              <a:gd name="connsiteY82" fmla="*/ 445122 h 498230"/>
              <a:gd name="connsiteX83" fmla="*/ 102572 w 1490290"/>
              <a:gd name="connsiteY83" fmla="*/ 444333 h 498230"/>
              <a:gd name="connsiteX84" fmla="*/ 104096 w 1490290"/>
              <a:gd name="connsiteY84" fmla="*/ 444333 h 498230"/>
              <a:gd name="connsiteX85" fmla="*/ 104096 w 1490290"/>
              <a:gd name="connsiteY85" fmla="*/ 443543 h 498230"/>
              <a:gd name="connsiteX86" fmla="*/ 105630 w 1490290"/>
              <a:gd name="connsiteY86" fmla="*/ 443543 h 498230"/>
              <a:gd name="connsiteX87" fmla="*/ 107165 w 1490290"/>
              <a:gd name="connsiteY87" fmla="*/ 443543 h 498230"/>
              <a:gd name="connsiteX88" fmla="*/ 107165 w 1490290"/>
              <a:gd name="connsiteY88" fmla="*/ 441196 h 498230"/>
              <a:gd name="connsiteX89" fmla="*/ 108700 w 1490290"/>
              <a:gd name="connsiteY89" fmla="*/ 441196 h 498230"/>
              <a:gd name="connsiteX90" fmla="*/ 108700 w 1490290"/>
              <a:gd name="connsiteY90" fmla="*/ 438850 h 498230"/>
              <a:gd name="connsiteX91" fmla="*/ 110234 w 1490290"/>
              <a:gd name="connsiteY91" fmla="*/ 438850 h 498230"/>
              <a:gd name="connsiteX92" fmla="*/ 110234 w 1490290"/>
              <a:gd name="connsiteY92" fmla="*/ 438049 h 498230"/>
              <a:gd name="connsiteX93" fmla="*/ 111769 w 1490290"/>
              <a:gd name="connsiteY93" fmla="*/ 438049 h 498230"/>
              <a:gd name="connsiteX94" fmla="*/ 111769 w 1490290"/>
              <a:gd name="connsiteY94" fmla="*/ 435702 h 498230"/>
              <a:gd name="connsiteX95" fmla="*/ 113292 w 1490290"/>
              <a:gd name="connsiteY95" fmla="*/ 435702 h 498230"/>
              <a:gd name="connsiteX96" fmla="*/ 113292 w 1490290"/>
              <a:gd name="connsiteY96" fmla="*/ 434156 h 498230"/>
              <a:gd name="connsiteX97" fmla="*/ 122478 w 1490290"/>
              <a:gd name="connsiteY97" fmla="*/ 434156 h 498230"/>
              <a:gd name="connsiteX98" fmla="*/ 122478 w 1490290"/>
              <a:gd name="connsiteY98" fmla="*/ 433355 h 498230"/>
              <a:gd name="connsiteX99" fmla="*/ 124001 w 1490290"/>
              <a:gd name="connsiteY99" fmla="*/ 433355 h 498230"/>
              <a:gd name="connsiteX100" fmla="*/ 124001 w 1490290"/>
              <a:gd name="connsiteY100" fmla="*/ 431809 h 498230"/>
              <a:gd name="connsiteX101" fmla="*/ 125536 w 1490290"/>
              <a:gd name="connsiteY101" fmla="*/ 431809 h 498230"/>
              <a:gd name="connsiteX102" fmla="*/ 125536 w 1490290"/>
              <a:gd name="connsiteY102" fmla="*/ 429463 h 498230"/>
              <a:gd name="connsiteX103" fmla="*/ 128605 w 1490290"/>
              <a:gd name="connsiteY103" fmla="*/ 429463 h 498230"/>
              <a:gd name="connsiteX104" fmla="*/ 128605 w 1490290"/>
              <a:gd name="connsiteY104" fmla="*/ 428673 h 498230"/>
              <a:gd name="connsiteX105" fmla="*/ 133208 w 1490290"/>
              <a:gd name="connsiteY105" fmla="*/ 428673 h 498230"/>
              <a:gd name="connsiteX106" fmla="*/ 133208 w 1490290"/>
              <a:gd name="connsiteY106" fmla="*/ 427872 h 498230"/>
              <a:gd name="connsiteX107" fmla="*/ 134743 w 1490290"/>
              <a:gd name="connsiteY107" fmla="*/ 427872 h 498230"/>
              <a:gd name="connsiteX108" fmla="*/ 134743 w 1490290"/>
              <a:gd name="connsiteY108" fmla="*/ 426326 h 498230"/>
              <a:gd name="connsiteX109" fmla="*/ 136278 w 1490290"/>
              <a:gd name="connsiteY109" fmla="*/ 426326 h 498230"/>
              <a:gd name="connsiteX110" fmla="*/ 137812 w 1490290"/>
              <a:gd name="connsiteY110" fmla="*/ 426326 h 498230"/>
              <a:gd name="connsiteX111" fmla="*/ 137812 w 1490290"/>
              <a:gd name="connsiteY111" fmla="*/ 424736 h 498230"/>
              <a:gd name="connsiteX112" fmla="*/ 142382 w 1490290"/>
              <a:gd name="connsiteY112" fmla="*/ 424736 h 498230"/>
              <a:gd name="connsiteX113" fmla="*/ 142382 w 1490290"/>
              <a:gd name="connsiteY113" fmla="*/ 422389 h 498230"/>
              <a:gd name="connsiteX114" fmla="*/ 143906 w 1490290"/>
              <a:gd name="connsiteY114" fmla="*/ 422389 h 498230"/>
              <a:gd name="connsiteX115" fmla="*/ 143906 w 1490290"/>
              <a:gd name="connsiteY115" fmla="*/ 421588 h 498230"/>
              <a:gd name="connsiteX116" fmla="*/ 146986 w 1490290"/>
              <a:gd name="connsiteY116" fmla="*/ 421588 h 498230"/>
              <a:gd name="connsiteX117" fmla="*/ 148510 w 1490290"/>
              <a:gd name="connsiteY117" fmla="*/ 421588 h 498230"/>
              <a:gd name="connsiteX118" fmla="*/ 148510 w 1490290"/>
              <a:gd name="connsiteY118" fmla="*/ 420042 h 498230"/>
              <a:gd name="connsiteX119" fmla="*/ 151579 w 1490290"/>
              <a:gd name="connsiteY119" fmla="*/ 420042 h 498230"/>
              <a:gd name="connsiteX120" fmla="*/ 151579 w 1490290"/>
              <a:gd name="connsiteY120" fmla="*/ 418452 h 498230"/>
              <a:gd name="connsiteX121" fmla="*/ 153125 w 1490290"/>
              <a:gd name="connsiteY121" fmla="*/ 418452 h 498230"/>
              <a:gd name="connsiteX122" fmla="*/ 153125 w 1490290"/>
              <a:gd name="connsiteY122" fmla="*/ 417696 h 498230"/>
              <a:gd name="connsiteX123" fmla="*/ 154648 w 1490290"/>
              <a:gd name="connsiteY123" fmla="*/ 417696 h 498230"/>
              <a:gd name="connsiteX124" fmla="*/ 154648 w 1490290"/>
              <a:gd name="connsiteY124" fmla="*/ 416906 h 498230"/>
              <a:gd name="connsiteX125" fmla="*/ 157684 w 1490290"/>
              <a:gd name="connsiteY125" fmla="*/ 416906 h 498230"/>
              <a:gd name="connsiteX126" fmla="*/ 159207 w 1490290"/>
              <a:gd name="connsiteY126" fmla="*/ 416906 h 498230"/>
              <a:gd name="connsiteX127" fmla="*/ 159207 w 1490290"/>
              <a:gd name="connsiteY127" fmla="*/ 415316 h 498230"/>
              <a:gd name="connsiteX128" fmla="*/ 160753 w 1490290"/>
              <a:gd name="connsiteY128" fmla="*/ 415316 h 498230"/>
              <a:gd name="connsiteX129" fmla="*/ 160753 w 1490290"/>
              <a:gd name="connsiteY129" fmla="*/ 412969 h 498230"/>
              <a:gd name="connsiteX130" fmla="*/ 162288 w 1490290"/>
              <a:gd name="connsiteY130" fmla="*/ 412969 h 498230"/>
              <a:gd name="connsiteX131" fmla="*/ 162288 w 1490290"/>
              <a:gd name="connsiteY131" fmla="*/ 411378 h 498230"/>
              <a:gd name="connsiteX132" fmla="*/ 165346 w 1490290"/>
              <a:gd name="connsiteY132" fmla="*/ 411378 h 498230"/>
              <a:gd name="connsiteX133" fmla="*/ 165346 w 1490290"/>
              <a:gd name="connsiteY133" fmla="*/ 410622 h 498230"/>
              <a:gd name="connsiteX134" fmla="*/ 166891 w 1490290"/>
              <a:gd name="connsiteY134" fmla="*/ 410622 h 498230"/>
              <a:gd name="connsiteX135" fmla="*/ 166891 w 1490290"/>
              <a:gd name="connsiteY135" fmla="*/ 409821 h 498230"/>
              <a:gd name="connsiteX136" fmla="*/ 168426 w 1490290"/>
              <a:gd name="connsiteY136" fmla="*/ 409821 h 498230"/>
              <a:gd name="connsiteX137" fmla="*/ 168426 w 1490290"/>
              <a:gd name="connsiteY137" fmla="*/ 409032 h 498230"/>
              <a:gd name="connsiteX138" fmla="*/ 169949 w 1490290"/>
              <a:gd name="connsiteY138" fmla="*/ 409032 h 498230"/>
              <a:gd name="connsiteX139" fmla="*/ 169949 w 1490290"/>
              <a:gd name="connsiteY139" fmla="*/ 408242 h 498230"/>
              <a:gd name="connsiteX140" fmla="*/ 171484 w 1490290"/>
              <a:gd name="connsiteY140" fmla="*/ 408242 h 498230"/>
              <a:gd name="connsiteX141" fmla="*/ 171484 w 1490290"/>
              <a:gd name="connsiteY141" fmla="*/ 406685 h 498230"/>
              <a:gd name="connsiteX142" fmla="*/ 173030 w 1490290"/>
              <a:gd name="connsiteY142" fmla="*/ 406685 h 498230"/>
              <a:gd name="connsiteX143" fmla="*/ 173030 w 1490290"/>
              <a:gd name="connsiteY143" fmla="*/ 405895 h 498230"/>
              <a:gd name="connsiteX144" fmla="*/ 177589 w 1490290"/>
              <a:gd name="connsiteY144" fmla="*/ 405895 h 498230"/>
              <a:gd name="connsiteX145" fmla="*/ 177589 w 1490290"/>
              <a:gd name="connsiteY145" fmla="*/ 404338 h 498230"/>
              <a:gd name="connsiteX146" fmla="*/ 179112 w 1490290"/>
              <a:gd name="connsiteY146" fmla="*/ 404338 h 498230"/>
              <a:gd name="connsiteX147" fmla="*/ 179112 w 1490290"/>
              <a:gd name="connsiteY147" fmla="*/ 403549 h 498230"/>
              <a:gd name="connsiteX148" fmla="*/ 182193 w 1490290"/>
              <a:gd name="connsiteY148" fmla="*/ 403549 h 498230"/>
              <a:gd name="connsiteX149" fmla="*/ 182193 w 1490290"/>
              <a:gd name="connsiteY149" fmla="*/ 402759 h 498230"/>
              <a:gd name="connsiteX150" fmla="*/ 183716 w 1490290"/>
              <a:gd name="connsiteY150" fmla="*/ 402759 h 498230"/>
              <a:gd name="connsiteX151" fmla="*/ 183716 w 1490290"/>
              <a:gd name="connsiteY151" fmla="*/ 401958 h 498230"/>
              <a:gd name="connsiteX152" fmla="*/ 185251 w 1490290"/>
              <a:gd name="connsiteY152" fmla="*/ 401958 h 498230"/>
              <a:gd name="connsiteX153" fmla="*/ 185251 w 1490290"/>
              <a:gd name="connsiteY153" fmla="*/ 401157 h 498230"/>
              <a:gd name="connsiteX154" fmla="*/ 189855 w 1490290"/>
              <a:gd name="connsiteY154" fmla="*/ 401157 h 498230"/>
              <a:gd name="connsiteX155" fmla="*/ 189855 w 1490290"/>
              <a:gd name="connsiteY155" fmla="*/ 399611 h 498230"/>
              <a:gd name="connsiteX156" fmla="*/ 192901 w 1490290"/>
              <a:gd name="connsiteY156" fmla="*/ 399611 h 498230"/>
              <a:gd name="connsiteX157" fmla="*/ 194425 w 1490290"/>
              <a:gd name="connsiteY157" fmla="*/ 399611 h 498230"/>
              <a:gd name="connsiteX158" fmla="*/ 195960 w 1490290"/>
              <a:gd name="connsiteY158" fmla="*/ 399611 h 498230"/>
              <a:gd name="connsiteX159" fmla="*/ 195960 w 1490290"/>
              <a:gd name="connsiteY159" fmla="*/ 398822 h 498230"/>
              <a:gd name="connsiteX160" fmla="*/ 197494 w 1490290"/>
              <a:gd name="connsiteY160" fmla="*/ 398822 h 498230"/>
              <a:gd name="connsiteX161" fmla="*/ 197494 w 1490290"/>
              <a:gd name="connsiteY161" fmla="*/ 398021 h 498230"/>
              <a:gd name="connsiteX162" fmla="*/ 199028 w 1490290"/>
              <a:gd name="connsiteY162" fmla="*/ 398021 h 498230"/>
              <a:gd name="connsiteX163" fmla="*/ 199028 w 1490290"/>
              <a:gd name="connsiteY163" fmla="*/ 397231 h 498230"/>
              <a:gd name="connsiteX164" fmla="*/ 200563 w 1490290"/>
              <a:gd name="connsiteY164" fmla="*/ 397231 h 498230"/>
              <a:gd name="connsiteX165" fmla="*/ 203632 w 1490290"/>
              <a:gd name="connsiteY165" fmla="*/ 397231 h 498230"/>
              <a:gd name="connsiteX166" fmla="*/ 203632 w 1490290"/>
              <a:gd name="connsiteY166" fmla="*/ 396442 h 498230"/>
              <a:gd name="connsiteX167" fmla="*/ 206701 w 1490290"/>
              <a:gd name="connsiteY167" fmla="*/ 396442 h 498230"/>
              <a:gd name="connsiteX168" fmla="*/ 206701 w 1490290"/>
              <a:gd name="connsiteY168" fmla="*/ 394885 h 498230"/>
              <a:gd name="connsiteX169" fmla="*/ 208236 w 1490290"/>
              <a:gd name="connsiteY169" fmla="*/ 394885 h 498230"/>
              <a:gd name="connsiteX170" fmla="*/ 209726 w 1490290"/>
              <a:gd name="connsiteY170" fmla="*/ 394885 h 498230"/>
              <a:gd name="connsiteX171" fmla="*/ 209726 w 1490290"/>
              <a:gd name="connsiteY171" fmla="*/ 394095 h 498230"/>
              <a:gd name="connsiteX172" fmla="*/ 212806 w 1490290"/>
              <a:gd name="connsiteY172" fmla="*/ 394095 h 498230"/>
              <a:gd name="connsiteX173" fmla="*/ 212806 w 1490290"/>
              <a:gd name="connsiteY173" fmla="*/ 393294 h 498230"/>
              <a:gd name="connsiteX174" fmla="*/ 214330 w 1490290"/>
              <a:gd name="connsiteY174" fmla="*/ 393294 h 498230"/>
              <a:gd name="connsiteX175" fmla="*/ 214330 w 1490290"/>
              <a:gd name="connsiteY175" fmla="*/ 392505 h 498230"/>
              <a:gd name="connsiteX176" fmla="*/ 218934 w 1490290"/>
              <a:gd name="connsiteY176" fmla="*/ 392505 h 498230"/>
              <a:gd name="connsiteX177" fmla="*/ 218934 w 1490290"/>
              <a:gd name="connsiteY177" fmla="*/ 391715 h 498230"/>
              <a:gd name="connsiteX178" fmla="*/ 222003 w 1490290"/>
              <a:gd name="connsiteY178" fmla="*/ 391715 h 498230"/>
              <a:gd name="connsiteX179" fmla="*/ 223537 w 1490290"/>
              <a:gd name="connsiteY179" fmla="*/ 391715 h 498230"/>
              <a:gd name="connsiteX180" fmla="*/ 223537 w 1490290"/>
              <a:gd name="connsiteY180" fmla="*/ 390914 h 498230"/>
              <a:gd name="connsiteX181" fmla="*/ 225072 w 1490290"/>
              <a:gd name="connsiteY181" fmla="*/ 390914 h 498230"/>
              <a:gd name="connsiteX182" fmla="*/ 225072 w 1490290"/>
              <a:gd name="connsiteY182" fmla="*/ 389357 h 498230"/>
              <a:gd name="connsiteX183" fmla="*/ 228108 w 1490290"/>
              <a:gd name="connsiteY183" fmla="*/ 389357 h 498230"/>
              <a:gd name="connsiteX184" fmla="*/ 228108 w 1490290"/>
              <a:gd name="connsiteY184" fmla="*/ 387778 h 498230"/>
              <a:gd name="connsiteX185" fmla="*/ 229631 w 1490290"/>
              <a:gd name="connsiteY185" fmla="*/ 387778 h 498230"/>
              <a:gd name="connsiteX186" fmla="*/ 229631 w 1490290"/>
              <a:gd name="connsiteY186" fmla="*/ 386187 h 498230"/>
              <a:gd name="connsiteX187" fmla="*/ 234235 w 1490290"/>
              <a:gd name="connsiteY187" fmla="*/ 386187 h 498230"/>
              <a:gd name="connsiteX188" fmla="*/ 234235 w 1490290"/>
              <a:gd name="connsiteY188" fmla="*/ 384608 h 498230"/>
              <a:gd name="connsiteX189" fmla="*/ 235770 w 1490290"/>
              <a:gd name="connsiteY189" fmla="*/ 384608 h 498230"/>
              <a:gd name="connsiteX190" fmla="*/ 235770 w 1490290"/>
              <a:gd name="connsiteY190" fmla="*/ 383017 h 498230"/>
              <a:gd name="connsiteX191" fmla="*/ 237304 w 1490290"/>
              <a:gd name="connsiteY191" fmla="*/ 383017 h 498230"/>
              <a:gd name="connsiteX192" fmla="*/ 237304 w 1490290"/>
              <a:gd name="connsiteY192" fmla="*/ 382217 h 498230"/>
              <a:gd name="connsiteX193" fmla="*/ 240373 w 1490290"/>
              <a:gd name="connsiteY193" fmla="*/ 382217 h 498230"/>
              <a:gd name="connsiteX194" fmla="*/ 240373 w 1490290"/>
              <a:gd name="connsiteY194" fmla="*/ 381427 h 498230"/>
              <a:gd name="connsiteX195" fmla="*/ 243443 w 1490290"/>
              <a:gd name="connsiteY195" fmla="*/ 381427 h 498230"/>
              <a:gd name="connsiteX196" fmla="*/ 243443 w 1490290"/>
              <a:gd name="connsiteY196" fmla="*/ 380671 h 498230"/>
              <a:gd name="connsiteX197" fmla="*/ 244933 w 1490290"/>
              <a:gd name="connsiteY197" fmla="*/ 380671 h 498230"/>
              <a:gd name="connsiteX198" fmla="*/ 244933 w 1490290"/>
              <a:gd name="connsiteY198" fmla="*/ 379080 h 498230"/>
              <a:gd name="connsiteX199" fmla="*/ 246478 w 1490290"/>
              <a:gd name="connsiteY199" fmla="*/ 379080 h 498230"/>
              <a:gd name="connsiteX200" fmla="*/ 246478 w 1490290"/>
              <a:gd name="connsiteY200" fmla="*/ 378291 h 498230"/>
              <a:gd name="connsiteX201" fmla="*/ 248013 w 1490290"/>
              <a:gd name="connsiteY201" fmla="*/ 378291 h 498230"/>
              <a:gd name="connsiteX202" fmla="*/ 248013 w 1490290"/>
              <a:gd name="connsiteY202" fmla="*/ 376700 h 498230"/>
              <a:gd name="connsiteX203" fmla="*/ 251082 w 1490290"/>
              <a:gd name="connsiteY203" fmla="*/ 376700 h 498230"/>
              <a:gd name="connsiteX204" fmla="*/ 251082 w 1490290"/>
              <a:gd name="connsiteY204" fmla="*/ 375899 h 498230"/>
              <a:gd name="connsiteX205" fmla="*/ 252617 w 1490290"/>
              <a:gd name="connsiteY205" fmla="*/ 375899 h 498230"/>
              <a:gd name="connsiteX206" fmla="*/ 252617 w 1490290"/>
              <a:gd name="connsiteY206" fmla="*/ 375110 h 498230"/>
              <a:gd name="connsiteX207" fmla="*/ 254140 w 1490290"/>
              <a:gd name="connsiteY207" fmla="*/ 375110 h 498230"/>
              <a:gd name="connsiteX208" fmla="*/ 254140 w 1490290"/>
              <a:gd name="connsiteY208" fmla="*/ 374320 h 498230"/>
              <a:gd name="connsiteX209" fmla="*/ 257220 w 1490290"/>
              <a:gd name="connsiteY209" fmla="*/ 374320 h 498230"/>
              <a:gd name="connsiteX210" fmla="*/ 257220 w 1490290"/>
              <a:gd name="connsiteY210" fmla="*/ 373530 h 498230"/>
              <a:gd name="connsiteX211" fmla="*/ 261780 w 1490290"/>
              <a:gd name="connsiteY211" fmla="*/ 373530 h 498230"/>
              <a:gd name="connsiteX212" fmla="*/ 261780 w 1490290"/>
              <a:gd name="connsiteY212" fmla="*/ 371940 h 498230"/>
              <a:gd name="connsiteX213" fmla="*/ 263314 w 1490290"/>
              <a:gd name="connsiteY213" fmla="*/ 371940 h 498230"/>
              <a:gd name="connsiteX214" fmla="*/ 263314 w 1490290"/>
              <a:gd name="connsiteY214" fmla="*/ 370383 h 498230"/>
              <a:gd name="connsiteX215" fmla="*/ 264849 w 1490290"/>
              <a:gd name="connsiteY215" fmla="*/ 370383 h 498230"/>
              <a:gd name="connsiteX216" fmla="*/ 264849 w 1490290"/>
              <a:gd name="connsiteY216" fmla="*/ 369593 h 498230"/>
              <a:gd name="connsiteX217" fmla="*/ 266383 w 1490290"/>
              <a:gd name="connsiteY217" fmla="*/ 369593 h 498230"/>
              <a:gd name="connsiteX218" fmla="*/ 266383 w 1490290"/>
              <a:gd name="connsiteY218" fmla="*/ 368792 h 498230"/>
              <a:gd name="connsiteX219" fmla="*/ 267918 w 1490290"/>
              <a:gd name="connsiteY219" fmla="*/ 368792 h 498230"/>
              <a:gd name="connsiteX220" fmla="*/ 267918 w 1490290"/>
              <a:gd name="connsiteY220" fmla="*/ 367213 h 498230"/>
              <a:gd name="connsiteX221" fmla="*/ 269441 w 1490290"/>
              <a:gd name="connsiteY221" fmla="*/ 367213 h 498230"/>
              <a:gd name="connsiteX222" fmla="*/ 269441 w 1490290"/>
              <a:gd name="connsiteY222" fmla="*/ 366412 h 498230"/>
              <a:gd name="connsiteX223" fmla="*/ 270987 w 1490290"/>
              <a:gd name="connsiteY223" fmla="*/ 366412 h 498230"/>
              <a:gd name="connsiteX224" fmla="*/ 270987 w 1490290"/>
              <a:gd name="connsiteY224" fmla="*/ 365623 h 498230"/>
              <a:gd name="connsiteX225" fmla="*/ 272522 w 1490290"/>
              <a:gd name="connsiteY225" fmla="*/ 365623 h 498230"/>
              <a:gd name="connsiteX226" fmla="*/ 272522 w 1490290"/>
              <a:gd name="connsiteY226" fmla="*/ 364833 h 498230"/>
              <a:gd name="connsiteX227" fmla="*/ 274056 w 1490290"/>
              <a:gd name="connsiteY227" fmla="*/ 364833 h 498230"/>
              <a:gd name="connsiteX228" fmla="*/ 274056 w 1490290"/>
              <a:gd name="connsiteY228" fmla="*/ 363243 h 498230"/>
              <a:gd name="connsiteX229" fmla="*/ 275580 w 1490290"/>
              <a:gd name="connsiteY229" fmla="*/ 363243 h 498230"/>
              <a:gd name="connsiteX230" fmla="*/ 275580 w 1490290"/>
              <a:gd name="connsiteY230" fmla="*/ 362453 h 498230"/>
              <a:gd name="connsiteX231" fmla="*/ 277125 w 1490290"/>
              <a:gd name="connsiteY231" fmla="*/ 362453 h 498230"/>
              <a:gd name="connsiteX232" fmla="*/ 278660 w 1490290"/>
              <a:gd name="connsiteY232" fmla="*/ 362453 h 498230"/>
              <a:gd name="connsiteX233" fmla="*/ 278660 w 1490290"/>
              <a:gd name="connsiteY233" fmla="*/ 361652 h 498230"/>
              <a:gd name="connsiteX234" fmla="*/ 280150 w 1490290"/>
              <a:gd name="connsiteY234" fmla="*/ 361652 h 498230"/>
              <a:gd name="connsiteX235" fmla="*/ 280150 w 1490290"/>
              <a:gd name="connsiteY235" fmla="*/ 360073 h 498230"/>
              <a:gd name="connsiteX236" fmla="*/ 281685 w 1490290"/>
              <a:gd name="connsiteY236" fmla="*/ 360073 h 498230"/>
              <a:gd name="connsiteX237" fmla="*/ 283219 w 1490290"/>
              <a:gd name="connsiteY237" fmla="*/ 360073 h 498230"/>
              <a:gd name="connsiteX238" fmla="*/ 283219 w 1490290"/>
              <a:gd name="connsiteY238" fmla="*/ 359272 h 498230"/>
              <a:gd name="connsiteX239" fmla="*/ 284754 w 1490290"/>
              <a:gd name="connsiteY239" fmla="*/ 359272 h 498230"/>
              <a:gd name="connsiteX240" fmla="*/ 284754 w 1490290"/>
              <a:gd name="connsiteY240" fmla="*/ 357693 h 498230"/>
              <a:gd name="connsiteX241" fmla="*/ 286289 w 1490290"/>
              <a:gd name="connsiteY241" fmla="*/ 357693 h 498230"/>
              <a:gd name="connsiteX242" fmla="*/ 286289 w 1490290"/>
              <a:gd name="connsiteY242" fmla="*/ 356892 h 498230"/>
              <a:gd name="connsiteX243" fmla="*/ 287823 w 1490290"/>
              <a:gd name="connsiteY243" fmla="*/ 356892 h 498230"/>
              <a:gd name="connsiteX244" fmla="*/ 287823 w 1490290"/>
              <a:gd name="connsiteY244" fmla="*/ 355268 h 498230"/>
              <a:gd name="connsiteX245" fmla="*/ 289358 w 1490290"/>
              <a:gd name="connsiteY245" fmla="*/ 355268 h 498230"/>
              <a:gd name="connsiteX246" fmla="*/ 290892 w 1490290"/>
              <a:gd name="connsiteY246" fmla="*/ 355268 h 498230"/>
              <a:gd name="connsiteX247" fmla="*/ 290892 w 1490290"/>
              <a:gd name="connsiteY247" fmla="*/ 354479 h 498230"/>
              <a:gd name="connsiteX248" fmla="*/ 292427 w 1490290"/>
              <a:gd name="connsiteY248" fmla="*/ 354479 h 498230"/>
              <a:gd name="connsiteX249" fmla="*/ 293961 w 1490290"/>
              <a:gd name="connsiteY249" fmla="*/ 354479 h 498230"/>
              <a:gd name="connsiteX250" fmla="*/ 293961 w 1490290"/>
              <a:gd name="connsiteY250" fmla="*/ 353678 h 498230"/>
              <a:gd name="connsiteX251" fmla="*/ 295485 w 1490290"/>
              <a:gd name="connsiteY251" fmla="*/ 353678 h 498230"/>
              <a:gd name="connsiteX252" fmla="*/ 295485 w 1490290"/>
              <a:gd name="connsiteY252" fmla="*/ 352855 h 498230"/>
              <a:gd name="connsiteX253" fmla="*/ 297031 w 1490290"/>
              <a:gd name="connsiteY253" fmla="*/ 352855 h 498230"/>
              <a:gd name="connsiteX254" fmla="*/ 298532 w 1490290"/>
              <a:gd name="connsiteY254" fmla="*/ 352855 h 498230"/>
              <a:gd name="connsiteX255" fmla="*/ 298532 w 1490290"/>
              <a:gd name="connsiteY255" fmla="*/ 352065 h 498230"/>
              <a:gd name="connsiteX256" fmla="*/ 300055 w 1490290"/>
              <a:gd name="connsiteY256" fmla="*/ 352065 h 498230"/>
              <a:gd name="connsiteX257" fmla="*/ 301590 w 1490290"/>
              <a:gd name="connsiteY257" fmla="*/ 352065 h 498230"/>
              <a:gd name="connsiteX258" fmla="*/ 303125 w 1490290"/>
              <a:gd name="connsiteY258" fmla="*/ 352065 h 498230"/>
              <a:gd name="connsiteX259" fmla="*/ 304659 w 1490290"/>
              <a:gd name="connsiteY259" fmla="*/ 352065 h 498230"/>
              <a:gd name="connsiteX260" fmla="*/ 304659 w 1490290"/>
              <a:gd name="connsiteY260" fmla="*/ 351231 h 498230"/>
              <a:gd name="connsiteX261" fmla="*/ 306194 w 1490290"/>
              <a:gd name="connsiteY261" fmla="*/ 351231 h 498230"/>
              <a:gd name="connsiteX262" fmla="*/ 307728 w 1490290"/>
              <a:gd name="connsiteY262" fmla="*/ 351231 h 498230"/>
              <a:gd name="connsiteX263" fmla="*/ 307728 w 1490290"/>
              <a:gd name="connsiteY263" fmla="*/ 350408 h 498230"/>
              <a:gd name="connsiteX264" fmla="*/ 309274 w 1490290"/>
              <a:gd name="connsiteY264" fmla="*/ 350408 h 498230"/>
              <a:gd name="connsiteX265" fmla="*/ 309274 w 1490290"/>
              <a:gd name="connsiteY265" fmla="*/ 349618 h 498230"/>
              <a:gd name="connsiteX266" fmla="*/ 310797 w 1490290"/>
              <a:gd name="connsiteY266" fmla="*/ 349618 h 498230"/>
              <a:gd name="connsiteX267" fmla="*/ 312332 w 1490290"/>
              <a:gd name="connsiteY267" fmla="*/ 349618 h 498230"/>
              <a:gd name="connsiteX268" fmla="*/ 312332 w 1490290"/>
              <a:gd name="connsiteY268" fmla="*/ 347961 h 498230"/>
              <a:gd name="connsiteX269" fmla="*/ 313867 w 1490290"/>
              <a:gd name="connsiteY269" fmla="*/ 347961 h 498230"/>
              <a:gd name="connsiteX270" fmla="*/ 315357 w 1490290"/>
              <a:gd name="connsiteY270" fmla="*/ 347961 h 498230"/>
              <a:gd name="connsiteX271" fmla="*/ 316902 w 1490290"/>
              <a:gd name="connsiteY271" fmla="*/ 347961 h 498230"/>
              <a:gd name="connsiteX272" fmla="*/ 316902 w 1490290"/>
              <a:gd name="connsiteY272" fmla="*/ 347094 h 498230"/>
              <a:gd name="connsiteX273" fmla="*/ 318437 w 1490290"/>
              <a:gd name="connsiteY273" fmla="*/ 347094 h 498230"/>
              <a:gd name="connsiteX274" fmla="*/ 318437 w 1490290"/>
              <a:gd name="connsiteY274" fmla="*/ 346259 h 498230"/>
              <a:gd name="connsiteX275" fmla="*/ 319960 w 1490290"/>
              <a:gd name="connsiteY275" fmla="*/ 346259 h 498230"/>
              <a:gd name="connsiteX276" fmla="*/ 321495 w 1490290"/>
              <a:gd name="connsiteY276" fmla="*/ 346259 h 498230"/>
              <a:gd name="connsiteX277" fmla="*/ 321495 w 1490290"/>
              <a:gd name="connsiteY277" fmla="*/ 345403 h 498230"/>
              <a:gd name="connsiteX278" fmla="*/ 323041 w 1490290"/>
              <a:gd name="connsiteY278" fmla="*/ 345403 h 498230"/>
              <a:gd name="connsiteX279" fmla="*/ 323041 w 1490290"/>
              <a:gd name="connsiteY279" fmla="*/ 344580 h 498230"/>
              <a:gd name="connsiteX280" fmla="*/ 324564 w 1490290"/>
              <a:gd name="connsiteY280" fmla="*/ 344580 h 498230"/>
              <a:gd name="connsiteX281" fmla="*/ 324564 w 1490290"/>
              <a:gd name="connsiteY281" fmla="*/ 343713 h 498230"/>
              <a:gd name="connsiteX282" fmla="*/ 327633 w 1490290"/>
              <a:gd name="connsiteY282" fmla="*/ 343713 h 498230"/>
              <a:gd name="connsiteX283" fmla="*/ 329179 w 1490290"/>
              <a:gd name="connsiteY283" fmla="*/ 343713 h 498230"/>
              <a:gd name="connsiteX284" fmla="*/ 330702 w 1490290"/>
              <a:gd name="connsiteY284" fmla="*/ 343713 h 498230"/>
              <a:gd name="connsiteX285" fmla="*/ 330702 w 1490290"/>
              <a:gd name="connsiteY285" fmla="*/ 342845 h 498230"/>
              <a:gd name="connsiteX286" fmla="*/ 332237 w 1490290"/>
              <a:gd name="connsiteY286" fmla="*/ 342845 h 498230"/>
              <a:gd name="connsiteX287" fmla="*/ 333738 w 1490290"/>
              <a:gd name="connsiteY287" fmla="*/ 342845 h 498230"/>
              <a:gd name="connsiteX288" fmla="*/ 333738 w 1490290"/>
              <a:gd name="connsiteY288" fmla="*/ 341989 h 498230"/>
              <a:gd name="connsiteX289" fmla="*/ 335262 w 1490290"/>
              <a:gd name="connsiteY289" fmla="*/ 341989 h 498230"/>
              <a:gd name="connsiteX290" fmla="*/ 338342 w 1490290"/>
              <a:gd name="connsiteY290" fmla="*/ 341989 h 498230"/>
              <a:gd name="connsiteX291" fmla="*/ 338342 w 1490290"/>
              <a:gd name="connsiteY291" fmla="*/ 341132 h 498230"/>
              <a:gd name="connsiteX292" fmla="*/ 339865 w 1490290"/>
              <a:gd name="connsiteY292" fmla="*/ 341132 h 498230"/>
              <a:gd name="connsiteX293" fmla="*/ 341400 w 1490290"/>
              <a:gd name="connsiteY293" fmla="*/ 341132 h 498230"/>
              <a:gd name="connsiteX294" fmla="*/ 341400 w 1490290"/>
              <a:gd name="connsiteY294" fmla="*/ 340265 h 498230"/>
              <a:gd name="connsiteX295" fmla="*/ 342946 w 1490290"/>
              <a:gd name="connsiteY295" fmla="*/ 340265 h 498230"/>
              <a:gd name="connsiteX296" fmla="*/ 342946 w 1490290"/>
              <a:gd name="connsiteY296" fmla="*/ 335883 h 498230"/>
              <a:gd name="connsiteX297" fmla="*/ 344480 w 1490290"/>
              <a:gd name="connsiteY297" fmla="*/ 335883 h 498230"/>
              <a:gd name="connsiteX298" fmla="*/ 344480 w 1490290"/>
              <a:gd name="connsiteY298" fmla="*/ 335015 h 498230"/>
              <a:gd name="connsiteX299" fmla="*/ 346004 w 1490290"/>
              <a:gd name="connsiteY299" fmla="*/ 335015 h 498230"/>
              <a:gd name="connsiteX300" fmla="*/ 349084 w 1490290"/>
              <a:gd name="connsiteY300" fmla="*/ 335015 h 498230"/>
              <a:gd name="connsiteX301" fmla="*/ 349084 w 1490290"/>
              <a:gd name="connsiteY301" fmla="*/ 334125 h 498230"/>
              <a:gd name="connsiteX302" fmla="*/ 350574 w 1490290"/>
              <a:gd name="connsiteY302" fmla="*/ 334125 h 498230"/>
              <a:gd name="connsiteX303" fmla="*/ 350574 w 1490290"/>
              <a:gd name="connsiteY303" fmla="*/ 332357 h 498230"/>
              <a:gd name="connsiteX304" fmla="*/ 352109 w 1490290"/>
              <a:gd name="connsiteY304" fmla="*/ 332357 h 498230"/>
              <a:gd name="connsiteX305" fmla="*/ 353643 w 1490290"/>
              <a:gd name="connsiteY305" fmla="*/ 332357 h 498230"/>
              <a:gd name="connsiteX306" fmla="*/ 353643 w 1490290"/>
              <a:gd name="connsiteY306" fmla="*/ 331456 h 498230"/>
              <a:gd name="connsiteX307" fmla="*/ 355167 w 1490290"/>
              <a:gd name="connsiteY307" fmla="*/ 331456 h 498230"/>
              <a:gd name="connsiteX308" fmla="*/ 356713 w 1490290"/>
              <a:gd name="connsiteY308" fmla="*/ 331456 h 498230"/>
              <a:gd name="connsiteX309" fmla="*/ 358247 w 1490290"/>
              <a:gd name="connsiteY309" fmla="*/ 331456 h 498230"/>
              <a:gd name="connsiteX310" fmla="*/ 358247 w 1490290"/>
              <a:gd name="connsiteY310" fmla="*/ 330566 h 498230"/>
              <a:gd name="connsiteX311" fmla="*/ 359782 w 1490290"/>
              <a:gd name="connsiteY311" fmla="*/ 330566 h 498230"/>
              <a:gd name="connsiteX312" fmla="*/ 359782 w 1490290"/>
              <a:gd name="connsiteY312" fmla="*/ 329666 h 498230"/>
              <a:gd name="connsiteX313" fmla="*/ 361316 w 1490290"/>
              <a:gd name="connsiteY313" fmla="*/ 329666 h 498230"/>
              <a:gd name="connsiteX314" fmla="*/ 361316 w 1490290"/>
              <a:gd name="connsiteY314" fmla="*/ 328776 h 498230"/>
              <a:gd name="connsiteX315" fmla="*/ 362851 w 1490290"/>
              <a:gd name="connsiteY315" fmla="*/ 328776 h 498230"/>
              <a:gd name="connsiteX316" fmla="*/ 362851 w 1490290"/>
              <a:gd name="connsiteY316" fmla="*/ 327875 h 498230"/>
              <a:gd name="connsiteX317" fmla="*/ 364386 w 1490290"/>
              <a:gd name="connsiteY317" fmla="*/ 327875 h 498230"/>
              <a:gd name="connsiteX318" fmla="*/ 365909 w 1490290"/>
              <a:gd name="connsiteY318" fmla="*/ 327875 h 498230"/>
              <a:gd name="connsiteX319" fmla="*/ 365909 w 1490290"/>
              <a:gd name="connsiteY319" fmla="*/ 326073 h 498230"/>
              <a:gd name="connsiteX320" fmla="*/ 367455 w 1490290"/>
              <a:gd name="connsiteY320" fmla="*/ 326073 h 498230"/>
              <a:gd name="connsiteX321" fmla="*/ 368956 w 1490290"/>
              <a:gd name="connsiteY321" fmla="*/ 326073 h 498230"/>
              <a:gd name="connsiteX322" fmla="*/ 370479 w 1490290"/>
              <a:gd name="connsiteY322" fmla="*/ 326073 h 498230"/>
              <a:gd name="connsiteX323" fmla="*/ 370479 w 1490290"/>
              <a:gd name="connsiteY323" fmla="*/ 325183 h 498230"/>
              <a:gd name="connsiteX324" fmla="*/ 372014 w 1490290"/>
              <a:gd name="connsiteY324" fmla="*/ 325183 h 498230"/>
              <a:gd name="connsiteX325" fmla="*/ 373548 w 1490290"/>
              <a:gd name="connsiteY325" fmla="*/ 325183 h 498230"/>
              <a:gd name="connsiteX326" fmla="*/ 375083 w 1490290"/>
              <a:gd name="connsiteY326" fmla="*/ 325183 h 498230"/>
              <a:gd name="connsiteX327" fmla="*/ 375083 w 1490290"/>
              <a:gd name="connsiteY327" fmla="*/ 324249 h 498230"/>
              <a:gd name="connsiteX328" fmla="*/ 376617 w 1490290"/>
              <a:gd name="connsiteY328" fmla="*/ 324249 h 498230"/>
              <a:gd name="connsiteX329" fmla="*/ 376617 w 1490290"/>
              <a:gd name="connsiteY329" fmla="*/ 322425 h 498230"/>
              <a:gd name="connsiteX330" fmla="*/ 378152 w 1490290"/>
              <a:gd name="connsiteY330" fmla="*/ 322425 h 498230"/>
              <a:gd name="connsiteX331" fmla="*/ 381221 w 1490290"/>
              <a:gd name="connsiteY331" fmla="*/ 322425 h 498230"/>
              <a:gd name="connsiteX332" fmla="*/ 381221 w 1490290"/>
              <a:gd name="connsiteY332" fmla="*/ 321491 h 498230"/>
              <a:gd name="connsiteX333" fmla="*/ 382756 w 1490290"/>
              <a:gd name="connsiteY333" fmla="*/ 321491 h 498230"/>
              <a:gd name="connsiteX334" fmla="*/ 384290 w 1490290"/>
              <a:gd name="connsiteY334" fmla="*/ 321491 h 498230"/>
              <a:gd name="connsiteX335" fmla="*/ 385781 w 1490290"/>
              <a:gd name="connsiteY335" fmla="*/ 321491 h 498230"/>
              <a:gd name="connsiteX336" fmla="*/ 385781 w 1490290"/>
              <a:gd name="connsiteY336" fmla="*/ 320557 h 498230"/>
              <a:gd name="connsiteX337" fmla="*/ 387315 w 1490290"/>
              <a:gd name="connsiteY337" fmla="*/ 320557 h 498230"/>
              <a:gd name="connsiteX338" fmla="*/ 387315 w 1490290"/>
              <a:gd name="connsiteY338" fmla="*/ 319656 h 498230"/>
              <a:gd name="connsiteX339" fmla="*/ 388861 w 1490290"/>
              <a:gd name="connsiteY339" fmla="*/ 319656 h 498230"/>
              <a:gd name="connsiteX340" fmla="*/ 388861 w 1490290"/>
              <a:gd name="connsiteY340" fmla="*/ 317765 h 498230"/>
              <a:gd name="connsiteX341" fmla="*/ 390384 w 1490290"/>
              <a:gd name="connsiteY341" fmla="*/ 317765 h 498230"/>
              <a:gd name="connsiteX342" fmla="*/ 390384 w 1490290"/>
              <a:gd name="connsiteY342" fmla="*/ 316831 h 498230"/>
              <a:gd name="connsiteX343" fmla="*/ 391919 w 1490290"/>
              <a:gd name="connsiteY343" fmla="*/ 316831 h 498230"/>
              <a:gd name="connsiteX344" fmla="*/ 391919 w 1490290"/>
              <a:gd name="connsiteY344" fmla="*/ 314962 h 498230"/>
              <a:gd name="connsiteX345" fmla="*/ 393453 w 1490290"/>
              <a:gd name="connsiteY345" fmla="*/ 314962 h 498230"/>
              <a:gd name="connsiteX346" fmla="*/ 393453 w 1490290"/>
              <a:gd name="connsiteY346" fmla="*/ 313105 h 498230"/>
              <a:gd name="connsiteX347" fmla="*/ 394999 w 1490290"/>
              <a:gd name="connsiteY347" fmla="*/ 313105 h 498230"/>
              <a:gd name="connsiteX348" fmla="*/ 396523 w 1490290"/>
              <a:gd name="connsiteY348" fmla="*/ 313105 h 498230"/>
              <a:gd name="connsiteX349" fmla="*/ 398057 w 1490290"/>
              <a:gd name="connsiteY349" fmla="*/ 313105 h 498230"/>
              <a:gd name="connsiteX350" fmla="*/ 399592 w 1490290"/>
              <a:gd name="connsiteY350" fmla="*/ 313105 h 498230"/>
              <a:gd name="connsiteX351" fmla="*/ 401126 w 1490290"/>
              <a:gd name="connsiteY351" fmla="*/ 313105 h 498230"/>
              <a:gd name="connsiteX352" fmla="*/ 404162 w 1490290"/>
              <a:gd name="connsiteY352" fmla="*/ 313105 h 498230"/>
              <a:gd name="connsiteX353" fmla="*/ 405686 w 1490290"/>
              <a:gd name="connsiteY353" fmla="*/ 313105 h 498230"/>
              <a:gd name="connsiteX354" fmla="*/ 407220 w 1490290"/>
              <a:gd name="connsiteY354" fmla="*/ 313105 h 498230"/>
              <a:gd name="connsiteX355" fmla="*/ 408766 w 1490290"/>
              <a:gd name="connsiteY355" fmla="*/ 313105 h 498230"/>
              <a:gd name="connsiteX356" fmla="*/ 410289 w 1490290"/>
              <a:gd name="connsiteY356" fmla="*/ 313105 h 498230"/>
              <a:gd name="connsiteX357" fmla="*/ 413359 w 1490290"/>
              <a:gd name="connsiteY357" fmla="*/ 313105 h 498230"/>
              <a:gd name="connsiteX358" fmla="*/ 413359 w 1490290"/>
              <a:gd name="connsiteY358" fmla="*/ 311170 h 498230"/>
              <a:gd name="connsiteX359" fmla="*/ 414904 w 1490290"/>
              <a:gd name="connsiteY359" fmla="*/ 311170 h 498230"/>
              <a:gd name="connsiteX360" fmla="*/ 416428 w 1490290"/>
              <a:gd name="connsiteY360" fmla="*/ 311170 h 498230"/>
              <a:gd name="connsiteX361" fmla="*/ 416428 w 1490290"/>
              <a:gd name="connsiteY361" fmla="*/ 310202 h 498230"/>
              <a:gd name="connsiteX362" fmla="*/ 417962 w 1490290"/>
              <a:gd name="connsiteY362" fmla="*/ 310202 h 498230"/>
              <a:gd name="connsiteX363" fmla="*/ 419508 w 1490290"/>
              <a:gd name="connsiteY363" fmla="*/ 310202 h 498230"/>
              <a:gd name="connsiteX364" fmla="*/ 421032 w 1490290"/>
              <a:gd name="connsiteY364" fmla="*/ 310202 h 498230"/>
              <a:gd name="connsiteX365" fmla="*/ 424067 w 1490290"/>
              <a:gd name="connsiteY365" fmla="*/ 310202 h 498230"/>
              <a:gd name="connsiteX366" fmla="*/ 424067 w 1490290"/>
              <a:gd name="connsiteY366" fmla="*/ 309201 h 498230"/>
              <a:gd name="connsiteX367" fmla="*/ 425591 w 1490290"/>
              <a:gd name="connsiteY367" fmla="*/ 309201 h 498230"/>
              <a:gd name="connsiteX368" fmla="*/ 425591 w 1490290"/>
              <a:gd name="connsiteY368" fmla="*/ 308234 h 498230"/>
              <a:gd name="connsiteX369" fmla="*/ 427136 w 1490290"/>
              <a:gd name="connsiteY369" fmla="*/ 308234 h 498230"/>
              <a:gd name="connsiteX370" fmla="*/ 427136 w 1490290"/>
              <a:gd name="connsiteY370" fmla="*/ 307244 h 498230"/>
              <a:gd name="connsiteX371" fmla="*/ 428671 w 1490290"/>
              <a:gd name="connsiteY371" fmla="*/ 307244 h 498230"/>
              <a:gd name="connsiteX372" fmla="*/ 430206 w 1490290"/>
              <a:gd name="connsiteY372" fmla="*/ 307244 h 498230"/>
              <a:gd name="connsiteX373" fmla="*/ 431729 w 1490290"/>
              <a:gd name="connsiteY373" fmla="*/ 307244 h 498230"/>
              <a:gd name="connsiteX374" fmla="*/ 431729 w 1490290"/>
              <a:gd name="connsiteY374" fmla="*/ 306276 h 498230"/>
              <a:gd name="connsiteX375" fmla="*/ 433275 w 1490290"/>
              <a:gd name="connsiteY375" fmla="*/ 306276 h 498230"/>
              <a:gd name="connsiteX376" fmla="*/ 433275 w 1490290"/>
              <a:gd name="connsiteY376" fmla="*/ 304274 h 498230"/>
              <a:gd name="connsiteX377" fmla="*/ 434809 w 1490290"/>
              <a:gd name="connsiteY377" fmla="*/ 304274 h 498230"/>
              <a:gd name="connsiteX378" fmla="*/ 436333 w 1490290"/>
              <a:gd name="connsiteY378" fmla="*/ 304274 h 498230"/>
              <a:gd name="connsiteX379" fmla="*/ 436333 w 1490290"/>
              <a:gd name="connsiteY379" fmla="*/ 302272 h 498230"/>
              <a:gd name="connsiteX380" fmla="*/ 437868 w 1490290"/>
              <a:gd name="connsiteY380" fmla="*/ 302272 h 498230"/>
              <a:gd name="connsiteX381" fmla="*/ 437868 w 1490290"/>
              <a:gd name="connsiteY381" fmla="*/ 300270 h 498230"/>
              <a:gd name="connsiteX382" fmla="*/ 439369 w 1490290"/>
              <a:gd name="connsiteY382" fmla="*/ 300270 h 498230"/>
              <a:gd name="connsiteX383" fmla="*/ 439369 w 1490290"/>
              <a:gd name="connsiteY383" fmla="*/ 299269 h 498230"/>
              <a:gd name="connsiteX384" fmla="*/ 440903 w 1490290"/>
              <a:gd name="connsiteY384" fmla="*/ 299269 h 498230"/>
              <a:gd name="connsiteX385" fmla="*/ 442438 w 1490290"/>
              <a:gd name="connsiteY385" fmla="*/ 299269 h 498230"/>
              <a:gd name="connsiteX386" fmla="*/ 442438 w 1490290"/>
              <a:gd name="connsiteY386" fmla="*/ 298268 h 498230"/>
              <a:gd name="connsiteX387" fmla="*/ 443972 w 1490290"/>
              <a:gd name="connsiteY387" fmla="*/ 298268 h 498230"/>
              <a:gd name="connsiteX388" fmla="*/ 443972 w 1490290"/>
              <a:gd name="connsiteY388" fmla="*/ 297267 h 498230"/>
              <a:gd name="connsiteX389" fmla="*/ 445507 w 1490290"/>
              <a:gd name="connsiteY389" fmla="*/ 297267 h 498230"/>
              <a:gd name="connsiteX390" fmla="*/ 445507 w 1490290"/>
              <a:gd name="connsiteY390" fmla="*/ 295232 h 498230"/>
              <a:gd name="connsiteX391" fmla="*/ 447042 w 1490290"/>
              <a:gd name="connsiteY391" fmla="*/ 295232 h 498230"/>
              <a:gd name="connsiteX392" fmla="*/ 448576 w 1490290"/>
              <a:gd name="connsiteY392" fmla="*/ 295232 h 498230"/>
              <a:gd name="connsiteX393" fmla="*/ 448576 w 1490290"/>
              <a:gd name="connsiteY393" fmla="*/ 294231 h 498230"/>
              <a:gd name="connsiteX394" fmla="*/ 450111 w 1490290"/>
              <a:gd name="connsiteY394" fmla="*/ 294231 h 498230"/>
              <a:gd name="connsiteX395" fmla="*/ 451634 w 1490290"/>
              <a:gd name="connsiteY395" fmla="*/ 294231 h 498230"/>
              <a:gd name="connsiteX396" fmla="*/ 453180 w 1490290"/>
              <a:gd name="connsiteY396" fmla="*/ 294231 h 498230"/>
              <a:gd name="connsiteX397" fmla="*/ 453180 w 1490290"/>
              <a:gd name="connsiteY397" fmla="*/ 293197 h 498230"/>
              <a:gd name="connsiteX398" fmla="*/ 456238 w 1490290"/>
              <a:gd name="connsiteY398" fmla="*/ 293197 h 498230"/>
              <a:gd name="connsiteX399" fmla="*/ 456238 w 1490290"/>
              <a:gd name="connsiteY399" fmla="*/ 292196 h 498230"/>
              <a:gd name="connsiteX400" fmla="*/ 457739 w 1490290"/>
              <a:gd name="connsiteY400" fmla="*/ 292196 h 498230"/>
              <a:gd name="connsiteX401" fmla="*/ 457739 w 1490290"/>
              <a:gd name="connsiteY401" fmla="*/ 291161 h 498230"/>
              <a:gd name="connsiteX402" fmla="*/ 459274 w 1490290"/>
              <a:gd name="connsiteY402" fmla="*/ 291161 h 498230"/>
              <a:gd name="connsiteX403" fmla="*/ 459274 w 1490290"/>
              <a:gd name="connsiteY403" fmla="*/ 290127 h 498230"/>
              <a:gd name="connsiteX404" fmla="*/ 460808 w 1490290"/>
              <a:gd name="connsiteY404" fmla="*/ 290127 h 498230"/>
              <a:gd name="connsiteX405" fmla="*/ 462343 w 1490290"/>
              <a:gd name="connsiteY405" fmla="*/ 290127 h 498230"/>
              <a:gd name="connsiteX406" fmla="*/ 463878 w 1490290"/>
              <a:gd name="connsiteY406" fmla="*/ 290127 h 498230"/>
              <a:gd name="connsiteX407" fmla="*/ 465412 w 1490290"/>
              <a:gd name="connsiteY407" fmla="*/ 290127 h 498230"/>
              <a:gd name="connsiteX408" fmla="*/ 468481 w 1490290"/>
              <a:gd name="connsiteY408" fmla="*/ 290127 h 498230"/>
              <a:gd name="connsiteX409" fmla="*/ 468481 w 1490290"/>
              <a:gd name="connsiteY409" fmla="*/ 289093 h 498230"/>
              <a:gd name="connsiteX410" fmla="*/ 470016 w 1490290"/>
              <a:gd name="connsiteY410" fmla="*/ 289093 h 498230"/>
              <a:gd name="connsiteX411" fmla="*/ 471539 w 1490290"/>
              <a:gd name="connsiteY411" fmla="*/ 289093 h 498230"/>
              <a:gd name="connsiteX412" fmla="*/ 471539 w 1490290"/>
              <a:gd name="connsiteY412" fmla="*/ 288058 h 498230"/>
              <a:gd name="connsiteX413" fmla="*/ 473085 w 1490290"/>
              <a:gd name="connsiteY413" fmla="*/ 288058 h 498230"/>
              <a:gd name="connsiteX414" fmla="*/ 474586 w 1490290"/>
              <a:gd name="connsiteY414" fmla="*/ 288058 h 498230"/>
              <a:gd name="connsiteX415" fmla="*/ 476110 w 1490290"/>
              <a:gd name="connsiteY415" fmla="*/ 288058 h 498230"/>
              <a:gd name="connsiteX416" fmla="*/ 476110 w 1490290"/>
              <a:gd name="connsiteY416" fmla="*/ 287024 h 498230"/>
              <a:gd name="connsiteX417" fmla="*/ 477644 w 1490290"/>
              <a:gd name="connsiteY417" fmla="*/ 287024 h 498230"/>
              <a:gd name="connsiteX418" fmla="*/ 479190 w 1490290"/>
              <a:gd name="connsiteY418" fmla="*/ 287024 h 498230"/>
              <a:gd name="connsiteX419" fmla="*/ 480714 w 1490290"/>
              <a:gd name="connsiteY419" fmla="*/ 287024 h 498230"/>
              <a:gd name="connsiteX420" fmla="*/ 480714 w 1490290"/>
              <a:gd name="connsiteY420" fmla="*/ 284911 h 498230"/>
              <a:gd name="connsiteX421" fmla="*/ 482248 w 1490290"/>
              <a:gd name="connsiteY421" fmla="*/ 284911 h 498230"/>
              <a:gd name="connsiteX422" fmla="*/ 482248 w 1490290"/>
              <a:gd name="connsiteY422" fmla="*/ 283877 h 498230"/>
              <a:gd name="connsiteX423" fmla="*/ 483783 w 1490290"/>
              <a:gd name="connsiteY423" fmla="*/ 283877 h 498230"/>
              <a:gd name="connsiteX424" fmla="*/ 483783 w 1490290"/>
              <a:gd name="connsiteY424" fmla="*/ 282809 h 498230"/>
              <a:gd name="connsiteX425" fmla="*/ 485328 w 1490290"/>
              <a:gd name="connsiteY425" fmla="*/ 282809 h 498230"/>
              <a:gd name="connsiteX426" fmla="*/ 485328 w 1490290"/>
              <a:gd name="connsiteY426" fmla="*/ 279639 h 498230"/>
              <a:gd name="connsiteX427" fmla="*/ 491456 w 1490290"/>
              <a:gd name="connsiteY427" fmla="*/ 279639 h 498230"/>
              <a:gd name="connsiteX428" fmla="*/ 492957 w 1490290"/>
              <a:gd name="connsiteY428" fmla="*/ 279639 h 498230"/>
              <a:gd name="connsiteX429" fmla="*/ 494491 w 1490290"/>
              <a:gd name="connsiteY429" fmla="*/ 279639 h 498230"/>
              <a:gd name="connsiteX430" fmla="*/ 496015 w 1490290"/>
              <a:gd name="connsiteY430" fmla="*/ 279639 h 498230"/>
              <a:gd name="connsiteX431" fmla="*/ 496015 w 1490290"/>
              <a:gd name="connsiteY431" fmla="*/ 278594 h 498230"/>
              <a:gd name="connsiteX432" fmla="*/ 497549 w 1490290"/>
              <a:gd name="connsiteY432" fmla="*/ 278594 h 498230"/>
              <a:gd name="connsiteX433" fmla="*/ 497549 w 1490290"/>
              <a:gd name="connsiteY433" fmla="*/ 277526 h 498230"/>
              <a:gd name="connsiteX434" fmla="*/ 500630 w 1490290"/>
              <a:gd name="connsiteY434" fmla="*/ 277526 h 498230"/>
              <a:gd name="connsiteX435" fmla="*/ 500630 w 1490290"/>
              <a:gd name="connsiteY435" fmla="*/ 276458 h 498230"/>
              <a:gd name="connsiteX436" fmla="*/ 502153 w 1490290"/>
              <a:gd name="connsiteY436" fmla="*/ 276458 h 498230"/>
              <a:gd name="connsiteX437" fmla="*/ 503688 w 1490290"/>
              <a:gd name="connsiteY437" fmla="*/ 276458 h 498230"/>
              <a:gd name="connsiteX438" fmla="*/ 505233 w 1490290"/>
              <a:gd name="connsiteY438" fmla="*/ 276458 h 498230"/>
              <a:gd name="connsiteX439" fmla="*/ 506757 w 1490290"/>
              <a:gd name="connsiteY439" fmla="*/ 276458 h 498230"/>
              <a:gd name="connsiteX440" fmla="*/ 508291 w 1490290"/>
              <a:gd name="connsiteY440" fmla="*/ 276458 h 498230"/>
              <a:gd name="connsiteX441" fmla="*/ 508291 w 1490290"/>
              <a:gd name="connsiteY441" fmla="*/ 275357 h 498230"/>
              <a:gd name="connsiteX442" fmla="*/ 511316 w 1490290"/>
              <a:gd name="connsiteY442" fmla="*/ 275357 h 498230"/>
              <a:gd name="connsiteX443" fmla="*/ 511316 w 1490290"/>
              <a:gd name="connsiteY443" fmla="*/ 274289 h 498230"/>
              <a:gd name="connsiteX444" fmla="*/ 512862 w 1490290"/>
              <a:gd name="connsiteY444" fmla="*/ 274289 h 498230"/>
              <a:gd name="connsiteX445" fmla="*/ 514396 w 1490290"/>
              <a:gd name="connsiteY445" fmla="*/ 274289 h 498230"/>
              <a:gd name="connsiteX446" fmla="*/ 515931 w 1490290"/>
              <a:gd name="connsiteY446" fmla="*/ 274289 h 498230"/>
              <a:gd name="connsiteX447" fmla="*/ 517454 w 1490290"/>
              <a:gd name="connsiteY447" fmla="*/ 274289 h 498230"/>
              <a:gd name="connsiteX448" fmla="*/ 519000 w 1490290"/>
              <a:gd name="connsiteY448" fmla="*/ 274289 h 498230"/>
              <a:gd name="connsiteX449" fmla="*/ 519000 w 1490290"/>
              <a:gd name="connsiteY449" fmla="*/ 273188 h 498230"/>
              <a:gd name="connsiteX450" fmla="*/ 522058 w 1490290"/>
              <a:gd name="connsiteY450" fmla="*/ 273188 h 498230"/>
              <a:gd name="connsiteX451" fmla="*/ 523593 w 1490290"/>
              <a:gd name="connsiteY451" fmla="*/ 273188 h 498230"/>
              <a:gd name="connsiteX452" fmla="*/ 523593 w 1490290"/>
              <a:gd name="connsiteY452" fmla="*/ 270975 h 498230"/>
              <a:gd name="connsiteX453" fmla="*/ 525139 w 1490290"/>
              <a:gd name="connsiteY453" fmla="*/ 270975 h 498230"/>
              <a:gd name="connsiteX454" fmla="*/ 525139 w 1490290"/>
              <a:gd name="connsiteY454" fmla="*/ 268762 h 498230"/>
              <a:gd name="connsiteX455" fmla="*/ 526662 w 1490290"/>
              <a:gd name="connsiteY455" fmla="*/ 268762 h 498230"/>
              <a:gd name="connsiteX456" fmla="*/ 528163 w 1490290"/>
              <a:gd name="connsiteY456" fmla="*/ 268762 h 498230"/>
              <a:gd name="connsiteX457" fmla="*/ 528163 w 1490290"/>
              <a:gd name="connsiteY457" fmla="*/ 265414 h 498230"/>
              <a:gd name="connsiteX458" fmla="*/ 529698 w 1490290"/>
              <a:gd name="connsiteY458" fmla="*/ 265414 h 498230"/>
              <a:gd name="connsiteX459" fmla="*/ 529698 w 1490290"/>
              <a:gd name="connsiteY459" fmla="*/ 263179 h 498230"/>
              <a:gd name="connsiteX460" fmla="*/ 532767 w 1490290"/>
              <a:gd name="connsiteY460" fmla="*/ 263179 h 498230"/>
              <a:gd name="connsiteX461" fmla="*/ 534302 w 1490290"/>
              <a:gd name="connsiteY461" fmla="*/ 263179 h 498230"/>
              <a:gd name="connsiteX462" fmla="*/ 535836 w 1490290"/>
              <a:gd name="connsiteY462" fmla="*/ 263179 h 498230"/>
              <a:gd name="connsiteX463" fmla="*/ 537371 w 1490290"/>
              <a:gd name="connsiteY463" fmla="*/ 263179 h 498230"/>
              <a:gd name="connsiteX464" fmla="*/ 538905 w 1490290"/>
              <a:gd name="connsiteY464" fmla="*/ 263179 h 498230"/>
              <a:gd name="connsiteX465" fmla="*/ 540440 w 1490290"/>
              <a:gd name="connsiteY465" fmla="*/ 263179 h 498230"/>
              <a:gd name="connsiteX466" fmla="*/ 540440 w 1490290"/>
              <a:gd name="connsiteY466" fmla="*/ 262033 h 498230"/>
              <a:gd name="connsiteX467" fmla="*/ 541963 w 1490290"/>
              <a:gd name="connsiteY467" fmla="*/ 262033 h 498230"/>
              <a:gd name="connsiteX468" fmla="*/ 541963 w 1490290"/>
              <a:gd name="connsiteY468" fmla="*/ 260899 h 498230"/>
              <a:gd name="connsiteX469" fmla="*/ 543509 w 1490290"/>
              <a:gd name="connsiteY469" fmla="*/ 260899 h 498230"/>
              <a:gd name="connsiteX470" fmla="*/ 545044 w 1490290"/>
              <a:gd name="connsiteY470" fmla="*/ 260899 h 498230"/>
              <a:gd name="connsiteX471" fmla="*/ 545044 w 1490290"/>
              <a:gd name="connsiteY471" fmla="*/ 258619 h 498230"/>
              <a:gd name="connsiteX472" fmla="*/ 546534 w 1490290"/>
              <a:gd name="connsiteY472" fmla="*/ 258619 h 498230"/>
              <a:gd name="connsiteX473" fmla="*/ 548068 w 1490290"/>
              <a:gd name="connsiteY473" fmla="*/ 258619 h 498230"/>
              <a:gd name="connsiteX474" fmla="*/ 549603 w 1490290"/>
              <a:gd name="connsiteY474" fmla="*/ 258619 h 498230"/>
              <a:gd name="connsiteX475" fmla="*/ 551148 w 1490290"/>
              <a:gd name="connsiteY475" fmla="*/ 258619 h 498230"/>
              <a:gd name="connsiteX476" fmla="*/ 552672 w 1490290"/>
              <a:gd name="connsiteY476" fmla="*/ 258619 h 498230"/>
              <a:gd name="connsiteX477" fmla="*/ 552672 w 1490290"/>
              <a:gd name="connsiteY477" fmla="*/ 256316 h 498230"/>
              <a:gd name="connsiteX478" fmla="*/ 554206 w 1490290"/>
              <a:gd name="connsiteY478" fmla="*/ 256316 h 498230"/>
              <a:gd name="connsiteX479" fmla="*/ 555741 w 1490290"/>
              <a:gd name="connsiteY479" fmla="*/ 256316 h 498230"/>
              <a:gd name="connsiteX480" fmla="*/ 557276 w 1490290"/>
              <a:gd name="connsiteY480" fmla="*/ 256316 h 498230"/>
              <a:gd name="connsiteX481" fmla="*/ 557276 w 1490290"/>
              <a:gd name="connsiteY481" fmla="*/ 254003 h 498230"/>
              <a:gd name="connsiteX482" fmla="*/ 558810 w 1490290"/>
              <a:gd name="connsiteY482" fmla="*/ 254003 h 498230"/>
              <a:gd name="connsiteX483" fmla="*/ 560345 w 1490290"/>
              <a:gd name="connsiteY483" fmla="*/ 254003 h 498230"/>
              <a:gd name="connsiteX484" fmla="*/ 560345 w 1490290"/>
              <a:gd name="connsiteY484" fmla="*/ 252824 h 498230"/>
              <a:gd name="connsiteX485" fmla="*/ 563370 w 1490290"/>
              <a:gd name="connsiteY485" fmla="*/ 252824 h 498230"/>
              <a:gd name="connsiteX486" fmla="*/ 563370 w 1490290"/>
              <a:gd name="connsiteY486" fmla="*/ 251656 h 498230"/>
              <a:gd name="connsiteX487" fmla="*/ 564915 w 1490290"/>
              <a:gd name="connsiteY487" fmla="*/ 251656 h 498230"/>
              <a:gd name="connsiteX488" fmla="*/ 566439 w 1490290"/>
              <a:gd name="connsiteY488" fmla="*/ 251656 h 498230"/>
              <a:gd name="connsiteX489" fmla="*/ 567973 w 1490290"/>
              <a:gd name="connsiteY489" fmla="*/ 251656 h 498230"/>
              <a:gd name="connsiteX490" fmla="*/ 567973 w 1490290"/>
              <a:gd name="connsiteY490" fmla="*/ 250444 h 498230"/>
              <a:gd name="connsiteX491" fmla="*/ 569508 w 1490290"/>
              <a:gd name="connsiteY491" fmla="*/ 250444 h 498230"/>
              <a:gd name="connsiteX492" fmla="*/ 571054 w 1490290"/>
              <a:gd name="connsiteY492" fmla="*/ 250444 h 498230"/>
              <a:gd name="connsiteX493" fmla="*/ 575646 w 1490290"/>
              <a:gd name="connsiteY493" fmla="*/ 250444 h 498230"/>
              <a:gd name="connsiteX494" fmla="*/ 577181 w 1490290"/>
              <a:gd name="connsiteY494" fmla="*/ 250444 h 498230"/>
              <a:gd name="connsiteX495" fmla="*/ 577181 w 1490290"/>
              <a:gd name="connsiteY495" fmla="*/ 249265 h 498230"/>
              <a:gd name="connsiteX496" fmla="*/ 578715 w 1490290"/>
              <a:gd name="connsiteY496" fmla="*/ 249265 h 498230"/>
              <a:gd name="connsiteX497" fmla="*/ 580250 w 1490290"/>
              <a:gd name="connsiteY497" fmla="*/ 249265 h 498230"/>
              <a:gd name="connsiteX498" fmla="*/ 581740 w 1490290"/>
              <a:gd name="connsiteY498" fmla="*/ 249265 h 498230"/>
              <a:gd name="connsiteX499" fmla="*/ 583286 w 1490290"/>
              <a:gd name="connsiteY499" fmla="*/ 249265 h 498230"/>
              <a:gd name="connsiteX500" fmla="*/ 583286 w 1490290"/>
              <a:gd name="connsiteY500" fmla="*/ 245650 h 498230"/>
              <a:gd name="connsiteX501" fmla="*/ 586355 w 1490290"/>
              <a:gd name="connsiteY501" fmla="*/ 245650 h 498230"/>
              <a:gd name="connsiteX502" fmla="*/ 586355 w 1490290"/>
              <a:gd name="connsiteY502" fmla="*/ 244438 h 498230"/>
              <a:gd name="connsiteX503" fmla="*/ 587878 w 1490290"/>
              <a:gd name="connsiteY503" fmla="*/ 244438 h 498230"/>
              <a:gd name="connsiteX504" fmla="*/ 589424 w 1490290"/>
              <a:gd name="connsiteY504" fmla="*/ 244438 h 498230"/>
              <a:gd name="connsiteX505" fmla="*/ 590959 w 1490290"/>
              <a:gd name="connsiteY505" fmla="*/ 244438 h 498230"/>
              <a:gd name="connsiteX506" fmla="*/ 592482 w 1490290"/>
              <a:gd name="connsiteY506" fmla="*/ 244438 h 498230"/>
              <a:gd name="connsiteX507" fmla="*/ 592482 w 1490290"/>
              <a:gd name="connsiteY507" fmla="*/ 241991 h 498230"/>
              <a:gd name="connsiteX508" fmla="*/ 594017 w 1490290"/>
              <a:gd name="connsiteY508" fmla="*/ 241991 h 498230"/>
              <a:gd name="connsiteX509" fmla="*/ 594017 w 1490290"/>
              <a:gd name="connsiteY509" fmla="*/ 240746 h 498230"/>
              <a:gd name="connsiteX510" fmla="*/ 597086 w 1490290"/>
              <a:gd name="connsiteY510" fmla="*/ 240746 h 498230"/>
              <a:gd name="connsiteX511" fmla="*/ 598587 w 1490290"/>
              <a:gd name="connsiteY511" fmla="*/ 240746 h 498230"/>
              <a:gd name="connsiteX512" fmla="*/ 600122 w 1490290"/>
              <a:gd name="connsiteY512" fmla="*/ 240746 h 498230"/>
              <a:gd name="connsiteX513" fmla="*/ 601645 w 1490290"/>
              <a:gd name="connsiteY513" fmla="*/ 240746 h 498230"/>
              <a:gd name="connsiteX514" fmla="*/ 603191 w 1490290"/>
              <a:gd name="connsiteY514" fmla="*/ 240746 h 498230"/>
              <a:gd name="connsiteX515" fmla="*/ 607784 w 1490290"/>
              <a:gd name="connsiteY515" fmla="*/ 240746 h 498230"/>
              <a:gd name="connsiteX516" fmla="*/ 607784 w 1490290"/>
              <a:gd name="connsiteY516" fmla="*/ 239500 h 498230"/>
              <a:gd name="connsiteX517" fmla="*/ 609329 w 1490290"/>
              <a:gd name="connsiteY517" fmla="*/ 239500 h 498230"/>
              <a:gd name="connsiteX518" fmla="*/ 610864 w 1490290"/>
              <a:gd name="connsiteY518" fmla="*/ 239500 h 498230"/>
              <a:gd name="connsiteX519" fmla="*/ 610864 w 1490290"/>
              <a:gd name="connsiteY519" fmla="*/ 238254 h 498230"/>
              <a:gd name="connsiteX520" fmla="*/ 612387 w 1490290"/>
              <a:gd name="connsiteY520" fmla="*/ 238254 h 498230"/>
              <a:gd name="connsiteX521" fmla="*/ 613922 w 1490290"/>
              <a:gd name="connsiteY521" fmla="*/ 238254 h 498230"/>
              <a:gd name="connsiteX522" fmla="*/ 613922 w 1490290"/>
              <a:gd name="connsiteY522" fmla="*/ 236986 h 498230"/>
              <a:gd name="connsiteX523" fmla="*/ 616958 w 1490290"/>
              <a:gd name="connsiteY523" fmla="*/ 236986 h 498230"/>
              <a:gd name="connsiteX524" fmla="*/ 616958 w 1490290"/>
              <a:gd name="connsiteY524" fmla="*/ 235707 h 498230"/>
              <a:gd name="connsiteX525" fmla="*/ 618492 w 1490290"/>
              <a:gd name="connsiteY525" fmla="*/ 235707 h 498230"/>
              <a:gd name="connsiteX526" fmla="*/ 618492 w 1490290"/>
              <a:gd name="connsiteY526" fmla="*/ 234428 h 498230"/>
              <a:gd name="connsiteX527" fmla="*/ 620027 w 1490290"/>
              <a:gd name="connsiteY527" fmla="*/ 234428 h 498230"/>
              <a:gd name="connsiteX528" fmla="*/ 621561 w 1490290"/>
              <a:gd name="connsiteY528" fmla="*/ 234428 h 498230"/>
              <a:gd name="connsiteX529" fmla="*/ 623096 w 1490290"/>
              <a:gd name="connsiteY529" fmla="*/ 234428 h 498230"/>
              <a:gd name="connsiteX530" fmla="*/ 623096 w 1490290"/>
              <a:gd name="connsiteY530" fmla="*/ 231848 h 498230"/>
              <a:gd name="connsiteX531" fmla="*/ 624631 w 1490290"/>
              <a:gd name="connsiteY531" fmla="*/ 231848 h 498230"/>
              <a:gd name="connsiteX532" fmla="*/ 626165 w 1490290"/>
              <a:gd name="connsiteY532" fmla="*/ 231848 h 498230"/>
              <a:gd name="connsiteX533" fmla="*/ 627689 w 1490290"/>
              <a:gd name="connsiteY533" fmla="*/ 231848 h 498230"/>
              <a:gd name="connsiteX534" fmla="*/ 627689 w 1490290"/>
              <a:gd name="connsiteY534" fmla="*/ 229257 h 498230"/>
              <a:gd name="connsiteX535" fmla="*/ 629234 w 1490290"/>
              <a:gd name="connsiteY535" fmla="*/ 229257 h 498230"/>
              <a:gd name="connsiteX536" fmla="*/ 629234 w 1490290"/>
              <a:gd name="connsiteY536" fmla="*/ 227944 h 498230"/>
              <a:gd name="connsiteX537" fmla="*/ 630769 w 1490290"/>
              <a:gd name="connsiteY537" fmla="*/ 227944 h 498230"/>
              <a:gd name="connsiteX538" fmla="*/ 632292 w 1490290"/>
              <a:gd name="connsiteY538" fmla="*/ 227944 h 498230"/>
              <a:gd name="connsiteX539" fmla="*/ 632292 w 1490290"/>
              <a:gd name="connsiteY539" fmla="*/ 226632 h 498230"/>
              <a:gd name="connsiteX540" fmla="*/ 633794 w 1490290"/>
              <a:gd name="connsiteY540" fmla="*/ 226632 h 498230"/>
              <a:gd name="connsiteX541" fmla="*/ 633794 w 1490290"/>
              <a:gd name="connsiteY541" fmla="*/ 224007 h 498230"/>
              <a:gd name="connsiteX542" fmla="*/ 635339 w 1490290"/>
              <a:gd name="connsiteY542" fmla="*/ 224007 h 498230"/>
              <a:gd name="connsiteX543" fmla="*/ 635339 w 1490290"/>
              <a:gd name="connsiteY543" fmla="*/ 221349 h 498230"/>
              <a:gd name="connsiteX544" fmla="*/ 636863 w 1490290"/>
              <a:gd name="connsiteY544" fmla="*/ 221349 h 498230"/>
              <a:gd name="connsiteX545" fmla="*/ 636863 w 1490290"/>
              <a:gd name="connsiteY545" fmla="*/ 220048 h 498230"/>
              <a:gd name="connsiteX546" fmla="*/ 638397 w 1490290"/>
              <a:gd name="connsiteY546" fmla="*/ 220048 h 498230"/>
              <a:gd name="connsiteX547" fmla="*/ 639932 w 1490290"/>
              <a:gd name="connsiteY547" fmla="*/ 220048 h 498230"/>
              <a:gd name="connsiteX548" fmla="*/ 639932 w 1490290"/>
              <a:gd name="connsiteY548" fmla="*/ 218735 h 498230"/>
              <a:gd name="connsiteX549" fmla="*/ 641478 w 1490290"/>
              <a:gd name="connsiteY549" fmla="*/ 218735 h 498230"/>
              <a:gd name="connsiteX550" fmla="*/ 643001 w 1490290"/>
              <a:gd name="connsiteY550" fmla="*/ 218735 h 498230"/>
              <a:gd name="connsiteX551" fmla="*/ 643001 w 1490290"/>
              <a:gd name="connsiteY551" fmla="*/ 217423 h 498230"/>
              <a:gd name="connsiteX552" fmla="*/ 644536 w 1490290"/>
              <a:gd name="connsiteY552" fmla="*/ 217423 h 498230"/>
              <a:gd name="connsiteX553" fmla="*/ 646070 w 1490290"/>
              <a:gd name="connsiteY553" fmla="*/ 217423 h 498230"/>
              <a:gd name="connsiteX554" fmla="*/ 646070 w 1490290"/>
              <a:gd name="connsiteY554" fmla="*/ 216077 h 498230"/>
              <a:gd name="connsiteX555" fmla="*/ 647605 w 1490290"/>
              <a:gd name="connsiteY555" fmla="*/ 216077 h 498230"/>
              <a:gd name="connsiteX556" fmla="*/ 647605 w 1490290"/>
              <a:gd name="connsiteY556" fmla="*/ 214731 h 498230"/>
              <a:gd name="connsiteX557" fmla="*/ 652164 w 1490290"/>
              <a:gd name="connsiteY557" fmla="*/ 214731 h 498230"/>
              <a:gd name="connsiteX558" fmla="*/ 653699 w 1490290"/>
              <a:gd name="connsiteY558" fmla="*/ 214731 h 498230"/>
              <a:gd name="connsiteX559" fmla="*/ 653699 w 1490290"/>
              <a:gd name="connsiteY559" fmla="*/ 213386 h 498230"/>
              <a:gd name="connsiteX560" fmla="*/ 655244 w 1490290"/>
              <a:gd name="connsiteY560" fmla="*/ 213386 h 498230"/>
              <a:gd name="connsiteX561" fmla="*/ 655244 w 1490290"/>
              <a:gd name="connsiteY561" fmla="*/ 212040 h 498230"/>
              <a:gd name="connsiteX562" fmla="*/ 656779 w 1490290"/>
              <a:gd name="connsiteY562" fmla="*/ 212040 h 498230"/>
              <a:gd name="connsiteX563" fmla="*/ 661383 w 1490290"/>
              <a:gd name="connsiteY563" fmla="*/ 212040 h 498230"/>
              <a:gd name="connsiteX564" fmla="*/ 661383 w 1490290"/>
              <a:gd name="connsiteY564" fmla="*/ 210694 h 498230"/>
              <a:gd name="connsiteX565" fmla="*/ 662906 w 1490290"/>
              <a:gd name="connsiteY565" fmla="*/ 210694 h 498230"/>
              <a:gd name="connsiteX566" fmla="*/ 662906 w 1490290"/>
              <a:gd name="connsiteY566" fmla="*/ 209304 h 498230"/>
              <a:gd name="connsiteX567" fmla="*/ 664441 w 1490290"/>
              <a:gd name="connsiteY567" fmla="*/ 209304 h 498230"/>
              <a:gd name="connsiteX568" fmla="*/ 665975 w 1490290"/>
              <a:gd name="connsiteY568" fmla="*/ 209304 h 498230"/>
              <a:gd name="connsiteX569" fmla="*/ 667510 w 1490290"/>
              <a:gd name="connsiteY569" fmla="*/ 209304 h 498230"/>
              <a:gd name="connsiteX570" fmla="*/ 667510 w 1490290"/>
              <a:gd name="connsiteY570" fmla="*/ 207969 h 498230"/>
              <a:gd name="connsiteX571" fmla="*/ 669045 w 1490290"/>
              <a:gd name="connsiteY571" fmla="*/ 207969 h 498230"/>
              <a:gd name="connsiteX572" fmla="*/ 670546 w 1490290"/>
              <a:gd name="connsiteY572" fmla="*/ 207969 h 498230"/>
              <a:gd name="connsiteX573" fmla="*/ 670546 w 1490290"/>
              <a:gd name="connsiteY573" fmla="*/ 206590 h 498230"/>
              <a:gd name="connsiteX574" fmla="*/ 672080 w 1490290"/>
              <a:gd name="connsiteY574" fmla="*/ 206590 h 498230"/>
              <a:gd name="connsiteX575" fmla="*/ 673604 w 1490290"/>
              <a:gd name="connsiteY575" fmla="*/ 206590 h 498230"/>
              <a:gd name="connsiteX576" fmla="*/ 675149 w 1490290"/>
              <a:gd name="connsiteY576" fmla="*/ 206590 h 498230"/>
              <a:gd name="connsiteX577" fmla="*/ 675149 w 1490290"/>
              <a:gd name="connsiteY577" fmla="*/ 205166 h 498230"/>
              <a:gd name="connsiteX578" fmla="*/ 676684 w 1490290"/>
              <a:gd name="connsiteY578" fmla="*/ 205166 h 498230"/>
              <a:gd name="connsiteX579" fmla="*/ 678207 w 1490290"/>
              <a:gd name="connsiteY579" fmla="*/ 205166 h 498230"/>
              <a:gd name="connsiteX580" fmla="*/ 679742 w 1490290"/>
              <a:gd name="connsiteY580" fmla="*/ 205166 h 498230"/>
              <a:gd name="connsiteX581" fmla="*/ 679742 w 1490290"/>
              <a:gd name="connsiteY581" fmla="*/ 203787 h 498230"/>
              <a:gd name="connsiteX582" fmla="*/ 682811 w 1490290"/>
              <a:gd name="connsiteY582" fmla="*/ 203787 h 498230"/>
              <a:gd name="connsiteX583" fmla="*/ 682811 w 1490290"/>
              <a:gd name="connsiteY583" fmla="*/ 202375 h 498230"/>
              <a:gd name="connsiteX584" fmla="*/ 684346 w 1490290"/>
              <a:gd name="connsiteY584" fmla="*/ 202375 h 498230"/>
              <a:gd name="connsiteX585" fmla="*/ 685880 w 1490290"/>
              <a:gd name="connsiteY585" fmla="*/ 202375 h 498230"/>
              <a:gd name="connsiteX586" fmla="*/ 687370 w 1490290"/>
              <a:gd name="connsiteY586" fmla="*/ 202375 h 498230"/>
              <a:gd name="connsiteX587" fmla="*/ 688916 w 1490290"/>
              <a:gd name="connsiteY587" fmla="*/ 202375 h 498230"/>
              <a:gd name="connsiteX588" fmla="*/ 688916 w 1490290"/>
              <a:gd name="connsiteY588" fmla="*/ 199550 h 498230"/>
              <a:gd name="connsiteX589" fmla="*/ 691985 w 1490290"/>
              <a:gd name="connsiteY589" fmla="*/ 199550 h 498230"/>
              <a:gd name="connsiteX590" fmla="*/ 693520 w 1490290"/>
              <a:gd name="connsiteY590" fmla="*/ 199550 h 498230"/>
              <a:gd name="connsiteX591" fmla="*/ 695055 w 1490290"/>
              <a:gd name="connsiteY591" fmla="*/ 199550 h 498230"/>
              <a:gd name="connsiteX592" fmla="*/ 696589 w 1490290"/>
              <a:gd name="connsiteY592" fmla="*/ 199550 h 498230"/>
              <a:gd name="connsiteX593" fmla="*/ 698113 w 1490290"/>
              <a:gd name="connsiteY593" fmla="*/ 199550 h 498230"/>
              <a:gd name="connsiteX594" fmla="*/ 698113 w 1490290"/>
              <a:gd name="connsiteY594" fmla="*/ 198137 h 498230"/>
              <a:gd name="connsiteX595" fmla="*/ 699658 w 1490290"/>
              <a:gd name="connsiteY595" fmla="*/ 198137 h 498230"/>
              <a:gd name="connsiteX596" fmla="*/ 704251 w 1490290"/>
              <a:gd name="connsiteY596" fmla="*/ 198137 h 498230"/>
              <a:gd name="connsiteX597" fmla="*/ 704251 w 1490290"/>
              <a:gd name="connsiteY597" fmla="*/ 196714 h 498230"/>
              <a:gd name="connsiteX598" fmla="*/ 705752 w 1490290"/>
              <a:gd name="connsiteY598" fmla="*/ 196714 h 498230"/>
              <a:gd name="connsiteX599" fmla="*/ 707287 w 1490290"/>
              <a:gd name="connsiteY599" fmla="*/ 196714 h 498230"/>
              <a:gd name="connsiteX600" fmla="*/ 707287 w 1490290"/>
              <a:gd name="connsiteY600" fmla="*/ 195268 h 498230"/>
              <a:gd name="connsiteX601" fmla="*/ 708821 w 1490290"/>
              <a:gd name="connsiteY601" fmla="*/ 195268 h 498230"/>
              <a:gd name="connsiteX602" fmla="*/ 708821 w 1490290"/>
              <a:gd name="connsiteY602" fmla="*/ 192376 h 498230"/>
              <a:gd name="connsiteX603" fmla="*/ 710356 w 1490290"/>
              <a:gd name="connsiteY603" fmla="*/ 192376 h 498230"/>
              <a:gd name="connsiteX604" fmla="*/ 711891 w 1490290"/>
              <a:gd name="connsiteY604" fmla="*/ 192376 h 498230"/>
              <a:gd name="connsiteX605" fmla="*/ 711891 w 1490290"/>
              <a:gd name="connsiteY605" fmla="*/ 190919 h 498230"/>
              <a:gd name="connsiteX606" fmla="*/ 714960 w 1490290"/>
              <a:gd name="connsiteY606" fmla="*/ 190919 h 498230"/>
              <a:gd name="connsiteX607" fmla="*/ 716494 w 1490290"/>
              <a:gd name="connsiteY607" fmla="*/ 190919 h 498230"/>
              <a:gd name="connsiteX608" fmla="*/ 718018 w 1490290"/>
              <a:gd name="connsiteY608" fmla="*/ 190919 h 498230"/>
              <a:gd name="connsiteX609" fmla="*/ 718018 w 1490290"/>
              <a:gd name="connsiteY609" fmla="*/ 189440 h 498230"/>
              <a:gd name="connsiteX610" fmla="*/ 719564 w 1490290"/>
              <a:gd name="connsiteY610" fmla="*/ 189440 h 498230"/>
              <a:gd name="connsiteX611" fmla="*/ 719564 w 1490290"/>
              <a:gd name="connsiteY611" fmla="*/ 187983 h 498230"/>
              <a:gd name="connsiteX612" fmla="*/ 721098 w 1490290"/>
              <a:gd name="connsiteY612" fmla="*/ 187983 h 498230"/>
              <a:gd name="connsiteX613" fmla="*/ 721098 w 1490290"/>
              <a:gd name="connsiteY613" fmla="*/ 186504 h 498230"/>
              <a:gd name="connsiteX614" fmla="*/ 725657 w 1490290"/>
              <a:gd name="connsiteY614" fmla="*/ 186504 h 498230"/>
              <a:gd name="connsiteX615" fmla="*/ 725657 w 1490290"/>
              <a:gd name="connsiteY615" fmla="*/ 183534 h 498230"/>
              <a:gd name="connsiteX616" fmla="*/ 727203 w 1490290"/>
              <a:gd name="connsiteY616" fmla="*/ 183534 h 498230"/>
              <a:gd name="connsiteX617" fmla="*/ 727203 w 1490290"/>
              <a:gd name="connsiteY617" fmla="*/ 182055 h 498230"/>
              <a:gd name="connsiteX618" fmla="*/ 728726 w 1490290"/>
              <a:gd name="connsiteY618" fmla="*/ 182055 h 498230"/>
              <a:gd name="connsiteX619" fmla="*/ 728726 w 1490290"/>
              <a:gd name="connsiteY619" fmla="*/ 180531 h 498230"/>
              <a:gd name="connsiteX620" fmla="*/ 730261 w 1490290"/>
              <a:gd name="connsiteY620" fmla="*/ 180531 h 498230"/>
              <a:gd name="connsiteX621" fmla="*/ 731795 w 1490290"/>
              <a:gd name="connsiteY621" fmla="*/ 180531 h 498230"/>
              <a:gd name="connsiteX622" fmla="*/ 731795 w 1490290"/>
              <a:gd name="connsiteY622" fmla="*/ 179052 h 498230"/>
              <a:gd name="connsiteX623" fmla="*/ 733330 w 1490290"/>
              <a:gd name="connsiteY623" fmla="*/ 179052 h 498230"/>
              <a:gd name="connsiteX624" fmla="*/ 736399 w 1490290"/>
              <a:gd name="connsiteY624" fmla="*/ 179052 h 498230"/>
              <a:gd name="connsiteX625" fmla="*/ 737923 w 1490290"/>
              <a:gd name="connsiteY625" fmla="*/ 179052 h 498230"/>
              <a:gd name="connsiteX626" fmla="*/ 737923 w 1490290"/>
              <a:gd name="connsiteY626" fmla="*/ 177528 h 498230"/>
              <a:gd name="connsiteX627" fmla="*/ 739468 w 1490290"/>
              <a:gd name="connsiteY627" fmla="*/ 177528 h 498230"/>
              <a:gd name="connsiteX628" fmla="*/ 739468 w 1490290"/>
              <a:gd name="connsiteY628" fmla="*/ 176016 h 498230"/>
              <a:gd name="connsiteX629" fmla="*/ 740970 w 1490290"/>
              <a:gd name="connsiteY629" fmla="*/ 176016 h 498230"/>
              <a:gd name="connsiteX630" fmla="*/ 742504 w 1490290"/>
              <a:gd name="connsiteY630" fmla="*/ 176016 h 498230"/>
              <a:gd name="connsiteX631" fmla="*/ 745562 w 1490290"/>
              <a:gd name="connsiteY631" fmla="*/ 176016 h 498230"/>
              <a:gd name="connsiteX632" fmla="*/ 748631 w 1490290"/>
              <a:gd name="connsiteY632" fmla="*/ 176016 h 498230"/>
              <a:gd name="connsiteX633" fmla="*/ 750166 w 1490290"/>
              <a:gd name="connsiteY633" fmla="*/ 176016 h 498230"/>
              <a:gd name="connsiteX634" fmla="*/ 751712 w 1490290"/>
              <a:gd name="connsiteY634" fmla="*/ 176016 h 498230"/>
              <a:gd name="connsiteX635" fmla="*/ 753235 w 1490290"/>
              <a:gd name="connsiteY635" fmla="*/ 176016 h 498230"/>
              <a:gd name="connsiteX636" fmla="*/ 754770 w 1490290"/>
              <a:gd name="connsiteY636" fmla="*/ 176016 h 498230"/>
              <a:gd name="connsiteX637" fmla="*/ 754770 w 1490290"/>
              <a:gd name="connsiteY637" fmla="*/ 174459 h 498230"/>
              <a:gd name="connsiteX638" fmla="*/ 757795 w 1490290"/>
              <a:gd name="connsiteY638" fmla="*/ 174459 h 498230"/>
              <a:gd name="connsiteX639" fmla="*/ 759340 w 1490290"/>
              <a:gd name="connsiteY639" fmla="*/ 174459 h 498230"/>
              <a:gd name="connsiteX640" fmla="*/ 760875 w 1490290"/>
              <a:gd name="connsiteY640" fmla="*/ 174459 h 498230"/>
              <a:gd name="connsiteX641" fmla="*/ 760875 w 1490290"/>
              <a:gd name="connsiteY641" fmla="*/ 171322 h 498230"/>
              <a:gd name="connsiteX642" fmla="*/ 762410 w 1490290"/>
              <a:gd name="connsiteY642" fmla="*/ 171322 h 498230"/>
              <a:gd name="connsiteX643" fmla="*/ 762410 w 1490290"/>
              <a:gd name="connsiteY643" fmla="*/ 169765 h 498230"/>
              <a:gd name="connsiteX644" fmla="*/ 763933 w 1490290"/>
              <a:gd name="connsiteY644" fmla="*/ 169765 h 498230"/>
              <a:gd name="connsiteX645" fmla="*/ 763933 w 1490290"/>
              <a:gd name="connsiteY645" fmla="*/ 166629 h 498230"/>
              <a:gd name="connsiteX646" fmla="*/ 768537 w 1490290"/>
              <a:gd name="connsiteY646" fmla="*/ 166629 h 498230"/>
              <a:gd name="connsiteX647" fmla="*/ 770071 w 1490290"/>
              <a:gd name="connsiteY647" fmla="*/ 166629 h 498230"/>
              <a:gd name="connsiteX648" fmla="*/ 770071 w 1490290"/>
              <a:gd name="connsiteY648" fmla="*/ 163448 h 498230"/>
              <a:gd name="connsiteX649" fmla="*/ 771617 w 1490290"/>
              <a:gd name="connsiteY649" fmla="*/ 163448 h 498230"/>
              <a:gd name="connsiteX650" fmla="*/ 771617 w 1490290"/>
              <a:gd name="connsiteY650" fmla="*/ 161869 h 498230"/>
              <a:gd name="connsiteX651" fmla="*/ 773140 w 1490290"/>
              <a:gd name="connsiteY651" fmla="*/ 161869 h 498230"/>
              <a:gd name="connsiteX652" fmla="*/ 774675 w 1490290"/>
              <a:gd name="connsiteY652" fmla="*/ 161869 h 498230"/>
              <a:gd name="connsiteX653" fmla="*/ 779245 w 1490290"/>
              <a:gd name="connsiteY653" fmla="*/ 161869 h 498230"/>
              <a:gd name="connsiteX654" fmla="*/ 780780 w 1490290"/>
              <a:gd name="connsiteY654" fmla="*/ 161869 h 498230"/>
              <a:gd name="connsiteX655" fmla="*/ 782314 w 1490290"/>
              <a:gd name="connsiteY655" fmla="*/ 161869 h 498230"/>
              <a:gd name="connsiteX656" fmla="*/ 785384 w 1490290"/>
              <a:gd name="connsiteY656" fmla="*/ 161869 h 498230"/>
              <a:gd name="connsiteX657" fmla="*/ 789976 w 1490290"/>
              <a:gd name="connsiteY657" fmla="*/ 161869 h 498230"/>
              <a:gd name="connsiteX658" fmla="*/ 791522 w 1490290"/>
              <a:gd name="connsiteY658" fmla="*/ 161869 h 498230"/>
              <a:gd name="connsiteX659" fmla="*/ 793046 w 1490290"/>
              <a:gd name="connsiteY659" fmla="*/ 161869 h 498230"/>
              <a:gd name="connsiteX660" fmla="*/ 793046 w 1490290"/>
              <a:gd name="connsiteY660" fmla="*/ 160245 h 498230"/>
              <a:gd name="connsiteX661" fmla="*/ 794547 w 1490290"/>
              <a:gd name="connsiteY661" fmla="*/ 160245 h 498230"/>
              <a:gd name="connsiteX662" fmla="*/ 796081 w 1490290"/>
              <a:gd name="connsiteY662" fmla="*/ 160245 h 498230"/>
              <a:gd name="connsiteX663" fmla="*/ 797616 w 1490290"/>
              <a:gd name="connsiteY663" fmla="*/ 160245 h 498230"/>
              <a:gd name="connsiteX664" fmla="*/ 797616 w 1490290"/>
              <a:gd name="connsiteY664" fmla="*/ 158588 h 498230"/>
              <a:gd name="connsiteX665" fmla="*/ 800685 w 1490290"/>
              <a:gd name="connsiteY665" fmla="*/ 158588 h 498230"/>
              <a:gd name="connsiteX666" fmla="*/ 802220 w 1490290"/>
              <a:gd name="connsiteY666" fmla="*/ 158588 h 498230"/>
              <a:gd name="connsiteX667" fmla="*/ 803754 w 1490290"/>
              <a:gd name="connsiteY667" fmla="*/ 158588 h 498230"/>
              <a:gd name="connsiteX668" fmla="*/ 803754 w 1490290"/>
              <a:gd name="connsiteY668" fmla="*/ 156964 h 498230"/>
              <a:gd name="connsiteX669" fmla="*/ 805289 w 1490290"/>
              <a:gd name="connsiteY669" fmla="*/ 156964 h 498230"/>
              <a:gd name="connsiteX670" fmla="*/ 805289 w 1490290"/>
              <a:gd name="connsiteY670" fmla="*/ 155307 h 498230"/>
              <a:gd name="connsiteX671" fmla="*/ 806823 w 1490290"/>
              <a:gd name="connsiteY671" fmla="*/ 155307 h 498230"/>
              <a:gd name="connsiteX672" fmla="*/ 808347 w 1490290"/>
              <a:gd name="connsiteY672" fmla="*/ 155307 h 498230"/>
              <a:gd name="connsiteX673" fmla="*/ 811394 w 1490290"/>
              <a:gd name="connsiteY673" fmla="*/ 155307 h 498230"/>
              <a:gd name="connsiteX674" fmla="*/ 811394 w 1490290"/>
              <a:gd name="connsiteY674" fmla="*/ 153616 h 498230"/>
              <a:gd name="connsiteX675" fmla="*/ 812928 w 1490290"/>
              <a:gd name="connsiteY675" fmla="*/ 153616 h 498230"/>
              <a:gd name="connsiteX676" fmla="*/ 812928 w 1490290"/>
              <a:gd name="connsiteY676" fmla="*/ 151959 h 498230"/>
              <a:gd name="connsiteX677" fmla="*/ 814452 w 1490290"/>
              <a:gd name="connsiteY677" fmla="*/ 151959 h 498230"/>
              <a:gd name="connsiteX678" fmla="*/ 815986 w 1490290"/>
              <a:gd name="connsiteY678" fmla="*/ 151959 h 498230"/>
              <a:gd name="connsiteX679" fmla="*/ 819056 w 1490290"/>
              <a:gd name="connsiteY679" fmla="*/ 151959 h 498230"/>
              <a:gd name="connsiteX680" fmla="*/ 822125 w 1490290"/>
              <a:gd name="connsiteY680" fmla="*/ 151959 h 498230"/>
              <a:gd name="connsiteX681" fmla="*/ 823659 w 1490290"/>
              <a:gd name="connsiteY681" fmla="*/ 151959 h 498230"/>
              <a:gd name="connsiteX682" fmla="*/ 825194 w 1490290"/>
              <a:gd name="connsiteY682" fmla="*/ 151959 h 498230"/>
              <a:gd name="connsiteX683" fmla="*/ 826728 w 1490290"/>
              <a:gd name="connsiteY683" fmla="*/ 151959 h 498230"/>
              <a:gd name="connsiteX684" fmla="*/ 826728 w 1490290"/>
              <a:gd name="connsiteY684" fmla="*/ 150269 h 498230"/>
              <a:gd name="connsiteX685" fmla="*/ 828252 w 1490290"/>
              <a:gd name="connsiteY685" fmla="*/ 150269 h 498230"/>
              <a:gd name="connsiteX686" fmla="*/ 829753 w 1490290"/>
              <a:gd name="connsiteY686" fmla="*/ 150269 h 498230"/>
              <a:gd name="connsiteX687" fmla="*/ 831299 w 1490290"/>
              <a:gd name="connsiteY687" fmla="*/ 150269 h 498230"/>
              <a:gd name="connsiteX688" fmla="*/ 831299 w 1490290"/>
              <a:gd name="connsiteY688" fmla="*/ 146854 h 498230"/>
              <a:gd name="connsiteX689" fmla="*/ 832833 w 1490290"/>
              <a:gd name="connsiteY689" fmla="*/ 146854 h 498230"/>
              <a:gd name="connsiteX690" fmla="*/ 834357 w 1490290"/>
              <a:gd name="connsiteY690" fmla="*/ 146854 h 498230"/>
              <a:gd name="connsiteX691" fmla="*/ 835892 w 1490290"/>
              <a:gd name="connsiteY691" fmla="*/ 146854 h 498230"/>
              <a:gd name="connsiteX692" fmla="*/ 837437 w 1490290"/>
              <a:gd name="connsiteY692" fmla="*/ 146854 h 498230"/>
              <a:gd name="connsiteX693" fmla="*/ 838961 w 1490290"/>
              <a:gd name="connsiteY693" fmla="*/ 146854 h 498230"/>
              <a:gd name="connsiteX694" fmla="*/ 840495 w 1490290"/>
              <a:gd name="connsiteY694" fmla="*/ 146854 h 498230"/>
              <a:gd name="connsiteX695" fmla="*/ 840495 w 1490290"/>
              <a:gd name="connsiteY695" fmla="*/ 143373 h 498230"/>
              <a:gd name="connsiteX696" fmla="*/ 842030 w 1490290"/>
              <a:gd name="connsiteY696" fmla="*/ 143373 h 498230"/>
              <a:gd name="connsiteX697" fmla="*/ 842030 w 1490290"/>
              <a:gd name="connsiteY697" fmla="*/ 139881 h 498230"/>
              <a:gd name="connsiteX698" fmla="*/ 843564 w 1490290"/>
              <a:gd name="connsiteY698" fmla="*/ 139881 h 498230"/>
              <a:gd name="connsiteX699" fmla="*/ 845099 w 1490290"/>
              <a:gd name="connsiteY699" fmla="*/ 139881 h 498230"/>
              <a:gd name="connsiteX700" fmla="*/ 845099 w 1490290"/>
              <a:gd name="connsiteY700" fmla="*/ 138157 h 498230"/>
              <a:gd name="connsiteX701" fmla="*/ 846600 w 1490290"/>
              <a:gd name="connsiteY701" fmla="*/ 138157 h 498230"/>
              <a:gd name="connsiteX702" fmla="*/ 846600 w 1490290"/>
              <a:gd name="connsiteY702" fmla="*/ 136400 h 498230"/>
              <a:gd name="connsiteX703" fmla="*/ 848135 w 1490290"/>
              <a:gd name="connsiteY703" fmla="*/ 136400 h 498230"/>
              <a:gd name="connsiteX704" fmla="*/ 849658 w 1490290"/>
              <a:gd name="connsiteY704" fmla="*/ 136400 h 498230"/>
              <a:gd name="connsiteX705" fmla="*/ 851204 w 1490290"/>
              <a:gd name="connsiteY705" fmla="*/ 136400 h 498230"/>
              <a:gd name="connsiteX706" fmla="*/ 851204 w 1490290"/>
              <a:gd name="connsiteY706" fmla="*/ 134642 h 498230"/>
              <a:gd name="connsiteX707" fmla="*/ 852738 w 1490290"/>
              <a:gd name="connsiteY707" fmla="*/ 134642 h 498230"/>
              <a:gd name="connsiteX708" fmla="*/ 852738 w 1490290"/>
              <a:gd name="connsiteY708" fmla="*/ 132841 h 498230"/>
              <a:gd name="connsiteX709" fmla="*/ 854262 w 1490290"/>
              <a:gd name="connsiteY709" fmla="*/ 132841 h 498230"/>
              <a:gd name="connsiteX710" fmla="*/ 855796 w 1490290"/>
              <a:gd name="connsiteY710" fmla="*/ 132841 h 498230"/>
              <a:gd name="connsiteX711" fmla="*/ 857342 w 1490290"/>
              <a:gd name="connsiteY711" fmla="*/ 132841 h 498230"/>
              <a:gd name="connsiteX712" fmla="*/ 858866 w 1490290"/>
              <a:gd name="connsiteY712" fmla="*/ 132841 h 498230"/>
              <a:gd name="connsiteX713" fmla="*/ 860400 w 1490290"/>
              <a:gd name="connsiteY713" fmla="*/ 132841 h 498230"/>
              <a:gd name="connsiteX714" fmla="*/ 866505 w 1490290"/>
              <a:gd name="connsiteY714" fmla="*/ 132841 h 498230"/>
              <a:gd name="connsiteX715" fmla="*/ 868040 w 1490290"/>
              <a:gd name="connsiteY715" fmla="*/ 132841 h 498230"/>
              <a:gd name="connsiteX716" fmla="*/ 869574 w 1490290"/>
              <a:gd name="connsiteY716" fmla="*/ 132841 h 498230"/>
              <a:gd name="connsiteX717" fmla="*/ 871109 w 1490290"/>
              <a:gd name="connsiteY717" fmla="*/ 132841 h 498230"/>
              <a:gd name="connsiteX718" fmla="*/ 875713 w 1490290"/>
              <a:gd name="connsiteY718" fmla="*/ 132841 h 498230"/>
              <a:gd name="connsiteX719" fmla="*/ 877247 w 1490290"/>
              <a:gd name="connsiteY719" fmla="*/ 132841 h 498230"/>
              <a:gd name="connsiteX720" fmla="*/ 878771 w 1490290"/>
              <a:gd name="connsiteY720" fmla="*/ 132841 h 498230"/>
              <a:gd name="connsiteX721" fmla="*/ 880305 w 1490290"/>
              <a:gd name="connsiteY721" fmla="*/ 132841 h 498230"/>
              <a:gd name="connsiteX722" fmla="*/ 880305 w 1490290"/>
              <a:gd name="connsiteY722" fmla="*/ 129148 h 498230"/>
              <a:gd name="connsiteX723" fmla="*/ 881807 w 1490290"/>
              <a:gd name="connsiteY723" fmla="*/ 129148 h 498230"/>
              <a:gd name="connsiteX724" fmla="*/ 887945 w 1490290"/>
              <a:gd name="connsiteY724" fmla="*/ 129148 h 498230"/>
              <a:gd name="connsiteX725" fmla="*/ 889480 w 1490290"/>
              <a:gd name="connsiteY725" fmla="*/ 129148 h 498230"/>
              <a:gd name="connsiteX726" fmla="*/ 891014 w 1490290"/>
              <a:gd name="connsiteY726" fmla="*/ 129148 h 498230"/>
              <a:gd name="connsiteX727" fmla="*/ 892549 w 1490290"/>
              <a:gd name="connsiteY727" fmla="*/ 129148 h 498230"/>
              <a:gd name="connsiteX728" fmla="*/ 897153 w 1490290"/>
              <a:gd name="connsiteY728" fmla="*/ 129148 h 498230"/>
              <a:gd name="connsiteX729" fmla="*/ 897153 w 1490290"/>
              <a:gd name="connsiteY729" fmla="*/ 127257 h 498230"/>
              <a:gd name="connsiteX730" fmla="*/ 898676 w 1490290"/>
              <a:gd name="connsiteY730" fmla="*/ 127257 h 498230"/>
              <a:gd name="connsiteX731" fmla="*/ 898676 w 1490290"/>
              <a:gd name="connsiteY731" fmla="*/ 125322 h 498230"/>
              <a:gd name="connsiteX732" fmla="*/ 900177 w 1490290"/>
              <a:gd name="connsiteY732" fmla="*/ 125322 h 498230"/>
              <a:gd name="connsiteX733" fmla="*/ 901712 w 1490290"/>
              <a:gd name="connsiteY733" fmla="*/ 125322 h 498230"/>
              <a:gd name="connsiteX734" fmla="*/ 903257 w 1490290"/>
              <a:gd name="connsiteY734" fmla="*/ 125322 h 498230"/>
              <a:gd name="connsiteX735" fmla="*/ 904781 w 1490290"/>
              <a:gd name="connsiteY735" fmla="*/ 125322 h 498230"/>
              <a:gd name="connsiteX736" fmla="*/ 904781 w 1490290"/>
              <a:gd name="connsiteY736" fmla="*/ 121429 h 498230"/>
              <a:gd name="connsiteX737" fmla="*/ 907850 w 1490290"/>
              <a:gd name="connsiteY737" fmla="*/ 121429 h 498230"/>
              <a:gd name="connsiteX738" fmla="*/ 909384 w 1490290"/>
              <a:gd name="connsiteY738" fmla="*/ 121429 h 498230"/>
              <a:gd name="connsiteX739" fmla="*/ 912454 w 1490290"/>
              <a:gd name="connsiteY739" fmla="*/ 121429 h 498230"/>
              <a:gd name="connsiteX740" fmla="*/ 913988 w 1490290"/>
              <a:gd name="connsiteY740" fmla="*/ 121429 h 498230"/>
              <a:gd name="connsiteX741" fmla="*/ 917057 w 1490290"/>
              <a:gd name="connsiteY741" fmla="*/ 121429 h 498230"/>
              <a:gd name="connsiteX742" fmla="*/ 917057 w 1490290"/>
              <a:gd name="connsiteY742" fmla="*/ 119461 h 498230"/>
              <a:gd name="connsiteX743" fmla="*/ 920082 w 1490290"/>
              <a:gd name="connsiteY743" fmla="*/ 119461 h 498230"/>
              <a:gd name="connsiteX744" fmla="*/ 921628 w 1490290"/>
              <a:gd name="connsiteY744" fmla="*/ 119461 h 498230"/>
              <a:gd name="connsiteX745" fmla="*/ 923162 w 1490290"/>
              <a:gd name="connsiteY745" fmla="*/ 119461 h 498230"/>
              <a:gd name="connsiteX746" fmla="*/ 924686 w 1490290"/>
              <a:gd name="connsiteY746" fmla="*/ 119461 h 498230"/>
              <a:gd name="connsiteX747" fmla="*/ 924686 w 1490290"/>
              <a:gd name="connsiteY747" fmla="*/ 117459 h 498230"/>
              <a:gd name="connsiteX748" fmla="*/ 926220 w 1490290"/>
              <a:gd name="connsiteY748" fmla="*/ 117459 h 498230"/>
              <a:gd name="connsiteX749" fmla="*/ 926220 w 1490290"/>
              <a:gd name="connsiteY749" fmla="*/ 115424 h 498230"/>
              <a:gd name="connsiteX750" fmla="*/ 929290 w 1490290"/>
              <a:gd name="connsiteY750" fmla="*/ 115424 h 498230"/>
              <a:gd name="connsiteX751" fmla="*/ 930824 w 1490290"/>
              <a:gd name="connsiteY751" fmla="*/ 115424 h 498230"/>
              <a:gd name="connsiteX752" fmla="*/ 932359 w 1490290"/>
              <a:gd name="connsiteY752" fmla="*/ 115424 h 498230"/>
              <a:gd name="connsiteX753" fmla="*/ 932359 w 1490290"/>
              <a:gd name="connsiteY753" fmla="*/ 113377 h 498230"/>
              <a:gd name="connsiteX754" fmla="*/ 933893 w 1490290"/>
              <a:gd name="connsiteY754" fmla="*/ 113377 h 498230"/>
              <a:gd name="connsiteX755" fmla="*/ 935395 w 1490290"/>
              <a:gd name="connsiteY755" fmla="*/ 113377 h 498230"/>
              <a:gd name="connsiteX756" fmla="*/ 939987 w 1490290"/>
              <a:gd name="connsiteY756" fmla="*/ 113377 h 498230"/>
              <a:gd name="connsiteX757" fmla="*/ 941533 w 1490290"/>
              <a:gd name="connsiteY757" fmla="*/ 113377 h 498230"/>
              <a:gd name="connsiteX758" fmla="*/ 943068 w 1490290"/>
              <a:gd name="connsiteY758" fmla="*/ 113377 h 498230"/>
              <a:gd name="connsiteX759" fmla="*/ 943068 w 1490290"/>
              <a:gd name="connsiteY759" fmla="*/ 111308 h 498230"/>
              <a:gd name="connsiteX760" fmla="*/ 944591 w 1490290"/>
              <a:gd name="connsiteY760" fmla="*/ 111308 h 498230"/>
              <a:gd name="connsiteX761" fmla="*/ 946126 w 1490290"/>
              <a:gd name="connsiteY761" fmla="*/ 111308 h 498230"/>
              <a:gd name="connsiteX762" fmla="*/ 946126 w 1490290"/>
              <a:gd name="connsiteY762" fmla="*/ 109173 h 498230"/>
              <a:gd name="connsiteX763" fmla="*/ 947671 w 1490290"/>
              <a:gd name="connsiteY763" fmla="*/ 109173 h 498230"/>
              <a:gd name="connsiteX764" fmla="*/ 947671 w 1490290"/>
              <a:gd name="connsiteY764" fmla="*/ 107071 h 498230"/>
              <a:gd name="connsiteX765" fmla="*/ 949195 w 1490290"/>
              <a:gd name="connsiteY765" fmla="*/ 107071 h 498230"/>
              <a:gd name="connsiteX766" fmla="*/ 949195 w 1490290"/>
              <a:gd name="connsiteY766" fmla="*/ 104936 h 498230"/>
              <a:gd name="connsiteX767" fmla="*/ 950729 w 1490290"/>
              <a:gd name="connsiteY767" fmla="*/ 104936 h 498230"/>
              <a:gd name="connsiteX768" fmla="*/ 952264 w 1490290"/>
              <a:gd name="connsiteY768" fmla="*/ 104936 h 498230"/>
              <a:gd name="connsiteX769" fmla="*/ 953765 w 1490290"/>
              <a:gd name="connsiteY769" fmla="*/ 104936 h 498230"/>
              <a:gd name="connsiteX770" fmla="*/ 955300 w 1490290"/>
              <a:gd name="connsiteY770" fmla="*/ 104936 h 498230"/>
              <a:gd name="connsiteX771" fmla="*/ 956834 w 1490290"/>
              <a:gd name="connsiteY771" fmla="*/ 104936 h 498230"/>
              <a:gd name="connsiteX772" fmla="*/ 959892 w 1490290"/>
              <a:gd name="connsiteY772" fmla="*/ 104936 h 498230"/>
              <a:gd name="connsiteX773" fmla="*/ 959892 w 1490290"/>
              <a:gd name="connsiteY773" fmla="*/ 102756 h 498230"/>
              <a:gd name="connsiteX774" fmla="*/ 961438 w 1490290"/>
              <a:gd name="connsiteY774" fmla="*/ 102756 h 498230"/>
              <a:gd name="connsiteX775" fmla="*/ 962973 w 1490290"/>
              <a:gd name="connsiteY775" fmla="*/ 102756 h 498230"/>
              <a:gd name="connsiteX776" fmla="*/ 964496 w 1490290"/>
              <a:gd name="connsiteY776" fmla="*/ 102756 h 498230"/>
              <a:gd name="connsiteX777" fmla="*/ 966031 w 1490290"/>
              <a:gd name="connsiteY777" fmla="*/ 102756 h 498230"/>
              <a:gd name="connsiteX778" fmla="*/ 967576 w 1490290"/>
              <a:gd name="connsiteY778" fmla="*/ 102756 h 498230"/>
              <a:gd name="connsiteX779" fmla="*/ 973681 w 1490290"/>
              <a:gd name="connsiteY779" fmla="*/ 102756 h 498230"/>
              <a:gd name="connsiteX780" fmla="*/ 973681 w 1490290"/>
              <a:gd name="connsiteY780" fmla="*/ 100509 h 498230"/>
              <a:gd name="connsiteX781" fmla="*/ 975205 w 1490290"/>
              <a:gd name="connsiteY781" fmla="*/ 100509 h 498230"/>
              <a:gd name="connsiteX782" fmla="*/ 976739 w 1490290"/>
              <a:gd name="connsiteY782" fmla="*/ 100509 h 498230"/>
              <a:gd name="connsiteX783" fmla="*/ 978274 w 1490290"/>
              <a:gd name="connsiteY783" fmla="*/ 100509 h 498230"/>
              <a:gd name="connsiteX784" fmla="*/ 981343 w 1490290"/>
              <a:gd name="connsiteY784" fmla="*/ 100509 h 498230"/>
              <a:gd name="connsiteX785" fmla="*/ 981343 w 1490290"/>
              <a:gd name="connsiteY785" fmla="*/ 95960 h 498230"/>
              <a:gd name="connsiteX786" fmla="*/ 982878 w 1490290"/>
              <a:gd name="connsiteY786" fmla="*/ 95960 h 498230"/>
              <a:gd name="connsiteX787" fmla="*/ 984401 w 1490290"/>
              <a:gd name="connsiteY787" fmla="*/ 95960 h 498230"/>
              <a:gd name="connsiteX788" fmla="*/ 985947 w 1490290"/>
              <a:gd name="connsiteY788" fmla="*/ 95960 h 498230"/>
              <a:gd name="connsiteX789" fmla="*/ 987481 w 1490290"/>
              <a:gd name="connsiteY789" fmla="*/ 95960 h 498230"/>
              <a:gd name="connsiteX790" fmla="*/ 988983 w 1490290"/>
              <a:gd name="connsiteY790" fmla="*/ 95960 h 498230"/>
              <a:gd name="connsiteX791" fmla="*/ 988983 w 1490290"/>
              <a:gd name="connsiteY791" fmla="*/ 93613 h 498230"/>
              <a:gd name="connsiteX792" fmla="*/ 992041 w 1490290"/>
              <a:gd name="connsiteY792" fmla="*/ 93613 h 498230"/>
              <a:gd name="connsiteX793" fmla="*/ 992041 w 1490290"/>
              <a:gd name="connsiteY793" fmla="*/ 91267 h 498230"/>
              <a:gd name="connsiteX794" fmla="*/ 993587 w 1490290"/>
              <a:gd name="connsiteY794" fmla="*/ 91267 h 498230"/>
              <a:gd name="connsiteX795" fmla="*/ 995110 w 1490290"/>
              <a:gd name="connsiteY795" fmla="*/ 91267 h 498230"/>
              <a:gd name="connsiteX796" fmla="*/ 996645 w 1490290"/>
              <a:gd name="connsiteY796" fmla="*/ 91267 h 498230"/>
              <a:gd name="connsiteX797" fmla="*/ 998179 w 1490290"/>
              <a:gd name="connsiteY797" fmla="*/ 91267 h 498230"/>
              <a:gd name="connsiteX798" fmla="*/ 998179 w 1490290"/>
              <a:gd name="connsiteY798" fmla="*/ 88920 h 498230"/>
              <a:gd name="connsiteX799" fmla="*/ 999714 w 1490290"/>
              <a:gd name="connsiteY799" fmla="*/ 88920 h 498230"/>
              <a:gd name="connsiteX800" fmla="*/ 1004306 w 1490290"/>
              <a:gd name="connsiteY800" fmla="*/ 88920 h 498230"/>
              <a:gd name="connsiteX801" fmla="*/ 1005808 w 1490290"/>
              <a:gd name="connsiteY801" fmla="*/ 88920 h 498230"/>
              <a:gd name="connsiteX802" fmla="*/ 1007353 w 1490290"/>
              <a:gd name="connsiteY802" fmla="*/ 88920 h 498230"/>
              <a:gd name="connsiteX803" fmla="*/ 1008888 w 1490290"/>
              <a:gd name="connsiteY803" fmla="*/ 88920 h 498230"/>
              <a:gd name="connsiteX804" fmla="*/ 1008888 w 1490290"/>
              <a:gd name="connsiteY804" fmla="*/ 86540 h 498230"/>
              <a:gd name="connsiteX805" fmla="*/ 1010411 w 1490290"/>
              <a:gd name="connsiteY805" fmla="*/ 86540 h 498230"/>
              <a:gd name="connsiteX806" fmla="*/ 1015015 w 1490290"/>
              <a:gd name="connsiteY806" fmla="*/ 86540 h 498230"/>
              <a:gd name="connsiteX807" fmla="*/ 1016550 w 1490290"/>
              <a:gd name="connsiteY807" fmla="*/ 86540 h 498230"/>
              <a:gd name="connsiteX808" fmla="*/ 1018084 w 1490290"/>
              <a:gd name="connsiteY808" fmla="*/ 86540 h 498230"/>
              <a:gd name="connsiteX809" fmla="*/ 1019619 w 1490290"/>
              <a:gd name="connsiteY809" fmla="*/ 86540 h 498230"/>
              <a:gd name="connsiteX810" fmla="*/ 1019619 w 1490290"/>
              <a:gd name="connsiteY810" fmla="*/ 84093 h 498230"/>
              <a:gd name="connsiteX811" fmla="*/ 1021153 w 1490290"/>
              <a:gd name="connsiteY811" fmla="*/ 84093 h 498230"/>
              <a:gd name="connsiteX812" fmla="*/ 1021153 w 1490290"/>
              <a:gd name="connsiteY812" fmla="*/ 81668 h 498230"/>
              <a:gd name="connsiteX813" fmla="*/ 1024189 w 1490290"/>
              <a:gd name="connsiteY813" fmla="*/ 81668 h 498230"/>
              <a:gd name="connsiteX814" fmla="*/ 1024189 w 1490290"/>
              <a:gd name="connsiteY814" fmla="*/ 79188 h 498230"/>
              <a:gd name="connsiteX815" fmla="*/ 1025724 w 1490290"/>
              <a:gd name="connsiteY815" fmla="*/ 79188 h 498230"/>
              <a:gd name="connsiteX816" fmla="*/ 1027258 w 1490290"/>
              <a:gd name="connsiteY816" fmla="*/ 79188 h 498230"/>
              <a:gd name="connsiteX817" fmla="*/ 1028793 w 1490290"/>
              <a:gd name="connsiteY817" fmla="*/ 79188 h 498230"/>
              <a:gd name="connsiteX818" fmla="*/ 1030316 w 1490290"/>
              <a:gd name="connsiteY818" fmla="*/ 79188 h 498230"/>
              <a:gd name="connsiteX819" fmla="*/ 1031862 w 1490290"/>
              <a:gd name="connsiteY819" fmla="*/ 79188 h 498230"/>
              <a:gd name="connsiteX820" fmla="*/ 1034920 w 1490290"/>
              <a:gd name="connsiteY820" fmla="*/ 79188 h 498230"/>
              <a:gd name="connsiteX821" fmla="*/ 1036455 w 1490290"/>
              <a:gd name="connsiteY821" fmla="*/ 79188 h 498230"/>
              <a:gd name="connsiteX822" fmla="*/ 1038000 w 1490290"/>
              <a:gd name="connsiteY822" fmla="*/ 79188 h 498230"/>
              <a:gd name="connsiteX823" fmla="*/ 1041058 w 1490290"/>
              <a:gd name="connsiteY823" fmla="*/ 79188 h 498230"/>
              <a:gd name="connsiteX824" fmla="*/ 1042560 w 1490290"/>
              <a:gd name="connsiteY824" fmla="*/ 79188 h 498230"/>
              <a:gd name="connsiteX825" fmla="*/ 1047163 w 1490290"/>
              <a:gd name="connsiteY825" fmla="*/ 79188 h 498230"/>
              <a:gd name="connsiteX826" fmla="*/ 1048698 w 1490290"/>
              <a:gd name="connsiteY826" fmla="*/ 79188 h 498230"/>
              <a:gd name="connsiteX827" fmla="*/ 1050221 w 1490290"/>
              <a:gd name="connsiteY827" fmla="*/ 79188 h 498230"/>
              <a:gd name="connsiteX828" fmla="*/ 1051767 w 1490290"/>
              <a:gd name="connsiteY828" fmla="*/ 79188 h 498230"/>
              <a:gd name="connsiteX829" fmla="*/ 1053302 w 1490290"/>
              <a:gd name="connsiteY829" fmla="*/ 79188 h 498230"/>
              <a:gd name="connsiteX830" fmla="*/ 1056360 w 1490290"/>
              <a:gd name="connsiteY830" fmla="*/ 79188 h 498230"/>
              <a:gd name="connsiteX831" fmla="*/ 1057906 w 1490290"/>
              <a:gd name="connsiteY831" fmla="*/ 79188 h 498230"/>
              <a:gd name="connsiteX832" fmla="*/ 1059407 w 1490290"/>
              <a:gd name="connsiteY832" fmla="*/ 79188 h 498230"/>
              <a:gd name="connsiteX833" fmla="*/ 1060930 w 1490290"/>
              <a:gd name="connsiteY833" fmla="*/ 79188 h 498230"/>
              <a:gd name="connsiteX834" fmla="*/ 1062465 w 1490290"/>
              <a:gd name="connsiteY834" fmla="*/ 79188 h 498230"/>
              <a:gd name="connsiteX835" fmla="*/ 1063999 w 1490290"/>
              <a:gd name="connsiteY835" fmla="*/ 79188 h 498230"/>
              <a:gd name="connsiteX836" fmla="*/ 1067069 w 1490290"/>
              <a:gd name="connsiteY836" fmla="*/ 79188 h 498230"/>
              <a:gd name="connsiteX837" fmla="*/ 1067069 w 1490290"/>
              <a:gd name="connsiteY837" fmla="*/ 76463 h 498230"/>
              <a:gd name="connsiteX838" fmla="*/ 1068603 w 1490290"/>
              <a:gd name="connsiteY838" fmla="*/ 76463 h 498230"/>
              <a:gd name="connsiteX839" fmla="*/ 1070127 w 1490290"/>
              <a:gd name="connsiteY839" fmla="*/ 76463 h 498230"/>
              <a:gd name="connsiteX840" fmla="*/ 1073207 w 1490290"/>
              <a:gd name="connsiteY840" fmla="*/ 76463 h 498230"/>
              <a:gd name="connsiteX841" fmla="*/ 1074730 w 1490290"/>
              <a:gd name="connsiteY841" fmla="*/ 76463 h 498230"/>
              <a:gd name="connsiteX842" fmla="*/ 1076265 w 1490290"/>
              <a:gd name="connsiteY842" fmla="*/ 76463 h 498230"/>
              <a:gd name="connsiteX843" fmla="*/ 1076265 w 1490290"/>
              <a:gd name="connsiteY843" fmla="*/ 70869 h 498230"/>
              <a:gd name="connsiteX844" fmla="*/ 1080835 w 1490290"/>
              <a:gd name="connsiteY844" fmla="*/ 70869 h 498230"/>
              <a:gd name="connsiteX845" fmla="*/ 1082370 w 1490290"/>
              <a:gd name="connsiteY845" fmla="*/ 70869 h 498230"/>
              <a:gd name="connsiteX846" fmla="*/ 1083916 w 1490290"/>
              <a:gd name="connsiteY846" fmla="*/ 70869 h 498230"/>
              <a:gd name="connsiteX847" fmla="*/ 1085439 w 1490290"/>
              <a:gd name="connsiteY847" fmla="*/ 70869 h 498230"/>
              <a:gd name="connsiteX848" fmla="*/ 1090043 w 1490290"/>
              <a:gd name="connsiteY848" fmla="*/ 70869 h 498230"/>
              <a:gd name="connsiteX849" fmla="*/ 1091577 w 1490290"/>
              <a:gd name="connsiteY849" fmla="*/ 70869 h 498230"/>
              <a:gd name="connsiteX850" fmla="*/ 1093112 w 1490290"/>
              <a:gd name="connsiteY850" fmla="*/ 70869 h 498230"/>
              <a:gd name="connsiteX851" fmla="*/ 1094613 w 1490290"/>
              <a:gd name="connsiteY851" fmla="*/ 70869 h 498230"/>
              <a:gd name="connsiteX852" fmla="*/ 1096137 w 1490290"/>
              <a:gd name="connsiteY852" fmla="*/ 70869 h 498230"/>
              <a:gd name="connsiteX853" fmla="*/ 1097682 w 1490290"/>
              <a:gd name="connsiteY853" fmla="*/ 70869 h 498230"/>
              <a:gd name="connsiteX854" fmla="*/ 1097682 w 1490290"/>
              <a:gd name="connsiteY854" fmla="*/ 67911 h 498230"/>
              <a:gd name="connsiteX855" fmla="*/ 1099217 w 1490290"/>
              <a:gd name="connsiteY855" fmla="*/ 67911 h 498230"/>
              <a:gd name="connsiteX856" fmla="*/ 1102275 w 1490290"/>
              <a:gd name="connsiteY856" fmla="*/ 67911 h 498230"/>
              <a:gd name="connsiteX857" fmla="*/ 1102275 w 1490290"/>
              <a:gd name="connsiteY857" fmla="*/ 64941 h 498230"/>
              <a:gd name="connsiteX858" fmla="*/ 1103821 w 1490290"/>
              <a:gd name="connsiteY858" fmla="*/ 64941 h 498230"/>
              <a:gd name="connsiteX859" fmla="*/ 1105344 w 1490290"/>
              <a:gd name="connsiteY859" fmla="*/ 64941 h 498230"/>
              <a:gd name="connsiteX860" fmla="*/ 1106879 w 1490290"/>
              <a:gd name="connsiteY860" fmla="*/ 64941 h 498230"/>
              <a:gd name="connsiteX861" fmla="*/ 1109948 w 1490290"/>
              <a:gd name="connsiteY861" fmla="*/ 64941 h 498230"/>
              <a:gd name="connsiteX862" fmla="*/ 1111482 w 1490290"/>
              <a:gd name="connsiteY862" fmla="*/ 64941 h 498230"/>
              <a:gd name="connsiteX863" fmla="*/ 1112984 w 1490290"/>
              <a:gd name="connsiteY863" fmla="*/ 64941 h 498230"/>
              <a:gd name="connsiteX864" fmla="*/ 1114518 w 1490290"/>
              <a:gd name="connsiteY864" fmla="*/ 64941 h 498230"/>
              <a:gd name="connsiteX865" fmla="*/ 1116042 w 1490290"/>
              <a:gd name="connsiteY865" fmla="*/ 64941 h 498230"/>
              <a:gd name="connsiteX866" fmla="*/ 1117588 w 1490290"/>
              <a:gd name="connsiteY866" fmla="*/ 64941 h 498230"/>
              <a:gd name="connsiteX867" fmla="*/ 1122180 w 1490290"/>
              <a:gd name="connsiteY867" fmla="*/ 64941 h 498230"/>
              <a:gd name="connsiteX868" fmla="*/ 1123726 w 1490290"/>
              <a:gd name="connsiteY868" fmla="*/ 64941 h 498230"/>
              <a:gd name="connsiteX869" fmla="*/ 1125249 w 1490290"/>
              <a:gd name="connsiteY869" fmla="*/ 64941 h 498230"/>
              <a:gd name="connsiteX870" fmla="*/ 1126784 w 1490290"/>
              <a:gd name="connsiteY870" fmla="*/ 64941 h 498230"/>
              <a:gd name="connsiteX871" fmla="*/ 1128318 w 1490290"/>
              <a:gd name="connsiteY871" fmla="*/ 64941 h 498230"/>
              <a:gd name="connsiteX872" fmla="*/ 1129831 w 1490290"/>
              <a:gd name="connsiteY872" fmla="*/ 64941 h 498230"/>
              <a:gd name="connsiteX873" fmla="*/ 1129831 w 1490290"/>
              <a:gd name="connsiteY873" fmla="*/ 61693 h 498230"/>
              <a:gd name="connsiteX874" fmla="*/ 1134423 w 1490290"/>
              <a:gd name="connsiteY874" fmla="*/ 61693 h 498230"/>
              <a:gd name="connsiteX875" fmla="*/ 1135958 w 1490290"/>
              <a:gd name="connsiteY875" fmla="*/ 61693 h 498230"/>
              <a:gd name="connsiteX876" fmla="*/ 1137492 w 1490290"/>
              <a:gd name="connsiteY876" fmla="*/ 61693 h 498230"/>
              <a:gd name="connsiteX877" fmla="*/ 1137492 w 1490290"/>
              <a:gd name="connsiteY877" fmla="*/ 58379 h 498230"/>
              <a:gd name="connsiteX878" fmla="*/ 1139027 w 1490290"/>
              <a:gd name="connsiteY878" fmla="*/ 58379 h 498230"/>
              <a:gd name="connsiteX879" fmla="*/ 1139027 w 1490290"/>
              <a:gd name="connsiteY879" fmla="*/ 55031 h 498230"/>
              <a:gd name="connsiteX880" fmla="*/ 1142096 w 1490290"/>
              <a:gd name="connsiteY880" fmla="*/ 55031 h 498230"/>
              <a:gd name="connsiteX881" fmla="*/ 1142096 w 1490290"/>
              <a:gd name="connsiteY881" fmla="*/ 51695 h 498230"/>
              <a:gd name="connsiteX882" fmla="*/ 1143631 w 1490290"/>
              <a:gd name="connsiteY882" fmla="*/ 51695 h 498230"/>
              <a:gd name="connsiteX883" fmla="*/ 1145154 w 1490290"/>
              <a:gd name="connsiteY883" fmla="*/ 51695 h 498230"/>
              <a:gd name="connsiteX884" fmla="*/ 1146689 w 1490290"/>
              <a:gd name="connsiteY884" fmla="*/ 51695 h 498230"/>
              <a:gd name="connsiteX885" fmla="*/ 1146689 w 1490290"/>
              <a:gd name="connsiteY885" fmla="*/ 48269 h 498230"/>
              <a:gd name="connsiteX886" fmla="*/ 1148190 w 1490290"/>
              <a:gd name="connsiteY886" fmla="*/ 48269 h 498230"/>
              <a:gd name="connsiteX887" fmla="*/ 1148190 w 1490290"/>
              <a:gd name="connsiteY887" fmla="*/ 41407 h 498230"/>
              <a:gd name="connsiteX888" fmla="*/ 1149736 w 1490290"/>
              <a:gd name="connsiteY888" fmla="*/ 41407 h 498230"/>
              <a:gd name="connsiteX889" fmla="*/ 1151259 w 1490290"/>
              <a:gd name="connsiteY889" fmla="*/ 41407 h 498230"/>
              <a:gd name="connsiteX890" fmla="*/ 1154328 w 1490290"/>
              <a:gd name="connsiteY890" fmla="*/ 41407 h 498230"/>
              <a:gd name="connsiteX891" fmla="*/ 1154328 w 1490290"/>
              <a:gd name="connsiteY891" fmla="*/ 37881 h 498230"/>
              <a:gd name="connsiteX892" fmla="*/ 1155863 w 1490290"/>
              <a:gd name="connsiteY892" fmla="*/ 37881 h 498230"/>
              <a:gd name="connsiteX893" fmla="*/ 1157398 w 1490290"/>
              <a:gd name="connsiteY893" fmla="*/ 37881 h 498230"/>
              <a:gd name="connsiteX894" fmla="*/ 1158932 w 1490290"/>
              <a:gd name="connsiteY894" fmla="*/ 37881 h 498230"/>
              <a:gd name="connsiteX895" fmla="*/ 1160456 w 1490290"/>
              <a:gd name="connsiteY895" fmla="*/ 37881 h 498230"/>
              <a:gd name="connsiteX896" fmla="*/ 1163536 w 1490290"/>
              <a:gd name="connsiteY896" fmla="*/ 37881 h 498230"/>
              <a:gd name="connsiteX897" fmla="*/ 1163536 w 1490290"/>
              <a:gd name="connsiteY897" fmla="*/ 34267 h 498230"/>
              <a:gd name="connsiteX898" fmla="*/ 1165071 w 1490290"/>
              <a:gd name="connsiteY898" fmla="*/ 34267 h 498230"/>
              <a:gd name="connsiteX899" fmla="*/ 1166561 w 1490290"/>
              <a:gd name="connsiteY899" fmla="*/ 34267 h 498230"/>
              <a:gd name="connsiteX900" fmla="*/ 1168095 w 1490290"/>
              <a:gd name="connsiteY900" fmla="*/ 34267 h 498230"/>
              <a:gd name="connsiteX901" fmla="*/ 1169641 w 1490290"/>
              <a:gd name="connsiteY901" fmla="*/ 34267 h 498230"/>
              <a:gd name="connsiteX902" fmla="*/ 1169641 w 1490290"/>
              <a:gd name="connsiteY902" fmla="*/ 30541 h 498230"/>
              <a:gd name="connsiteX903" fmla="*/ 1171164 w 1490290"/>
              <a:gd name="connsiteY903" fmla="*/ 30541 h 498230"/>
              <a:gd name="connsiteX904" fmla="*/ 1177303 w 1490290"/>
              <a:gd name="connsiteY904" fmla="*/ 30541 h 498230"/>
              <a:gd name="connsiteX905" fmla="*/ 1178837 w 1490290"/>
              <a:gd name="connsiteY905" fmla="*/ 30541 h 498230"/>
              <a:gd name="connsiteX906" fmla="*/ 1180361 w 1490290"/>
              <a:gd name="connsiteY906" fmla="*/ 30541 h 498230"/>
              <a:gd name="connsiteX907" fmla="*/ 1181907 w 1490290"/>
              <a:gd name="connsiteY907" fmla="*/ 30541 h 498230"/>
              <a:gd name="connsiteX908" fmla="*/ 1184942 w 1490290"/>
              <a:gd name="connsiteY908" fmla="*/ 30541 h 498230"/>
              <a:gd name="connsiteX909" fmla="*/ 1186466 w 1490290"/>
              <a:gd name="connsiteY909" fmla="*/ 30541 h 498230"/>
              <a:gd name="connsiteX910" fmla="*/ 1188011 w 1490290"/>
              <a:gd name="connsiteY910" fmla="*/ 30541 h 498230"/>
              <a:gd name="connsiteX911" fmla="*/ 1189546 w 1490290"/>
              <a:gd name="connsiteY911" fmla="*/ 30541 h 498230"/>
              <a:gd name="connsiteX912" fmla="*/ 1191070 w 1490290"/>
              <a:gd name="connsiteY912" fmla="*/ 30541 h 498230"/>
              <a:gd name="connsiteX913" fmla="*/ 1192604 w 1490290"/>
              <a:gd name="connsiteY913" fmla="*/ 30541 h 498230"/>
              <a:gd name="connsiteX914" fmla="*/ 1197208 w 1490290"/>
              <a:gd name="connsiteY914" fmla="*/ 30541 h 498230"/>
              <a:gd name="connsiteX915" fmla="*/ 1198742 w 1490290"/>
              <a:gd name="connsiteY915" fmla="*/ 30541 h 498230"/>
              <a:gd name="connsiteX916" fmla="*/ 1200288 w 1490290"/>
              <a:gd name="connsiteY916" fmla="*/ 30541 h 498230"/>
              <a:gd name="connsiteX917" fmla="*/ 1201778 w 1490290"/>
              <a:gd name="connsiteY917" fmla="*/ 30541 h 498230"/>
              <a:gd name="connsiteX918" fmla="*/ 1203313 w 1490290"/>
              <a:gd name="connsiteY918" fmla="*/ 30541 h 498230"/>
              <a:gd name="connsiteX919" fmla="*/ 1207916 w 1490290"/>
              <a:gd name="connsiteY919" fmla="*/ 30541 h 498230"/>
              <a:gd name="connsiteX920" fmla="*/ 1207916 w 1490290"/>
              <a:gd name="connsiteY920" fmla="*/ 26192 h 498230"/>
              <a:gd name="connsiteX921" fmla="*/ 1209451 w 1490290"/>
              <a:gd name="connsiteY921" fmla="*/ 26192 h 498230"/>
              <a:gd name="connsiteX922" fmla="*/ 1210974 w 1490290"/>
              <a:gd name="connsiteY922" fmla="*/ 26192 h 498230"/>
              <a:gd name="connsiteX923" fmla="*/ 1212509 w 1490290"/>
              <a:gd name="connsiteY923" fmla="*/ 26192 h 498230"/>
              <a:gd name="connsiteX924" fmla="*/ 1218614 w 1490290"/>
              <a:gd name="connsiteY924" fmla="*/ 26192 h 498230"/>
              <a:gd name="connsiteX925" fmla="*/ 1220149 w 1490290"/>
              <a:gd name="connsiteY925" fmla="*/ 26192 h 498230"/>
              <a:gd name="connsiteX926" fmla="*/ 1221683 w 1490290"/>
              <a:gd name="connsiteY926" fmla="*/ 26192 h 498230"/>
              <a:gd name="connsiteX927" fmla="*/ 1223218 w 1490290"/>
              <a:gd name="connsiteY927" fmla="*/ 26192 h 498230"/>
              <a:gd name="connsiteX928" fmla="*/ 1224752 w 1490290"/>
              <a:gd name="connsiteY928" fmla="*/ 26192 h 498230"/>
              <a:gd name="connsiteX929" fmla="*/ 1229356 w 1490290"/>
              <a:gd name="connsiteY929" fmla="*/ 26192 h 498230"/>
              <a:gd name="connsiteX930" fmla="*/ 1230880 w 1490290"/>
              <a:gd name="connsiteY930" fmla="*/ 26192 h 498230"/>
              <a:gd name="connsiteX931" fmla="*/ 1232414 w 1490290"/>
              <a:gd name="connsiteY931" fmla="*/ 26192 h 498230"/>
              <a:gd name="connsiteX932" fmla="*/ 1233960 w 1490290"/>
              <a:gd name="connsiteY932" fmla="*/ 26192 h 498230"/>
              <a:gd name="connsiteX933" fmla="*/ 1235495 w 1490290"/>
              <a:gd name="connsiteY933" fmla="*/ 26192 h 498230"/>
              <a:gd name="connsiteX934" fmla="*/ 1235495 w 1490290"/>
              <a:gd name="connsiteY934" fmla="*/ 21221 h 498230"/>
              <a:gd name="connsiteX935" fmla="*/ 1240065 w 1490290"/>
              <a:gd name="connsiteY935" fmla="*/ 21221 h 498230"/>
              <a:gd name="connsiteX936" fmla="*/ 1243123 w 1490290"/>
              <a:gd name="connsiteY936" fmla="*/ 21221 h 498230"/>
              <a:gd name="connsiteX937" fmla="*/ 1244658 w 1490290"/>
              <a:gd name="connsiteY937" fmla="*/ 21221 h 498230"/>
              <a:gd name="connsiteX938" fmla="*/ 1246192 w 1490290"/>
              <a:gd name="connsiteY938" fmla="*/ 21221 h 498230"/>
              <a:gd name="connsiteX939" fmla="*/ 1250785 w 1490290"/>
              <a:gd name="connsiteY939" fmla="*/ 21221 h 498230"/>
              <a:gd name="connsiteX940" fmla="*/ 1252330 w 1490290"/>
              <a:gd name="connsiteY940" fmla="*/ 21221 h 498230"/>
              <a:gd name="connsiteX941" fmla="*/ 1253832 w 1490290"/>
              <a:gd name="connsiteY941" fmla="*/ 21221 h 498230"/>
              <a:gd name="connsiteX942" fmla="*/ 1255366 w 1490290"/>
              <a:gd name="connsiteY942" fmla="*/ 21221 h 498230"/>
              <a:gd name="connsiteX943" fmla="*/ 1256890 w 1490290"/>
              <a:gd name="connsiteY943" fmla="*/ 21221 h 498230"/>
              <a:gd name="connsiteX944" fmla="*/ 1261493 w 1490290"/>
              <a:gd name="connsiteY944" fmla="*/ 21221 h 498230"/>
              <a:gd name="connsiteX945" fmla="*/ 1263028 w 1490290"/>
              <a:gd name="connsiteY945" fmla="*/ 21221 h 498230"/>
              <a:gd name="connsiteX946" fmla="*/ 1264562 w 1490290"/>
              <a:gd name="connsiteY946" fmla="*/ 21221 h 498230"/>
              <a:gd name="connsiteX947" fmla="*/ 1266097 w 1490290"/>
              <a:gd name="connsiteY947" fmla="*/ 21221 h 498230"/>
              <a:gd name="connsiteX948" fmla="*/ 1267632 w 1490290"/>
              <a:gd name="connsiteY948" fmla="*/ 21221 h 498230"/>
              <a:gd name="connsiteX949" fmla="*/ 1272191 w 1490290"/>
              <a:gd name="connsiteY949" fmla="*/ 21221 h 498230"/>
              <a:gd name="connsiteX950" fmla="*/ 1273737 w 1490290"/>
              <a:gd name="connsiteY950" fmla="*/ 21221 h 498230"/>
              <a:gd name="connsiteX951" fmla="*/ 1275271 w 1490290"/>
              <a:gd name="connsiteY951" fmla="*/ 21221 h 498230"/>
              <a:gd name="connsiteX952" fmla="*/ 1276795 w 1490290"/>
              <a:gd name="connsiteY952" fmla="*/ 21221 h 498230"/>
              <a:gd name="connsiteX953" fmla="*/ 1278329 w 1490290"/>
              <a:gd name="connsiteY953" fmla="*/ 21221 h 498230"/>
              <a:gd name="connsiteX954" fmla="*/ 1282933 w 1490290"/>
              <a:gd name="connsiteY954" fmla="*/ 21221 h 498230"/>
              <a:gd name="connsiteX955" fmla="*/ 1284468 w 1490290"/>
              <a:gd name="connsiteY955" fmla="*/ 21221 h 498230"/>
              <a:gd name="connsiteX956" fmla="*/ 1286002 w 1490290"/>
              <a:gd name="connsiteY956" fmla="*/ 21221 h 498230"/>
              <a:gd name="connsiteX957" fmla="*/ 1287537 w 1490290"/>
              <a:gd name="connsiteY957" fmla="*/ 21221 h 498230"/>
              <a:gd name="connsiteX958" fmla="*/ 1289071 w 1490290"/>
              <a:gd name="connsiteY958" fmla="*/ 21221 h 498230"/>
              <a:gd name="connsiteX959" fmla="*/ 1293642 w 1490290"/>
              <a:gd name="connsiteY959" fmla="*/ 21221 h 498230"/>
              <a:gd name="connsiteX960" fmla="*/ 1295177 w 1490290"/>
              <a:gd name="connsiteY960" fmla="*/ 21221 h 498230"/>
              <a:gd name="connsiteX961" fmla="*/ 1296700 w 1490290"/>
              <a:gd name="connsiteY961" fmla="*/ 21221 h 498230"/>
              <a:gd name="connsiteX962" fmla="*/ 1298246 w 1490290"/>
              <a:gd name="connsiteY962" fmla="*/ 21221 h 498230"/>
              <a:gd name="connsiteX963" fmla="*/ 1299780 w 1490290"/>
              <a:gd name="connsiteY963" fmla="*/ 21221 h 498230"/>
              <a:gd name="connsiteX964" fmla="*/ 1304384 w 1490290"/>
              <a:gd name="connsiteY964" fmla="*/ 21221 h 498230"/>
              <a:gd name="connsiteX965" fmla="*/ 1305918 w 1490290"/>
              <a:gd name="connsiteY965" fmla="*/ 21221 h 498230"/>
              <a:gd name="connsiteX966" fmla="*/ 1307408 w 1490290"/>
              <a:gd name="connsiteY966" fmla="*/ 21221 h 498230"/>
              <a:gd name="connsiteX967" fmla="*/ 1308943 w 1490290"/>
              <a:gd name="connsiteY967" fmla="*/ 21221 h 498230"/>
              <a:gd name="connsiteX968" fmla="*/ 1310478 w 1490290"/>
              <a:gd name="connsiteY968" fmla="*/ 21221 h 498230"/>
              <a:gd name="connsiteX969" fmla="*/ 1315081 w 1490290"/>
              <a:gd name="connsiteY969" fmla="*/ 21221 h 498230"/>
              <a:gd name="connsiteX970" fmla="*/ 1316605 w 1490290"/>
              <a:gd name="connsiteY970" fmla="*/ 21221 h 498230"/>
              <a:gd name="connsiteX971" fmla="*/ 1318151 w 1490290"/>
              <a:gd name="connsiteY971" fmla="*/ 21221 h 498230"/>
              <a:gd name="connsiteX972" fmla="*/ 1319685 w 1490290"/>
              <a:gd name="connsiteY972" fmla="*/ 21221 h 498230"/>
              <a:gd name="connsiteX973" fmla="*/ 1321220 w 1490290"/>
              <a:gd name="connsiteY973" fmla="*/ 21221 h 498230"/>
              <a:gd name="connsiteX974" fmla="*/ 1322743 w 1490290"/>
              <a:gd name="connsiteY974" fmla="*/ 21221 h 498230"/>
              <a:gd name="connsiteX975" fmla="*/ 1322743 w 1490290"/>
              <a:gd name="connsiteY975" fmla="*/ 11311 h 498230"/>
              <a:gd name="connsiteX976" fmla="*/ 1325790 w 1490290"/>
              <a:gd name="connsiteY976" fmla="*/ 11311 h 498230"/>
              <a:gd name="connsiteX977" fmla="*/ 1327314 w 1490290"/>
              <a:gd name="connsiteY977" fmla="*/ 11311 h 498230"/>
              <a:gd name="connsiteX978" fmla="*/ 1328848 w 1490290"/>
              <a:gd name="connsiteY978" fmla="*/ 11311 h 498230"/>
              <a:gd name="connsiteX979" fmla="*/ 1330383 w 1490290"/>
              <a:gd name="connsiteY979" fmla="*/ 11311 h 498230"/>
              <a:gd name="connsiteX980" fmla="*/ 1331917 w 1490290"/>
              <a:gd name="connsiteY980" fmla="*/ 11311 h 498230"/>
              <a:gd name="connsiteX981" fmla="*/ 1333452 w 1490290"/>
              <a:gd name="connsiteY981" fmla="*/ 11311 h 498230"/>
              <a:gd name="connsiteX982" fmla="*/ 1334987 w 1490290"/>
              <a:gd name="connsiteY982" fmla="*/ 11311 h 498230"/>
              <a:gd name="connsiteX983" fmla="*/ 1334987 w 1490290"/>
              <a:gd name="connsiteY983" fmla="*/ 0 h 498230"/>
              <a:gd name="connsiteX984" fmla="*/ 1490290 w 1490290"/>
              <a:gd name="connsiteY984" fmla="*/ 2442 h 498230"/>
              <a:gd name="connsiteX0" fmla="*/ 0 w 1490290"/>
              <a:gd name="connsiteY0" fmla="*/ 498230 h 498230"/>
              <a:gd name="connsiteX1" fmla="*/ 3058 w 1490290"/>
              <a:gd name="connsiteY1" fmla="*/ 498230 h 498230"/>
              <a:gd name="connsiteX2" fmla="*/ 3058 w 1490290"/>
              <a:gd name="connsiteY2" fmla="*/ 495127 h 498230"/>
              <a:gd name="connsiteX3" fmla="*/ 4604 w 1490290"/>
              <a:gd name="connsiteY3" fmla="*/ 495127 h 498230"/>
              <a:gd name="connsiteX4" fmla="*/ 4604 w 1490290"/>
              <a:gd name="connsiteY4" fmla="*/ 493570 h 498230"/>
              <a:gd name="connsiteX5" fmla="*/ 12277 w 1490290"/>
              <a:gd name="connsiteY5" fmla="*/ 493570 h 498230"/>
              <a:gd name="connsiteX6" fmla="*/ 12277 w 1490290"/>
              <a:gd name="connsiteY6" fmla="*/ 492780 h 498230"/>
              <a:gd name="connsiteX7" fmla="*/ 13800 w 1490290"/>
              <a:gd name="connsiteY7" fmla="*/ 492780 h 498230"/>
              <a:gd name="connsiteX8" fmla="*/ 13800 w 1490290"/>
              <a:gd name="connsiteY8" fmla="*/ 491979 h 498230"/>
              <a:gd name="connsiteX9" fmla="*/ 15301 w 1490290"/>
              <a:gd name="connsiteY9" fmla="*/ 491979 h 498230"/>
              <a:gd name="connsiteX10" fmla="*/ 15301 w 1490290"/>
              <a:gd name="connsiteY10" fmla="*/ 491223 h 498230"/>
              <a:gd name="connsiteX11" fmla="*/ 21440 w 1490290"/>
              <a:gd name="connsiteY11" fmla="*/ 491223 h 498230"/>
              <a:gd name="connsiteX12" fmla="*/ 21440 w 1490290"/>
              <a:gd name="connsiteY12" fmla="*/ 490433 h 498230"/>
              <a:gd name="connsiteX13" fmla="*/ 24509 w 1490290"/>
              <a:gd name="connsiteY13" fmla="*/ 490433 h 498230"/>
              <a:gd name="connsiteX14" fmla="*/ 24509 w 1490290"/>
              <a:gd name="connsiteY14" fmla="*/ 489666 h 498230"/>
              <a:gd name="connsiteX15" fmla="*/ 26043 w 1490290"/>
              <a:gd name="connsiteY15" fmla="*/ 489666 h 498230"/>
              <a:gd name="connsiteX16" fmla="*/ 26043 w 1490290"/>
              <a:gd name="connsiteY16" fmla="*/ 488876 h 498230"/>
              <a:gd name="connsiteX17" fmla="*/ 27567 w 1490290"/>
              <a:gd name="connsiteY17" fmla="*/ 488876 h 498230"/>
              <a:gd name="connsiteX18" fmla="*/ 27567 w 1490290"/>
              <a:gd name="connsiteY18" fmla="*/ 487330 h 498230"/>
              <a:gd name="connsiteX19" fmla="*/ 32148 w 1490290"/>
              <a:gd name="connsiteY19" fmla="*/ 487330 h 498230"/>
              <a:gd name="connsiteX20" fmla="*/ 33672 w 1490290"/>
              <a:gd name="connsiteY20" fmla="*/ 487330 h 498230"/>
              <a:gd name="connsiteX21" fmla="*/ 33672 w 1490290"/>
              <a:gd name="connsiteY21" fmla="*/ 485773 h 498230"/>
              <a:gd name="connsiteX22" fmla="*/ 36752 w 1490290"/>
              <a:gd name="connsiteY22" fmla="*/ 485773 h 498230"/>
              <a:gd name="connsiteX23" fmla="*/ 41345 w 1490290"/>
              <a:gd name="connsiteY23" fmla="*/ 485773 h 498230"/>
              <a:gd name="connsiteX24" fmla="*/ 42879 w 1490290"/>
              <a:gd name="connsiteY24" fmla="*/ 485773 h 498230"/>
              <a:gd name="connsiteX25" fmla="*/ 42879 w 1490290"/>
              <a:gd name="connsiteY25" fmla="*/ 484216 h 498230"/>
              <a:gd name="connsiteX26" fmla="*/ 44414 w 1490290"/>
              <a:gd name="connsiteY26" fmla="*/ 484216 h 498230"/>
              <a:gd name="connsiteX27" fmla="*/ 45948 w 1490290"/>
              <a:gd name="connsiteY27" fmla="*/ 484216 h 498230"/>
              <a:gd name="connsiteX28" fmla="*/ 47483 w 1490290"/>
              <a:gd name="connsiteY28" fmla="*/ 484216 h 498230"/>
              <a:gd name="connsiteX29" fmla="*/ 47483 w 1490290"/>
              <a:gd name="connsiteY29" fmla="*/ 482637 h 498230"/>
              <a:gd name="connsiteX30" fmla="*/ 49018 w 1490290"/>
              <a:gd name="connsiteY30" fmla="*/ 482637 h 498230"/>
              <a:gd name="connsiteX31" fmla="*/ 49018 w 1490290"/>
              <a:gd name="connsiteY31" fmla="*/ 481869 h 498230"/>
              <a:gd name="connsiteX32" fmla="*/ 50519 w 1490290"/>
              <a:gd name="connsiteY32" fmla="*/ 481869 h 498230"/>
              <a:gd name="connsiteX33" fmla="*/ 50519 w 1490290"/>
              <a:gd name="connsiteY33" fmla="*/ 477943 h 498230"/>
              <a:gd name="connsiteX34" fmla="*/ 52053 w 1490290"/>
              <a:gd name="connsiteY34" fmla="*/ 477943 h 498230"/>
              <a:gd name="connsiteX35" fmla="*/ 52053 w 1490290"/>
              <a:gd name="connsiteY35" fmla="*/ 475630 h 498230"/>
              <a:gd name="connsiteX36" fmla="*/ 53577 w 1490290"/>
              <a:gd name="connsiteY36" fmla="*/ 475630 h 498230"/>
              <a:gd name="connsiteX37" fmla="*/ 53577 w 1490290"/>
              <a:gd name="connsiteY37" fmla="*/ 474829 h 498230"/>
              <a:gd name="connsiteX38" fmla="*/ 55111 w 1490290"/>
              <a:gd name="connsiteY38" fmla="*/ 474829 h 498230"/>
              <a:gd name="connsiteX39" fmla="*/ 55111 w 1490290"/>
              <a:gd name="connsiteY39" fmla="*/ 474039 h 498230"/>
              <a:gd name="connsiteX40" fmla="*/ 56657 w 1490290"/>
              <a:gd name="connsiteY40" fmla="*/ 474039 h 498230"/>
              <a:gd name="connsiteX41" fmla="*/ 56657 w 1490290"/>
              <a:gd name="connsiteY41" fmla="*/ 473283 h 498230"/>
              <a:gd name="connsiteX42" fmla="*/ 59715 w 1490290"/>
              <a:gd name="connsiteY42" fmla="*/ 473283 h 498230"/>
              <a:gd name="connsiteX43" fmla="*/ 59715 w 1490290"/>
              <a:gd name="connsiteY43" fmla="*/ 471693 h 498230"/>
              <a:gd name="connsiteX44" fmla="*/ 61250 w 1490290"/>
              <a:gd name="connsiteY44" fmla="*/ 471693 h 498230"/>
              <a:gd name="connsiteX45" fmla="*/ 61250 w 1490290"/>
              <a:gd name="connsiteY45" fmla="*/ 470936 h 498230"/>
              <a:gd name="connsiteX46" fmla="*/ 65854 w 1490290"/>
              <a:gd name="connsiteY46" fmla="*/ 470936 h 498230"/>
              <a:gd name="connsiteX47" fmla="*/ 65854 w 1490290"/>
              <a:gd name="connsiteY47" fmla="*/ 470147 h 498230"/>
              <a:gd name="connsiteX48" fmla="*/ 68878 w 1490290"/>
              <a:gd name="connsiteY48" fmla="*/ 470147 h 498230"/>
              <a:gd name="connsiteX49" fmla="*/ 68878 w 1490290"/>
              <a:gd name="connsiteY49" fmla="*/ 468590 h 498230"/>
              <a:gd name="connsiteX50" fmla="*/ 70424 w 1490290"/>
              <a:gd name="connsiteY50" fmla="*/ 468590 h 498230"/>
              <a:gd name="connsiteX51" fmla="*/ 70424 w 1490290"/>
              <a:gd name="connsiteY51" fmla="*/ 466999 h 498230"/>
              <a:gd name="connsiteX52" fmla="*/ 71959 w 1490290"/>
              <a:gd name="connsiteY52" fmla="*/ 466999 h 498230"/>
              <a:gd name="connsiteX53" fmla="*/ 71959 w 1490290"/>
              <a:gd name="connsiteY53" fmla="*/ 465453 h 498230"/>
              <a:gd name="connsiteX54" fmla="*/ 75017 w 1490290"/>
              <a:gd name="connsiteY54" fmla="*/ 465453 h 498230"/>
              <a:gd name="connsiteX55" fmla="*/ 75017 w 1490290"/>
              <a:gd name="connsiteY55" fmla="*/ 464653 h 498230"/>
              <a:gd name="connsiteX56" fmla="*/ 76562 w 1490290"/>
              <a:gd name="connsiteY56" fmla="*/ 464653 h 498230"/>
              <a:gd name="connsiteX57" fmla="*/ 76562 w 1490290"/>
              <a:gd name="connsiteY57" fmla="*/ 463896 h 498230"/>
              <a:gd name="connsiteX58" fmla="*/ 79620 w 1490290"/>
              <a:gd name="connsiteY58" fmla="*/ 463896 h 498230"/>
              <a:gd name="connsiteX59" fmla="*/ 79620 w 1490290"/>
              <a:gd name="connsiteY59" fmla="*/ 463107 h 498230"/>
              <a:gd name="connsiteX60" fmla="*/ 81155 w 1490290"/>
              <a:gd name="connsiteY60" fmla="*/ 463107 h 498230"/>
              <a:gd name="connsiteX61" fmla="*/ 81155 w 1490290"/>
              <a:gd name="connsiteY61" fmla="*/ 461550 h 498230"/>
              <a:gd name="connsiteX62" fmla="*/ 82700 w 1490290"/>
              <a:gd name="connsiteY62" fmla="*/ 461550 h 498230"/>
              <a:gd name="connsiteX63" fmla="*/ 82700 w 1490290"/>
              <a:gd name="connsiteY63" fmla="*/ 460760 h 498230"/>
              <a:gd name="connsiteX64" fmla="*/ 84224 w 1490290"/>
              <a:gd name="connsiteY64" fmla="*/ 460760 h 498230"/>
              <a:gd name="connsiteX65" fmla="*/ 84224 w 1490290"/>
              <a:gd name="connsiteY65" fmla="*/ 459203 h 498230"/>
              <a:gd name="connsiteX66" fmla="*/ 85725 w 1490290"/>
              <a:gd name="connsiteY66" fmla="*/ 459203 h 498230"/>
              <a:gd name="connsiteX67" fmla="*/ 85725 w 1490290"/>
              <a:gd name="connsiteY67" fmla="*/ 458413 h 498230"/>
              <a:gd name="connsiteX68" fmla="*/ 88794 w 1490290"/>
              <a:gd name="connsiteY68" fmla="*/ 458413 h 498230"/>
              <a:gd name="connsiteX69" fmla="*/ 88794 w 1490290"/>
              <a:gd name="connsiteY69" fmla="*/ 455277 h 498230"/>
              <a:gd name="connsiteX70" fmla="*/ 91864 w 1490290"/>
              <a:gd name="connsiteY70" fmla="*/ 455277 h 498230"/>
              <a:gd name="connsiteX71" fmla="*/ 91864 w 1490290"/>
              <a:gd name="connsiteY71" fmla="*/ 453720 h 498230"/>
              <a:gd name="connsiteX72" fmla="*/ 93387 w 1490290"/>
              <a:gd name="connsiteY72" fmla="*/ 453720 h 498230"/>
              <a:gd name="connsiteX73" fmla="*/ 93387 w 1490290"/>
              <a:gd name="connsiteY73" fmla="*/ 451373 h 498230"/>
              <a:gd name="connsiteX74" fmla="*/ 94933 w 1490290"/>
              <a:gd name="connsiteY74" fmla="*/ 451373 h 498230"/>
              <a:gd name="connsiteX75" fmla="*/ 94933 w 1490290"/>
              <a:gd name="connsiteY75" fmla="*/ 449816 h 498230"/>
              <a:gd name="connsiteX76" fmla="*/ 96467 w 1490290"/>
              <a:gd name="connsiteY76" fmla="*/ 449816 h 498230"/>
              <a:gd name="connsiteX77" fmla="*/ 96467 w 1490290"/>
              <a:gd name="connsiteY77" fmla="*/ 448225 h 498230"/>
              <a:gd name="connsiteX78" fmla="*/ 99525 w 1490290"/>
              <a:gd name="connsiteY78" fmla="*/ 448225 h 498230"/>
              <a:gd name="connsiteX79" fmla="*/ 99525 w 1490290"/>
              <a:gd name="connsiteY79" fmla="*/ 445879 h 498230"/>
              <a:gd name="connsiteX80" fmla="*/ 101071 w 1490290"/>
              <a:gd name="connsiteY80" fmla="*/ 445879 h 498230"/>
              <a:gd name="connsiteX81" fmla="*/ 101071 w 1490290"/>
              <a:gd name="connsiteY81" fmla="*/ 445122 h 498230"/>
              <a:gd name="connsiteX82" fmla="*/ 102572 w 1490290"/>
              <a:gd name="connsiteY82" fmla="*/ 445122 h 498230"/>
              <a:gd name="connsiteX83" fmla="*/ 102572 w 1490290"/>
              <a:gd name="connsiteY83" fmla="*/ 444333 h 498230"/>
              <a:gd name="connsiteX84" fmla="*/ 104096 w 1490290"/>
              <a:gd name="connsiteY84" fmla="*/ 444333 h 498230"/>
              <a:gd name="connsiteX85" fmla="*/ 104096 w 1490290"/>
              <a:gd name="connsiteY85" fmla="*/ 443543 h 498230"/>
              <a:gd name="connsiteX86" fmla="*/ 105630 w 1490290"/>
              <a:gd name="connsiteY86" fmla="*/ 443543 h 498230"/>
              <a:gd name="connsiteX87" fmla="*/ 107165 w 1490290"/>
              <a:gd name="connsiteY87" fmla="*/ 443543 h 498230"/>
              <a:gd name="connsiteX88" fmla="*/ 107165 w 1490290"/>
              <a:gd name="connsiteY88" fmla="*/ 441196 h 498230"/>
              <a:gd name="connsiteX89" fmla="*/ 108700 w 1490290"/>
              <a:gd name="connsiteY89" fmla="*/ 441196 h 498230"/>
              <a:gd name="connsiteX90" fmla="*/ 108700 w 1490290"/>
              <a:gd name="connsiteY90" fmla="*/ 438850 h 498230"/>
              <a:gd name="connsiteX91" fmla="*/ 110234 w 1490290"/>
              <a:gd name="connsiteY91" fmla="*/ 438850 h 498230"/>
              <a:gd name="connsiteX92" fmla="*/ 110234 w 1490290"/>
              <a:gd name="connsiteY92" fmla="*/ 438049 h 498230"/>
              <a:gd name="connsiteX93" fmla="*/ 111769 w 1490290"/>
              <a:gd name="connsiteY93" fmla="*/ 438049 h 498230"/>
              <a:gd name="connsiteX94" fmla="*/ 111769 w 1490290"/>
              <a:gd name="connsiteY94" fmla="*/ 435702 h 498230"/>
              <a:gd name="connsiteX95" fmla="*/ 113292 w 1490290"/>
              <a:gd name="connsiteY95" fmla="*/ 435702 h 498230"/>
              <a:gd name="connsiteX96" fmla="*/ 113292 w 1490290"/>
              <a:gd name="connsiteY96" fmla="*/ 434156 h 498230"/>
              <a:gd name="connsiteX97" fmla="*/ 122478 w 1490290"/>
              <a:gd name="connsiteY97" fmla="*/ 434156 h 498230"/>
              <a:gd name="connsiteX98" fmla="*/ 122478 w 1490290"/>
              <a:gd name="connsiteY98" fmla="*/ 433355 h 498230"/>
              <a:gd name="connsiteX99" fmla="*/ 124001 w 1490290"/>
              <a:gd name="connsiteY99" fmla="*/ 433355 h 498230"/>
              <a:gd name="connsiteX100" fmla="*/ 124001 w 1490290"/>
              <a:gd name="connsiteY100" fmla="*/ 431809 h 498230"/>
              <a:gd name="connsiteX101" fmla="*/ 125536 w 1490290"/>
              <a:gd name="connsiteY101" fmla="*/ 431809 h 498230"/>
              <a:gd name="connsiteX102" fmla="*/ 125536 w 1490290"/>
              <a:gd name="connsiteY102" fmla="*/ 429463 h 498230"/>
              <a:gd name="connsiteX103" fmla="*/ 128605 w 1490290"/>
              <a:gd name="connsiteY103" fmla="*/ 429463 h 498230"/>
              <a:gd name="connsiteX104" fmla="*/ 128605 w 1490290"/>
              <a:gd name="connsiteY104" fmla="*/ 428673 h 498230"/>
              <a:gd name="connsiteX105" fmla="*/ 133208 w 1490290"/>
              <a:gd name="connsiteY105" fmla="*/ 428673 h 498230"/>
              <a:gd name="connsiteX106" fmla="*/ 133208 w 1490290"/>
              <a:gd name="connsiteY106" fmla="*/ 427872 h 498230"/>
              <a:gd name="connsiteX107" fmla="*/ 134743 w 1490290"/>
              <a:gd name="connsiteY107" fmla="*/ 427872 h 498230"/>
              <a:gd name="connsiteX108" fmla="*/ 134743 w 1490290"/>
              <a:gd name="connsiteY108" fmla="*/ 426326 h 498230"/>
              <a:gd name="connsiteX109" fmla="*/ 136278 w 1490290"/>
              <a:gd name="connsiteY109" fmla="*/ 426326 h 498230"/>
              <a:gd name="connsiteX110" fmla="*/ 137812 w 1490290"/>
              <a:gd name="connsiteY110" fmla="*/ 426326 h 498230"/>
              <a:gd name="connsiteX111" fmla="*/ 137812 w 1490290"/>
              <a:gd name="connsiteY111" fmla="*/ 424736 h 498230"/>
              <a:gd name="connsiteX112" fmla="*/ 142382 w 1490290"/>
              <a:gd name="connsiteY112" fmla="*/ 424736 h 498230"/>
              <a:gd name="connsiteX113" fmla="*/ 142382 w 1490290"/>
              <a:gd name="connsiteY113" fmla="*/ 422389 h 498230"/>
              <a:gd name="connsiteX114" fmla="*/ 143906 w 1490290"/>
              <a:gd name="connsiteY114" fmla="*/ 422389 h 498230"/>
              <a:gd name="connsiteX115" fmla="*/ 143906 w 1490290"/>
              <a:gd name="connsiteY115" fmla="*/ 421588 h 498230"/>
              <a:gd name="connsiteX116" fmla="*/ 146986 w 1490290"/>
              <a:gd name="connsiteY116" fmla="*/ 421588 h 498230"/>
              <a:gd name="connsiteX117" fmla="*/ 148510 w 1490290"/>
              <a:gd name="connsiteY117" fmla="*/ 421588 h 498230"/>
              <a:gd name="connsiteX118" fmla="*/ 148510 w 1490290"/>
              <a:gd name="connsiteY118" fmla="*/ 420042 h 498230"/>
              <a:gd name="connsiteX119" fmla="*/ 151579 w 1490290"/>
              <a:gd name="connsiteY119" fmla="*/ 420042 h 498230"/>
              <a:gd name="connsiteX120" fmla="*/ 151579 w 1490290"/>
              <a:gd name="connsiteY120" fmla="*/ 418452 h 498230"/>
              <a:gd name="connsiteX121" fmla="*/ 153125 w 1490290"/>
              <a:gd name="connsiteY121" fmla="*/ 418452 h 498230"/>
              <a:gd name="connsiteX122" fmla="*/ 153125 w 1490290"/>
              <a:gd name="connsiteY122" fmla="*/ 417696 h 498230"/>
              <a:gd name="connsiteX123" fmla="*/ 154648 w 1490290"/>
              <a:gd name="connsiteY123" fmla="*/ 417696 h 498230"/>
              <a:gd name="connsiteX124" fmla="*/ 154648 w 1490290"/>
              <a:gd name="connsiteY124" fmla="*/ 416906 h 498230"/>
              <a:gd name="connsiteX125" fmla="*/ 157684 w 1490290"/>
              <a:gd name="connsiteY125" fmla="*/ 416906 h 498230"/>
              <a:gd name="connsiteX126" fmla="*/ 159207 w 1490290"/>
              <a:gd name="connsiteY126" fmla="*/ 416906 h 498230"/>
              <a:gd name="connsiteX127" fmla="*/ 159207 w 1490290"/>
              <a:gd name="connsiteY127" fmla="*/ 415316 h 498230"/>
              <a:gd name="connsiteX128" fmla="*/ 160753 w 1490290"/>
              <a:gd name="connsiteY128" fmla="*/ 415316 h 498230"/>
              <a:gd name="connsiteX129" fmla="*/ 160753 w 1490290"/>
              <a:gd name="connsiteY129" fmla="*/ 412969 h 498230"/>
              <a:gd name="connsiteX130" fmla="*/ 162288 w 1490290"/>
              <a:gd name="connsiteY130" fmla="*/ 412969 h 498230"/>
              <a:gd name="connsiteX131" fmla="*/ 162288 w 1490290"/>
              <a:gd name="connsiteY131" fmla="*/ 411378 h 498230"/>
              <a:gd name="connsiteX132" fmla="*/ 165346 w 1490290"/>
              <a:gd name="connsiteY132" fmla="*/ 411378 h 498230"/>
              <a:gd name="connsiteX133" fmla="*/ 165346 w 1490290"/>
              <a:gd name="connsiteY133" fmla="*/ 410622 h 498230"/>
              <a:gd name="connsiteX134" fmla="*/ 166891 w 1490290"/>
              <a:gd name="connsiteY134" fmla="*/ 410622 h 498230"/>
              <a:gd name="connsiteX135" fmla="*/ 166891 w 1490290"/>
              <a:gd name="connsiteY135" fmla="*/ 409821 h 498230"/>
              <a:gd name="connsiteX136" fmla="*/ 168426 w 1490290"/>
              <a:gd name="connsiteY136" fmla="*/ 409821 h 498230"/>
              <a:gd name="connsiteX137" fmla="*/ 168426 w 1490290"/>
              <a:gd name="connsiteY137" fmla="*/ 409032 h 498230"/>
              <a:gd name="connsiteX138" fmla="*/ 169949 w 1490290"/>
              <a:gd name="connsiteY138" fmla="*/ 409032 h 498230"/>
              <a:gd name="connsiteX139" fmla="*/ 169949 w 1490290"/>
              <a:gd name="connsiteY139" fmla="*/ 408242 h 498230"/>
              <a:gd name="connsiteX140" fmla="*/ 171484 w 1490290"/>
              <a:gd name="connsiteY140" fmla="*/ 408242 h 498230"/>
              <a:gd name="connsiteX141" fmla="*/ 171484 w 1490290"/>
              <a:gd name="connsiteY141" fmla="*/ 406685 h 498230"/>
              <a:gd name="connsiteX142" fmla="*/ 173030 w 1490290"/>
              <a:gd name="connsiteY142" fmla="*/ 406685 h 498230"/>
              <a:gd name="connsiteX143" fmla="*/ 173030 w 1490290"/>
              <a:gd name="connsiteY143" fmla="*/ 405895 h 498230"/>
              <a:gd name="connsiteX144" fmla="*/ 177589 w 1490290"/>
              <a:gd name="connsiteY144" fmla="*/ 405895 h 498230"/>
              <a:gd name="connsiteX145" fmla="*/ 177589 w 1490290"/>
              <a:gd name="connsiteY145" fmla="*/ 404338 h 498230"/>
              <a:gd name="connsiteX146" fmla="*/ 179112 w 1490290"/>
              <a:gd name="connsiteY146" fmla="*/ 404338 h 498230"/>
              <a:gd name="connsiteX147" fmla="*/ 179112 w 1490290"/>
              <a:gd name="connsiteY147" fmla="*/ 403549 h 498230"/>
              <a:gd name="connsiteX148" fmla="*/ 182193 w 1490290"/>
              <a:gd name="connsiteY148" fmla="*/ 403549 h 498230"/>
              <a:gd name="connsiteX149" fmla="*/ 182193 w 1490290"/>
              <a:gd name="connsiteY149" fmla="*/ 402759 h 498230"/>
              <a:gd name="connsiteX150" fmla="*/ 183716 w 1490290"/>
              <a:gd name="connsiteY150" fmla="*/ 402759 h 498230"/>
              <a:gd name="connsiteX151" fmla="*/ 183716 w 1490290"/>
              <a:gd name="connsiteY151" fmla="*/ 401958 h 498230"/>
              <a:gd name="connsiteX152" fmla="*/ 185251 w 1490290"/>
              <a:gd name="connsiteY152" fmla="*/ 401958 h 498230"/>
              <a:gd name="connsiteX153" fmla="*/ 185251 w 1490290"/>
              <a:gd name="connsiteY153" fmla="*/ 401157 h 498230"/>
              <a:gd name="connsiteX154" fmla="*/ 189855 w 1490290"/>
              <a:gd name="connsiteY154" fmla="*/ 401157 h 498230"/>
              <a:gd name="connsiteX155" fmla="*/ 189855 w 1490290"/>
              <a:gd name="connsiteY155" fmla="*/ 399611 h 498230"/>
              <a:gd name="connsiteX156" fmla="*/ 192901 w 1490290"/>
              <a:gd name="connsiteY156" fmla="*/ 399611 h 498230"/>
              <a:gd name="connsiteX157" fmla="*/ 194425 w 1490290"/>
              <a:gd name="connsiteY157" fmla="*/ 399611 h 498230"/>
              <a:gd name="connsiteX158" fmla="*/ 195960 w 1490290"/>
              <a:gd name="connsiteY158" fmla="*/ 399611 h 498230"/>
              <a:gd name="connsiteX159" fmla="*/ 195960 w 1490290"/>
              <a:gd name="connsiteY159" fmla="*/ 398822 h 498230"/>
              <a:gd name="connsiteX160" fmla="*/ 197494 w 1490290"/>
              <a:gd name="connsiteY160" fmla="*/ 398822 h 498230"/>
              <a:gd name="connsiteX161" fmla="*/ 197494 w 1490290"/>
              <a:gd name="connsiteY161" fmla="*/ 398021 h 498230"/>
              <a:gd name="connsiteX162" fmla="*/ 199028 w 1490290"/>
              <a:gd name="connsiteY162" fmla="*/ 398021 h 498230"/>
              <a:gd name="connsiteX163" fmla="*/ 199028 w 1490290"/>
              <a:gd name="connsiteY163" fmla="*/ 397231 h 498230"/>
              <a:gd name="connsiteX164" fmla="*/ 200563 w 1490290"/>
              <a:gd name="connsiteY164" fmla="*/ 397231 h 498230"/>
              <a:gd name="connsiteX165" fmla="*/ 203632 w 1490290"/>
              <a:gd name="connsiteY165" fmla="*/ 397231 h 498230"/>
              <a:gd name="connsiteX166" fmla="*/ 203632 w 1490290"/>
              <a:gd name="connsiteY166" fmla="*/ 396442 h 498230"/>
              <a:gd name="connsiteX167" fmla="*/ 206701 w 1490290"/>
              <a:gd name="connsiteY167" fmla="*/ 396442 h 498230"/>
              <a:gd name="connsiteX168" fmla="*/ 206701 w 1490290"/>
              <a:gd name="connsiteY168" fmla="*/ 394885 h 498230"/>
              <a:gd name="connsiteX169" fmla="*/ 208236 w 1490290"/>
              <a:gd name="connsiteY169" fmla="*/ 394885 h 498230"/>
              <a:gd name="connsiteX170" fmla="*/ 209726 w 1490290"/>
              <a:gd name="connsiteY170" fmla="*/ 394885 h 498230"/>
              <a:gd name="connsiteX171" fmla="*/ 209726 w 1490290"/>
              <a:gd name="connsiteY171" fmla="*/ 394095 h 498230"/>
              <a:gd name="connsiteX172" fmla="*/ 212806 w 1490290"/>
              <a:gd name="connsiteY172" fmla="*/ 394095 h 498230"/>
              <a:gd name="connsiteX173" fmla="*/ 212806 w 1490290"/>
              <a:gd name="connsiteY173" fmla="*/ 393294 h 498230"/>
              <a:gd name="connsiteX174" fmla="*/ 214330 w 1490290"/>
              <a:gd name="connsiteY174" fmla="*/ 393294 h 498230"/>
              <a:gd name="connsiteX175" fmla="*/ 214330 w 1490290"/>
              <a:gd name="connsiteY175" fmla="*/ 392505 h 498230"/>
              <a:gd name="connsiteX176" fmla="*/ 218934 w 1490290"/>
              <a:gd name="connsiteY176" fmla="*/ 392505 h 498230"/>
              <a:gd name="connsiteX177" fmla="*/ 218934 w 1490290"/>
              <a:gd name="connsiteY177" fmla="*/ 391715 h 498230"/>
              <a:gd name="connsiteX178" fmla="*/ 222003 w 1490290"/>
              <a:gd name="connsiteY178" fmla="*/ 391715 h 498230"/>
              <a:gd name="connsiteX179" fmla="*/ 223537 w 1490290"/>
              <a:gd name="connsiteY179" fmla="*/ 391715 h 498230"/>
              <a:gd name="connsiteX180" fmla="*/ 223537 w 1490290"/>
              <a:gd name="connsiteY180" fmla="*/ 390914 h 498230"/>
              <a:gd name="connsiteX181" fmla="*/ 225072 w 1490290"/>
              <a:gd name="connsiteY181" fmla="*/ 390914 h 498230"/>
              <a:gd name="connsiteX182" fmla="*/ 225072 w 1490290"/>
              <a:gd name="connsiteY182" fmla="*/ 389357 h 498230"/>
              <a:gd name="connsiteX183" fmla="*/ 228108 w 1490290"/>
              <a:gd name="connsiteY183" fmla="*/ 389357 h 498230"/>
              <a:gd name="connsiteX184" fmla="*/ 228108 w 1490290"/>
              <a:gd name="connsiteY184" fmla="*/ 387778 h 498230"/>
              <a:gd name="connsiteX185" fmla="*/ 229631 w 1490290"/>
              <a:gd name="connsiteY185" fmla="*/ 387778 h 498230"/>
              <a:gd name="connsiteX186" fmla="*/ 229631 w 1490290"/>
              <a:gd name="connsiteY186" fmla="*/ 386187 h 498230"/>
              <a:gd name="connsiteX187" fmla="*/ 234235 w 1490290"/>
              <a:gd name="connsiteY187" fmla="*/ 386187 h 498230"/>
              <a:gd name="connsiteX188" fmla="*/ 234235 w 1490290"/>
              <a:gd name="connsiteY188" fmla="*/ 384608 h 498230"/>
              <a:gd name="connsiteX189" fmla="*/ 235770 w 1490290"/>
              <a:gd name="connsiteY189" fmla="*/ 384608 h 498230"/>
              <a:gd name="connsiteX190" fmla="*/ 235770 w 1490290"/>
              <a:gd name="connsiteY190" fmla="*/ 383017 h 498230"/>
              <a:gd name="connsiteX191" fmla="*/ 237304 w 1490290"/>
              <a:gd name="connsiteY191" fmla="*/ 383017 h 498230"/>
              <a:gd name="connsiteX192" fmla="*/ 237304 w 1490290"/>
              <a:gd name="connsiteY192" fmla="*/ 382217 h 498230"/>
              <a:gd name="connsiteX193" fmla="*/ 240373 w 1490290"/>
              <a:gd name="connsiteY193" fmla="*/ 382217 h 498230"/>
              <a:gd name="connsiteX194" fmla="*/ 240373 w 1490290"/>
              <a:gd name="connsiteY194" fmla="*/ 381427 h 498230"/>
              <a:gd name="connsiteX195" fmla="*/ 243443 w 1490290"/>
              <a:gd name="connsiteY195" fmla="*/ 381427 h 498230"/>
              <a:gd name="connsiteX196" fmla="*/ 243443 w 1490290"/>
              <a:gd name="connsiteY196" fmla="*/ 380671 h 498230"/>
              <a:gd name="connsiteX197" fmla="*/ 244933 w 1490290"/>
              <a:gd name="connsiteY197" fmla="*/ 380671 h 498230"/>
              <a:gd name="connsiteX198" fmla="*/ 244933 w 1490290"/>
              <a:gd name="connsiteY198" fmla="*/ 379080 h 498230"/>
              <a:gd name="connsiteX199" fmla="*/ 246478 w 1490290"/>
              <a:gd name="connsiteY199" fmla="*/ 379080 h 498230"/>
              <a:gd name="connsiteX200" fmla="*/ 246478 w 1490290"/>
              <a:gd name="connsiteY200" fmla="*/ 378291 h 498230"/>
              <a:gd name="connsiteX201" fmla="*/ 248013 w 1490290"/>
              <a:gd name="connsiteY201" fmla="*/ 378291 h 498230"/>
              <a:gd name="connsiteX202" fmla="*/ 248013 w 1490290"/>
              <a:gd name="connsiteY202" fmla="*/ 376700 h 498230"/>
              <a:gd name="connsiteX203" fmla="*/ 251082 w 1490290"/>
              <a:gd name="connsiteY203" fmla="*/ 376700 h 498230"/>
              <a:gd name="connsiteX204" fmla="*/ 251082 w 1490290"/>
              <a:gd name="connsiteY204" fmla="*/ 375899 h 498230"/>
              <a:gd name="connsiteX205" fmla="*/ 252617 w 1490290"/>
              <a:gd name="connsiteY205" fmla="*/ 375899 h 498230"/>
              <a:gd name="connsiteX206" fmla="*/ 252617 w 1490290"/>
              <a:gd name="connsiteY206" fmla="*/ 375110 h 498230"/>
              <a:gd name="connsiteX207" fmla="*/ 254140 w 1490290"/>
              <a:gd name="connsiteY207" fmla="*/ 375110 h 498230"/>
              <a:gd name="connsiteX208" fmla="*/ 254140 w 1490290"/>
              <a:gd name="connsiteY208" fmla="*/ 374320 h 498230"/>
              <a:gd name="connsiteX209" fmla="*/ 257220 w 1490290"/>
              <a:gd name="connsiteY209" fmla="*/ 374320 h 498230"/>
              <a:gd name="connsiteX210" fmla="*/ 257220 w 1490290"/>
              <a:gd name="connsiteY210" fmla="*/ 373530 h 498230"/>
              <a:gd name="connsiteX211" fmla="*/ 261780 w 1490290"/>
              <a:gd name="connsiteY211" fmla="*/ 373530 h 498230"/>
              <a:gd name="connsiteX212" fmla="*/ 261780 w 1490290"/>
              <a:gd name="connsiteY212" fmla="*/ 371940 h 498230"/>
              <a:gd name="connsiteX213" fmla="*/ 263314 w 1490290"/>
              <a:gd name="connsiteY213" fmla="*/ 371940 h 498230"/>
              <a:gd name="connsiteX214" fmla="*/ 263314 w 1490290"/>
              <a:gd name="connsiteY214" fmla="*/ 370383 h 498230"/>
              <a:gd name="connsiteX215" fmla="*/ 264849 w 1490290"/>
              <a:gd name="connsiteY215" fmla="*/ 370383 h 498230"/>
              <a:gd name="connsiteX216" fmla="*/ 264849 w 1490290"/>
              <a:gd name="connsiteY216" fmla="*/ 369593 h 498230"/>
              <a:gd name="connsiteX217" fmla="*/ 266383 w 1490290"/>
              <a:gd name="connsiteY217" fmla="*/ 369593 h 498230"/>
              <a:gd name="connsiteX218" fmla="*/ 266383 w 1490290"/>
              <a:gd name="connsiteY218" fmla="*/ 368792 h 498230"/>
              <a:gd name="connsiteX219" fmla="*/ 267918 w 1490290"/>
              <a:gd name="connsiteY219" fmla="*/ 368792 h 498230"/>
              <a:gd name="connsiteX220" fmla="*/ 267918 w 1490290"/>
              <a:gd name="connsiteY220" fmla="*/ 367213 h 498230"/>
              <a:gd name="connsiteX221" fmla="*/ 269441 w 1490290"/>
              <a:gd name="connsiteY221" fmla="*/ 367213 h 498230"/>
              <a:gd name="connsiteX222" fmla="*/ 269441 w 1490290"/>
              <a:gd name="connsiteY222" fmla="*/ 366412 h 498230"/>
              <a:gd name="connsiteX223" fmla="*/ 270987 w 1490290"/>
              <a:gd name="connsiteY223" fmla="*/ 366412 h 498230"/>
              <a:gd name="connsiteX224" fmla="*/ 270987 w 1490290"/>
              <a:gd name="connsiteY224" fmla="*/ 365623 h 498230"/>
              <a:gd name="connsiteX225" fmla="*/ 272522 w 1490290"/>
              <a:gd name="connsiteY225" fmla="*/ 365623 h 498230"/>
              <a:gd name="connsiteX226" fmla="*/ 272522 w 1490290"/>
              <a:gd name="connsiteY226" fmla="*/ 364833 h 498230"/>
              <a:gd name="connsiteX227" fmla="*/ 274056 w 1490290"/>
              <a:gd name="connsiteY227" fmla="*/ 364833 h 498230"/>
              <a:gd name="connsiteX228" fmla="*/ 274056 w 1490290"/>
              <a:gd name="connsiteY228" fmla="*/ 363243 h 498230"/>
              <a:gd name="connsiteX229" fmla="*/ 275580 w 1490290"/>
              <a:gd name="connsiteY229" fmla="*/ 363243 h 498230"/>
              <a:gd name="connsiteX230" fmla="*/ 275580 w 1490290"/>
              <a:gd name="connsiteY230" fmla="*/ 362453 h 498230"/>
              <a:gd name="connsiteX231" fmla="*/ 277125 w 1490290"/>
              <a:gd name="connsiteY231" fmla="*/ 362453 h 498230"/>
              <a:gd name="connsiteX232" fmla="*/ 278660 w 1490290"/>
              <a:gd name="connsiteY232" fmla="*/ 362453 h 498230"/>
              <a:gd name="connsiteX233" fmla="*/ 278660 w 1490290"/>
              <a:gd name="connsiteY233" fmla="*/ 361652 h 498230"/>
              <a:gd name="connsiteX234" fmla="*/ 280150 w 1490290"/>
              <a:gd name="connsiteY234" fmla="*/ 361652 h 498230"/>
              <a:gd name="connsiteX235" fmla="*/ 280150 w 1490290"/>
              <a:gd name="connsiteY235" fmla="*/ 360073 h 498230"/>
              <a:gd name="connsiteX236" fmla="*/ 281685 w 1490290"/>
              <a:gd name="connsiteY236" fmla="*/ 360073 h 498230"/>
              <a:gd name="connsiteX237" fmla="*/ 283219 w 1490290"/>
              <a:gd name="connsiteY237" fmla="*/ 360073 h 498230"/>
              <a:gd name="connsiteX238" fmla="*/ 283219 w 1490290"/>
              <a:gd name="connsiteY238" fmla="*/ 359272 h 498230"/>
              <a:gd name="connsiteX239" fmla="*/ 284754 w 1490290"/>
              <a:gd name="connsiteY239" fmla="*/ 359272 h 498230"/>
              <a:gd name="connsiteX240" fmla="*/ 284754 w 1490290"/>
              <a:gd name="connsiteY240" fmla="*/ 357693 h 498230"/>
              <a:gd name="connsiteX241" fmla="*/ 286289 w 1490290"/>
              <a:gd name="connsiteY241" fmla="*/ 357693 h 498230"/>
              <a:gd name="connsiteX242" fmla="*/ 286289 w 1490290"/>
              <a:gd name="connsiteY242" fmla="*/ 356892 h 498230"/>
              <a:gd name="connsiteX243" fmla="*/ 287823 w 1490290"/>
              <a:gd name="connsiteY243" fmla="*/ 356892 h 498230"/>
              <a:gd name="connsiteX244" fmla="*/ 287823 w 1490290"/>
              <a:gd name="connsiteY244" fmla="*/ 355268 h 498230"/>
              <a:gd name="connsiteX245" fmla="*/ 289358 w 1490290"/>
              <a:gd name="connsiteY245" fmla="*/ 355268 h 498230"/>
              <a:gd name="connsiteX246" fmla="*/ 290892 w 1490290"/>
              <a:gd name="connsiteY246" fmla="*/ 355268 h 498230"/>
              <a:gd name="connsiteX247" fmla="*/ 290892 w 1490290"/>
              <a:gd name="connsiteY247" fmla="*/ 354479 h 498230"/>
              <a:gd name="connsiteX248" fmla="*/ 292427 w 1490290"/>
              <a:gd name="connsiteY248" fmla="*/ 354479 h 498230"/>
              <a:gd name="connsiteX249" fmla="*/ 293961 w 1490290"/>
              <a:gd name="connsiteY249" fmla="*/ 354479 h 498230"/>
              <a:gd name="connsiteX250" fmla="*/ 293961 w 1490290"/>
              <a:gd name="connsiteY250" fmla="*/ 353678 h 498230"/>
              <a:gd name="connsiteX251" fmla="*/ 295485 w 1490290"/>
              <a:gd name="connsiteY251" fmla="*/ 353678 h 498230"/>
              <a:gd name="connsiteX252" fmla="*/ 295485 w 1490290"/>
              <a:gd name="connsiteY252" fmla="*/ 352855 h 498230"/>
              <a:gd name="connsiteX253" fmla="*/ 297031 w 1490290"/>
              <a:gd name="connsiteY253" fmla="*/ 352855 h 498230"/>
              <a:gd name="connsiteX254" fmla="*/ 298532 w 1490290"/>
              <a:gd name="connsiteY254" fmla="*/ 352855 h 498230"/>
              <a:gd name="connsiteX255" fmla="*/ 298532 w 1490290"/>
              <a:gd name="connsiteY255" fmla="*/ 352065 h 498230"/>
              <a:gd name="connsiteX256" fmla="*/ 300055 w 1490290"/>
              <a:gd name="connsiteY256" fmla="*/ 352065 h 498230"/>
              <a:gd name="connsiteX257" fmla="*/ 301590 w 1490290"/>
              <a:gd name="connsiteY257" fmla="*/ 352065 h 498230"/>
              <a:gd name="connsiteX258" fmla="*/ 303125 w 1490290"/>
              <a:gd name="connsiteY258" fmla="*/ 352065 h 498230"/>
              <a:gd name="connsiteX259" fmla="*/ 304659 w 1490290"/>
              <a:gd name="connsiteY259" fmla="*/ 352065 h 498230"/>
              <a:gd name="connsiteX260" fmla="*/ 304659 w 1490290"/>
              <a:gd name="connsiteY260" fmla="*/ 351231 h 498230"/>
              <a:gd name="connsiteX261" fmla="*/ 306194 w 1490290"/>
              <a:gd name="connsiteY261" fmla="*/ 351231 h 498230"/>
              <a:gd name="connsiteX262" fmla="*/ 307728 w 1490290"/>
              <a:gd name="connsiteY262" fmla="*/ 351231 h 498230"/>
              <a:gd name="connsiteX263" fmla="*/ 307728 w 1490290"/>
              <a:gd name="connsiteY263" fmla="*/ 350408 h 498230"/>
              <a:gd name="connsiteX264" fmla="*/ 309274 w 1490290"/>
              <a:gd name="connsiteY264" fmla="*/ 350408 h 498230"/>
              <a:gd name="connsiteX265" fmla="*/ 309274 w 1490290"/>
              <a:gd name="connsiteY265" fmla="*/ 349618 h 498230"/>
              <a:gd name="connsiteX266" fmla="*/ 310797 w 1490290"/>
              <a:gd name="connsiteY266" fmla="*/ 349618 h 498230"/>
              <a:gd name="connsiteX267" fmla="*/ 312332 w 1490290"/>
              <a:gd name="connsiteY267" fmla="*/ 349618 h 498230"/>
              <a:gd name="connsiteX268" fmla="*/ 312332 w 1490290"/>
              <a:gd name="connsiteY268" fmla="*/ 347961 h 498230"/>
              <a:gd name="connsiteX269" fmla="*/ 313867 w 1490290"/>
              <a:gd name="connsiteY269" fmla="*/ 347961 h 498230"/>
              <a:gd name="connsiteX270" fmla="*/ 315357 w 1490290"/>
              <a:gd name="connsiteY270" fmla="*/ 347961 h 498230"/>
              <a:gd name="connsiteX271" fmla="*/ 316902 w 1490290"/>
              <a:gd name="connsiteY271" fmla="*/ 347961 h 498230"/>
              <a:gd name="connsiteX272" fmla="*/ 316902 w 1490290"/>
              <a:gd name="connsiteY272" fmla="*/ 347094 h 498230"/>
              <a:gd name="connsiteX273" fmla="*/ 318437 w 1490290"/>
              <a:gd name="connsiteY273" fmla="*/ 347094 h 498230"/>
              <a:gd name="connsiteX274" fmla="*/ 318437 w 1490290"/>
              <a:gd name="connsiteY274" fmla="*/ 346259 h 498230"/>
              <a:gd name="connsiteX275" fmla="*/ 319960 w 1490290"/>
              <a:gd name="connsiteY275" fmla="*/ 346259 h 498230"/>
              <a:gd name="connsiteX276" fmla="*/ 321495 w 1490290"/>
              <a:gd name="connsiteY276" fmla="*/ 346259 h 498230"/>
              <a:gd name="connsiteX277" fmla="*/ 321495 w 1490290"/>
              <a:gd name="connsiteY277" fmla="*/ 345403 h 498230"/>
              <a:gd name="connsiteX278" fmla="*/ 323041 w 1490290"/>
              <a:gd name="connsiteY278" fmla="*/ 345403 h 498230"/>
              <a:gd name="connsiteX279" fmla="*/ 323041 w 1490290"/>
              <a:gd name="connsiteY279" fmla="*/ 344580 h 498230"/>
              <a:gd name="connsiteX280" fmla="*/ 324564 w 1490290"/>
              <a:gd name="connsiteY280" fmla="*/ 344580 h 498230"/>
              <a:gd name="connsiteX281" fmla="*/ 324564 w 1490290"/>
              <a:gd name="connsiteY281" fmla="*/ 343713 h 498230"/>
              <a:gd name="connsiteX282" fmla="*/ 327633 w 1490290"/>
              <a:gd name="connsiteY282" fmla="*/ 343713 h 498230"/>
              <a:gd name="connsiteX283" fmla="*/ 329179 w 1490290"/>
              <a:gd name="connsiteY283" fmla="*/ 343713 h 498230"/>
              <a:gd name="connsiteX284" fmla="*/ 330702 w 1490290"/>
              <a:gd name="connsiteY284" fmla="*/ 343713 h 498230"/>
              <a:gd name="connsiteX285" fmla="*/ 330702 w 1490290"/>
              <a:gd name="connsiteY285" fmla="*/ 342845 h 498230"/>
              <a:gd name="connsiteX286" fmla="*/ 332237 w 1490290"/>
              <a:gd name="connsiteY286" fmla="*/ 342845 h 498230"/>
              <a:gd name="connsiteX287" fmla="*/ 333738 w 1490290"/>
              <a:gd name="connsiteY287" fmla="*/ 342845 h 498230"/>
              <a:gd name="connsiteX288" fmla="*/ 333738 w 1490290"/>
              <a:gd name="connsiteY288" fmla="*/ 341989 h 498230"/>
              <a:gd name="connsiteX289" fmla="*/ 335262 w 1490290"/>
              <a:gd name="connsiteY289" fmla="*/ 341989 h 498230"/>
              <a:gd name="connsiteX290" fmla="*/ 338342 w 1490290"/>
              <a:gd name="connsiteY290" fmla="*/ 341989 h 498230"/>
              <a:gd name="connsiteX291" fmla="*/ 338342 w 1490290"/>
              <a:gd name="connsiteY291" fmla="*/ 341132 h 498230"/>
              <a:gd name="connsiteX292" fmla="*/ 339865 w 1490290"/>
              <a:gd name="connsiteY292" fmla="*/ 341132 h 498230"/>
              <a:gd name="connsiteX293" fmla="*/ 341400 w 1490290"/>
              <a:gd name="connsiteY293" fmla="*/ 341132 h 498230"/>
              <a:gd name="connsiteX294" fmla="*/ 341400 w 1490290"/>
              <a:gd name="connsiteY294" fmla="*/ 340265 h 498230"/>
              <a:gd name="connsiteX295" fmla="*/ 342946 w 1490290"/>
              <a:gd name="connsiteY295" fmla="*/ 340265 h 498230"/>
              <a:gd name="connsiteX296" fmla="*/ 342946 w 1490290"/>
              <a:gd name="connsiteY296" fmla="*/ 335883 h 498230"/>
              <a:gd name="connsiteX297" fmla="*/ 344480 w 1490290"/>
              <a:gd name="connsiteY297" fmla="*/ 335883 h 498230"/>
              <a:gd name="connsiteX298" fmla="*/ 344480 w 1490290"/>
              <a:gd name="connsiteY298" fmla="*/ 335015 h 498230"/>
              <a:gd name="connsiteX299" fmla="*/ 346004 w 1490290"/>
              <a:gd name="connsiteY299" fmla="*/ 335015 h 498230"/>
              <a:gd name="connsiteX300" fmla="*/ 349084 w 1490290"/>
              <a:gd name="connsiteY300" fmla="*/ 335015 h 498230"/>
              <a:gd name="connsiteX301" fmla="*/ 349084 w 1490290"/>
              <a:gd name="connsiteY301" fmla="*/ 334125 h 498230"/>
              <a:gd name="connsiteX302" fmla="*/ 350574 w 1490290"/>
              <a:gd name="connsiteY302" fmla="*/ 334125 h 498230"/>
              <a:gd name="connsiteX303" fmla="*/ 350574 w 1490290"/>
              <a:gd name="connsiteY303" fmla="*/ 332357 h 498230"/>
              <a:gd name="connsiteX304" fmla="*/ 352109 w 1490290"/>
              <a:gd name="connsiteY304" fmla="*/ 332357 h 498230"/>
              <a:gd name="connsiteX305" fmla="*/ 353643 w 1490290"/>
              <a:gd name="connsiteY305" fmla="*/ 332357 h 498230"/>
              <a:gd name="connsiteX306" fmla="*/ 353643 w 1490290"/>
              <a:gd name="connsiteY306" fmla="*/ 331456 h 498230"/>
              <a:gd name="connsiteX307" fmla="*/ 355167 w 1490290"/>
              <a:gd name="connsiteY307" fmla="*/ 331456 h 498230"/>
              <a:gd name="connsiteX308" fmla="*/ 356713 w 1490290"/>
              <a:gd name="connsiteY308" fmla="*/ 331456 h 498230"/>
              <a:gd name="connsiteX309" fmla="*/ 358247 w 1490290"/>
              <a:gd name="connsiteY309" fmla="*/ 331456 h 498230"/>
              <a:gd name="connsiteX310" fmla="*/ 358247 w 1490290"/>
              <a:gd name="connsiteY310" fmla="*/ 330566 h 498230"/>
              <a:gd name="connsiteX311" fmla="*/ 359782 w 1490290"/>
              <a:gd name="connsiteY311" fmla="*/ 330566 h 498230"/>
              <a:gd name="connsiteX312" fmla="*/ 359782 w 1490290"/>
              <a:gd name="connsiteY312" fmla="*/ 329666 h 498230"/>
              <a:gd name="connsiteX313" fmla="*/ 361316 w 1490290"/>
              <a:gd name="connsiteY313" fmla="*/ 329666 h 498230"/>
              <a:gd name="connsiteX314" fmla="*/ 361316 w 1490290"/>
              <a:gd name="connsiteY314" fmla="*/ 328776 h 498230"/>
              <a:gd name="connsiteX315" fmla="*/ 362851 w 1490290"/>
              <a:gd name="connsiteY315" fmla="*/ 328776 h 498230"/>
              <a:gd name="connsiteX316" fmla="*/ 362851 w 1490290"/>
              <a:gd name="connsiteY316" fmla="*/ 327875 h 498230"/>
              <a:gd name="connsiteX317" fmla="*/ 364386 w 1490290"/>
              <a:gd name="connsiteY317" fmla="*/ 327875 h 498230"/>
              <a:gd name="connsiteX318" fmla="*/ 365909 w 1490290"/>
              <a:gd name="connsiteY318" fmla="*/ 327875 h 498230"/>
              <a:gd name="connsiteX319" fmla="*/ 365909 w 1490290"/>
              <a:gd name="connsiteY319" fmla="*/ 326073 h 498230"/>
              <a:gd name="connsiteX320" fmla="*/ 367455 w 1490290"/>
              <a:gd name="connsiteY320" fmla="*/ 326073 h 498230"/>
              <a:gd name="connsiteX321" fmla="*/ 368956 w 1490290"/>
              <a:gd name="connsiteY321" fmla="*/ 326073 h 498230"/>
              <a:gd name="connsiteX322" fmla="*/ 370479 w 1490290"/>
              <a:gd name="connsiteY322" fmla="*/ 326073 h 498230"/>
              <a:gd name="connsiteX323" fmla="*/ 370479 w 1490290"/>
              <a:gd name="connsiteY323" fmla="*/ 325183 h 498230"/>
              <a:gd name="connsiteX324" fmla="*/ 372014 w 1490290"/>
              <a:gd name="connsiteY324" fmla="*/ 325183 h 498230"/>
              <a:gd name="connsiteX325" fmla="*/ 373548 w 1490290"/>
              <a:gd name="connsiteY325" fmla="*/ 325183 h 498230"/>
              <a:gd name="connsiteX326" fmla="*/ 375083 w 1490290"/>
              <a:gd name="connsiteY326" fmla="*/ 325183 h 498230"/>
              <a:gd name="connsiteX327" fmla="*/ 375083 w 1490290"/>
              <a:gd name="connsiteY327" fmla="*/ 324249 h 498230"/>
              <a:gd name="connsiteX328" fmla="*/ 376617 w 1490290"/>
              <a:gd name="connsiteY328" fmla="*/ 324249 h 498230"/>
              <a:gd name="connsiteX329" fmla="*/ 376617 w 1490290"/>
              <a:gd name="connsiteY329" fmla="*/ 322425 h 498230"/>
              <a:gd name="connsiteX330" fmla="*/ 378152 w 1490290"/>
              <a:gd name="connsiteY330" fmla="*/ 322425 h 498230"/>
              <a:gd name="connsiteX331" fmla="*/ 381221 w 1490290"/>
              <a:gd name="connsiteY331" fmla="*/ 322425 h 498230"/>
              <a:gd name="connsiteX332" fmla="*/ 381221 w 1490290"/>
              <a:gd name="connsiteY332" fmla="*/ 321491 h 498230"/>
              <a:gd name="connsiteX333" fmla="*/ 382756 w 1490290"/>
              <a:gd name="connsiteY333" fmla="*/ 321491 h 498230"/>
              <a:gd name="connsiteX334" fmla="*/ 384290 w 1490290"/>
              <a:gd name="connsiteY334" fmla="*/ 321491 h 498230"/>
              <a:gd name="connsiteX335" fmla="*/ 385781 w 1490290"/>
              <a:gd name="connsiteY335" fmla="*/ 321491 h 498230"/>
              <a:gd name="connsiteX336" fmla="*/ 385781 w 1490290"/>
              <a:gd name="connsiteY336" fmla="*/ 320557 h 498230"/>
              <a:gd name="connsiteX337" fmla="*/ 387315 w 1490290"/>
              <a:gd name="connsiteY337" fmla="*/ 320557 h 498230"/>
              <a:gd name="connsiteX338" fmla="*/ 387315 w 1490290"/>
              <a:gd name="connsiteY338" fmla="*/ 319656 h 498230"/>
              <a:gd name="connsiteX339" fmla="*/ 388861 w 1490290"/>
              <a:gd name="connsiteY339" fmla="*/ 319656 h 498230"/>
              <a:gd name="connsiteX340" fmla="*/ 388861 w 1490290"/>
              <a:gd name="connsiteY340" fmla="*/ 317765 h 498230"/>
              <a:gd name="connsiteX341" fmla="*/ 390384 w 1490290"/>
              <a:gd name="connsiteY341" fmla="*/ 317765 h 498230"/>
              <a:gd name="connsiteX342" fmla="*/ 390384 w 1490290"/>
              <a:gd name="connsiteY342" fmla="*/ 316831 h 498230"/>
              <a:gd name="connsiteX343" fmla="*/ 391919 w 1490290"/>
              <a:gd name="connsiteY343" fmla="*/ 316831 h 498230"/>
              <a:gd name="connsiteX344" fmla="*/ 391919 w 1490290"/>
              <a:gd name="connsiteY344" fmla="*/ 314962 h 498230"/>
              <a:gd name="connsiteX345" fmla="*/ 393453 w 1490290"/>
              <a:gd name="connsiteY345" fmla="*/ 314962 h 498230"/>
              <a:gd name="connsiteX346" fmla="*/ 393453 w 1490290"/>
              <a:gd name="connsiteY346" fmla="*/ 313105 h 498230"/>
              <a:gd name="connsiteX347" fmla="*/ 394999 w 1490290"/>
              <a:gd name="connsiteY347" fmla="*/ 313105 h 498230"/>
              <a:gd name="connsiteX348" fmla="*/ 396523 w 1490290"/>
              <a:gd name="connsiteY348" fmla="*/ 313105 h 498230"/>
              <a:gd name="connsiteX349" fmla="*/ 398057 w 1490290"/>
              <a:gd name="connsiteY349" fmla="*/ 313105 h 498230"/>
              <a:gd name="connsiteX350" fmla="*/ 399592 w 1490290"/>
              <a:gd name="connsiteY350" fmla="*/ 313105 h 498230"/>
              <a:gd name="connsiteX351" fmla="*/ 401126 w 1490290"/>
              <a:gd name="connsiteY351" fmla="*/ 313105 h 498230"/>
              <a:gd name="connsiteX352" fmla="*/ 404162 w 1490290"/>
              <a:gd name="connsiteY352" fmla="*/ 313105 h 498230"/>
              <a:gd name="connsiteX353" fmla="*/ 405686 w 1490290"/>
              <a:gd name="connsiteY353" fmla="*/ 313105 h 498230"/>
              <a:gd name="connsiteX354" fmla="*/ 407220 w 1490290"/>
              <a:gd name="connsiteY354" fmla="*/ 313105 h 498230"/>
              <a:gd name="connsiteX355" fmla="*/ 408766 w 1490290"/>
              <a:gd name="connsiteY355" fmla="*/ 313105 h 498230"/>
              <a:gd name="connsiteX356" fmla="*/ 410289 w 1490290"/>
              <a:gd name="connsiteY356" fmla="*/ 313105 h 498230"/>
              <a:gd name="connsiteX357" fmla="*/ 413359 w 1490290"/>
              <a:gd name="connsiteY357" fmla="*/ 313105 h 498230"/>
              <a:gd name="connsiteX358" fmla="*/ 413359 w 1490290"/>
              <a:gd name="connsiteY358" fmla="*/ 311170 h 498230"/>
              <a:gd name="connsiteX359" fmla="*/ 414904 w 1490290"/>
              <a:gd name="connsiteY359" fmla="*/ 311170 h 498230"/>
              <a:gd name="connsiteX360" fmla="*/ 416428 w 1490290"/>
              <a:gd name="connsiteY360" fmla="*/ 311170 h 498230"/>
              <a:gd name="connsiteX361" fmla="*/ 416428 w 1490290"/>
              <a:gd name="connsiteY361" fmla="*/ 310202 h 498230"/>
              <a:gd name="connsiteX362" fmla="*/ 417962 w 1490290"/>
              <a:gd name="connsiteY362" fmla="*/ 310202 h 498230"/>
              <a:gd name="connsiteX363" fmla="*/ 419508 w 1490290"/>
              <a:gd name="connsiteY363" fmla="*/ 310202 h 498230"/>
              <a:gd name="connsiteX364" fmla="*/ 421032 w 1490290"/>
              <a:gd name="connsiteY364" fmla="*/ 310202 h 498230"/>
              <a:gd name="connsiteX365" fmla="*/ 424067 w 1490290"/>
              <a:gd name="connsiteY365" fmla="*/ 310202 h 498230"/>
              <a:gd name="connsiteX366" fmla="*/ 424067 w 1490290"/>
              <a:gd name="connsiteY366" fmla="*/ 309201 h 498230"/>
              <a:gd name="connsiteX367" fmla="*/ 425591 w 1490290"/>
              <a:gd name="connsiteY367" fmla="*/ 309201 h 498230"/>
              <a:gd name="connsiteX368" fmla="*/ 425591 w 1490290"/>
              <a:gd name="connsiteY368" fmla="*/ 308234 h 498230"/>
              <a:gd name="connsiteX369" fmla="*/ 427136 w 1490290"/>
              <a:gd name="connsiteY369" fmla="*/ 308234 h 498230"/>
              <a:gd name="connsiteX370" fmla="*/ 427136 w 1490290"/>
              <a:gd name="connsiteY370" fmla="*/ 307244 h 498230"/>
              <a:gd name="connsiteX371" fmla="*/ 428671 w 1490290"/>
              <a:gd name="connsiteY371" fmla="*/ 307244 h 498230"/>
              <a:gd name="connsiteX372" fmla="*/ 430206 w 1490290"/>
              <a:gd name="connsiteY372" fmla="*/ 307244 h 498230"/>
              <a:gd name="connsiteX373" fmla="*/ 431729 w 1490290"/>
              <a:gd name="connsiteY373" fmla="*/ 307244 h 498230"/>
              <a:gd name="connsiteX374" fmla="*/ 431729 w 1490290"/>
              <a:gd name="connsiteY374" fmla="*/ 306276 h 498230"/>
              <a:gd name="connsiteX375" fmla="*/ 433275 w 1490290"/>
              <a:gd name="connsiteY375" fmla="*/ 306276 h 498230"/>
              <a:gd name="connsiteX376" fmla="*/ 433275 w 1490290"/>
              <a:gd name="connsiteY376" fmla="*/ 304274 h 498230"/>
              <a:gd name="connsiteX377" fmla="*/ 434809 w 1490290"/>
              <a:gd name="connsiteY377" fmla="*/ 304274 h 498230"/>
              <a:gd name="connsiteX378" fmla="*/ 436333 w 1490290"/>
              <a:gd name="connsiteY378" fmla="*/ 304274 h 498230"/>
              <a:gd name="connsiteX379" fmla="*/ 436333 w 1490290"/>
              <a:gd name="connsiteY379" fmla="*/ 302272 h 498230"/>
              <a:gd name="connsiteX380" fmla="*/ 437868 w 1490290"/>
              <a:gd name="connsiteY380" fmla="*/ 302272 h 498230"/>
              <a:gd name="connsiteX381" fmla="*/ 437868 w 1490290"/>
              <a:gd name="connsiteY381" fmla="*/ 300270 h 498230"/>
              <a:gd name="connsiteX382" fmla="*/ 439369 w 1490290"/>
              <a:gd name="connsiteY382" fmla="*/ 300270 h 498230"/>
              <a:gd name="connsiteX383" fmla="*/ 439369 w 1490290"/>
              <a:gd name="connsiteY383" fmla="*/ 299269 h 498230"/>
              <a:gd name="connsiteX384" fmla="*/ 440903 w 1490290"/>
              <a:gd name="connsiteY384" fmla="*/ 299269 h 498230"/>
              <a:gd name="connsiteX385" fmla="*/ 442438 w 1490290"/>
              <a:gd name="connsiteY385" fmla="*/ 299269 h 498230"/>
              <a:gd name="connsiteX386" fmla="*/ 442438 w 1490290"/>
              <a:gd name="connsiteY386" fmla="*/ 298268 h 498230"/>
              <a:gd name="connsiteX387" fmla="*/ 443972 w 1490290"/>
              <a:gd name="connsiteY387" fmla="*/ 298268 h 498230"/>
              <a:gd name="connsiteX388" fmla="*/ 443972 w 1490290"/>
              <a:gd name="connsiteY388" fmla="*/ 297267 h 498230"/>
              <a:gd name="connsiteX389" fmla="*/ 445507 w 1490290"/>
              <a:gd name="connsiteY389" fmla="*/ 297267 h 498230"/>
              <a:gd name="connsiteX390" fmla="*/ 445507 w 1490290"/>
              <a:gd name="connsiteY390" fmla="*/ 295232 h 498230"/>
              <a:gd name="connsiteX391" fmla="*/ 447042 w 1490290"/>
              <a:gd name="connsiteY391" fmla="*/ 295232 h 498230"/>
              <a:gd name="connsiteX392" fmla="*/ 448576 w 1490290"/>
              <a:gd name="connsiteY392" fmla="*/ 295232 h 498230"/>
              <a:gd name="connsiteX393" fmla="*/ 448576 w 1490290"/>
              <a:gd name="connsiteY393" fmla="*/ 294231 h 498230"/>
              <a:gd name="connsiteX394" fmla="*/ 450111 w 1490290"/>
              <a:gd name="connsiteY394" fmla="*/ 294231 h 498230"/>
              <a:gd name="connsiteX395" fmla="*/ 451634 w 1490290"/>
              <a:gd name="connsiteY395" fmla="*/ 294231 h 498230"/>
              <a:gd name="connsiteX396" fmla="*/ 453180 w 1490290"/>
              <a:gd name="connsiteY396" fmla="*/ 294231 h 498230"/>
              <a:gd name="connsiteX397" fmla="*/ 453180 w 1490290"/>
              <a:gd name="connsiteY397" fmla="*/ 293197 h 498230"/>
              <a:gd name="connsiteX398" fmla="*/ 456238 w 1490290"/>
              <a:gd name="connsiteY398" fmla="*/ 293197 h 498230"/>
              <a:gd name="connsiteX399" fmla="*/ 456238 w 1490290"/>
              <a:gd name="connsiteY399" fmla="*/ 292196 h 498230"/>
              <a:gd name="connsiteX400" fmla="*/ 457739 w 1490290"/>
              <a:gd name="connsiteY400" fmla="*/ 292196 h 498230"/>
              <a:gd name="connsiteX401" fmla="*/ 457739 w 1490290"/>
              <a:gd name="connsiteY401" fmla="*/ 291161 h 498230"/>
              <a:gd name="connsiteX402" fmla="*/ 459274 w 1490290"/>
              <a:gd name="connsiteY402" fmla="*/ 291161 h 498230"/>
              <a:gd name="connsiteX403" fmla="*/ 459274 w 1490290"/>
              <a:gd name="connsiteY403" fmla="*/ 290127 h 498230"/>
              <a:gd name="connsiteX404" fmla="*/ 460808 w 1490290"/>
              <a:gd name="connsiteY404" fmla="*/ 290127 h 498230"/>
              <a:gd name="connsiteX405" fmla="*/ 462343 w 1490290"/>
              <a:gd name="connsiteY405" fmla="*/ 290127 h 498230"/>
              <a:gd name="connsiteX406" fmla="*/ 463878 w 1490290"/>
              <a:gd name="connsiteY406" fmla="*/ 290127 h 498230"/>
              <a:gd name="connsiteX407" fmla="*/ 465412 w 1490290"/>
              <a:gd name="connsiteY407" fmla="*/ 290127 h 498230"/>
              <a:gd name="connsiteX408" fmla="*/ 468481 w 1490290"/>
              <a:gd name="connsiteY408" fmla="*/ 290127 h 498230"/>
              <a:gd name="connsiteX409" fmla="*/ 468481 w 1490290"/>
              <a:gd name="connsiteY409" fmla="*/ 289093 h 498230"/>
              <a:gd name="connsiteX410" fmla="*/ 470016 w 1490290"/>
              <a:gd name="connsiteY410" fmla="*/ 289093 h 498230"/>
              <a:gd name="connsiteX411" fmla="*/ 471539 w 1490290"/>
              <a:gd name="connsiteY411" fmla="*/ 289093 h 498230"/>
              <a:gd name="connsiteX412" fmla="*/ 471539 w 1490290"/>
              <a:gd name="connsiteY412" fmla="*/ 288058 h 498230"/>
              <a:gd name="connsiteX413" fmla="*/ 473085 w 1490290"/>
              <a:gd name="connsiteY413" fmla="*/ 288058 h 498230"/>
              <a:gd name="connsiteX414" fmla="*/ 474586 w 1490290"/>
              <a:gd name="connsiteY414" fmla="*/ 288058 h 498230"/>
              <a:gd name="connsiteX415" fmla="*/ 476110 w 1490290"/>
              <a:gd name="connsiteY415" fmla="*/ 288058 h 498230"/>
              <a:gd name="connsiteX416" fmla="*/ 476110 w 1490290"/>
              <a:gd name="connsiteY416" fmla="*/ 287024 h 498230"/>
              <a:gd name="connsiteX417" fmla="*/ 477644 w 1490290"/>
              <a:gd name="connsiteY417" fmla="*/ 287024 h 498230"/>
              <a:gd name="connsiteX418" fmla="*/ 479190 w 1490290"/>
              <a:gd name="connsiteY418" fmla="*/ 287024 h 498230"/>
              <a:gd name="connsiteX419" fmla="*/ 480714 w 1490290"/>
              <a:gd name="connsiteY419" fmla="*/ 287024 h 498230"/>
              <a:gd name="connsiteX420" fmla="*/ 480714 w 1490290"/>
              <a:gd name="connsiteY420" fmla="*/ 284911 h 498230"/>
              <a:gd name="connsiteX421" fmla="*/ 482248 w 1490290"/>
              <a:gd name="connsiteY421" fmla="*/ 284911 h 498230"/>
              <a:gd name="connsiteX422" fmla="*/ 482248 w 1490290"/>
              <a:gd name="connsiteY422" fmla="*/ 283877 h 498230"/>
              <a:gd name="connsiteX423" fmla="*/ 483783 w 1490290"/>
              <a:gd name="connsiteY423" fmla="*/ 283877 h 498230"/>
              <a:gd name="connsiteX424" fmla="*/ 483783 w 1490290"/>
              <a:gd name="connsiteY424" fmla="*/ 282809 h 498230"/>
              <a:gd name="connsiteX425" fmla="*/ 485328 w 1490290"/>
              <a:gd name="connsiteY425" fmla="*/ 282809 h 498230"/>
              <a:gd name="connsiteX426" fmla="*/ 485328 w 1490290"/>
              <a:gd name="connsiteY426" fmla="*/ 279639 h 498230"/>
              <a:gd name="connsiteX427" fmla="*/ 491456 w 1490290"/>
              <a:gd name="connsiteY427" fmla="*/ 279639 h 498230"/>
              <a:gd name="connsiteX428" fmla="*/ 492957 w 1490290"/>
              <a:gd name="connsiteY428" fmla="*/ 279639 h 498230"/>
              <a:gd name="connsiteX429" fmla="*/ 494491 w 1490290"/>
              <a:gd name="connsiteY429" fmla="*/ 279639 h 498230"/>
              <a:gd name="connsiteX430" fmla="*/ 496015 w 1490290"/>
              <a:gd name="connsiteY430" fmla="*/ 279639 h 498230"/>
              <a:gd name="connsiteX431" fmla="*/ 496015 w 1490290"/>
              <a:gd name="connsiteY431" fmla="*/ 278594 h 498230"/>
              <a:gd name="connsiteX432" fmla="*/ 497549 w 1490290"/>
              <a:gd name="connsiteY432" fmla="*/ 278594 h 498230"/>
              <a:gd name="connsiteX433" fmla="*/ 497549 w 1490290"/>
              <a:gd name="connsiteY433" fmla="*/ 277526 h 498230"/>
              <a:gd name="connsiteX434" fmla="*/ 500630 w 1490290"/>
              <a:gd name="connsiteY434" fmla="*/ 277526 h 498230"/>
              <a:gd name="connsiteX435" fmla="*/ 500630 w 1490290"/>
              <a:gd name="connsiteY435" fmla="*/ 276458 h 498230"/>
              <a:gd name="connsiteX436" fmla="*/ 502153 w 1490290"/>
              <a:gd name="connsiteY436" fmla="*/ 276458 h 498230"/>
              <a:gd name="connsiteX437" fmla="*/ 503688 w 1490290"/>
              <a:gd name="connsiteY437" fmla="*/ 276458 h 498230"/>
              <a:gd name="connsiteX438" fmla="*/ 505233 w 1490290"/>
              <a:gd name="connsiteY438" fmla="*/ 276458 h 498230"/>
              <a:gd name="connsiteX439" fmla="*/ 506757 w 1490290"/>
              <a:gd name="connsiteY439" fmla="*/ 276458 h 498230"/>
              <a:gd name="connsiteX440" fmla="*/ 508291 w 1490290"/>
              <a:gd name="connsiteY440" fmla="*/ 276458 h 498230"/>
              <a:gd name="connsiteX441" fmla="*/ 508291 w 1490290"/>
              <a:gd name="connsiteY441" fmla="*/ 275357 h 498230"/>
              <a:gd name="connsiteX442" fmla="*/ 511316 w 1490290"/>
              <a:gd name="connsiteY442" fmla="*/ 275357 h 498230"/>
              <a:gd name="connsiteX443" fmla="*/ 511316 w 1490290"/>
              <a:gd name="connsiteY443" fmla="*/ 274289 h 498230"/>
              <a:gd name="connsiteX444" fmla="*/ 512862 w 1490290"/>
              <a:gd name="connsiteY444" fmla="*/ 274289 h 498230"/>
              <a:gd name="connsiteX445" fmla="*/ 514396 w 1490290"/>
              <a:gd name="connsiteY445" fmla="*/ 274289 h 498230"/>
              <a:gd name="connsiteX446" fmla="*/ 515931 w 1490290"/>
              <a:gd name="connsiteY446" fmla="*/ 274289 h 498230"/>
              <a:gd name="connsiteX447" fmla="*/ 517454 w 1490290"/>
              <a:gd name="connsiteY447" fmla="*/ 274289 h 498230"/>
              <a:gd name="connsiteX448" fmla="*/ 519000 w 1490290"/>
              <a:gd name="connsiteY448" fmla="*/ 274289 h 498230"/>
              <a:gd name="connsiteX449" fmla="*/ 519000 w 1490290"/>
              <a:gd name="connsiteY449" fmla="*/ 273188 h 498230"/>
              <a:gd name="connsiteX450" fmla="*/ 522058 w 1490290"/>
              <a:gd name="connsiteY450" fmla="*/ 273188 h 498230"/>
              <a:gd name="connsiteX451" fmla="*/ 523593 w 1490290"/>
              <a:gd name="connsiteY451" fmla="*/ 273188 h 498230"/>
              <a:gd name="connsiteX452" fmla="*/ 523593 w 1490290"/>
              <a:gd name="connsiteY452" fmla="*/ 270975 h 498230"/>
              <a:gd name="connsiteX453" fmla="*/ 525139 w 1490290"/>
              <a:gd name="connsiteY453" fmla="*/ 270975 h 498230"/>
              <a:gd name="connsiteX454" fmla="*/ 525139 w 1490290"/>
              <a:gd name="connsiteY454" fmla="*/ 268762 h 498230"/>
              <a:gd name="connsiteX455" fmla="*/ 526662 w 1490290"/>
              <a:gd name="connsiteY455" fmla="*/ 268762 h 498230"/>
              <a:gd name="connsiteX456" fmla="*/ 528163 w 1490290"/>
              <a:gd name="connsiteY456" fmla="*/ 268762 h 498230"/>
              <a:gd name="connsiteX457" fmla="*/ 528163 w 1490290"/>
              <a:gd name="connsiteY457" fmla="*/ 265414 h 498230"/>
              <a:gd name="connsiteX458" fmla="*/ 529698 w 1490290"/>
              <a:gd name="connsiteY458" fmla="*/ 265414 h 498230"/>
              <a:gd name="connsiteX459" fmla="*/ 529698 w 1490290"/>
              <a:gd name="connsiteY459" fmla="*/ 263179 h 498230"/>
              <a:gd name="connsiteX460" fmla="*/ 532767 w 1490290"/>
              <a:gd name="connsiteY460" fmla="*/ 263179 h 498230"/>
              <a:gd name="connsiteX461" fmla="*/ 534302 w 1490290"/>
              <a:gd name="connsiteY461" fmla="*/ 263179 h 498230"/>
              <a:gd name="connsiteX462" fmla="*/ 535836 w 1490290"/>
              <a:gd name="connsiteY462" fmla="*/ 263179 h 498230"/>
              <a:gd name="connsiteX463" fmla="*/ 537371 w 1490290"/>
              <a:gd name="connsiteY463" fmla="*/ 263179 h 498230"/>
              <a:gd name="connsiteX464" fmla="*/ 538905 w 1490290"/>
              <a:gd name="connsiteY464" fmla="*/ 263179 h 498230"/>
              <a:gd name="connsiteX465" fmla="*/ 540440 w 1490290"/>
              <a:gd name="connsiteY465" fmla="*/ 263179 h 498230"/>
              <a:gd name="connsiteX466" fmla="*/ 540440 w 1490290"/>
              <a:gd name="connsiteY466" fmla="*/ 262033 h 498230"/>
              <a:gd name="connsiteX467" fmla="*/ 541963 w 1490290"/>
              <a:gd name="connsiteY467" fmla="*/ 262033 h 498230"/>
              <a:gd name="connsiteX468" fmla="*/ 541963 w 1490290"/>
              <a:gd name="connsiteY468" fmla="*/ 260899 h 498230"/>
              <a:gd name="connsiteX469" fmla="*/ 543509 w 1490290"/>
              <a:gd name="connsiteY469" fmla="*/ 260899 h 498230"/>
              <a:gd name="connsiteX470" fmla="*/ 545044 w 1490290"/>
              <a:gd name="connsiteY470" fmla="*/ 260899 h 498230"/>
              <a:gd name="connsiteX471" fmla="*/ 545044 w 1490290"/>
              <a:gd name="connsiteY471" fmla="*/ 258619 h 498230"/>
              <a:gd name="connsiteX472" fmla="*/ 546534 w 1490290"/>
              <a:gd name="connsiteY472" fmla="*/ 258619 h 498230"/>
              <a:gd name="connsiteX473" fmla="*/ 548068 w 1490290"/>
              <a:gd name="connsiteY473" fmla="*/ 258619 h 498230"/>
              <a:gd name="connsiteX474" fmla="*/ 549603 w 1490290"/>
              <a:gd name="connsiteY474" fmla="*/ 258619 h 498230"/>
              <a:gd name="connsiteX475" fmla="*/ 551148 w 1490290"/>
              <a:gd name="connsiteY475" fmla="*/ 258619 h 498230"/>
              <a:gd name="connsiteX476" fmla="*/ 552672 w 1490290"/>
              <a:gd name="connsiteY476" fmla="*/ 258619 h 498230"/>
              <a:gd name="connsiteX477" fmla="*/ 552672 w 1490290"/>
              <a:gd name="connsiteY477" fmla="*/ 256316 h 498230"/>
              <a:gd name="connsiteX478" fmla="*/ 554206 w 1490290"/>
              <a:gd name="connsiteY478" fmla="*/ 256316 h 498230"/>
              <a:gd name="connsiteX479" fmla="*/ 555741 w 1490290"/>
              <a:gd name="connsiteY479" fmla="*/ 256316 h 498230"/>
              <a:gd name="connsiteX480" fmla="*/ 557276 w 1490290"/>
              <a:gd name="connsiteY480" fmla="*/ 256316 h 498230"/>
              <a:gd name="connsiteX481" fmla="*/ 557276 w 1490290"/>
              <a:gd name="connsiteY481" fmla="*/ 254003 h 498230"/>
              <a:gd name="connsiteX482" fmla="*/ 558810 w 1490290"/>
              <a:gd name="connsiteY482" fmla="*/ 254003 h 498230"/>
              <a:gd name="connsiteX483" fmla="*/ 560345 w 1490290"/>
              <a:gd name="connsiteY483" fmla="*/ 254003 h 498230"/>
              <a:gd name="connsiteX484" fmla="*/ 560345 w 1490290"/>
              <a:gd name="connsiteY484" fmla="*/ 252824 h 498230"/>
              <a:gd name="connsiteX485" fmla="*/ 563370 w 1490290"/>
              <a:gd name="connsiteY485" fmla="*/ 252824 h 498230"/>
              <a:gd name="connsiteX486" fmla="*/ 563370 w 1490290"/>
              <a:gd name="connsiteY486" fmla="*/ 251656 h 498230"/>
              <a:gd name="connsiteX487" fmla="*/ 564915 w 1490290"/>
              <a:gd name="connsiteY487" fmla="*/ 251656 h 498230"/>
              <a:gd name="connsiteX488" fmla="*/ 566439 w 1490290"/>
              <a:gd name="connsiteY488" fmla="*/ 251656 h 498230"/>
              <a:gd name="connsiteX489" fmla="*/ 567973 w 1490290"/>
              <a:gd name="connsiteY489" fmla="*/ 251656 h 498230"/>
              <a:gd name="connsiteX490" fmla="*/ 567973 w 1490290"/>
              <a:gd name="connsiteY490" fmla="*/ 250444 h 498230"/>
              <a:gd name="connsiteX491" fmla="*/ 569508 w 1490290"/>
              <a:gd name="connsiteY491" fmla="*/ 250444 h 498230"/>
              <a:gd name="connsiteX492" fmla="*/ 571054 w 1490290"/>
              <a:gd name="connsiteY492" fmla="*/ 250444 h 498230"/>
              <a:gd name="connsiteX493" fmla="*/ 575646 w 1490290"/>
              <a:gd name="connsiteY493" fmla="*/ 250444 h 498230"/>
              <a:gd name="connsiteX494" fmla="*/ 577181 w 1490290"/>
              <a:gd name="connsiteY494" fmla="*/ 250444 h 498230"/>
              <a:gd name="connsiteX495" fmla="*/ 577181 w 1490290"/>
              <a:gd name="connsiteY495" fmla="*/ 249265 h 498230"/>
              <a:gd name="connsiteX496" fmla="*/ 578715 w 1490290"/>
              <a:gd name="connsiteY496" fmla="*/ 249265 h 498230"/>
              <a:gd name="connsiteX497" fmla="*/ 580250 w 1490290"/>
              <a:gd name="connsiteY497" fmla="*/ 249265 h 498230"/>
              <a:gd name="connsiteX498" fmla="*/ 581740 w 1490290"/>
              <a:gd name="connsiteY498" fmla="*/ 249265 h 498230"/>
              <a:gd name="connsiteX499" fmla="*/ 583286 w 1490290"/>
              <a:gd name="connsiteY499" fmla="*/ 249265 h 498230"/>
              <a:gd name="connsiteX500" fmla="*/ 583286 w 1490290"/>
              <a:gd name="connsiteY500" fmla="*/ 245650 h 498230"/>
              <a:gd name="connsiteX501" fmla="*/ 586355 w 1490290"/>
              <a:gd name="connsiteY501" fmla="*/ 245650 h 498230"/>
              <a:gd name="connsiteX502" fmla="*/ 586355 w 1490290"/>
              <a:gd name="connsiteY502" fmla="*/ 244438 h 498230"/>
              <a:gd name="connsiteX503" fmla="*/ 587878 w 1490290"/>
              <a:gd name="connsiteY503" fmla="*/ 244438 h 498230"/>
              <a:gd name="connsiteX504" fmla="*/ 589424 w 1490290"/>
              <a:gd name="connsiteY504" fmla="*/ 244438 h 498230"/>
              <a:gd name="connsiteX505" fmla="*/ 590959 w 1490290"/>
              <a:gd name="connsiteY505" fmla="*/ 244438 h 498230"/>
              <a:gd name="connsiteX506" fmla="*/ 592482 w 1490290"/>
              <a:gd name="connsiteY506" fmla="*/ 244438 h 498230"/>
              <a:gd name="connsiteX507" fmla="*/ 592482 w 1490290"/>
              <a:gd name="connsiteY507" fmla="*/ 241991 h 498230"/>
              <a:gd name="connsiteX508" fmla="*/ 594017 w 1490290"/>
              <a:gd name="connsiteY508" fmla="*/ 241991 h 498230"/>
              <a:gd name="connsiteX509" fmla="*/ 594017 w 1490290"/>
              <a:gd name="connsiteY509" fmla="*/ 240746 h 498230"/>
              <a:gd name="connsiteX510" fmla="*/ 597086 w 1490290"/>
              <a:gd name="connsiteY510" fmla="*/ 240746 h 498230"/>
              <a:gd name="connsiteX511" fmla="*/ 598587 w 1490290"/>
              <a:gd name="connsiteY511" fmla="*/ 240746 h 498230"/>
              <a:gd name="connsiteX512" fmla="*/ 600122 w 1490290"/>
              <a:gd name="connsiteY512" fmla="*/ 240746 h 498230"/>
              <a:gd name="connsiteX513" fmla="*/ 601645 w 1490290"/>
              <a:gd name="connsiteY513" fmla="*/ 240746 h 498230"/>
              <a:gd name="connsiteX514" fmla="*/ 603191 w 1490290"/>
              <a:gd name="connsiteY514" fmla="*/ 240746 h 498230"/>
              <a:gd name="connsiteX515" fmla="*/ 607784 w 1490290"/>
              <a:gd name="connsiteY515" fmla="*/ 240746 h 498230"/>
              <a:gd name="connsiteX516" fmla="*/ 607784 w 1490290"/>
              <a:gd name="connsiteY516" fmla="*/ 239500 h 498230"/>
              <a:gd name="connsiteX517" fmla="*/ 609329 w 1490290"/>
              <a:gd name="connsiteY517" fmla="*/ 239500 h 498230"/>
              <a:gd name="connsiteX518" fmla="*/ 610864 w 1490290"/>
              <a:gd name="connsiteY518" fmla="*/ 239500 h 498230"/>
              <a:gd name="connsiteX519" fmla="*/ 610864 w 1490290"/>
              <a:gd name="connsiteY519" fmla="*/ 238254 h 498230"/>
              <a:gd name="connsiteX520" fmla="*/ 612387 w 1490290"/>
              <a:gd name="connsiteY520" fmla="*/ 238254 h 498230"/>
              <a:gd name="connsiteX521" fmla="*/ 613922 w 1490290"/>
              <a:gd name="connsiteY521" fmla="*/ 238254 h 498230"/>
              <a:gd name="connsiteX522" fmla="*/ 613922 w 1490290"/>
              <a:gd name="connsiteY522" fmla="*/ 236986 h 498230"/>
              <a:gd name="connsiteX523" fmla="*/ 616958 w 1490290"/>
              <a:gd name="connsiteY523" fmla="*/ 236986 h 498230"/>
              <a:gd name="connsiteX524" fmla="*/ 616958 w 1490290"/>
              <a:gd name="connsiteY524" fmla="*/ 235707 h 498230"/>
              <a:gd name="connsiteX525" fmla="*/ 618492 w 1490290"/>
              <a:gd name="connsiteY525" fmla="*/ 235707 h 498230"/>
              <a:gd name="connsiteX526" fmla="*/ 618492 w 1490290"/>
              <a:gd name="connsiteY526" fmla="*/ 234428 h 498230"/>
              <a:gd name="connsiteX527" fmla="*/ 620027 w 1490290"/>
              <a:gd name="connsiteY527" fmla="*/ 234428 h 498230"/>
              <a:gd name="connsiteX528" fmla="*/ 621561 w 1490290"/>
              <a:gd name="connsiteY528" fmla="*/ 234428 h 498230"/>
              <a:gd name="connsiteX529" fmla="*/ 623096 w 1490290"/>
              <a:gd name="connsiteY529" fmla="*/ 234428 h 498230"/>
              <a:gd name="connsiteX530" fmla="*/ 623096 w 1490290"/>
              <a:gd name="connsiteY530" fmla="*/ 231848 h 498230"/>
              <a:gd name="connsiteX531" fmla="*/ 624631 w 1490290"/>
              <a:gd name="connsiteY531" fmla="*/ 231848 h 498230"/>
              <a:gd name="connsiteX532" fmla="*/ 626165 w 1490290"/>
              <a:gd name="connsiteY532" fmla="*/ 231848 h 498230"/>
              <a:gd name="connsiteX533" fmla="*/ 627689 w 1490290"/>
              <a:gd name="connsiteY533" fmla="*/ 231848 h 498230"/>
              <a:gd name="connsiteX534" fmla="*/ 627689 w 1490290"/>
              <a:gd name="connsiteY534" fmla="*/ 229257 h 498230"/>
              <a:gd name="connsiteX535" fmla="*/ 629234 w 1490290"/>
              <a:gd name="connsiteY535" fmla="*/ 229257 h 498230"/>
              <a:gd name="connsiteX536" fmla="*/ 629234 w 1490290"/>
              <a:gd name="connsiteY536" fmla="*/ 227944 h 498230"/>
              <a:gd name="connsiteX537" fmla="*/ 630769 w 1490290"/>
              <a:gd name="connsiteY537" fmla="*/ 227944 h 498230"/>
              <a:gd name="connsiteX538" fmla="*/ 632292 w 1490290"/>
              <a:gd name="connsiteY538" fmla="*/ 227944 h 498230"/>
              <a:gd name="connsiteX539" fmla="*/ 632292 w 1490290"/>
              <a:gd name="connsiteY539" fmla="*/ 226632 h 498230"/>
              <a:gd name="connsiteX540" fmla="*/ 633794 w 1490290"/>
              <a:gd name="connsiteY540" fmla="*/ 226632 h 498230"/>
              <a:gd name="connsiteX541" fmla="*/ 633794 w 1490290"/>
              <a:gd name="connsiteY541" fmla="*/ 224007 h 498230"/>
              <a:gd name="connsiteX542" fmla="*/ 635339 w 1490290"/>
              <a:gd name="connsiteY542" fmla="*/ 224007 h 498230"/>
              <a:gd name="connsiteX543" fmla="*/ 635339 w 1490290"/>
              <a:gd name="connsiteY543" fmla="*/ 221349 h 498230"/>
              <a:gd name="connsiteX544" fmla="*/ 636863 w 1490290"/>
              <a:gd name="connsiteY544" fmla="*/ 221349 h 498230"/>
              <a:gd name="connsiteX545" fmla="*/ 636863 w 1490290"/>
              <a:gd name="connsiteY545" fmla="*/ 220048 h 498230"/>
              <a:gd name="connsiteX546" fmla="*/ 638397 w 1490290"/>
              <a:gd name="connsiteY546" fmla="*/ 220048 h 498230"/>
              <a:gd name="connsiteX547" fmla="*/ 639932 w 1490290"/>
              <a:gd name="connsiteY547" fmla="*/ 220048 h 498230"/>
              <a:gd name="connsiteX548" fmla="*/ 639932 w 1490290"/>
              <a:gd name="connsiteY548" fmla="*/ 218735 h 498230"/>
              <a:gd name="connsiteX549" fmla="*/ 641478 w 1490290"/>
              <a:gd name="connsiteY549" fmla="*/ 218735 h 498230"/>
              <a:gd name="connsiteX550" fmla="*/ 643001 w 1490290"/>
              <a:gd name="connsiteY550" fmla="*/ 218735 h 498230"/>
              <a:gd name="connsiteX551" fmla="*/ 643001 w 1490290"/>
              <a:gd name="connsiteY551" fmla="*/ 217423 h 498230"/>
              <a:gd name="connsiteX552" fmla="*/ 644536 w 1490290"/>
              <a:gd name="connsiteY552" fmla="*/ 217423 h 498230"/>
              <a:gd name="connsiteX553" fmla="*/ 646070 w 1490290"/>
              <a:gd name="connsiteY553" fmla="*/ 217423 h 498230"/>
              <a:gd name="connsiteX554" fmla="*/ 646070 w 1490290"/>
              <a:gd name="connsiteY554" fmla="*/ 216077 h 498230"/>
              <a:gd name="connsiteX555" fmla="*/ 647605 w 1490290"/>
              <a:gd name="connsiteY555" fmla="*/ 216077 h 498230"/>
              <a:gd name="connsiteX556" fmla="*/ 647605 w 1490290"/>
              <a:gd name="connsiteY556" fmla="*/ 214731 h 498230"/>
              <a:gd name="connsiteX557" fmla="*/ 652164 w 1490290"/>
              <a:gd name="connsiteY557" fmla="*/ 214731 h 498230"/>
              <a:gd name="connsiteX558" fmla="*/ 653699 w 1490290"/>
              <a:gd name="connsiteY558" fmla="*/ 214731 h 498230"/>
              <a:gd name="connsiteX559" fmla="*/ 653699 w 1490290"/>
              <a:gd name="connsiteY559" fmla="*/ 213386 h 498230"/>
              <a:gd name="connsiteX560" fmla="*/ 655244 w 1490290"/>
              <a:gd name="connsiteY560" fmla="*/ 213386 h 498230"/>
              <a:gd name="connsiteX561" fmla="*/ 655244 w 1490290"/>
              <a:gd name="connsiteY561" fmla="*/ 212040 h 498230"/>
              <a:gd name="connsiteX562" fmla="*/ 656779 w 1490290"/>
              <a:gd name="connsiteY562" fmla="*/ 212040 h 498230"/>
              <a:gd name="connsiteX563" fmla="*/ 661383 w 1490290"/>
              <a:gd name="connsiteY563" fmla="*/ 212040 h 498230"/>
              <a:gd name="connsiteX564" fmla="*/ 661383 w 1490290"/>
              <a:gd name="connsiteY564" fmla="*/ 210694 h 498230"/>
              <a:gd name="connsiteX565" fmla="*/ 662906 w 1490290"/>
              <a:gd name="connsiteY565" fmla="*/ 210694 h 498230"/>
              <a:gd name="connsiteX566" fmla="*/ 662906 w 1490290"/>
              <a:gd name="connsiteY566" fmla="*/ 209304 h 498230"/>
              <a:gd name="connsiteX567" fmla="*/ 664441 w 1490290"/>
              <a:gd name="connsiteY567" fmla="*/ 209304 h 498230"/>
              <a:gd name="connsiteX568" fmla="*/ 665975 w 1490290"/>
              <a:gd name="connsiteY568" fmla="*/ 209304 h 498230"/>
              <a:gd name="connsiteX569" fmla="*/ 667510 w 1490290"/>
              <a:gd name="connsiteY569" fmla="*/ 209304 h 498230"/>
              <a:gd name="connsiteX570" fmla="*/ 667510 w 1490290"/>
              <a:gd name="connsiteY570" fmla="*/ 207969 h 498230"/>
              <a:gd name="connsiteX571" fmla="*/ 669045 w 1490290"/>
              <a:gd name="connsiteY571" fmla="*/ 207969 h 498230"/>
              <a:gd name="connsiteX572" fmla="*/ 670546 w 1490290"/>
              <a:gd name="connsiteY572" fmla="*/ 207969 h 498230"/>
              <a:gd name="connsiteX573" fmla="*/ 670546 w 1490290"/>
              <a:gd name="connsiteY573" fmla="*/ 206590 h 498230"/>
              <a:gd name="connsiteX574" fmla="*/ 672080 w 1490290"/>
              <a:gd name="connsiteY574" fmla="*/ 206590 h 498230"/>
              <a:gd name="connsiteX575" fmla="*/ 673604 w 1490290"/>
              <a:gd name="connsiteY575" fmla="*/ 206590 h 498230"/>
              <a:gd name="connsiteX576" fmla="*/ 675149 w 1490290"/>
              <a:gd name="connsiteY576" fmla="*/ 206590 h 498230"/>
              <a:gd name="connsiteX577" fmla="*/ 675149 w 1490290"/>
              <a:gd name="connsiteY577" fmla="*/ 205166 h 498230"/>
              <a:gd name="connsiteX578" fmla="*/ 676684 w 1490290"/>
              <a:gd name="connsiteY578" fmla="*/ 205166 h 498230"/>
              <a:gd name="connsiteX579" fmla="*/ 678207 w 1490290"/>
              <a:gd name="connsiteY579" fmla="*/ 205166 h 498230"/>
              <a:gd name="connsiteX580" fmla="*/ 679742 w 1490290"/>
              <a:gd name="connsiteY580" fmla="*/ 205166 h 498230"/>
              <a:gd name="connsiteX581" fmla="*/ 679742 w 1490290"/>
              <a:gd name="connsiteY581" fmla="*/ 203787 h 498230"/>
              <a:gd name="connsiteX582" fmla="*/ 682811 w 1490290"/>
              <a:gd name="connsiteY582" fmla="*/ 203787 h 498230"/>
              <a:gd name="connsiteX583" fmla="*/ 682811 w 1490290"/>
              <a:gd name="connsiteY583" fmla="*/ 202375 h 498230"/>
              <a:gd name="connsiteX584" fmla="*/ 684346 w 1490290"/>
              <a:gd name="connsiteY584" fmla="*/ 202375 h 498230"/>
              <a:gd name="connsiteX585" fmla="*/ 685880 w 1490290"/>
              <a:gd name="connsiteY585" fmla="*/ 202375 h 498230"/>
              <a:gd name="connsiteX586" fmla="*/ 687370 w 1490290"/>
              <a:gd name="connsiteY586" fmla="*/ 202375 h 498230"/>
              <a:gd name="connsiteX587" fmla="*/ 688916 w 1490290"/>
              <a:gd name="connsiteY587" fmla="*/ 202375 h 498230"/>
              <a:gd name="connsiteX588" fmla="*/ 688916 w 1490290"/>
              <a:gd name="connsiteY588" fmla="*/ 199550 h 498230"/>
              <a:gd name="connsiteX589" fmla="*/ 691985 w 1490290"/>
              <a:gd name="connsiteY589" fmla="*/ 199550 h 498230"/>
              <a:gd name="connsiteX590" fmla="*/ 693520 w 1490290"/>
              <a:gd name="connsiteY590" fmla="*/ 199550 h 498230"/>
              <a:gd name="connsiteX591" fmla="*/ 695055 w 1490290"/>
              <a:gd name="connsiteY591" fmla="*/ 199550 h 498230"/>
              <a:gd name="connsiteX592" fmla="*/ 696589 w 1490290"/>
              <a:gd name="connsiteY592" fmla="*/ 199550 h 498230"/>
              <a:gd name="connsiteX593" fmla="*/ 698113 w 1490290"/>
              <a:gd name="connsiteY593" fmla="*/ 199550 h 498230"/>
              <a:gd name="connsiteX594" fmla="*/ 698113 w 1490290"/>
              <a:gd name="connsiteY594" fmla="*/ 198137 h 498230"/>
              <a:gd name="connsiteX595" fmla="*/ 699658 w 1490290"/>
              <a:gd name="connsiteY595" fmla="*/ 198137 h 498230"/>
              <a:gd name="connsiteX596" fmla="*/ 704251 w 1490290"/>
              <a:gd name="connsiteY596" fmla="*/ 198137 h 498230"/>
              <a:gd name="connsiteX597" fmla="*/ 704251 w 1490290"/>
              <a:gd name="connsiteY597" fmla="*/ 196714 h 498230"/>
              <a:gd name="connsiteX598" fmla="*/ 705752 w 1490290"/>
              <a:gd name="connsiteY598" fmla="*/ 196714 h 498230"/>
              <a:gd name="connsiteX599" fmla="*/ 707287 w 1490290"/>
              <a:gd name="connsiteY599" fmla="*/ 196714 h 498230"/>
              <a:gd name="connsiteX600" fmla="*/ 707287 w 1490290"/>
              <a:gd name="connsiteY600" fmla="*/ 195268 h 498230"/>
              <a:gd name="connsiteX601" fmla="*/ 708821 w 1490290"/>
              <a:gd name="connsiteY601" fmla="*/ 195268 h 498230"/>
              <a:gd name="connsiteX602" fmla="*/ 708821 w 1490290"/>
              <a:gd name="connsiteY602" fmla="*/ 192376 h 498230"/>
              <a:gd name="connsiteX603" fmla="*/ 710356 w 1490290"/>
              <a:gd name="connsiteY603" fmla="*/ 192376 h 498230"/>
              <a:gd name="connsiteX604" fmla="*/ 711891 w 1490290"/>
              <a:gd name="connsiteY604" fmla="*/ 192376 h 498230"/>
              <a:gd name="connsiteX605" fmla="*/ 711891 w 1490290"/>
              <a:gd name="connsiteY605" fmla="*/ 190919 h 498230"/>
              <a:gd name="connsiteX606" fmla="*/ 714960 w 1490290"/>
              <a:gd name="connsiteY606" fmla="*/ 190919 h 498230"/>
              <a:gd name="connsiteX607" fmla="*/ 716494 w 1490290"/>
              <a:gd name="connsiteY607" fmla="*/ 190919 h 498230"/>
              <a:gd name="connsiteX608" fmla="*/ 718018 w 1490290"/>
              <a:gd name="connsiteY608" fmla="*/ 190919 h 498230"/>
              <a:gd name="connsiteX609" fmla="*/ 718018 w 1490290"/>
              <a:gd name="connsiteY609" fmla="*/ 189440 h 498230"/>
              <a:gd name="connsiteX610" fmla="*/ 719564 w 1490290"/>
              <a:gd name="connsiteY610" fmla="*/ 189440 h 498230"/>
              <a:gd name="connsiteX611" fmla="*/ 719564 w 1490290"/>
              <a:gd name="connsiteY611" fmla="*/ 187983 h 498230"/>
              <a:gd name="connsiteX612" fmla="*/ 721098 w 1490290"/>
              <a:gd name="connsiteY612" fmla="*/ 187983 h 498230"/>
              <a:gd name="connsiteX613" fmla="*/ 721098 w 1490290"/>
              <a:gd name="connsiteY613" fmla="*/ 186504 h 498230"/>
              <a:gd name="connsiteX614" fmla="*/ 725657 w 1490290"/>
              <a:gd name="connsiteY614" fmla="*/ 186504 h 498230"/>
              <a:gd name="connsiteX615" fmla="*/ 725657 w 1490290"/>
              <a:gd name="connsiteY615" fmla="*/ 183534 h 498230"/>
              <a:gd name="connsiteX616" fmla="*/ 727203 w 1490290"/>
              <a:gd name="connsiteY616" fmla="*/ 183534 h 498230"/>
              <a:gd name="connsiteX617" fmla="*/ 727203 w 1490290"/>
              <a:gd name="connsiteY617" fmla="*/ 182055 h 498230"/>
              <a:gd name="connsiteX618" fmla="*/ 728726 w 1490290"/>
              <a:gd name="connsiteY618" fmla="*/ 182055 h 498230"/>
              <a:gd name="connsiteX619" fmla="*/ 728726 w 1490290"/>
              <a:gd name="connsiteY619" fmla="*/ 180531 h 498230"/>
              <a:gd name="connsiteX620" fmla="*/ 730261 w 1490290"/>
              <a:gd name="connsiteY620" fmla="*/ 180531 h 498230"/>
              <a:gd name="connsiteX621" fmla="*/ 731795 w 1490290"/>
              <a:gd name="connsiteY621" fmla="*/ 180531 h 498230"/>
              <a:gd name="connsiteX622" fmla="*/ 731795 w 1490290"/>
              <a:gd name="connsiteY622" fmla="*/ 179052 h 498230"/>
              <a:gd name="connsiteX623" fmla="*/ 733330 w 1490290"/>
              <a:gd name="connsiteY623" fmla="*/ 179052 h 498230"/>
              <a:gd name="connsiteX624" fmla="*/ 736399 w 1490290"/>
              <a:gd name="connsiteY624" fmla="*/ 179052 h 498230"/>
              <a:gd name="connsiteX625" fmla="*/ 737923 w 1490290"/>
              <a:gd name="connsiteY625" fmla="*/ 179052 h 498230"/>
              <a:gd name="connsiteX626" fmla="*/ 737923 w 1490290"/>
              <a:gd name="connsiteY626" fmla="*/ 177528 h 498230"/>
              <a:gd name="connsiteX627" fmla="*/ 739468 w 1490290"/>
              <a:gd name="connsiteY627" fmla="*/ 177528 h 498230"/>
              <a:gd name="connsiteX628" fmla="*/ 739468 w 1490290"/>
              <a:gd name="connsiteY628" fmla="*/ 176016 h 498230"/>
              <a:gd name="connsiteX629" fmla="*/ 740970 w 1490290"/>
              <a:gd name="connsiteY629" fmla="*/ 176016 h 498230"/>
              <a:gd name="connsiteX630" fmla="*/ 742504 w 1490290"/>
              <a:gd name="connsiteY630" fmla="*/ 176016 h 498230"/>
              <a:gd name="connsiteX631" fmla="*/ 745562 w 1490290"/>
              <a:gd name="connsiteY631" fmla="*/ 176016 h 498230"/>
              <a:gd name="connsiteX632" fmla="*/ 748631 w 1490290"/>
              <a:gd name="connsiteY632" fmla="*/ 176016 h 498230"/>
              <a:gd name="connsiteX633" fmla="*/ 750166 w 1490290"/>
              <a:gd name="connsiteY633" fmla="*/ 176016 h 498230"/>
              <a:gd name="connsiteX634" fmla="*/ 751712 w 1490290"/>
              <a:gd name="connsiteY634" fmla="*/ 176016 h 498230"/>
              <a:gd name="connsiteX635" fmla="*/ 753235 w 1490290"/>
              <a:gd name="connsiteY635" fmla="*/ 176016 h 498230"/>
              <a:gd name="connsiteX636" fmla="*/ 754770 w 1490290"/>
              <a:gd name="connsiteY636" fmla="*/ 176016 h 498230"/>
              <a:gd name="connsiteX637" fmla="*/ 754770 w 1490290"/>
              <a:gd name="connsiteY637" fmla="*/ 174459 h 498230"/>
              <a:gd name="connsiteX638" fmla="*/ 757795 w 1490290"/>
              <a:gd name="connsiteY638" fmla="*/ 174459 h 498230"/>
              <a:gd name="connsiteX639" fmla="*/ 759340 w 1490290"/>
              <a:gd name="connsiteY639" fmla="*/ 174459 h 498230"/>
              <a:gd name="connsiteX640" fmla="*/ 760875 w 1490290"/>
              <a:gd name="connsiteY640" fmla="*/ 174459 h 498230"/>
              <a:gd name="connsiteX641" fmla="*/ 760875 w 1490290"/>
              <a:gd name="connsiteY641" fmla="*/ 171322 h 498230"/>
              <a:gd name="connsiteX642" fmla="*/ 762410 w 1490290"/>
              <a:gd name="connsiteY642" fmla="*/ 171322 h 498230"/>
              <a:gd name="connsiteX643" fmla="*/ 762410 w 1490290"/>
              <a:gd name="connsiteY643" fmla="*/ 169765 h 498230"/>
              <a:gd name="connsiteX644" fmla="*/ 763933 w 1490290"/>
              <a:gd name="connsiteY644" fmla="*/ 169765 h 498230"/>
              <a:gd name="connsiteX645" fmla="*/ 763933 w 1490290"/>
              <a:gd name="connsiteY645" fmla="*/ 166629 h 498230"/>
              <a:gd name="connsiteX646" fmla="*/ 768537 w 1490290"/>
              <a:gd name="connsiteY646" fmla="*/ 166629 h 498230"/>
              <a:gd name="connsiteX647" fmla="*/ 770071 w 1490290"/>
              <a:gd name="connsiteY647" fmla="*/ 166629 h 498230"/>
              <a:gd name="connsiteX648" fmla="*/ 770071 w 1490290"/>
              <a:gd name="connsiteY648" fmla="*/ 163448 h 498230"/>
              <a:gd name="connsiteX649" fmla="*/ 771617 w 1490290"/>
              <a:gd name="connsiteY649" fmla="*/ 163448 h 498230"/>
              <a:gd name="connsiteX650" fmla="*/ 771617 w 1490290"/>
              <a:gd name="connsiteY650" fmla="*/ 161869 h 498230"/>
              <a:gd name="connsiteX651" fmla="*/ 773140 w 1490290"/>
              <a:gd name="connsiteY651" fmla="*/ 161869 h 498230"/>
              <a:gd name="connsiteX652" fmla="*/ 774675 w 1490290"/>
              <a:gd name="connsiteY652" fmla="*/ 161869 h 498230"/>
              <a:gd name="connsiteX653" fmla="*/ 779245 w 1490290"/>
              <a:gd name="connsiteY653" fmla="*/ 161869 h 498230"/>
              <a:gd name="connsiteX654" fmla="*/ 780780 w 1490290"/>
              <a:gd name="connsiteY654" fmla="*/ 161869 h 498230"/>
              <a:gd name="connsiteX655" fmla="*/ 782314 w 1490290"/>
              <a:gd name="connsiteY655" fmla="*/ 161869 h 498230"/>
              <a:gd name="connsiteX656" fmla="*/ 785384 w 1490290"/>
              <a:gd name="connsiteY656" fmla="*/ 161869 h 498230"/>
              <a:gd name="connsiteX657" fmla="*/ 789976 w 1490290"/>
              <a:gd name="connsiteY657" fmla="*/ 161869 h 498230"/>
              <a:gd name="connsiteX658" fmla="*/ 791522 w 1490290"/>
              <a:gd name="connsiteY658" fmla="*/ 161869 h 498230"/>
              <a:gd name="connsiteX659" fmla="*/ 793046 w 1490290"/>
              <a:gd name="connsiteY659" fmla="*/ 161869 h 498230"/>
              <a:gd name="connsiteX660" fmla="*/ 793046 w 1490290"/>
              <a:gd name="connsiteY660" fmla="*/ 160245 h 498230"/>
              <a:gd name="connsiteX661" fmla="*/ 794547 w 1490290"/>
              <a:gd name="connsiteY661" fmla="*/ 160245 h 498230"/>
              <a:gd name="connsiteX662" fmla="*/ 796081 w 1490290"/>
              <a:gd name="connsiteY662" fmla="*/ 160245 h 498230"/>
              <a:gd name="connsiteX663" fmla="*/ 797616 w 1490290"/>
              <a:gd name="connsiteY663" fmla="*/ 160245 h 498230"/>
              <a:gd name="connsiteX664" fmla="*/ 797616 w 1490290"/>
              <a:gd name="connsiteY664" fmla="*/ 158588 h 498230"/>
              <a:gd name="connsiteX665" fmla="*/ 800685 w 1490290"/>
              <a:gd name="connsiteY665" fmla="*/ 158588 h 498230"/>
              <a:gd name="connsiteX666" fmla="*/ 802220 w 1490290"/>
              <a:gd name="connsiteY666" fmla="*/ 158588 h 498230"/>
              <a:gd name="connsiteX667" fmla="*/ 803754 w 1490290"/>
              <a:gd name="connsiteY667" fmla="*/ 158588 h 498230"/>
              <a:gd name="connsiteX668" fmla="*/ 803754 w 1490290"/>
              <a:gd name="connsiteY668" fmla="*/ 156964 h 498230"/>
              <a:gd name="connsiteX669" fmla="*/ 805289 w 1490290"/>
              <a:gd name="connsiteY669" fmla="*/ 156964 h 498230"/>
              <a:gd name="connsiteX670" fmla="*/ 805289 w 1490290"/>
              <a:gd name="connsiteY670" fmla="*/ 155307 h 498230"/>
              <a:gd name="connsiteX671" fmla="*/ 806823 w 1490290"/>
              <a:gd name="connsiteY671" fmla="*/ 155307 h 498230"/>
              <a:gd name="connsiteX672" fmla="*/ 808347 w 1490290"/>
              <a:gd name="connsiteY672" fmla="*/ 155307 h 498230"/>
              <a:gd name="connsiteX673" fmla="*/ 811394 w 1490290"/>
              <a:gd name="connsiteY673" fmla="*/ 155307 h 498230"/>
              <a:gd name="connsiteX674" fmla="*/ 811394 w 1490290"/>
              <a:gd name="connsiteY674" fmla="*/ 153616 h 498230"/>
              <a:gd name="connsiteX675" fmla="*/ 812928 w 1490290"/>
              <a:gd name="connsiteY675" fmla="*/ 153616 h 498230"/>
              <a:gd name="connsiteX676" fmla="*/ 812928 w 1490290"/>
              <a:gd name="connsiteY676" fmla="*/ 151959 h 498230"/>
              <a:gd name="connsiteX677" fmla="*/ 814452 w 1490290"/>
              <a:gd name="connsiteY677" fmla="*/ 151959 h 498230"/>
              <a:gd name="connsiteX678" fmla="*/ 815986 w 1490290"/>
              <a:gd name="connsiteY678" fmla="*/ 151959 h 498230"/>
              <a:gd name="connsiteX679" fmla="*/ 819056 w 1490290"/>
              <a:gd name="connsiteY679" fmla="*/ 151959 h 498230"/>
              <a:gd name="connsiteX680" fmla="*/ 822125 w 1490290"/>
              <a:gd name="connsiteY680" fmla="*/ 151959 h 498230"/>
              <a:gd name="connsiteX681" fmla="*/ 823659 w 1490290"/>
              <a:gd name="connsiteY681" fmla="*/ 151959 h 498230"/>
              <a:gd name="connsiteX682" fmla="*/ 825194 w 1490290"/>
              <a:gd name="connsiteY682" fmla="*/ 151959 h 498230"/>
              <a:gd name="connsiteX683" fmla="*/ 826728 w 1490290"/>
              <a:gd name="connsiteY683" fmla="*/ 151959 h 498230"/>
              <a:gd name="connsiteX684" fmla="*/ 826728 w 1490290"/>
              <a:gd name="connsiteY684" fmla="*/ 150269 h 498230"/>
              <a:gd name="connsiteX685" fmla="*/ 828252 w 1490290"/>
              <a:gd name="connsiteY685" fmla="*/ 150269 h 498230"/>
              <a:gd name="connsiteX686" fmla="*/ 829753 w 1490290"/>
              <a:gd name="connsiteY686" fmla="*/ 150269 h 498230"/>
              <a:gd name="connsiteX687" fmla="*/ 831299 w 1490290"/>
              <a:gd name="connsiteY687" fmla="*/ 150269 h 498230"/>
              <a:gd name="connsiteX688" fmla="*/ 831299 w 1490290"/>
              <a:gd name="connsiteY688" fmla="*/ 146854 h 498230"/>
              <a:gd name="connsiteX689" fmla="*/ 832833 w 1490290"/>
              <a:gd name="connsiteY689" fmla="*/ 146854 h 498230"/>
              <a:gd name="connsiteX690" fmla="*/ 834357 w 1490290"/>
              <a:gd name="connsiteY690" fmla="*/ 146854 h 498230"/>
              <a:gd name="connsiteX691" fmla="*/ 835892 w 1490290"/>
              <a:gd name="connsiteY691" fmla="*/ 146854 h 498230"/>
              <a:gd name="connsiteX692" fmla="*/ 837437 w 1490290"/>
              <a:gd name="connsiteY692" fmla="*/ 146854 h 498230"/>
              <a:gd name="connsiteX693" fmla="*/ 838961 w 1490290"/>
              <a:gd name="connsiteY693" fmla="*/ 146854 h 498230"/>
              <a:gd name="connsiteX694" fmla="*/ 840495 w 1490290"/>
              <a:gd name="connsiteY694" fmla="*/ 146854 h 498230"/>
              <a:gd name="connsiteX695" fmla="*/ 840495 w 1490290"/>
              <a:gd name="connsiteY695" fmla="*/ 143373 h 498230"/>
              <a:gd name="connsiteX696" fmla="*/ 842030 w 1490290"/>
              <a:gd name="connsiteY696" fmla="*/ 143373 h 498230"/>
              <a:gd name="connsiteX697" fmla="*/ 842030 w 1490290"/>
              <a:gd name="connsiteY697" fmla="*/ 139881 h 498230"/>
              <a:gd name="connsiteX698" fmla="*/ 843564 w 1490290"/>
              <a:gd name="connsiteY698" fmla="*/ 139881 h 498230"/>
              <a:gd name="connsiteX699" fmla="*/ 845099 w 1490290"/>
              <a:gd name="connsiteY699" fmla="*/ 139881 h 498230"/>
              <a:gd name="connsiteX700" fmla="*/ 845099 w 1490290"/>
              <a:gd name="connsiteY700" fmla="*/ 138157 h 498230"/>
              <a:gd name="connsiteX701" fmla="*/ 846600 w 1490290"/>
              <a:gd name="connsiteY701" fmla="*/ 138157 h 498230"/>
              <a:gd name="connsiteX702" fmla="*/ 846600 w 1490290"/>
              <a:gd name="connsiteY702" fmla="*/ 136400 h 498230"/>
              <a:gd name="connsiteX703" fmla="*/ 848135 w 1490290"/>
              <a:gd name="connsiteY703" fmla="*/ 136400 h 498230"/>
              <a:gd name="connsiteX704" fmla="*/ 849658 w 1490290"/>
              <a:gd name="connsiteY704" fmla="*/ 136400 h 498230"/>
              <a:gd name="connsiteX705" fmla="*/ 851204 w 1490290"/>
              <a:gd name="connsiteY705" fmla="*/ 136400 h 498230"/>
              <a:gd name="connsiteX706" fmla="*/ 851204 w 1490290"/>
              <a:gd name="connsiteY706" fmla="*/ 134642 h 498230"/>
              <a:gd name="connsiteX707" fmla="*/ 852738 w 1490290"/>
              <a:gd name="connsiteY707" fmla="*/ 134642 h 498230"/>
              <a:gd name="connsiteX708" fmla="*/ 852738 w 1490290"/>
              <a:gd name="connsiteY708" fmla="*/ 132841 h 498230"/>
              <a:gd name="connsiteX709" fmla="*/ 854262 w 1490290"/>
              <a:gd name="connsiteY709" fmla="*/ 132841 h 498230"/>
              <a:gd name="connsiteX710" fmla="*/ 855796 w 1490290"/>
              <a:gd name="connsiteY710" fmla="*/ 132841 h 498230"/>
              <a:gd name="connsiteX711" fmla="*/ 857342 w 1490290"/>
              <a:gd name="connsiteY711" fmla="*/ 132841 h 498230"/>
              <a:gd name="connsiteX712" fmla="*/ 858866 w 1490290"/>
              <a:gd name="connsiteY712" fmla="*/ 132841 h 498230"/>
              <a:gd name="connsiteX713" fmla="*/ 860400 w 1490290"/>
              <a:gd name="connsiteY713" fmla="*/ 132841 h 498230"/>
              <a:gd name="connsiteX714" fmla="*/ 866505 w 1490290"/>
              <a:gd name="connsiteY714" fmla="*/ 132841 h 498230"/>
              <a:gd name="connsiteX715" fmla="*/ 868040 w 1490290"/>
              <a:gd name="connsiteY715" fmla="*/ 132841 h 498230"/>
              <a:gd name="connsiteX716" fmla="*/ 869574 w 1490290"/>
              <a:gd name="connsiteY716" fmla="*/ 132841 h 498230"/>
              <a:gd name="connsiteX717" fmla="*/ 871109 w 1490290"/>
              <a:gd name="connsiteY717" fmla="*/ 132841 h 498230"/>
              <a:gd name="connsiteX718" fmla="*/ 875713 w 1490290"/>
              <a:gd name="connsiteY718" fmla="*/ 132841 h 498230"/>
              <a:gd name="connsiteX719" fmla="*/ 877247 w 1490290"/>
              <a:gd name="connsiteY719" fmla="*/ 132841 h 498230"/>
              <a:gd name="connsiteX720" fmla="*/ 878771 w 1490290"/>
              <a:gd name="connsiteY720" fmla="*/ 132841 h 498230"/>
              <a:gd name="connsiteX721" fmla="*/ 880305 w 1490290"/>
              <a:gd name="connsiteY721" fmla="*/ 132841 h 498230"/>
              <a:gd name="connsiteX722" fmla="*/ 880305 w 1490290"/>
              <a:gd name="connsiteY722" fmla="*/ 129148 h 498230"/>
              <a:gd name="connsiteX723" fmla="*/ 881807 w 1490290"/>
              <a:gd name="connsiteY723" fmla="*/ 129148 h 498230"/>
              <a:gd name="connsiteX724" fmla="*/ 887945 w 1490290"/>
              <a:gd name="connsiteY724" fmla="*/ 129148 h 498230"/>
              <a:gd name="connsiteX725" fmla="*/ 889480 w 1490290"/>
              <a:gd name="connsiteY725" fmla="*/ 129148 h 498230"/>
              <a:gd name="connsiteX726" fmla="*/ 891014 w 1490290"/>
              <a:gd name="connsiteY726" fmla="*/ 129148 h 498230"/>
              <a:gd name="connsiteX727" fmla="*/ 892549 w 1490290"/>
              <a:gd name="connsiteY727" fmla="*/ 129148 h 498230"/>
              <a:gd name="connsiteX728" fmla="*/ 897153 w 1490290"/>
              <a:gd name="connsiteY728" fmla="*/ 129148 h 498230"/>
              <a:gd name="connsiteX729" fmla="*/ 897153 w 1490290"/>
              <a:gd name="connsiteY729" fmla="*/ 127257 h 498230"/>
              <a:gd name="connsiteX730" fmla="*/ 898676 w 1490290"/>
              <a:gd name="connsiteY730" fmla="*/ 127257 h 498230"/>
              <a:gd name="connsiteX731" fmla="*/ 898676 w 1490290"/>
              <a:gd name="connsiteY731" fmla="*/ 125322 h 498230"/>
              <a:gd name="connsiteX732" fmla="*/ 900177 w 1490290"/>
              <a:gd name="connsiteY732" fmla="*/ 125322 h 498230"/>
              <a:gd name="connsiteX733" fmla="*/ 901712 w 1490290"/>
              <a:gd name="connsiteY733" fmla="*/ 125322 h 498230"/>
              <a:gd name="connsiteX734" fmla="*/ 903257 w 1490290"/>
              <a:gd name="connsiteY734" fmla="*/ 125322 h 498230"/>
              <a:gd name="connsiteX735" fmla="*/ 904781 w 1490290"/>
              <a:gd name="connsiteY735" fmla="*/ 125322 h 498230"/>
              <a:gd name="connsiteX736" fmla="*/ 904781 w 1490290"/>
              <a:gd name="connsiteY736" fmla="*/ 121429 h 498230"/>
              <a:gd name="connsiteX737" fmla="*/ 907850 w 1490290"/>
              <a:gd name="connsiteY737" fmla="*/ 121429 h 498230"/>
              <a:gd name="connsiteX738" fmla="*/ 909384 w 1490290"/>
              <a:gd name="connsiteY738" fmla="*/ 121429 h 498230"/>
              <a:gd name="connsiteX739" fmla="*/ 912454 w 1490290"/>
              <a:gd name="connsiteY739" fmla="*/ 121429 h 498230"/>
              <a:gd name="connsiteX740" fmla="*/ 913988 w 1490290"/>
              <a:gd name="connsiteY740" fmla="*/ 121429 h 498230"/>
              <a:gd name="connsiteX741" fmla="*/ 917057 w 1490290"/>
              <a:gd name="connsiteY741" fmla="*/ 121429 h 498230"/>
              <a:gd name="connsiteX742" fmla="*/ 917057 w 1490290"/>
              <a:gd name="connsiteY742" fmla="*/ 119461 h 498230"/>
              <a:gd name="connsiteX743" fmla="*/ 920082 w 1490290"/>
              <a:gd name="connsiteY743" fmla="*/ 119461 h 498230"/>
              <a:gd name="connsiteX744" fmla="*/ 921628 w 1490290"/>
              <a:gd name="connsiteY744" fmla="*/ 119461 h 498230"/>
              <a:gd name="connsiteX745" fmla="*/ 923162 w 1490290"/>
              <a:gd name="connsiteY745" fmla="*/ 119461 h 498230"/>
              <a:gd name="connsiteX746" fmla="*/ 924686 w 1490290"/>
              <a:gd name="connsiteY746" fmla="*/ 119461 h 498230"/>
              <a:gd name="connsiteX747" fmla="*/ 924686 w 1490290"/>
              <a:gd name="connsiteY747" fmla="*/ 117459 h 498230"/>
              <a:gd name="connsiteX748" fmla="*/ 926220 w 1490290"/>
              <a:gd name="connsiteY748" fmla="*/ 117459 h 498230"/>
              <a:gd name="connsiteX749" fmla="*/ 926220 w 1490290"/>
              <a:gd name="connsiteY749" fmla="*/ 115424 h 498230"/>
              <a:gd name="connsiteX750" fmla="*/ 929290 w 1490290"/>
              <a:gd name="connsiteY750" fmla="*/ 115424 h 498230"/>
              <a:gd name="connsiteX751" fmla="*/ 930824 w 1490290"/>
              <a:gd name="connsiteY751" fmla="*/ 115424 h 498230"/>
              <a:gd name="connsiteX752" fmla="*/ 932359 w 1490290"/>
              <a:gd name="connsiteY752" fmla="*/ 115424 h 498230"/>
              <a:gd name="connsiteX753" fmla="*/ 932359 w 1490290"/>
              <a:gd name="connsiteY753" fmla="*/ 113377 h 498230"/>
              <a:gd name="connsiteX754" fmla="*/ 933893 w 1490290"/>
              <a:gd name="connsiteY754" fmla="*/ 113377 h 498230"/>
              <a:gd name="connsiteX755" fmla="*/ 935395 w 1490290"/>
              <a:gd name="connsiteY755" fmla="*/ 113377 h 498230"/>
              <a:gd name="connsiteX756" fmla="*/ 939987 w 1490290"/>
              <a:gd name="connsiteY756" fmla="*/ 113377 h 498230"/>
              <a:gd name="connsiteX757" fmla="*/ 941533 w 1490290"/>
              <a:gd name="connsiteY757" fmla="*/ 113377 h 498230"/>
              <a:gd name="connsiteX758" fmla="*/ 943068 w 1490290"/>
              <a:gd name="connsiteY758" fmla="*/ 113377 h 498230"/>
              <a:gd name="connsiteX759" fmla="*/ 943068 w 1490290"/>
              <a:gd name="connsiteY759" fmla="*/ 111308 h 498230"/>
              <a:gd name="connsiteX760" fmla="*/ 944591 w 1490290"/>
              <a:gd name="connsiteY760" fmla="*/ 111308 h 498230"/>
              <a:gd name="connsiteX761" fmla="*/ 946126 w 1490290"/>
              <a:gd name="connsiteY761" fmla="*/ 111308 h 498230"/>
              <a:gd name="connsiteX762" fmla="*/ 946126 w 1490290"/>
              <a:gd name="connsiteY762" fmla="*/ 109173 h 498230"/>
              <a:gd name="connsiteX763" fmla="*/ 947671 w 1490290"/>
              <a:gd name="connsiteY763" fmla="*/ 109173 h 498230"/>
              <a:gd name="connsiteX764" fmla="*/ 947671 w 1490290"/>
              <a:gd name="connsiteY764" fmla="*/ 107071 h 498230"/>
              <a:gd name="connsiteX765" fmla="*/ 949195 w 1490290"/>
              <a:gd name="connsiteY765" fmla="*/ 107071 h 498230"/>
              <a:gd name="connsiteX766" fmla="*/ 949195 w 1490290"/>
              <a:gd name="connsiteY766" fmla="*/ 104936 h 498230"/>
              <a:gd name="connsiteX767" fmla="*/ 950729 w 1490290"/>
              <a:gd name="connsiteY767" fmla="*/ 104936 h 498230"/>
              <a:gd name="connsiteX768" fmla="*/ 952264 w 1490290"/>
              <a:gd name="connsiteY768" fmla="*/ 104936 h 498230"/>
              <a:gd name="connsiteX769" fmla="*/ 953765 w 1490290"/>
              <a:gd name="connsiteY769" fmla="*/ 104936 h 498230"/>
              <a:gd name="connsiteX770" fmla="*/ 955300 w 1490290"/>
              <a:gd name="connsiteY770" fmla="*/ 104936 h 498230"/>
              <a:gd name="connsiteX771" fmla="*/ 956834 w 1490290"/>
              <a:gd name="connsiteY771" fmla="*/ 104936 h 498230"/>
              <a:gd name="connsiteX772" fmla="*/ 959892 w 1490290"/>
              <a:gd name="connsiteY772" fmla="*/ 104936 h 498230"/>
              <a:gd name="connsiteX773" fmla="*/ 959892 w 1490290"/>
              <a:gd name="connsiteY773" fmla="*/ 102756 h 498230"/>
              <a:gd name="connsiteX774" fmla="*/ 961438 w 1490290"/>
              <a:gd name="connsiteY774" fmla="*/ 102756 h 498230"/>
              <a:gd name="connsiteX775" fmla="*/ 962973 w 1490290"/>
              <a:gd name="connsiteY775" fmla="*/ 102756 h 498230"/>
              <a:gd name="connsiteX776" fmla="*/ 964496 w 1490290"/>
              <a:gd name="connsiteY776" fmla="*/ 102756 h 498230"/>
              <a:gd name="connsiteX777" fmla="*/ 966031 w 1490290"/>
              <a:gd name="connsiteY777" fmla="*/ 102756 h 498230"/>
              <a:gd name="connsiteX778" fmla="*/ 967576 w 1490290"/>
              <a:gd name="connsiteY778" fmla="*/ 102756 h 498230"/>
              <a:gd name="connsiteX779" fmla="*/ 973681 w 1490290"/>
              <a:gd name="connsiteY779" fmla="*/ 102756 h 498230"/>
              <a:gd name="connsiteX780" fmla="*/ 973681 w 1490290"/>
              <a:gd name="connsiteY780" fmla="*/ 100509 h 498230"/>
              <a:gd name="connsiteX781" fmla="*/ 975205 w 1490290"/>
              <a:gd name="connsiteY781" fmla="*/ 100509 h 498230"/>
              <a:gd name="connsiteX782" fmla="*/ 976739 w 1490290"/>
              <a:gd name="connsiteY782" fmla="*/ 100509 h 498230"/>
              <a:gd name="connsiteX783" fmla="*/ 978274 w 1490290"/>
              <a:gd name="connsiteY783" fmla="*/ 100509 h 498230"/>
              <a:gd name="connsiteX784" fmla="*/ 981343 w 1490290"/>
              <a:gd name="connsiteY784" fmla="*/ 100509 h 498230"/>
              <a:gd name="connsiteX785" fmla="*/ 981343 w 1490290"/>
              <a:gd name="connsiteY785" fmla="*/ 95960 h 498230"/>
              <a:gd name="connsiteX786" fmla="*/ 982878 w 1490290"/>
              <a:gd name="connsiteY786" fmla="*/ 95960 h 498230"/>
              <a:gd name="connsiteX787" fmla="*/ 984401 w 1490290"/>
              <a:gd name="connsiteY787" fmla="*/ 95960 h 498230"/>
              <a:gd name="connsiteX788" fmla="*/ 985947 w 1490290"/>
              <a:gd name="connsiteY788" fmla="*/ 95960 h 498230"/>
              <a:gd name="connsiteX789" fmla="*/ 987481 w 1490290"/>
              <a:gd name="connsiteY789" fmla="*/ 95960 h 498230"/>
              <a:gd name="connsiteX790" fmla="*/ 988983 w 1490290"/>
              <a:gd name="connsiteY790" fmla="*/ 95960 h 498230"/>
              <a:gd name="connsiteX791" fmla="*/ 988983 w 1490290"/>
              <a:gd name="connsiteY791" fmla="*/ 93613 h 498230"/>
              <a:gd name="connsiteX792" fmla="*/ 992041 w 1490290"/>
              <a:gd name="connsiteY792" fmla="*/ 93613 h 498230"/>
              <a:gd name="connsiteX793" fmla="*/ 992041 w 1490290"/>
              <a:gd name="connsiteY793" fmla="*/ 91267 h 498230"/>
              <a:gd name="connsiteX794" fmla="*/ 993587 w 1490290"/>
              <a:gd name="connsiteY794" fmla="*/ 91267 h 498230"/>
              <a:gd name="connsiteX795" fmla="*/ 995110 w 1490290"/>
              <a:gd name="connsiteY795" fmla="*/ 91267 h 498230"/>
              <a:gd name="connsiteX796" fmla="*/ 996645 w 1490290"/>
              <a:gd name="connsiteY796" fmla="*/ 91267 h 498230"/>
              <a:gd name="connsiteX797" fmla="*/ 998179 w 1490290"/>
              <a:gd name="connsiteY797" fmla="*/ 91267 h 498230"/>
              <a:gd name="connsiteX798" fmla="*/ 998179 w 1490290"/>
              <a:gd name="connsiteY798" fmla="*/ 88920 h 498230"/>
              <a:gd name="connsiteX799" fmla="*/ 999714 w 1490290"/>
              <a:gd name="connsiteY799" fmla="*/ 88920 h 498230"/>
              <a:gd name="connsiteX800" fmla="*/ 1004306 w 1490290"/>
              <a:gd name="connsiteY800" fmla="*/ 88920 h 498230"/>
              <a:gd name="connsiteX801" fmla="*/ 1005808 w 1490290"/>
              <a:gd name="connsiteY801" fmla="*/ 88920 h 498230"/>
              <a:gd name="connsiteX802" fmla="*/ 1007353 w 1490290"/>
              <a:gd name="connsiteY802" fmla="*/ 88920 h 498230"/>
              <a:gd name="connsiteX803" fmla="*/ 1008888 w 1490290"/>
              <a:gd name="connsiteY803" fmla="*/ 88920 h 498230"/>
              <a:gd name="connsiteX804" fmla="*/ 1008888 w 1490290"/>
              <a:gd name="connsiteY804" fmla="*/ 86540 h 498230"/>
              <a:gd name="connsiteX805" fmla="*/ 1010411 w 1490290"/>
              <a:gd name="connsiteY805" fmla="*/ 86540 h 498230"/>
              <a:gd name="connsiteX806" fmla="*/ 1015015 w 1490290"/>
              <a:gd name="connsiteY806" fmla="*/ 86540 h 498230"/>
              <a:gd name="connsiteX807" fmla="*/ 1016550 w 1490290"/>
              <a:gd name="connsiteY807" fmla="*/ 86540 h 498230"/>
              <a:gd name="connsiteX808" fmla="*/ 1018084 w 1490290"/>
              <a:gd name="connsiteY808" fmla="*/ 86540 h 498230"/>
              <a:gd name="connsiteX809" fmla="*/ 1019619 w 1490290"/>
              <a:gd name="connsiteY809" fmla="*/ 86540 h 498230"/>
              <a:gd name="connsiteX810" fmla="*/ 1019619 w 1490290"/>
              <a:gd name="connsiteY810" fmla="*/ 84093 h 498230"/>
              <a:gd name="connsiteX811" fmla="*/ 1021153 w 1490290"/>
              <a:gd name="connsiteY811" fmla="*/ 84093 h 498230"/>
              <a:gd name="connsiteX812" fmla="*/ 1021153 w 1490290"/>
              <a:gd name="connsiteY812" fmla="*/ 81668 h 498230"/>
              <a:gd name="connsiteX813" fmla="*/ 1024189 w 1490290"/>
              <a:gd name="connsiteY813" fmla="*/ 81668 h 498230"/>
              <a:gd name="connsiteX814" fmla="*/ 1024189 w 1490290"/>
              <a:gd name="connsiteY814" fmla="*/ 79188 h 498230"/>
              <a:gd name="connsiteX815" fmla="*/ 1025724 w 1490290"/>
              <a:gd name="connsiteY815" fmla="*/ 79188 h 498230"/>
              <a:gd name="connsiteX816" fmla="*/ 1027258 w 1490290"/>
              <a:gd name="connsiteY816" fmla="*/ 79188 h 498230"/>
              <a:gd name="connsiteX817" fmla="*/ 1028793 w 1490290"/>
              <a:gd name="connsiteY817" fmla="*/ 79188 h 498230"/>
              <a:gd name="connsiteX818" fmla="*/ 1030316 w 1490290"/>
              <a:gd name="connsiteY818" fmla="*/ 79188 h 498230"/>
              <a:gd name="connsiteX819" fmla="*/ 1031862 w 1490290"/>
              <a:gd name="connsiteY819" fmla="*/ 79188 h 498230"/>
              <a:gd name="connsiteX820" fmla="*/ 1034920 w 1490290"/>
              <a:gd name="connsiteY820" fmla="*/ 79188 h 498230"/>
              <a:gd name="connsiteX821" fmla="*/ 1036455 w 1490290"/>
              <a:gd name="connsiteY821" fmla="*/ 79188 h 498230"/>
              <a:gd name="connsiteX822" fmla="*/ 1038000 w 1490290"/>
              <a:gd name="connsiteY822" fmla="*/ 79188 h 498230"/>
              <a:gd name="connsiteX823" fmla="*/ 1041058 w 1490290"/>
              <a:gd name="connsiteY823" fmla="*/ 79188 h 498230"/>
              <a:gd name="connsiteX824" fmla="*/ 1042560 w 1490290"/>
              <a:gd name="connsiteY824" fmla="*/ 79188 h 498230"/>
              <a:gd name="connsiteX825" fmla="*/ 1047163 w 1490290"/>
              <a:gd name="connsiteY825" fmla="*/ 79188 h 498230"/>
              <a:gd name="connsiteX826" fmla="*/ 1048698 w 1490290"/>
              <a:gd name="connsiteY826" fmla="*/ 79188 h 498230"/>
              <a:gd name="connsiteX827" fmla="*/ 1050221 w 1490290"/>
              <a:gd name="connsiteY827" fmla="*/ 79188 h 498230"/>
              <a:gd name="connsiteX828" fmla="*/ 1051767 w 1490290"/>
              <a:gd name="connsiteY828" fmla="*/ 79188 h 498230"/>
              <a:gd name="connsiteX829" fmla="*/ 1053302 w 1490290"/>
              <a:gd name="connsiteY829" fmla="*/ 79188 h 498230"/>
              <a:gd name="connsiteX830" fmla="*/ 1056360 w 1490290"/>
              <a:gd name="connsiteY830" fmla="*/ 79188 h 498230"/>
              <a:gd name="connsiteX831" fmla="*/ 1057906 w 1490290"/>
              <a:gd name="connsiteY831" fmla="*/ 79188 h 498230"/>
              <a:gd name="connsiteX832" fmla="*/ 1059407 w 1490290"/>
              <a:gd name="connsiteY832" fmla="*/ 79188 h 498230"/>
              <a:gd name="connsiteX833" fmla="*/ 1060930 w 1490290"/>
              <a:gd name="connsiteY833" fmla="*/ 79188 h 498230"/>
              <a:gd name="connsiteX834" fmla="*/ 1062465 w 1490290"/>
              <a:gd name="connsiteY834" fmla="*/ 79188 h 498230"/>
              <a:gd name="connsiteX835" fmla="*/ 1063999 w 1490290"/>
              <a:gd name="connsiteY835" fmla="*/ 79188 h 498230"/>
              <a:gd name="connsiteX836" fmla="*/ 1067069 w 1490290"/>
              <a:gd name="connsiteY836" fmla="*/ 79188 h 498230"/>
              <a:gd name="connsiteX837" fmla="*/ 1067069 w 1490290"/>
              <a:gd name="connsiteY837" fmla="*/ 76463 h 498230"/>
              <a:gd name="connsiteX838" fmla="*/ 1068603 w 1490290"/>
              <a:gd name="connsiteY838" fmla="*/ 76463 h 498230"/>
              <a:gd name="connsiteX839" fmla="*/ 1070127 w 1490290"/>
              <a:gd name="connsiteY839" fmla="*/ 76463 h 498230"/>
              <a:gd name="connsiteX840" fmla="*/ 1073207 w 1490290"/>
              <a:gd name="connsiteY840" fmla="*/ 76463 h 498230"/>
              <a:gd name="connsiteX841" fmla="*/ 1074730 w 1490290"/>
              <a:gd name="connsiteY841" fmla="*/ 76463 h 498230"/>
              <a:gd name="connsiteX842" fmla="*/ 1076265 w 1490290"/>
              <a:gd name="connsiteY842" fmla="*/ 76463 h 498230"/>
              <a:gd name="connsiteX843" fmla="*/ 1076265 w 1490290"/>
              <a:gd name="connsiteY843" fmla="*/ 70869 h 498230"/>
              <a:gd name="connsiteX844" fmla="*/ 1080835 w 1490290"/>
              <a:gd name="connsiteY844" fmla="*/ 70869 h 498230"/>
              <a:gd name="connsiteX845" fmla="*/ 1082370 w 1490290"/>
              <a:gd name="connsiteY845" fmla="*/ 70869 h 498230"/>
              <a:gd name="connsiteX846" fmla="*/ 1083916 w 1490290"/>
              <a:gd name="connsiteY846" fmla="*/ 70869 h 498230"/>
              <a:gd name="connsiteX847" fmla="*/ 1085439 w 1490290"/>
              <a:gd name="connsiteY847" fmla="*/ 70869 h 498230"/>
              <a:gd name="connsiteX848" fmla="*/ 1090043 w 1490290"/>
              <a:gd name="connsiteY848" fmla="*/ 70869 h 498230"/>
              <a:gd name="connsiteX849" fmla="*/ 1091577 w 1490290"/>
              <a:gd name="connsiteY849" fmla="*/ 70869 h 498230"/>
              <a:gd name="connsiteX850" fmla="*/ 1093112 w 1490290"/>
              <a:gd name="connsiteY850" fmla="*/ 70869 h 498230"/>
              <a:gd name="connsiteX851" fmla="*/ 1094613 w 1490290"/>
              <a:gd name="connsiteY851" fmla="*/ 70869 h 498230"/>
              <a:gd name="connsiteX852" fmla="*/ 1096137 w 1490290"/>
              <a:gd name="connsiteY852" fmla="*/ 70869 h 498230"/>
              <a:gd name="connsiteX853" fmla="*/ 1097682 w 1490290"/>
              <a:gd name="connsiteY853" fmla="*/ 70869 h 498230"/>
              <a:gd name="connsiteX854" fmla="*/ 1097682 w 1490290"/>
              <a:gd name="connsiteY854" fmla="*/ 67911 h 498230"/>
              <a:gd name="connsiteX855" fmla="*/ 1099217 w 1490290"/>
              <a:gd name="connsiteY855" fmla="*/ 67911 h 498230"/>
              <a:gd name="connsiteX856" fmla="*/ 1102275 w 1490290"/>
              <a:gd name="connsiteY856" fmla="*/ 67911 h 498230"/>
              <a:gd name="connsiteX857" fmla="*/ 1102275 w 1490290"/>
              <a:gd name="connsiteY857" fmla="*/ 64941 h 498230"/>
              <a:gd name="connsiteX858" fmla="*/ 1103821 w 1490290"/>
              <a:gd name="connsiteY858" fmla="*/ 64941 h 498230"/>
              <a:gd name="connsiteX859" fmla="*/ 1105344 w 1490290"/>
              <a:gd name="connsiteY859" fmla="*/ 64941 h 498230"/>
              <a:gd name="connsiteX860" fmla="*/ 1106879 w 1490290"/>
              <a:gd name="connsiteY860" fmla="*/ 64941 h 498230"/>
              <a:gd name="connsiteX861" fmla="*/ 1109948 w 1490290"/>
              <a:gd name="connsiteY861" fmla="*/ 64941 h 498230"/>
              <a:gd name="connsiteX862" fmla="*/ 1111482 w 1490290"/>
              <a:gd name="connsiteY862" fmla="*/ 64941 h 498230"/>
              <a:gd name="connsiteX863" fmla="*/ 1112984 w 1490290"/>
              <a:gd name="connsiteY863" fmla="*/ 64941 h 498230"/>
              <a:gd name="connsiteX864" fmla="*/ 1114518 w 1490290"/>
              <a:gd name="connsiteY864" fmla="*/ 64941 h 498230"/>
              <a:gd name="connsiteX865" fmla="*/ 1116042 w 1490290"/>
              <a:gd name="connsiteY865" fmla="*/ 64941 h 498230"/>
              <a:gd name="connsiteX866" fmla="*/ 1117588 w 1490290"/>
              <a:gd name="connsiteY866" fmla="*/ 64941 h 498230"/>
              <a:gd name="connsiteX867" fmla="*/ 1122180 w 1490290"/>
              <a:gd name="connsiteY867" fmla="*/ 64941 h 498230"/>
              <a:gd name="connsiteX868" fmla="*/ 1123726 w 1490290"/>
              <a:gd name="connsiteY868" fmla="*/ 64941 h 498230"/>
              <a:gd name="connsiteX869" fmla="*/ 1125249 w 1490290"/>
              <a:gd name="connsiteY869" fmla="*/ 64941 h 498230"/>
              <a:gd name="connsiteX870" fmla="*/ 1126784 w 1490290"/>
              <a:gd name="connsiteY870" fmla="*/ 64941 h 498230"/>
              <a:gd name="connsiteX871" fmla="*/ 1128318 w 1490290"/>
              <a:gd name="connsiteY871" fmla="*/ 64941 h 498230"/>
              <a:gd name="connsiteX872" fmla="*/ 1129831 w 1490290"/>
              <a:gd name="connsiteY872" fmla="*/ 64941 h 498230"/>
              <a:gd name="connsiteX873" fmla="*/ 1129831 w 1490290"/>
              <a:gd name="connsiteY873" fmla="*/ 61693 h 498230"/>
              <a:gd name="connsiteX874" fmla="*/ 1134423 w 1490290"/>
              <a:gd name="connsiteY874" fmla="*/ 61693 h 498230"/>
              <a:gd name="connsiteX875" fmla="*/ 1135958 w 1490290"/>
              <a:gd name="connsiteY875" fmla="*/ 61693 h 498230"/>
              <a:gd name="connsiteX876" fmla="*/ 1137492 w 1490290"/>
              <a:gd name="connsiteY876" fmla="*/ 61693 h 498230"/>
              <a:gd name="connsiteX877" fmla="*/ 1137492 w 1490290"/>
              <a:gd name="connsiteY877" fmla="*/ 58379 h 498230"/>
              <a:gd name="connsiteX878" fmla="*/ 1139027 w 1490290"/>
              <a:gd name="connsiteY878" fmla="*/ 58379 h 498230"/>
              <a:gd name="connsiteX879" fmla="*/ 1139027 w 1490290"/>
              <a:gd name="connsiteY879" fmla="*/ 55031 h 498230"/>
              <a:gd name="connsiteX880" fmla="*/ 1142096 w 1490290"/>
              <a:gd name="connsiteY880" fmla="*/ 55031 h 498230"/>
              <a:gd name="connsiteX881" fmla="*/ 1142096 w 1490290"/>
              <a:gd name="connsiteY881" fmla="*/ 51695 h 498230"/>
              <a:gd name="connsiteX882" fmla="*/ 1143631 w 1490290"/>
              <a:gd name="connsiteY882" fmla="*/ 51695 h 498230"/>
              <a:gd name="connsiteX883" fmla="*/ 1145154 w 1490290"/>
              <a:gd name="connsiteY883" fmla="*/ 51695 h 498230"/>
              <a:gd name="connsiteX884" fmla="*/ 1146689 w 1490290"/>
              <a:gd name="connsiteY884" fmla="*/ 51695 h 498230"/>
              <a:gd name="connsiteX885" fmla="*/ 1146689 w 1490290"/>
              <a:gd name="connsiteY885" fmla="*/ 48269 h 498230"/>
              <a:gd name="connsiteX886" fmla="*/ 1148190 w 1490290"/>
              <a:gd name="connsiteY886" fmla="*/ 48269 h 498230"/>
              <a:gd name="connsiteX887" fmla="*/ 1148190 w 1490290"/>
              <a:gd name="connsiteY887" fmla="*/ 41407 h 498230"/>
              <a:gd name="connsiteX888" fmla="*/ 1149736 w 1490290"/>
              <a:gd name="connsiteY888" fmla="*/ 41407 h 498230"/>
              <a:gd name="connsiteX889" fmla="*/ 1151259 w 1490290"/>
              <a:gd name="connsiteY889" fmla="*/ 41407 h 498230"/>
              <a:gd name="connsiteX890" fmla="*/ 1154328 w 1490290"/>
              <a:gd name="connsiteY890" fmla="*/ 41407 h 498230"/>
              <a:gd name="connsiteX891" fmla="*/ 1154328 w 1490290"/>
              <a:gd name="connsiteY891" fmla="*/ 37881 h 498230"/>
              <a:gd name="connsiteX892" fmla="*/ 1155863 w 1490290"/>
              <a:gd name="connsiteY892" fmla="*/ 37881 h 498230"/>
              <a:gd name="connsiteX893" fmla="*/ 1157398 w 1490290"/>
              <a:gd name="connsiteY893" fmla="*/ 37881 h 498230"/>
              <a:gd name="connsiteX894" fmla="*/ 1158932 w 1490290"/>
              <a:gd name="connsiteY894" fmla="*/ 37881 h 498230"/>
              <a:gd name="connsiteX895" fmla="*/ 1160456 w 1490290"/>
              <a:gd name="connsiteY895" fmla="*/ 37881 h 498230"/>
              <a:gd name="connsiteX896" fmla="*/ 1163536 w 1490290"/>
              <a:gd name="connsiteY896" fmla="*/ 37881 h 498230"/>
              <a:gd name="connsiteX897" fmla="*/ 1163536 w 1490290"/>
              <a:gd name="connsiteY897" fmla="*/ 34267 h 498230"/>
              <a:gd name="connsiteX898" fmla="*/ 1165071 w 1490290"/>
              <a:gd name="connsiteY898" fmla="*/ 34267 h 498230"/>
              <a:gd name="connsiteX899" fmla="*/ 1166561 w 1490290"/>
              <a:gd name="connsiteY899" fmla="*/ 34267 h 498230"/>
              <a:gd name="connsiteX900" fmla="*/ 1168095 w 1490290"/>
              <a:gd name="connsiteY900" fmla="*/ 34267 h 498230"/>
              <a:gd name="connsiteX901" fmla="*/ 1169641 w 1490290"/>
              <a:gd name="connsiteY901" fmla="*/ 34267 h 498230"/>
              <a:gd name="connsiteX902" fmla="*/ 1169641 w 1490290"/>
              <a:gd name="connsiteY902" fmla="*/ 30541 h 498230"/>
              <a:gd name="connsiteX903" fmla="*/ 1171164 w 1490290"/>
              <a:gd name="connsiteY903" fmla="*/ 30541 h 498230"/>
              <a:gd name="connsiteX904" fmla="*/ 1177303 w 1490290"/>
              <a:gd name="connsiteY904" fmla="*/ 30541 h 498230"/>
              <a:gd name="connsiteX905" fmla="*/ 1178837 w 1490290"/>
              <a:gd name="connsiteY905" fmla="*/ 30541 h 498230"/>
              <a:gd name="connsiteX906" fmla="*/ 1180361 w 1490290"/>
              <a:gd name="connsiteY906" fmla="*/ 30541 h 498230"/>
              <a:gd name="connsiteX907" fmla="*/ 1181907 w 1490290"/>
              <a:gd name="connsiteY907" fmla="*/ 30541 h 498230"/>
              <a:gd name="connsiteX908" fmla="*/ 1184942 w 1490290"/>
              <a:gd name="connsiteY908" fmla="*/ 30541 h 498230"/>
              <a:gd name="connsiteX909" fmla="*/ 1186466 w 1490290"/>
              <a:gd name="connsiteY909" fmla="*/ 30541 h 498230"/>
              <a:gd name="connsiteX910" fmla="*/ 1188011 w 1490290"/>
              <a:gd name="connsiteY910" fmla="*/ 30541 h 498230"/>
              <a:gd name="connsiteX911" fmla="*/ 1189546 w 1490290"/>
              <a:gd name="connsiteY911" fmla="*/ 30541 h 498230"/>
              <a:gd name="connsiteX912" fmla="*/ 1191070 w 1490290"/>
              <a:gd name="connsiteY912" fmla="*/ 30541 h 498230"/>
              <a:gd name="connsiteX913" fmla="*/ 1192604 w 1490290"/>
              <a:gd name="connsiteY913" fmla="*/ 30541 h 498230"/>
              <a:gd name="connsiteX914" fmla="*/ 1197208 w 1490290"/>
              <a:gd name="connsiteY914" fmla="*/ 30541 h 498230"/>
              <a:gd name="connsiteX915" fmla="*/ 1198742 w 1490290"/>
              <a:gd name="connsiteY915" fmla="*/ 30541 h 498230"/>
              <a:gd name="connsiteX916" fmla="*/ 1200288 w 1490290"/>
              <a:gd name="connsiteY916" fmla="*/ 30541 h 498230"/>
              <a:gd name="connsiteX917" fmla="*/ 1201778 w 1490290"/>
              <a:gd name="connsiteY917" fmla="*/ 30541 h 498230"/>
              <a:gd name="connsiteX918" fmla="*/ 1203313 w 1490290"/>
              <a:gd name="connsiteY918" fmla="*/ 30541 h 498230"/>
              <a:gd name="connsiteX919" fmla="*/ 1207916 w 1490290"/>
              <a:gd name="connsiteY919" fmla="*/ 30541 h 498230"/>
              <a:gd name="connsiteX920" fmla="*/ 1207916 w 1490290"/>
              <a:gd name="connsiteY920" fmla="*/ 26192 h 498230"/>
              <a:gd name="connsiteX921" fmla="*/ 1209451 w 1490290"/>
              <a:gd name="connsiteY921" fmla="*/ 26192 h 498230"/>
              <a:gd name="connsiteX922" fmla="*/ 1210974 w 1490290"/>
              <a:gd name="connsiteY922" fmla="*/ 26192 h 498230"/>
              <a:gd name="connsiteX923" fmla="*/ 1212509 w 1490290"/>
              <a:gd name="connsiteY923" fmla="*/ 26192 h 498230"/>
              <a:gd name="connsiteX924" fmla="*/ 1218614 w 1490290"/>
              <a:gd name="connsiteY924" fmla="*/ 26192 h 498230"/>
              <a:gd name="connsiteX925" fmla="*/ 1220149 w 1490290"/>
              <a:gd name="connsiteY925" fmla="*/ 26192 h 498230"/>
              <a:gd name="connsiteX926" fmla="*/ 1221683 w 1490290"/>
              <a:gd name="connsiteY926" fmla="*/ 26192 h 498230"/>
              <a:gd name="connsiteX927" fmla="*/ 1223218 w 1490290"/>
              <a:gd name="connsiteY927" fmla="*/ 26192 h 498230"/>
              <a:gd name="connsiteX928" fmla="*/ 1224752 w 1490290"/>
              <a:gd name="connsiteY928" fmla="*/ 26192 h 498230"/>
              <a:gd name="connsiteX929" fmla="*/ 1229356 w 1490290"/>
              <a:gd name="connsiteY929" fmla="*/ 26192 h 498230"/>
              <a:gd name="connsiteX930" fmla="*/ 1230880 w 1490290"/>
              <a:gd name="connsiteY930" fmla="*/ 26192 h 498230"/>
              <a:gd name="connsiteX931" fmla="*/ 1232414 w 1490290"/>
              <a:gd name="connsiteY931" fmla="*/ 26192 h 498230"/>
              <a:gd name="connsiteX932" fmla="*/ 1233960 w 1490290"/>
              <a:gd name="connsiteY932" fmla="*/ 26192 h 498230"/>
              <a:gd name="connsiteX933" fmla="*/ 1235495 w 1490290"/>
              <a:gd name="connsiteY933" fmla="*/ 26192 h 498230"/>
              <a:gd name="connsiteX934" fmla="*/ 1235495 w 1490290"/>
              <a:gd name="connsiteY934" fmla="*/ 21221 h 498230"/>
              <a:gd name="connsiteX935" fmla="*/ 1240065 w 1490290"/>
              <a:gd name="connsiteY935" fmla="*/ 21221 h 498230"/>
              <a:gd name="connsiteX936" fmla="*/ 1243123 w 1490290"/>
              <a:gd name="connsiteY936" fmla="*/ 21221 h 498230"/>
              <a:gd name="connsiteX937" fmla="*/ 1244658 w 1490290"/>
              <a:gd name="connsiteY937" fmla="*/ 21221 h 498230"/>
              <a:gd name="connsiteX938" fmla="*/ 1246192 w 1490290"/>
              <a:gd name="connsiteY938" fmla="*/ 21221 h 498230"/>
              <a:gd name="connsiteX939" fmla="*/ 1250785 w 1490290"/>
              <a:gd name="connsiteY939" fmla="*/ 21221 h 498230"/>
              <a:gd name="connsiteX940" fmla="*/ 1252330 w 1490290"/>
              <a:gd name="connsiteY940" fmla="*/ 21221 h 498230"/>
              <a:gd name="connsiteX941" fmla="*/ 1253832 w 1490290"/>
              <a:gd name="connsiteY941" fmla="*/ 21221 h 498230"/>
              <a:gd name="connsiteX942" fmla="*/ 1255366 w 1490290"/>
              <a:gd name="connsiteY942" fmla="*/ 21221 h 498230"/>
              <a:gd name="connsiteX943" fmla="*/ 1256890 w 1490290"/>
              <a:gd name="connsiteY943" fmla="*/ 21221 h 498230"/>
              <a:gd name="connsiteX944" fmla="*/ 1261493 w 1490290"/>
              <a:gd name="connsiteY944" fmla="*/ 21221 h 498230"/>
              <a:gd name="connsiteX945" fmla="*/ 1263028 w 1490290"/>
              <a:gd name="connsiteY945" fmla="*/ 21221 h 498230"/>
              <a:gd name="connsiteX946" fmla="*/ 1264562 w 1490290"/>
              <a:gd name="connsiteY946" fmla="*/ 21221 h 498230"/>
              <a:gd name="connsiteX947" fmla="*/ 1266097 w 1490290"/>
              <a:gd name="connsiteY947" fmla="*/ 21221 h 498230"/>
              <a:gd name="connsiteX948" fmla="*/ 1267632 w 1490290"/>
              <a:gd name="connsiteY948" fmla="*/ 21221 h 498230"/>
              <a:gd name="connsiteX949" fmla="*/ 1272191 w 1490290"/>
              <a:gd name="connsiteY949" fmla="*/ 21221 h 498230"/>
              <a:gd name="connsiteX950" fmla="*/ 1273737 w 1490290"/>
              <a:gd name="connsiteY950" fmla="*/ 21221 h 498230"/>
              <a:gd name="connsiteX951" fmla="*/ 1275271 w 1490290"/>
              <a:gd name="connsiteY951" fmla="*/ 21221 h 498230"/>
              <a:gd name="connsiteX952" fmla="*/ 1276795 w 1490290"/>
              <a:gd name="connsiteY952" fmla="*/ 21221 h 498230"/>
              <a:gd name="connsiteX953" fmla="*/ 1278329 w 1490290"/>
              <a:gd name="connsiteY953" fmla="*/ 21221 h 498230"/>
              <a:gd name="connsiteX954" fmla="*/ 1282933 w 1490290"/>
              <a:gd name="connsiteY954" fmla="*/ 21221 h 498230"/>
              <a:gd name="connsiteX955" fmla="*/ 1284468 w 1490290"/>
              <a:gd name="connsiteY955" fmla="*/ 21221 h 498230"/>
              <a:gd name="connsiteX956" fmla="*/ 1286002 w 1490290"/>
              <a:gd name="connsiteY956" fmla="*/ 21221 h 498230"/>
              <a:gd name="connsiteX957" fmla="*/ 1287537 w 1490290"/>
              <a:gd name="connsiteY957" fmla="*/ 21221 h 498230"/>
              <a:gd name="connsiteX958" fmla="*/ 1289071 w 1490290"/>
              <a:gd name="connsiteY958" fmla="*/ 21221 h 498230"/>
              <a:gd name="connsiteX959" fmla="*/ 1293642 w 1490290"/>
              <a:gd name="connsiteY959" fmla="*/ 21221 h 498230"/>
              <a:gd name="connsiteX960" fmla="*/ 1295177 w 1490290"/>
              <a:gd name="connsiteY960" fmla="*/ 21221 h 498230"/>
              <a:gd name="connsiteX961" fmla="*/ 1296700 w 1490290"/>
              <a:gd name="connsiteY961" fmla="*/ 21221 h 498230"/>
              <a:gd name="connsiteX962" fmla="*/ 1298246 w 1490290"/>
              <a:gd name="connsiteY962" fmla="*/ 21221 h 498230"/>
              <a:gd name="connsiteX963" fmla="*/ 1299780 w 1490290"/>
              <a:gd name="connsiteY963" fmla="*/ 21221 h 498230"/>
              <a:gd name="connsiteX964" fmla="*/ 1304384 w 1490290"/>
              <a:gd name="connsiteY964" fmla="*/ 21221 h 498230"/>
              <a:gd name="connsiteX965" fmla="*/ 1305918 w 1490290"/>
              <a:gd name="connsiteY965" fmla="*/ 21221 h 498230"/>
              <a:gd name="connsiteX966" fmla="*/ 1307408 w 1490290"/>
              <a:gd name="connsiteY966" fmla="*/ 21221 h 498230"/>
              <a:gd name="connsiteX967" fmla="*/ 1308943 w 1490290"/>
              <a:gd name="connsiteY967" fmla="*/ 21221 h 498230"/>
              <a:gd name="connsiteX968" fmla="*/ 1310478 w 1490290"/>
              <a:gd name="connsiteY968" fmla="*/ 21221 h 498230"/>
              <a:gd name="connsiteX969" fmla="*/ 1315081 w 1490290"/>
              <a:gd name="connsiteY969" fmla="*/ 21221 h 498230"/>
              <a:gd name="connsiteX970" fmla="*/ 1316605 w 1490290"/>
              <a:gd name="connsiteY970" fmla="*/ 21221 h 498230"/>
              <a:gd name="connsiteX971" fmla="*/ 1318151 w 1490290"/>
              <a:gd name="connsiteY971" fmla="*/ 21221 h 498230"/>
              <a:gd name="connsiteX972" fmla="*/ 1319685 w 1490290"/>
              <a:gd name="connsiteY972" fmla="*/ 21221 h 498230"/>
              <a:gd name="connsiteX973" fmla="*/ 1321220 w 1490290"/>
              <a:gd name="connsiteY973" fmla="*/ 21221 h 498230"/>
              <a:gd name="connsiteX974" fmla="*/ 1322743 w 1490290"/>
              <a:gd name="connsiteY974" fmla="*/ 21221 h 498230"/>
              <a:gd name="connsiteX975" fmla="*/ 1322743 w 1490290"/>
              <a:gd name="connsiteY975" fmla="*/ 11311 h 498230"/>
              <a:gd name="connsiteX976" fmla="*/ 1325790 w 1490290"/>
              <a:gd name="connsiteY976" fmla="*/ 11311 h 498230"/>
              <a:gd name="connsiteX977" fmla="*/ 1327314 w 1490290"/>
              <a:gd name="connsiteY977" fmla="*/ 11311 h 498230"/>
              <a:gd name="connsiteX978" fmla="*/ 1328848 w 1490290"/>
              <a:gd name="connsiteY978" fmla="*/ 11311 h 498230"/>
              <a:gd name="connsiteX979" fmla="*/ 1330383 w 1490290"/>
              <a:gd name="connsiteY979" fmla="*/ 11311 h 498230"/>
              <a:gd name="connsiteX980" fmla="*/ 1331917 w 1490290"/>
              <a:gd name="connsiteY980" fmla="*/ 11311 h 498230"/>
              <a:gd name="connsiteX981" fmla="*/ 1333452 w 1490290"/>
              <a:gd name="connsiteY981" fmla="*/ 11311 h 498230"/>
              <a:gd name="connsiteX982" fmla="*/ 1334987 w 1490290"/>
              <a:gd name="connsiteY982" fmla="*/ 11311 h 498230"/>
              <a:gd name="connsiteX983" fmla="*/ 1334987 w 1490290"/>
              <a:gd name="connsiteY983" fmla="*/ 0 h 498230"/>
              <a:gd name="connsiteX984" fmla="*/ 1490290 w 1490290"/>
              <a:gd name="connsiteY984" fmla="*/ 0 h 498230"/>
              <a:gd name="connsiteX0" fmla="*/ 0 w 1489473"/>
              <a:gd name="connsiteY0" fmla="*/ 498230 h 498230"/>
              <a:gd name="connsiteX1" fmla="*/ 3058 w 1489473"/>
              <a:gd name="connsiteY1" fmla="*/ 498230 h 498230"/>
              <a:gd name="connsiteX2" fmla="*/ 3058 w 1489473"/>
              <a:gd name="connsiteY2" fmla="*/ 495127 h 498230"/>
              <a:gd name="connsiteX3" fmla="*/ 4604 w 1489473"/>
              <a:gd name="connsiteY3" fmla="*/ 495127 h 498230"/>
              <a:gd name="connsiteX4" fmla="*/ 4604 w 1489473"/>
              <a:gd name="connsiteY4" fmla="*/ 493570 h 498230"/>
              <a:gd name="connsiteX5" fmla="*/ 12277 w 1489473"/>
              <a:gd name="connsiteY5" fmla="*/ 493570 h 498230"/>
              <a:gd name="connsiteX6" fmla="*/ 12277 w 1489473"/>
              <a:gd name="connsiteY6" fmla="*/ 492780 h 498230"/>
              <a:gd name="connsiteX7" fmla="*/ 13800 w 1489473"/>
              <a:gd name="connsiteY7" fmla="*/ 492780 h 498230"/>
              <a:gd name="connsiteX8" fmla="*/ 13800 w 1489473"/>
              <a:gd name="connsiteY8" fmla="*/ 491979 h 498230"/>
              <a:gd name="connsiteX9" fmla="*/ 15301 w 1489473"/>
              <a:gd name="connsiteY9" fmla="*/ 491979 h 498230"/>
              <a:gd name="connsiteX10" fmla="*/ 15301 w 1489473"/>
              <a:gd name="connsiteY10" fmla="*/ 491223 h 498230"/>
              <a:gd name="connsiteX11" fmla="*/ 21440 w 1489473"/>
              <a:gd name="connsiteY11" fmla="*/ 491223 h 498230"/>
              <a:gd name="connsiteX12" fmla="*/ 21440 w 1489473"/>
              <a:gd name="connsiteY12" fmla="*/ 490433 h 498230"/>
              <a:gd name="connsiteX13" fmla="*/ 24509 w 1489473"/>
              <a:gd name="connsiteY13" fmla="*/ 490433 h 498230"/>
              <a:gd name="connsiteX14" fmla="*/ 24509 w 1489473"/>
              <a:gd name="connsiteY14" fmla="*/ 489666 h 498230"/>
              <a:gd name="connsiteX15" fmla="*/ 26043 w 1489473"/>
              <a:gd name="connsiteY15" fmla="*/ 489666 h 498230"/>
              <a:gd name="connsiteX16" fmla="*/ 26043 w 1489473"/>
              <a:gd name="connsiteY16" fmla="*/ 488876 h 498230"/>
              <a:gd name="connsiteX17" fmla="*/ 27567 w 1489473"/>
              <a:gd name="connsiteY17" fmla="*/ 488876 h 498230"/>
              <a:gd name="connsiteX18" fmla="*/ 27567 w 1489473"/>
              <a:gd name="connsiteY18" fmla="*/ 487330 h 498230"/>
              <a:gd name="connsiteX19" fmla="*/ 32148 w 1489473"/>
              <a:gd name="connsiteY19" fmla="*/ 487330 h 498230"/>
              <a:gd name="connsiteX20" fmla="*/ 33672 w 1489473"/>
              <a:gd name="connsiteY20" fmla="*/ 487330 h 498230"/>
              <a:gd name="connsiteX21" fmla="*/ 33672 w 1489473"/>
              <a:gd name="connsiteY21" fmla="*/ 485773 h 498230"/>
              <a:gd name="connsiteX22" fmla="*/ 36752 w 1489473"/>
              <a:gd name="connsiteY22" fmla="*/ 485773 h 498230"/>
              <a:gd name="connsiteX23" fmla="*/ 41345 w 1489473"/>
              <a:gd name="connsiteY23" fmla="*/ 485773 h 498230"/>
              <a:gd name="connsiteX24" fmla="*/ 42879 w 1489473"/>
              <a:gd name="connsiteY24" fmla="*/ 485773 h 498230"/>
              <a:gd name="connsiteX25" fmla="*/ 42879 w 1489473"/>
              <a:gd name="connsiteY25" fmla="*/ 484216 h 498230"/>
              <a:gd name="connsiteX26" fmla="*/ 44414 w 1489473"/>
              <a:gd name="connsiteY26" fmla="*/ 484216 h 498230"/>
              <a:gd name="connsiteX27" fmla="*/ 45948 w 1489473"/>
              <a:gd name="connsiteY27" fmla="*/ 484216 h 498230"/>
              <a:gd name="connsiteX28" fmla="*/ 47483 w 1489473"/>
              <a:gd name="connsiteY28" fmla="*/ 484216 h 498230"/>
              <a:gd name="connsiteX29" fmla="*/ 47483 w 1489473"/>
              <a:gd name="connsiteY29" fmla="*/ 482637 h 498230"/>
              <a:gd name="connsiteX30" fmla="*/ 49018 w 1489473"/>
              <a:gd name="connsiteY30" fmla="*/ 482637 h 498230"/>
              <a:gd name="connsiteX31" fmla="*/ 49018 w 1489473"/>
              <a:gd name="connsiteY31" fmla="*/ 481869 h 498230"/>
              <a:gd name="connsiteX32" fmla="*/ 50519 w 1489473"/>
              <a:gd name="connsiteY32" fmla="*/ 481869 h 498230"/>
              <a:gd name="connsiteX33" fmla="*/ 50519 w 1489473"/>
              <a:gd name="connsiteY33" fmla="*/ 477943 h 498230"/>
              <a:gd name="connsiteX34" fmla="*/ 52053 w 1489473"/>
              <a:gd name="connsiteY34" fmla="*/ 477943 h 498230"/>
              <a:gd name="connsiteX35" fmla="*/ 52053 w 1489473"/>
              <a:gd name="connsiteY35" fmla="*/ 475630 h 498230"/>
              <a:gd name="connsiteX36" fmla="*/ 53577 w 1489473"/>
              <a:gd name="connsiteY36" fmla="*/ 475630 h 498230"/>
              <a:gd name="connsiteX37" fmla="*/ 53577 w 1489473"/>
              <a:gd name="connsiteY37" fmla="*/ 474829 h 498230"/>
              <a:gd name="connsiteX38" fmla="*/ 55111 w 1489473"/>
              <a:gd name="connsiteY38" fmla="*/ 474829 h 498230"/>
              <a:gd name="connsiteX39" fmla="*/ 55111 w 1489473"/>
              <a:gd name="connsiteY39" fmla="*/ 474039 h 498230"/>
              <a:gd name="connsiteX40" fmla="*/ 56657 w 1489473"/>
              <a:gd name="connsiteY40" fmla="*/ 474039 h 498230"/>
              <a:gd name="connsiteX41" fmla="*/ 56657 w 1489473"/>
              <a:gd name="connsiteY41" fmla="*/ 473283 h 498230"/>
              <a:gd name="connsiteX42" fmla="*/ 59715 w 1489473"/>
              <a:gd name="connsiteY42" fmla="*/ 473283 h 498230"/>
              <a:gd name="connsiteX43" fmla="*/ 59715 w 1489473"/>
              <a:gd name="connsiteY43" fmla="*/ 471693 h 498230"/>
              <a:gd name="connsiteX44" fmla="*/ 61250 w 1489473"/>
              <a:gd name="connsiteY44" fmla="*/ 471693 h 498230"/>
              <a:gd name="connsiteX45" fmla="*/ 61250 w 1489473"/>
              <a:gd name="connsiteY45" fmla="*/ 470936 h 498230"/>
              <a:gd name="connsiteX46" fmla="*/ 65854 w 1489473"/>
              <a:gd name="connsiteY46" fmla="*/ 470936 h 498230"/>
              <a:gd name="connsiteX47" fmla="*/ 65854 w 1489473"/>
              <a:gd name="connsiteY47" fmla="*/ 470147 h 498230"/>
              <a:gd name="connsiteX48" fmla="*/ 68878 w 1489473"/>
              <a:gd name="connsiteY48" fmla="*/ 470147 h 498230"/>
              <a:gd name="connsiteX49" fmla="*/ 68878 w 1489473"/>
              <a:gd name="connsiteY49" fmla="*/ 468590 h 498230"/>
              <a:gd name="connsiteX50" fmla="*/ 70424 w 1489473"/>
              <a:gd name="connsiteY50" fmla="*/ 468590 h 498230"/>
              <a:gd name="connsiteX51" fmla="*/ 70424 w 1489473"/>
              <a:gd name="connsiteY51" fmla="*/ 466999 h 498230"/>
              <a:gd name="connsiteX52" fmla="*/ 71959 w 1489473"/>
              <a:gd name="connsiteY52" fmla="*/ 466999 h 498230"/>
              <a:gd name="connsiteX53" fmla="*/ 71959 w 1489473"/>
              <a:gd name="connsiteY53" fmla="*/ 465453 h 498230"/>
              <a:gd name="connsiteX54" fmla="*/ 75017 w 1489473"/>
              <a:gd name="connsiteY54" fmla="*/ 465453 h 498230"/>
              <a:gd name="connsiteX55" fmla="*/ 75017 w 1489473"/>
              <a:gd name="connsiteY55" fmla="*/ 464653 h 498230"/>
              <a:gd name="connsiteX56" fmla="*/ 76562 w 1489473"/>
              <a:gd name="connsiteY56" fmla="*/ 464653 h 498230"/>
              <a:gd name="connsiteX57" fmla="*/ 76562 w 1489473"/>
              <a:gd name="connsiteY57" fmla="*/ 463896 h 498230"/>
              <a:gd name="connsiteX58" fmla="*/ 79620 w 1489473"/>
              <a:gd name="connsiteY58" fmla="*/ 463896 h 498230"/>
              <a:gd name="connsiteX59" fmla="*/ 79620 w 1489473"/>
              <a:gd name="connsiteY59" fmla="*/ 463107 h 498230"/>
              <a:gd name="connsiteX60" fmla="*/ 81155 w 1489473"/>
              <a:gd name="connsiteY60" fmla="*/ 463107 h 498230"/>
              <a:gd name="connsiteX61" fmla="*/ 81155 w 1489473"/>
              <a:gd name="connsiteY61" fmla="*/ 461550 h 498230"/>
              <a:gd name="connsiteX62" fmla="*/ 82700 w 1489473"/>
              <a:gd name="connsiteY62" fmla="*/ 461550 h 498230"/>
              <a:gd name="connsiteX63" fmla="*/ 82700 w 1489473"/>
              <a:gd name="connsiteY63" fmla="*/ 460760 h 498230"/>
              <a:gd name="connsiteX64" fmla="*/ 84224 w 1489473"/>
              <a:gd name="connsiteY64" fmla="*/ 460760 h 498230"/>
              <a:gd name="connsiteX65" fmla="*/ 84224 w 1489473"/>
              <a:gd name="connsiteY65" fmla="*/ 459203 h 498230"/>
              <a:gd name="connsiteX66" fmla="*/ 85725 w 1489473"/>
              <a:gd name="connsiteY66" fmla="*/ 459203 h 498230"/>
              <a:gd name="connsiteX67" fmla="*/ 85725 w 1489473"/>
              <a:gd name="connsiteY67" fmla="*/ 458413 h 498230"/>
              <a:gd name="connsiteX68" fmla="*/ 88794 w 1489473"/>
              <a:gd name="connsiteY68" fmla="*/ 458413 h 498230"/>
              <a:gd name="connsiteX69" fmla="*/ 88794 w 1489473"/>
              <a:gd name="connsiteY69" fmla="*/ 455277 h 498230"/>
              <a:gd name="connsiteX70" fmla="*/ 91864 w 1489473"/>
              <a:gd name="connsiteY70" fmla="*/ 455277 h 498230"/>
              <a:gd name="connsiteX71" fmla="*/ 91864 w 1489473"/>
              <a:gd name="connsiteY71" fmla="*/ 453720 h 498230"/>
              <a:gd name="connsiteX72" fmla="*/ 93387 w 1489473"/>
              <a:gd name="connsiteY72" fmla="*/ 453720 h 498230"/>
              <a:gd name="connsiteX73" fmla="*/ 93387 w 1489473"/>
              <a:gd name="connsiteY73" fmla="*/ 451373 h 498230"/>
              <a:gd name="connsiteX74" fmla="*/ 94933 w 1489473"/>
              <a:gd name="connsiteY74" fmla="*/ 451373 h 498230"/>
              <a:gd name="connsiteX75" fmla="*/ 94933 w 1489473"/>
              <a:gd name="connsiteY75" fmla="*/ 449816 h 498230"/>
              <a:gd name="connsiteX76" fmla="*/ 96467 w 1489473"/>
              <a:gd name="connsiteY76" fmla="*/ 449816 h 498230"/>
              <a:gd name="connsiteX77" fmla="*/ 96467 w 1489473"/>
              <a:gd name="connsiteY77" fmla="*/ 448225 h 498230"/>
              <a:gd name="connsiteX78" fmla="*/ 99525 w 1489473"/>
              <a:gd name="connsiteY78" fmla="*/ 448225 h 498230"/>
              <a:gd name="connsiteX79" fmla="*/ 99525 w 1489473"/>
              <a:gd name="connsiteY79" fmla="*/ 445879 h 498230"/>
              <a:gd name="connsiteX80" fmla="*/ 101071 w 1489473"/>
              <a:gd name="connsiteY80" fmla="*/ 445879 h 498230"/>
              <a:gd name="connsiteX81" fmla="*/ 101071 w 1489473"/>
              <a:gd name="connsiteY81" fmla="*/ 445122 h 498230"/>
              <a:gd name="connsiteX82" fmla="*/ 102572 w 1489473"/>
              <a:gd name="connsiteY82" fmla="*/ 445122 h 498230"/>
              <a:gd name="connsiteX83" fmla="*/ 102572 w 1489473"/>
              <a:gd name="connsiteY83" fmla="*/ 444333 h 498230"/>
              <a:gd name="connsiteX84" fmla="*/ 104096 w 1489473"/>
              <a:gd name="connsiteY84" fmla="*/ 444333 h 498230"/>
              <a:gd name="connsiteX85" fmla="*/ 104096 w 1489473"/>
              <a:gd name="connsiteY85" fmla="*/ 443543 h 498230"/>
              <a:gd name="connsiteX86" fmla="*/ 105630 w 1489473"/>
              <a:gd name="connsiteY86" fmla="*/ 443543 h 498230"/>
              <a:gd name="connsiteX87" fmla="*/ 107165 w 1489473"/>
              <a:gd name="connsiteY87" fmla="*/ 443543 h 498230"/>
              <a:gd name="connsiteX88" fmla="*/ 107165 w 1489473"/>
              <a:gd name="connsiteY88" fmla="*/ 441196 h 498230"/>
              <a:gd name="connsiteX89" fmla="*/ 108700 w 1489473"/>
              <a:gd name="connsiteY89" fmla="*/ 441196 h 498230"/>
              <a:gd name="connsiteX90" fmla="*/ 108700 w 1489473"/>
              <a:gd name="connsiteY90" fmla="*/ 438850 h 498230"/>
              <a:gd name="connsiteX91" fmla="*/ 110234 w 1489473"/>
              <a:gd name="connsiteY91" fmla="*/ 438850 h 498230"/>
              <a:gd name="connsiteX92" fmla="*/ 110234 w 1489473"/>
              <a:gd name="connsiteY92" fmla="*/ 438049 h 498230"/>
              <a:gd name="connsiteX93" fmla="*/ 111769 w 1489473"/>
              <a:gd name="connsiteY93" fmla="*/ 438049 h 498230"/>
              <a:gd name="connsiteX94" fmla="*/ 111769 w 1489473"/>
              <a:gd name="connsiteY94" fmla="*/ 435702 h 498230"/>
              <a:gd name="connsiteX95" fmla="*/ 113292 w 1489473"/>
              <a:gd name="connsiteY95" fmla="*/ 435702 h 498230"/>
              <a:gd name="connsiteX96" fmla="*/ 113292 w 1489473"/>
              <a:gd name="connsiteY96" fmla="*/ 434156 h 498230"/>
              <a:gd name="connsiteX97" fmla="*/ 122478 w 1489473"/>
              <a:gd name="connsiteY97" fmla="*/ 434156 h 498230"/>
              <a:gd name="connsiteX98" fmla="*/ 122478 w 1489473"/>
              <a:gd name="connsiteY98" fmla="*/ 433355 h 498230"/>
              <a:gd name="connsiteX99" fmla="*/ 124001 w 1489473"/>
              <a:gd name="connsiteY99" fmla="*/ 433355 h 498230"/>
              <a:gd name="connsiteX100" fmla="*/ 124001 w 1489473"/>
              <a:gd name="connsiteY100" fmla="*/ 431809 h 498230"/>
              <a:gd name="connsiteX101" fmla="*/ 125536 w 1489473"/>
              <a:gd name="connsiteY101" fmla="*/ 431809 h 498230"/>
              <a:gd name="connsiteX102" fmla="*/ 125536 w 1489473"/>
              <a:gd name="connsiteY102" fmla="*/ 429463 h 498230"/>
              <a:gd name="connsiteX103" fmla="*/ 128605 w 1489473"/>
              <a:gd name="connsiteY103" fmla="*/ 429463 h 498230"/>
              <a:gd name="connsiteX104" fmla="*/ 128605 w 1489473"/>
              <a:gd name="connsiteY104" fmla="*/ 428673 h 498230"/>
              <a:gd name="connsiteX105" fmla="*/ 133208 w 1489473"/>
              <a:gd name="connsiteY105" fmla="*/ 428673 h 498230"/>
              <a:gd name="connsiteX106" fmla="*/ 133208 w 1489473"/>
              <a:gd name="connsiteY106" fmla="*/ 427872 h 498230"/>
              <a:gd name="connsiteX107" fmla="*/ 134743 w 1489473"/>
              <a:gd name="connsiteY107" fmla="*/ 427872 h 498230"/>
              <a:gd name="connsiteX108" fmla="*/ 134743 w 1489473"/>
              <a:gd name="connsiteY108" fmla="*/ 426326 h 498230"/>
              <a:gd name="connsiteX109" fmla="*/ 136278 w 1489473"/>
              <a:gd name="connsiteY109" fmla="*/ 426326 h 498230"/>
              <a:gd name="connsiteX110" fmla="*/ 137812 w 1489473"/>
              <a:gd name="connsiteY110" fmla="*/ 426326 h 498230"/>
              <a:gd name="connsiteX111" fmla="*/ 137812 w 1489473"/>
              <a:gd name="connsiteY111" fmla="*/ 424736 h 498230"/>
              <a:gd name="connsiteX112" fmla="*/ 142382 w 1489473"/>
              <a:gd name="connsiteY112" fmla="*/ 424736 h 498230"/>
              <a:gd name="connsiteX113" fmla="*/ 142382 w 1489473"/>
              <a:gd name="connsiteY113" fmla="*/ 422389 h 498230"/>
              <a:gd name="connsiteX114" fmla="*/ 143906 w 1489473"/>
              <a:gd name="connsiteY114" fmla="*/ 422389 h 498230"/>
              <a:gd name="connsiteX115" fmla="*/ 143906 w 1489473"/>
              <a:gd name="connsiteY115" fmla="*/ 421588 h 498230"/>
              <a:gd name="connsiteX116" fmla="*/ 146986 w 1489473"/>
              <a:gd name="connsiteY116" fmla="*/ 421588 h 498230"/>
              <a:gd name="connsiteX117" fmla="*/ 148510 w 1489473"/>
              <a:gd name="connsiteY117" fmla="*/ 421588 h 498230"/>
              <a:gd name="connsiteX118" fmla="*/ 148510 w 1489473"/>
              <a:gd name="connsiteY118" fmla="*/ 420042 h 498230"/>
              <a:gd name="connsiteX119" fmla="*/ 151579 w 1489473"/>
              <a:gd name="connsiteY119" fmla="*/ 420042 h 498230"/>
              <a:gd name="connsiteX120" fmla="*/ 151579 w 1489473"/>
              <a:gd name="connsiteY120" fmla="*/ 418452 h 498230"/>
              <a:gd name="connsiteX121" fmla="*/ 153125 w 1489473"/>
              <a:gd name="connsiteY121" fmla="*/ 418452 h 498230"/>
              <a:gd name="connsiteX122" fmla="*/ 153125 w 1489473"/>
              <a:gd name="connsiteY122" fmla="*/ 417696 h 498230"/>
              <a:gd name="connsiteX123" fmla="*/ 154648 w 1489473"/>
              <a:gd name="connsiteY123" fmla="*/ 417696 h 498230"/>
              <a:gd name="connsiteX124" fmla="*/ 154648 w 1489473"/>
              <a:gd name="connsiteY124" fmla="*/ 416906 h 498230"/>
              <a:gd name="connsiteX125" fmla="*/ 157684 w 1489473"/>
              <a:gd name="connsiteY125" fmla="*/ 416906 h 498230"/>
              <a:gd name="connsiteX126" fmla="*/ 159207 w 1489473"/>
              <a:gd name="connsiteY126" fmla="*/ 416906 h 498230"/>
              <a:gd name="connsiteX127" fmla="*/ 159207 w 1489473"/>
              <a:gd name="connsiteY127" fmla="*/ 415316 h 498230"/>
              <a:gd name="connsiteX128" fmla="*/ 160753 w 1489473"/>
              <a:gd name="connsiteY128" fmla="*/ 415316 h 498230"/>
              <a:gd name="connsiteX129" fmla="*/ 160753 w 1489473"/>
              <a:gd name="connsiteY129" fmla="*/ 412969 h 498230"/>
              <a:gd name="connsiteX130" fmla="*/ 162288 w 1489473"/>
              <a:gd name="connsiteY130" fmla="*/ 412969 h 498230"/>
              <a:gd name="connsiteX131" fmla="*/ 162288 w 1489473"/>
              <a:gd name="connsiteY131" fmla="*/ 411378 h 498230"/>
              <a:gd name="connsiteX132" fmla="*/ 165346 w 1489473"/>
              <a:gd name="connsiteY132" fmla="*/ 411378 h 498230"/>
              <a:gd name="connsiteX133" fmla="*/ 165346 w 1489473"/>
              <a:gd name="connsiteY133" fmla="*/ 410622 h 498230"/>
              <a:gd name="connsiteX134" fmla="*/ 166891 w 1489473"/>
              <a:gd name="connsiteY134" fmla="*/ 410622 h 498230"/>
              <a:gd name="connsiteX135" fmla="*/ 166891 w 1489473"/>
              <a:gd name="connsiteY135" fmla="*/ 409821 h 498230"/>
              <a:gd name="connsiteX136" fmla="*/ 168426 w 1489473"/>
              <a:gd name="connsiteY136" fmla="*/ 409821 h 498230"/>
              <a:gd name="connsiteX137" fmla="*/ 168426 w 1489473"/>
              <a:gd name="connsiteY137" fmla="*/ 409032 h 498230"/>
              <a:gd name="connsiteX138" fmla="*/ 169949 w 1489473"/>
              <a:gd name="connsiteY138" fmla="*/ 409032 h 498230"/>
              <a:gd name="connsiteX139" fmla="*/ 169949 w 1489473"/>
              <a:gd name="connsiteY139" fmla="*/ 408242 h 498230"/>
              <a:gd name="connsiteX140" fmla="*/ 171484 w 1489473"/>
              <a:gd name="connsiteY140" fmla="*/ 408242 h 498230"/>
              <a:gd name="connsiteX141" fmla="*/ 171484 w 1489473"/>
              <a:gd name="connsiteY141" fmla="*/ 406685 h 498230"/>
              <a:gd name="connsiteX142" fmla="*/ 173030 w 1489473"/>
              <a:gd name="connsiteY142" fmla="*/ 406685 h 498230"/>
              <a:gd name="connsiteX143" fmla="*/ 173030 w 1489473"/>
              <a:gd name="connsiteY143" fmla="*/ 405895 h 498230"/>
              <a:gd name="connsiteX144" fmla="*/ 177589 w 1489473"/>
              <a:gd name="connsiteY144" fmla="*/ 405895 h 498230"/>
              <a:gd name="connsiteX145" fmla="*/ 177589 w 1489473"/>
              <a:gd name="connsiteY145" fmla="*/ 404338 h 498230"/>
              <a:gd name="connsiteX146" fmla="*/ 179112 w 1489473"/>
              <a:gd name="connsiteY146" fmla="*/ 404338 h 498230"/>
              <a:gd name="connsiteX147" fmla="*/ 179112 w 1489473"/>
              <a:gd name="connsiteY147" fmla="*/ 403549 h 498230"/>
              <a:gd name="connsiteX148" fmla="*/ 182193 w 1489473"/>
              <a:gd name="connsiteY148" fmla="*/ 403549 h 498230"/>
              <a:gd name="connsiteX149" fmla="*/ 182193 w 1489473"/>
              <a:gd name="connsiteY149" fmla="*/ 402759 h 498230"/>
              <a:gd name="connsiteX150" fmla="*/ 183716 w 1489473"/>
              <a:gd name="connsiteY150" fmla="*/ 402759 h 498230"/>
              <a:gd name="connsiteX151" fmla="*/ 183716 w 1489473"/>
              <a:gd name="connsiteY151" fmla="*/ 401958 h 498230"/>
              <a:gd name="connsiteX152" fmla="*/ 185251 w 1489473"/>
              <a:gd name="connsiteY152" fmla="*/ 401958 h 498230"/>
              <a:gd name="connsiteX153" fmla="*/ 185251 w 1489473"/>
              <a:gd name="connsiteY153" fmla="*/ 401157 h 498230"/>
              <a:gd name="connsiteX154" fmla="*/ 189855 w 1489473"/>
              <a:gd name="connsiteY154" fmla="*/ 401157 h 498230"/>
              <a:gd name="connsiteX155" fmla="*/ 189855 w 1489473"/>
              <a:gd name="connsiteY155" fmla="*/ 399611 h 498230"/>
              <a:gd name="connsiteX156" fmla="*/ 192901 w 1489473"/>
              <a:gd name="connsiteY156" fmla="*/ 399611 h 498230"/>
              <a:gd name="connsiteX157" fmla="*/ 194425 w 1489473"/>
              <a:gd name="connsiteY157" fmla="*/ 399611 h 498230"/>
              <a:gd name="connsiteX158" fmla="*/ 195960 w 1489473"/>
              <a:gd name="connsiteY158" fmla="*/ 399611 h 498230"/>
              <a:gd name="connsiteX159" fmla="*/ 195960 w 1489473"/>
              <a:gd name="connsiteY159" fmla="*/ 398822 h 498230"/>
              <a:gd name="connsiteX160" fmla="*/ 197494 w 1489473"/>
              <a:gd name="connsiteY160" fmla="*/ 398822 h 498230"/>
              <a:gd name="connsiteX161" fmla="*/ 197494 w 1489473"/>
              <a:gd name="connsiteY161" fmla="*/ 398021 h 498230"/>
              <a:gd name="connsiteX162" fmla="*/ 199028 w 1489473"/>
              <a:gd name="connsiteY162" fmla="*/ 398021 h 498230"/>
              <a:gd name="connsiteX163" fmla="*/ 199028 w 1489473"/>
              <a:gd name="connsiteY163" fmla="*/ 397231 h 498230"/>
              <a:gd name="connsiteX164" fmla="*/ 200563 w 1489473"/>
              <a:gd name="connsiteY164" fmla="*/ 397231 h 498230"/>
              <a:gd name="connsiteX165" fmla="*/ 203632 w 1489473"/>
              <a:gd name="connsiteY165" fmla="*/ 397231 h 498230"/>
              <a:gd name="connsiteX166" fmla="*/ 203632 w 1489473"/>
              <a:gd name="connsiteY166" fmla="*/ 396442 h 498230"/>
              <a:gd name="connsiteX167" fmla="*/ 206701 w 1489473"/>
              <a:gd name="connsiteY167" fmla="*/ 396442 h 498230"/>
              <a:gd name="connsiteX168" fmla="*/ 206701 w 1489473"/>
              <a:gd name="connsiteY168" fmla="*/ 394885 h 498230"/>
              <a:gd name="connsiteX169" fmla="*/ 208236 w 1489473"/>
              <a:gd name="connsiteY169" fmla="*/ 394885 h 498230"/>
              <a:gd name="connsiteX170" fmla="*/ 209726 w 1489473"/>
              <a:gd name="connsiteY170" fmla="*/ 394885 h 498230"/>
              <a:gd name="connsiteX171" fmla="*/ 209726 w 1489473"/>
              <a:gd name="connsiteY171" fmla="*/ 394095 h 498230"/>
              <a:gd name="connsiteX172" fmla="*/ 212806 w 1489473"/>
              <a:gd name="connsiteY172" fmla="*/ 394095 h 498230"/>
              <a:gd name="connsiteX173" fmla="*/ 212806 w 1489473"/>
              <a:gd name="connsiteY173" fmla="*/ 393294 h 498230"/>
              <a:gd name="connsiteX174" fmla="*/ 214330 w 1489473"/>
              <a:gd name="connsiteY174" fmla="*/ 393294 h 498230"/>
              <a:gd name="connsiteX175" fmla="*/ 214330 w 1489473"/>
              <a:gd name="connsiteY175" fmla="*/ 392505 h 498230"/>
              <a:gd name="connsiteX176" fmla="*/ 218934 w 1489473"/>
              <a:gd name="connsiteY176" fmla="*/ 392505 h 498230"/>
              <a:gd name="connsiteX177" fmla="*/ 218934 w 1489473"/>
              <a:gd name="connsiteY177" fmla="*/ 391715 h 498230"/>
              <a:gd name="connsiteX178" fmla="*/ 222003 w 1489473"/>
              <a:gd name="connsiteY178" fmla="*/ 391715 h 498230"/>
              <a:gd name="connsiteX179" fmla="*/ 223537 w 1489473"/>
              <a:gd name="connsiteY179" fmla="*/ 391715 h 498230"/>
              <a:gd name="connsiteX180" fmla="*/ 223537 w 1489473"/>
              <a:gd name="connsiteY180" fmla="*/ 390914 h 498230"/>
              <a:gd name="connsiteX181" fmla="*/ 225072 w 1489473"/>
              <a:gd name="connsiteY181" fmla="*/ 390914 h 498230"/>
              <a:gd name="connsiteX182" fmla="*/ 225072 w 1489473"/>
              <a:gd name="connsiteY182" fmla="*/ 389357 h 498230"/>
              <a:gd name="connsiteX183" fmla="*/ 228108 w 1489473"/>
              <a:gd name="connsiteY183" fmla="*/ 389357 h 498230"/>
              <a:gd name="connsiteX184" fmla="*/ 228108 w 1489473"/>
              <a:gd name="connsiteY184" fmla="*/ 387778 h 498230"/>
              <a:gd name="connsiteX185" fmla="*/ 229631 w 1489473"/>
              <a:gd name="connsiteY185" fmla="*/ 387778 h 498230"/>
              <a:gd name="connsiteX186" fmla="*/ 229631 w 1489473"/>
              <a:gd name="connsiteY186" fmla="*/ 386187 h 498230"/>
              <a:gd name="connsiteX187" fmla="*/ 234235 w 1489473"/>
              <a:gd name="connsiteY187" fmla="*/ 386187 h 498230"/>
              <a:gd name="connsiteX188" fmla="*/ 234235 w 1489473"/>
              <a:gd name="connsiteY188" fmla="*/ 384608 h 498230"/>
              <a:gd name="connsiteX189" fmla="*/ 235770 w 1489473"/>
              <a:gd name="connsiteY189" fmla="*/ 384608 h 498230"/>
              <a:gd name="connsiteX190" fmla="*/ 235770 w 1489473"/>
              <a:gd name="connsiteY190" fmla="*/ 383017 h 498230"/>
              <a:gd name="connsiteX191" fmla="*/ 237304 w 1489473"/>
              <a:gd name="connsiteY191" fmla="*/ 383017 h 498230"/>
              <a:gd name="connsiteX192" fmla="*/ 237304 w 1489473"/>
              <a:gd name="connsiteY192" fmla="*/ 382217 h 498230"/>
              <a:gd name="connsiteX193" fmla="*/ 240373 w 1489473"/>
              <a:gd name="connsiteY193" fmla="*/ 382217 h 498230"/>
              <a:gd name="connsiteX194" fmla="*/ 240373 w 1489473"/>
              <a:gd name="connsiteY194" fmla="*/ 381427 h 498230"/>
              <a:gd name="connsiteX195" fmla="*/ 243443 w 1489473"/>
              <a:gd name="connsiteY195" fmla="*/ 381427 h 498230"/>
              <a:gd name="connsiteX196" fmla="*/ 243443 w 1489473"/>
              <a:gd name="connsiteY196" fmla="*/ 380671 h 498230"/>
              <a:gd name="connsiteX197" fmla="*/ 244933 w 1489473"/>
              <a:gd name="connsiteY197" fmla="*/ 380671 h 498230"/>
              <a:gd name="connsiteX198" fmla="*/ 244933 w 1489473"/>
              <a:gd name="connsiteY198" fmla="*/ 379080 h 498230"/>
              <a:gd name="connsiteX199" fmla="*/ 246478 w 1489473"/>
              <a:gd name="connsiteY199" fmla="*/ 379080 h 498230"/>
              <a:gd name="connsiteX200" fmla="*/ 246478 w 1489473"/>
              <a:gd name="connsiteY200" fmla="*/ 378291 h 498230"/>
              <a:gd name="connsiteX201" fmla="*/ 248013 w 1489473"/>
              <a:gd name="connsiteY201" fmla="*/ 378291 h 498230"/>
              <a:gd name="connsiteX202" fmla="*/ 248013 w 1489473"/>
              <a:gd name="connsiteY202" fmla="*/ 376700 h 498230"/>
              <a:gd name="connsiteX203" fmla="*/ 251082 w 1489473"/>
              <a:gd name="connsiteY203" fmla="*/ 376700 h 498230"/>
              <a:gd name="connsiteX204" fmla="*/ 251082 w 1489473"/>
              <a:gd name="connsiteY204" fmla="*/ 375899 h 498230"/>
              <a:gd name="connsiteX205" fmla="*/ 252617 w 1489473"/>
              <a:gd name="connsiteY205" fmla="*/ 375899 h 498230"/>
              <a:gd name="connsiteX206" fmla="*/ 252617 w 1489473"/>
              <a:gd name="connsiteY206" fmla="*/ 375110 h 498230"/>
              <a:gd name="connsiteX207" fmla="*/ 254140 w 1489473"/>
              <a:gd name="connsiteY207" fmla="*/ 375110 h 498230"/>
              <a:gd name="connsiteX208" fmla="*/ 254140 w 1489473"/>
              <a:gd name="connsiteY208" fmla="*/ 374320 h 498230"/>
              <a:gd name="connsiteX209" fmla="*/ 257220 w 1489473"/>
              <a:gd name="connsiteY209" fmla="*/ 374320 h 498230"/>
              <a:gd name="connsiteX210" fmla="*/ 257220 w 1489473"/>
              <a:gd name="connsiteY210" fmla="*/ 373530 h 498230"/>
              <a:gd name="connsiteX211" fmla="*/ 261780 w 1489473"/>
              <a:gd name="connsiteY211" fmla="*/ 373530 h 498230"/>
              <a:gd name="connsiteX212" fmla="*/ 261780 w 1489473"/>
              <a:gd name="connsiteY212" fmla="*/ 371940 h 498230"/>
              <a:gd name="connsiteX213" fmla="*/ 263314 w 1489473"/>
              <a:gd name="connsiteY213" fmla="*/ 371940 h 498230"/>
              <a:gd name="connsiteX214" fmla="*/ 263314 w 1489473"/>
              <a:gd name="connsiteY214" fmla="*/ 370383 h 498230"/>
              <a:gd name="connsiteX215" fmla="*/ 264849 w 1489473"/>
              <a:gd name="connsiteY215" fmla="*/ 370383 h 498230"/>
              <a:gd name="connsiteX216" fmla="*/ 264849 w 1489473"/>
              <a:gd name="connsiteY216" fmla="*/ 369593 h 498230"/>
              <a:gd name="connsiteX217" fmla="*/ 266383 w 1489473"/>
              <a:gd name="connsiteY217" fmla="*/ 369593 h 498230"/>
              <a:gd name="connsiteX218" fmla="*/ 266383 w 1489473"/>
              <a:gd name="connsiteY218" fmla="*/ 368792 h 498230"/>
              <a:gd name="connsiteX219" fmla="*/ 267918 w 1489473"/>
              <a:gd name="connsiteY219" fmla="*/ 368792 h 498230"/>
              <a:gd name="connsiteX220" fmla="*/ 267918 w 1489473"/>
              <a:gd name="connsiteY220" fmla="*/ 367213 h 498230"/>
              <a:gd name="connsiteX221" fmla="*/ 269441 w 1489473"/>
              <a:gd name="connsiteY221" fmla="*/ 367213 h 498230"/>
              <a:gd name="connsiteX222" fmla="*/ 269441 w 1489473"/>
              <a:gd name="connsiteY222" fmla="*/ 366412 h 498230"/>
              <a:gd name="connsiteX223" fmla="*/ 270987 w 1489473"/>
              <a:gd name="connsiteY223" fmla="*/ 366412 h 498230"/>
              <a:gd name="connsiteX224" fmla="*/ 270987 w 1489473"/>
              <a:gd name="connsiteY224" fmla="*/ 365623 h 498230"/>
              <a:gd name="connsiteX225" fmla="*/ 272522 w 1489473"/>
              <a:gd name="connsiteY225" fmla="*/ 365623 h 498230"/>
              <a:gd name="connsiteX226" fmla="*/ 272522 w 1489473"/>
              <a:gd name="connsiteY226" fmla="*/ 364833 h 498230"/>
              <a:gd name="connsiteX227" fmla="*/ 274056 w 1489473"/>
              <a:gd name="connsiteY227" fmla="*/ 364833 h 498230"/>
              <a:gd name="connsiteX228" fmla="*/ 274056 w 1489473"/>
              <a:gd name="connsiteY228" fmla="*/ 363243 h 498230"/>
              <a:gd name="connsiteX229" fmla="*/ 275580 w 1489473"/>
              <a:gd name="connsiteY229" fmla="*/ 363243 h 498230"/>
              <a:gd name="connsiteX230" fmla="*/ 275580 w 1489473"/>
              <a:gd name="connsiteY230" fmla="*/ 362453 h 498230"/>
              <a:gd name="connsiteX231" fmla="*/ 277125 w 1489473"/>
              <a:gd name="connsiteY231" fmla="*/ 362453 h 498230"/>
              <a:gd name="connsiteX232" fmla="*/ 278660 w 1489473"/>
              <a:gd name="connsiteY232" fmla="*/ 362453 h 498230"/>
              <a:gd name="connsiteX233" fmla="*/ 278660 w 1489473"/>
              <a:gd name="connsiteY233" fmla="*/ 361652 h 498230"/>
              <a:gd name="connsiteX234" fmla="*/ 280150 w 1489473"/>
              <a:gd name="connsiteY234" fmla="*/ 361652 h 498230"/>
              <a:gd name="connsiteX235" fmla="*/ 280150 w 1489473"/>
              <a:gd name="connsiteY235" fmla="*/ 360073 h 498230"/>
              <a:gd name="connsiteX236" fmla="*/ 281685 w 1489473"/>
              <a:gd name="connsiteY236" fmla="*/ 360073 h 498230"/>
              <a:gd name="connsiteX237" fmla="*/ 283219 w 1489473"/>
              <a:gd name="connsiteY237" fmla="*/ 360073 h 498230"/>
              <a:gd name="connsiteX238" fmla="*/ 283219 w 1489473"/>
              <a:gd name="connsiteY238" fmla="*/ 359272 h 498230"/>
              <a:gd name="connsiteX239" fmla="*/ 284754 w 1489473"/>
              <a:gd name="connsiteY239" fmla="*/ 359272 h 498230"/>
              <a:gd name="connsiteX240" fmla="*/ 284754 w 1489473"/>
              <a:gd name="connsiteY240" fmla="*/ 357693 h 498230"/>
              <a:gd name="connsiteX241" fmla="*/ 286289 w 1489473"/>
              <a:gd name="connsiteY241" fmla="*/ 357693 h 498230"/>
              <a:gd name="connsiteX242" fmla="*/ 286289 w 1489473"/>
              <a:gd name="connsiteY242" fmla="*/ 356892 h 498230"/>
              <a:gd name="connsiteX243" fmla="*/ 287823 w 1489473"/>
              <a:gd name="connsiteY243" fmla="*/ 356892 h 498230"/>
              <a:gd name="connsiteX244" fmla="*/ 287823 w 1489473"/>
              <a:gd name="connsiteY244" fmla="*/ 355268 h 498230"/>
              <a:gd name="connsiteX245" fmla="*/ 289358 w 1489473"/>
              <a:gd name="connsiteY245" fmla="*/ 355268 h 498230"/>
              <a:gd name="connsiteX246" fmla="*/ 290892 w 1489473"/>
              <a:gd name="connsiteY246" fmla="*/ 355268 h 498230"/>
              <a:gd name="connsiteX247" fmla="*/ 290892 w 1489473"/>
              <a:gd name="connsiteY247" fmla="*/ 354479 h 498230"/>
              <a:gd name="connsiteX248" fmla="*/ 292427 w 1489473"/>
              <a:gd name="connsiteY248" fmla="*/ 354479 h 498230"/>
              <a:gd name="connsiteX249" fmla="*/ 293961 w 1489473"/>
              <a:gd name="connsiteY249" fmla="*/ 354479 h 498230"/>
              <a:gd name="connsiteX250" fmla="*/ 293961 w 1489473"/>
              <a:gd name="connsiteY250" fmla="*/ 353678 h 498230"/>
              <a:gd name="connsiteX251" fmla="*/ 295485 w 1489473"/>
              <a:gd name="connsiteY251" fmla="*/ 353678 h 498230"/>
              <a:gd name="connsiteX252" fmla="*/ 295485 w 1489473"/>
              <a:gd name="connsiteY252" fmla="*/ 352855 h 498230"/>
              <a:gd name="connsiteX253" fmla="*/ 297031 w 1489473"/>
              <a:gd name="connsiteY253" fmla="*/ 352855 h 498230"/>
              <a:gd name="connsiteX254" fmla="*/ 298532 w 1489473"/>
              <a:gd name="connsiteY254" fmla="*/ 352855 h 498230"/>
              <a:gd name="connsiteX255" fmla="*/ 298532 w 1489473"/>
              <a:gd name="connsiteY255" fmla="*/ 352065 h 498230"/>
              <a:gd name="connsiteX256" fmla="*/ 300055 w 1489473"/>
              <a:gd name="connsiteY256" fmla="*/ 352065 h 498230"/>
              <a:gd name="connsiteX257" fmla="*/ 301590 w 1489473"/>
              <a:gd name="connsiteY257" fmla="*/ 352065 h 498230"/>
              <a:gd name="connsiteX258" fmla="*/ 303125 w 1489473"/>
              <a:gd name="connsiteY258" fmla="*/ 352065 h 498230"/>
              <a:gd name="connsiteX259" fmla="*/ 304659 w 1489473"/>
              <a:gd name="connsiteY259" fmla="*/ 352065 h 498230"/>
              <a:gd name="connsiteX260" fmla="*/ 304659 w 1489473"/>
              <a:gd name="connsiteY260" fmla="*/ 351231 h 498230"/>
              <a:gd name="connsiteX261" fmla="*/ 306194 w 1489473"/>
              <a:gd name="connsiteY261" fmla="*/ 351231 h 498230"/>
              <a:gd name="connsiteX262" fmla="*/ 307728 w 1489473"/>
              <a:gd name="connsiteY262" fmla="*/ 351231 h 498230"/>
              <a:gd name="connsiteX263" fmla="*/ 307728 w 1489473"/>
              <a:gd name="connsiteY263" fmla="*/ 350408 h 498230"/>
              <a:gd name="connsiteX264" fmla="*/ 309274 w 1489473"/>
              <a:gd name="connsiteY264" fmla="*/ 350408 h 498230"/>
              <a:gd name="connsiteX265" fmla="*/ 309274 w 1489473"/>
              <a:gd name="connsiteY265" fmla="*/ 349618 h 498230"/>
              <a:gd name="connsiteX266" fmla="*/ 310797 w 1489473"/>
              <a:gd name="connsiteY266" fmla="*/ 349618 h 498230"/>
              <a:gd name="connsiteX267" fmla="*/ 312332 w 1489473"/>
              <a:gd name="connsiteY267" fmla="*/ 349618 h 498230"/>
              <a:gd name="connsiteX268" fmla="*/ 312332 w 1489473"/>
              <a:gd name="connsiteY268" fmla="*/ 347961 h 498230"/>
              <a:gd name="connsiteX269" fmla="*/ 313867 w 1489473"/>
              <a:gd name="connsiteY269" fmla="*/ 347961 h 498230"/>
              <a:gd name="connsiteX270" fmla="*/ 315357 w 1489473"/>
              <a:gd name="connsiteY270" fmla="*/ 347961 h 498230"/>
              <a:gd name="connsiteX271" fmla="*/ 316902 w 1489473"/>
              <a:gd name="connsiteY271" fmla="*/ 347961 h 498230"/>
              <a:gd name="connsiteX272" fmla="*/ 316902 w 1489473"/>
              <a:gd name="connsiteY272" fmla="*/ 347094 h 498230"/>
              <a:gd name="connsiteX273" fmla="*/ 318437 w 1489473"/>
              <a:gd name="connsiteY273" fmla="*/ 347094 h 498230"/>
              <a:gd name="connsiteX274" fmla="*/ 318437 w 1489473"/>
              <a:gd name="connsiteY274" fmla="*/ 346259 h 498230"/>
              <a:gd name="connsiteX275" fmla="*/ 319960 w 1489473"/>
              <a:gd name="connsiteY275" fmla="*/ 346259 h 498230"/>
              <a:gd name="connsiteX276" fmla="*/ 321495 w 1489473"/>
              <a:gd name="connsiteY276" fmla="*/ 346259 h 498230"/>
              <a:gd name="connsiteX277" fmla="*/ 321495 w 1489473"/>
              <a:gd name="connsiteY277" fmla="*/ 345403 h 498230"/>
              <a:gd name="connsiteX278" fmla="*/ 323041 w 1489473"/>
              <a:gd name="connsiteY278" fmla="*/ 345403 h 498230"/>
              <a:gd name="connsiteX279" fmla="*/ 323041 w 1489473"/>
              <a:gd name="connsiteY279" fmla="*/ 344580 h 498230"/>
              <a:gd name="connsiteX280" fmla="*/ 324564 w 1489473"/>
              <a:gd name="connsiteY280" fmla="*/ 344580 h 498230"/>
              <a:gd name="connsiteX281" fmla="*/ 324564 w 1489473"/>
              <a:gd name="connsiteY281" fmla="*/ 343713 h 498230"/>
              <a:gd name="connsiteX282" fmla="*/ 327633 w 1489473"/>
              <a:gd name="connsiteY282" fmla="*/ 343713 h 498230"/>
              <a:gd name="connsiteX283" fmla="*/ 329179 w 1489473"/>
              <a:gd name="connsiteY283" fmla="*/ 343713 h 498230"/>
              <a:gd name="connsiteX284" fmla="*/ 330702 w 1489473"/>
              <a:gd name="connsiteY284" fmla="*/ 343713 h 498230"/>
              <a:gd name="connsiteX285" fmla="*/ 330702 w 1489473"/>
              <a:gd name="connsiteY285" fmla="*/ 342845 h 498230"/>
              <a:gd name="connsiteX286" fmla="*/ 332237 w 1489473"/>
              <a:gd name="connsiteY286" fmla="*/ 342845 h 498230"/>
              <a:gd name="connsiteX287" fmla="*/ 333738 w 1489473"/>
              <a:gd name="connsiteY287" fmla="*/ 342845 h 498230"/>
              <a:gd name="connsiteX288" fmla="*/ 333738 w 1489473"/>
              <a:gd name="connsiteY288" fmla="*/ 341989 h 498230"/>
              <a:gd name="connsiteX289" fmla="*/ 335262 w 1489473"/>
              <a:gd name="connsiteY289" fmla="*/ 341989 h 498230"/>
              <a:gd name="connsiteX290" fmla="*/ 338342 w 1489473"/>
              <a:gd name="connsiteY290" fmla="*/ 341989 h 498230"/>
              <a:gd name="connsiteX291" fmla="*/ 338342 w 1489473"/>
              <a:gd name="connsiteY291" fmla="*/ 341132 h 498230"/>
              <a:gd name="connsiteX292" fmla="*/ 339865 w 1489473"/>
              <a:gd name="connsiteY292" fmla="*/ 341132 h 498230"/>
              <a:gd name="connsiteX293" fmla="*/ 341400 w 1489473"/>
              <a:gd name="connsiteY293" fmla="*/ 341132 h 498230"/>
              <a:gd name="connsiteX294" fmla="*/ 341400 w 1489473"/>
              <a:gd name="connsiteY294" fmla="*/ 340265 h 498230"/>
              <a:gd name="connsiteX295" fmla="*/ 342946 w 1489473"/>
              <a:gd name="connsiteY295" fmla="*/ 340265 h 498230"/>
              <a:gd name="connsiteX296" fmla="*/ 342946 w 1489473"/>
              <a:gd name="connsiteY296" fmla="*/ 335883 h 498230"/>
              <a:gd name="connsiteX297" fmla="*/ 344480 w 1489473"/>
              <a:gd name="connsiteY297" fmla="*/ 335883 h 498230"/>
              <a:gd name="connsiteX298" fmla="*/ 344480 w 1489473"/>
              <a:gd name="connsiteY298" fmla="*/ 335015 h 498230"/>
              <a:gd name="connsiteX299" fmla="*/ 346004 w 1489473"/>
              <a:gd name="connsiteY299" fmla="*/ 335015 h 498230"/>
              <a:gd name="connsiteX300" fmla="*/ 349084 w 1489473"/>
              <a:gd name="connsiteY300" fmla="*/ 335015 h 498230"/>
              <a:gd name="connsiteX301" fmla="*/ 349084 w 1489473"/>
              <a:gd name="connsiteY301" fmla="*/ 334125 h 498230"/>
              <a:gd name="connsiteX302" fmla="*/ 350574 w 1489473"/>
              <a:gd name="connsiteY302" fmla="*/ 334125 h 498230"/>
              <a:gd name="connsiteX303" fmla="*/ 350574 w 1489473"/>
              <a:gd name="connsiteY303" fmla="*/ 332357 h 498230"/>
              <a:gd name="connsiteX304" fmla="*/ 352109 w 1489473"/>
              <a:gd name="connsiteY304" fmla="*/ 332357 h 498230"/>
              <a:gd name="connsiteX305" fmla="*/ 353643 w 1489473"/>
              <a:gd name="connsiteY305" fmla="*/ 332357 h 498230"/>
              <a:gd name="connsiteX306" fmla="*/ 353643 w 1489473"/>
              <a:gd name="connsiteY306" fmla="*/ 331456 h 498230"/>
              <a:gd name="connsiteX307" fmla="*/ 355167 w 1489473"/>
              <a:gd name="connsiteY307" fmla="*/ 331456 h 498230"/>
              <a:gd name="connsiteX308" fmla="*/ 356713 w 1489473"/>
              <a:gd name="connsiteY308" fmla="*/ 331456 h 498230"/>
              <a:gd name="connsiteX309" fmla="*/ 358247 w 1489473"/>
              <a:gd name="connsiteY309" fmla="*/ 331456 h 498230"/>
              <a:gd name="connsiteX310" fmla="*/ 358247 w 1489473"/>
              <a:gd name="connsiteY310" fmla="*/ 330566 h 498230"/>
              <a:gd name="connsiteX311" fmla="*/ 359782 w 1489473"/>
              <a:gd name="connsiteY311" fmla="*/ 330566 h 498230"/>
              <a:gd name="connsiteX312" fmla="*/ 359782 w 1489473"/>
              <a:gd name="connsiteY312" fmla="*/ 329666 h 498230"/>
              <a:gd name="connsiteX313" fmla="*/ 361316 w 1489473"/>
              <a:gd name="connsiteY313" fmla="*/ 329666 h 498230"/>
              <a:gd name="connsiteX314" fmla="*/ 361316 w 1489473"/>
              <a:gd name="connsiteY314" fmla="*/ 328776 h 498230"/>
              <a:gd name="connsiteX315" fmla="*/ 362851 w 1489473"/>
              <a:gd name="connsiteY315" fmla="*/ 328776 h 498230"/>
              <a:gd name="connsiteX316" fmla="*/ 362851 w 1489473"/>
              <a:gd name="connsiteY316" fmla="*/ 327875 h 498230"/>
              <a:gd name="connsiteX317" fmla="*/ 364386 w 1489473"/>
              <a:gd name="connsiteY317" fmla="*/ 327875 h 498230"/>
              <a:gd name="connsiteX318" fmla="*/ 365909 w 1489473"/>
              <a:gd name="connsiteY318" fmla="*/ 327875 h 498230"/>
              <a:gd name="connsiteX319" fmla="*/ 365909 w 1489473"/>
              <a:gd name="connsiteY319" fmla="*/ 326073 h 498230"/>
              <a:gd name="connsiteX320" fmla="*/ 367455 w 1489473"/>
              <a:gd name="connsiteY320" fmla="*/ 326073 h 498230"/>
              <a:gd name="connsiteX321" fmla="*/ 368956 w 1489473"/>
              <a:gd name="connsiteY321" fmla="*/ 326073 h 498230"/>
              <a:gd name="connsiteX322" fmla="*/ 370479 w 1489473"/>
              <a:gd name="connsiteY322" fmla="*/ 326073 h 498230"/>
              <a:gd name="connsiteX323" fmla="*/ 370479 w 1489473"/>
              <a:gd name="connsiteY323" fmla="*/ 325183 h 498230"/>
              <a:gd name="connsiteX324" fmla="*/ 372014 w 1489473"/>
              <a:gd name="connsiteY324" fmla="*/ 325183 h 498230"/>
              <a:gd name="connsiteX325" fmla="*/ 373548 w 1489473"/>
              <a:gd name="connsiteY325" fmla="*/ 325183 h 498230"/>
              <a:gd name="connsiteX326" fmla="*/ 375083 w 1489473"/>
              <a:gd name="connsiteY326" fmla="*/ 325183 h 498230"/>
              <a:gd name="connsiteX327" fmla="*/ 375083 w 1489473"/>
              <a:gd name="connsiteY327" fmla="*/ 324249 h 498230"/>
              <a:gd name="connsiteX328" fmla="*/ 376617 w 1489473"/>
              <a:gd name="connsiteY328" fmla="*/ 324249 h 498230"/>
              <a:gd name="connsiteX329" fmla="*/ 376617 w 1489473"/>
              <a:gd name="connsiteY329" fmla="*/ 322425 h 498230"/>
              <a:gd name="connsiteX330" fmla="*/ 378152 w 1489473"/>
              <a:gd name="connsiteY330" fmla="*/ 322425 h 498230"/>
              <a:gd name="connsiteX331" fmla="*/ 381221 w 1489473"/>
              <a:gd name="connsiteY331" fmla="*/ 322425 h 498230"/>
              <a:gd name="connsiteX332" fmla="*/ 381221 w 1489473"/>
              <a:gd name="connsiteY332" fmla="*/ 321491 h 498230"/>
              <a:gd name="connsiteX333" fmla="*/ 382756 w 1489473"/>
              <a:gd name="connsiteY333" fmla="*/ 321491 h 498230"/>
              <a:gd name="connsiteX334" fmla="*/ 384290 w 1489473"/>
              <a:gd name="connsiteY334" fmla="*/ 321491 h 498230"/>
              <a:gd name="connsiteX335" fmla="*/ 385781 w 1489473"/>
              <a:gd name="connsiteY335" fmla="*/ 321491 h 498230"/>
              <a:gd name="connsiteX336" fmla="*/ 385781 w 1489473"/>
              <a:gd name="connsiteY336" fmla="*/ 320557 h 498230"/>
              <a:gd name="connsiteX337" fmla="*/ 387315 w 1489473"/>
              <a:gd name="connsiteY337" fmla="*/ 320557 h 498230"/>
              <a:gd name="connsiteX338" fmla="*/ 387315 w 1489473"/>
              <a:gd name="connsiteY338" fmla="*/ 319656 h 498230"/>
              <a:gd name="connsiteX339" fmla="*/ 388861 w 1489473"/>
              <a:gd name="connsiteY339" fmla="*/ 319656 h 498230"/>
              <a:gd name="connsiteX340" fmla="*/ 388861 w 1489473"/>
              <a:gd name="connsiteY340" fmla="*/ 317765 h 498230"/>
              <a:gd name="connsiteX341" fmla="*/ 390384 w 1489473"/>
              <a:gd name="connsiteY341" fmla="*/ 317765 h 498230"/>
              <a:gd name="connsiteX342" fmla="*/ 390384 w 1489473"/>
              <a:gd name="connsiteY342" fmla="*/ 316831 h 498230"/>
              <a:gd name="connsiteX343" fmla="*/ 391919 w 1489473"/>
              <a:gd name="connsiteY343" fmla="*/ 316831 h 498230"/>
              <a:gd name="connsiteX344" fmla="*/ 391919 w 1489473"/>
              <a:gd name="connsiteY344" fmla="*/ 314962 h 498230"/>
              <a:gd name="connsiteX345" fmla="*/ 393453 w 1489473"/>
              <a:gd name="connsiteY345" fmla="*/ 314962 h 498230"/>
              <a:gd name="connsiteX346" fmla="*/ 393453 w 1489473"/>
              <a:gd name="connsiteY346" fmla="*/ 313105 h 498230"/>
              <a:gd name="connsiteX347" fmla="*/ 394999 w 1489473"/>
              <a:gd name="connsiteY347" fmla="*/ 313105 h 498230"/>
              <a:gd name="connsiteX348" fmla="*/ 396523 w 1489473"/>
              <a:gd name="connsiteY348" fmla="*/ 313105 h 498230"/>
              <a:gd name="connsiteX349" fmla="*/ 398057 w 1489473"/>
              <a:gd name="connsiteY349" fmla="*/ 313105 h 498230"/>
              <a:gd name="connsiteX350" fmla="*/ 399592 w 1489473"/>
              <a:gd name="connsiteY350" fmla="*/ 313105 h 498230"/>
              <a:gd name="connsiteX351" fmla="*/ 401126 w 1489473"/>
              <a:gd name="connsiteY351" fmla="*/ 313105 h 498230"/>
              <a:gd name="connsiteX352" fmla="*/ 404162 w 1489473"/>
              <a:gd name="connsiteY352" fmla="*/ 313105 h 498230"/>
              <a:gd name="connsiteX353" fmla="*/ 405686 w 1489473"/>
              <a:gd name="connsiteY353" fmla="*/ 313105 h 498230"/>
              <a:gd name="connsiteX354" fmla="*/ 407220 w 1489473"/>
              <a:gd name="connsiteY354" fmla="*/ 313105 h 498230"/>
              <a:gd name="connsiteX355" fmla="*/ 408766 w 1489473"/>
              <a:gd name="connsiteY355" fmla="*/ 313105 h 498230"/>
              <a:gd name="connsiteX356" fmla="*/ 410289 w 1489473"/>
              <a:gd name="connsiteY356" fmla="*/ 313105 h 498230"/>
              <a:gd name="connsiteX357" fmla="*/ 413359 w 1489473"/>
              <a:gd name="connsiteY357" fmla="*/ 313105 h 498230"/>
              <a:gd name="connsiteX358" fmla="*/ 413359 w 1489473"/>
              <a:gd name="connsiteY358" fmla="*/ 311170 h 498230"/>
              <a:gd name="connsiteX359" fmla="*/ 414904 w 1489473"/>
              <a:gd name="connsiteY359" fmla="*/ 311170 h 498230"/>
              <a:gd name="connsiteX360" fmla="*/ 416428 w 1489473"/>
              <a:gd name="connsiteY360" fmla="*/ 311170 h 498230"/>
              <a:gd name="connsiteX361" fmla="*/ 416428 w 1489473"/>
              <a:gd name="connsiteY361" fmla="*/ 310202 h 498230"/>
              <a:gd name="connsiteX362" fmla="*/ 417962 w 1489473"/>
              <a:gd name="connsiteY362" fmla="*/ 310202 h 498230"/>
              <a:gd name="connsiteX363" fmla="*/ 419508 w 1489473"/>
              <a:gd name="connsiteY363" fmla="*/ 310202 h 498230"/>
              <a:gd name="connsiteX364" fmla="*/ 421032 w 1489473"/>
              <a:gd name="connsiteY364" fmla="*/ 310202 h 498230"/>
              <a:gd name="connsiteX365" fmla="*/ 424067 w 1489473"/>
              <a:gd name="connsiteY365" fmla="*/ 310202 h 498230"/>
              <a:gd name="connsiteX366" fmla="*/ 424067 w 1489473"/>
              <a:gd name="connsiteY366" fmla="*/ 309201 h 498230"/>
              <a:gd name="connsiteX367" fmla="*/ 425591 w 1489473"/>
              <a:gd name="connsiteY367" fmla="*/ 309201 h 498230"/>
              <a:gd name="connsiteX368" fmla="*/ 425591 w 1489473"/>
              <a:gd name="connsiteY368" fmla="*/ 308234 h 498230"/>
              <a:gd name="connsiteX369" fmla="*/ 427136 w 1489473"/>
              <a:gd name="connsiteY369" fmla="*/ 308234 h 498230"/>
              <a:gd name="connsiteX370" fmla="*/ 427136 w 1489473"/>
              <a:gd name="connsiteY370" fmla="*/ 307244 h 498230"/>
              <a:gd name="connsiteX371" fmla="*/ 428671 w 1489473"/>
              <a:gd name="connsiteY371" fmla="*/ 307244 h 498230"/>
              <a:gd name="connsiteX372" fmla="*/ 430206 w 1489473"/>
              <a:gd name="connsiteY372" fmla="*/ 307244 h 498230"/>
              <a:gd name="connsiteX373" fmla="*/ 431729 w 1489473"/>
              <a:gd name="connsiteY373" fmla="*/ 307244 h 498230"/>
              <a:gd name="connsiteX374" fmla="*/ 431729 w 1489473"/>
              <a:gd name="connsiteY374" fmla="*/ 306276 h 498230"/>
              <a:gd name="connsiteX375" fmla="*/ 433275 w 1489473"/>
              <a:gd name="connsiteY375" fmla="*/ 306276 h 498230"/>
              <a:gd name="connsiteX376" fmla="*/ 433275 w 1489473"/>
              <a:gd name="connsiteY376" fmla="*/ 304274 h 498230"/>
              <a:gd name="connsiteX377" fmla="*/ 434809 w 1489473"/>
              <a:gd name="connsiteY377" fmla="*/ 304274 h 498230"/>
              <a:gd name="connsiteX378" fmla="*/ 436333 w 1489473"/>
              <a:gd name="connsiteY378" fmla="*/ 304274 h 498230"/>
              <a:gd name="connsiteX379" fmla="*/ 436333 w 1489473"/>
              <a:gd name="connsiteY379" fmla="*/ 302272 h 498230"/>
              <a:gd name="connsiteX380" fmla="*/ 437868 w 1489473"/>
              <a:gd name="connsiteY380" fmla="*/ 302272 h 498230"/>
              <a:gd name="connsiteX381" fmla="*/ 437868 w 1489473"/>
              <a:gd name="connsiteY381" fmla="*/ 300270 h 498230"/>
              <a:gd name="connsiteX382" fmla="*/ 439369 w 1489473"/>
              <a:gd name="connsiteY382" fmla="*/ 300270 h 498230"/>
              <a:gd name="connsiteX383" fmla="*/ 439369 w 1489473"/>
              <a:gd name="connsiteY383" fmla="*/ 299269 h 498230"/>
              <a:gd name="connsiteX384" fmla="*/ 440903 w 1489473"/>
              <a:gd name="connsiteY384" fmla="*/ 299269 h 498230"/>
              <a:gd name="connsiteX385" fmla="*/ 442438 w 1489473"/>
              <a:gd name="connsiteY385" fmla="*/ 299269 h 498230"/>
              <a:gd name="connsiteX386" fmla="*/ 442438 w 1489473"/>
              <a:gd name="connsiteY386" fmla="*/ 298268 h 498230"/>
              <a:gd name="connsiteX387" fmla="*/ 443972 w 1489473"/>
              <a:gd name="connsiteY387" fmla="*/ 298268 h 498230"/>
              <a:gd name="connsiteX388" fmla="*/ 443972 w 1489473"/>
              <a:gd name="connsiteY388" fmla="*/ 297267 h 498230"/>
              <a:gd name="connsiteX389" fmla="*/ 445507 w 1489473"/>
              <a:gd name="connsiteY389" fmla="*/ 297267 h 498230"/>
              <a:gd name="connsiteX390" fmla="*/ 445507 w 1489473"/>
              <a:gd name="connsiteY390" fmla="*/ 295232 h 498230"/>
              <a:gd name="connsiteX391" fmla="*/ 447042 w 1489473"/>
              <a:gd name="connsiteY391" fmla="*/ 295232 h 498230"/>
              <a:gd name="connsiteX392" fmla="*/ 448576 w 1489473"/>
              <a:gd name="connsiteY392" fmla="*/ 295232 h 498230"/>
              <a:gd name="connsiteX393" fmla="*/ 448576 w 1489473"/>
              <a:gd name="connsiteY393" fmla="*/ 294231 h 498230"/>
              <a:gd name="connsiteX394" fmla="*/ 450111 w 1489473"/>
              <a:gd name="connsiteY394" fmla="*/ 294231 h 498230"/>
              <a:gd name="connsiteX395" fmla="*/ 451634 w 1489473"/>
              <a:gd name="connsiteY395" fmla="*/ 294231 h 498230"/>
              <a:gd name="connsiteX396" fmla="*/ 453180 w 1489473"/>
              <a:gd name="connsiteY396" fmla="*/ 294231 h 498230"/>
              <a:gd name="connsiteX397" fmla="*/ 453180 w 1489473"/>
              <a:gd name="connsiteY397" fmla="*/ 293197 h 498230"/>
              <a:gd name="connsiteX398" fmla="*/ 456238 w 1489473"/>
              <a:gd name="connsiteY398" fmla="*/ 293197 h 498230"/>
              <a:gd name="connsiteX399" fmla="*/ 456238 w 1489473"/>
              <a:gd name="connsiteY399" fmla="*/ 292196 h 498230"/>
              <a:gd name="connsiteX400" fmla="*/ 457739 w 1489473"/>
              <a:gd name="connsiteY400" fmla="*/ 292196 h 498230"/>
              <a:gd name="connsiteX401" fmla="*/ 457739 w 1489473"/>
              <a:gd name="connsiteY401" fmla="*/ 291161 h 498230"/>
              <a:gd name="connsiteX402" fmla="*/ 459274 w 1489473"/>
              <a:gd name="connsiteY402" fmla="*/ 291161 h 498230"/>
              <a:gd name="connsiteX403" fmla="*/ 459274 w 1489473"/>
              <a:gd name="connsiteY403" fmla="*/ 290127 h 498230"/>
              <a:gd name="connsiteX404" fmla="*/ 460808 w 1489473"/>
              <a:gd name="connsiteY404" fmla="*/ 290127 h 498230"/>
              <a:gd name="connsiteX405" fmla="*/ 462343 w 1489473"/>
              <a:gd name="connsiteY405" fmla="*/ 290127 h 498230"/>
              <a:gd name="connsiteX406" fmla="*/ 463878 w 1489473"/>
              <a:gd name="connsiteY406" fmla="*/ 290127 h 498230"/>
              <a:gd name="connsiteX407" fmla="*/ 465412 w 1489473"/>
              <a:gd name="connsiteY407" fmla="*/ 290127 h 498230"/>
              <a:gd name="connsiteX408" fmla="*/ 468481 w 1489473"/>
              <a:gd name="connsiteY408" fmla="*/ 290127 h 498230"/>
              <a:gd name="connsiteX409" fmla="*/ 468481 w 1489473"/>
              <a:gd name="connsiteY409" fmla="*/ 289093 h 498230"/>
              <a:gd name="connsiteX410" fmla="*/ 470016 w 1489473"/>
              <a:gd name="connsiteY410" fmla="*/ 289093 h 498230"/>
              <a:gd name="connsiteX411" fmla="*/ 471539 w 1489473"/>
              <a:gd name="connsiteY411" fmla="*/ 289093 h 498230"/>
              <a:gd name="connsiteX412" fmla="*/ 471539 w 1489473"/>
              <a:gd name="connsiteY412" fmla="*/ 288058 h 498230"/>
              <a:gd name="connsiteX413" fmla="*/ 473085 w 1489473"/>
              <a:gd name="connsiteY413" fmla="*/ 288058 h 498230"/>
              <a:gd name="connsiteX414" fmla="*/ 474586 w 1489473"/>
              <a:gd name="connsiteY414" fmla="*/ 288058 h 498230"/>
              <a:gd name="connsiteX415" fmla="*/ 476110 w 1489473"/>
              <a:gd name="connsiteY415" fmla="*/ 288058 h 498230"/>
              <a:gd name="connsiteX416" fmla="*/ 476110 w 1489473"/>
              <a:gd name="connsiteY416" fmla="*/ 287024 h 498230"/>
              <a:gd name="connsiteX417" fmla="*/ 477644 w 1489473"/>
              <a:gd name="connsiteY417" fmla="*/ 287024 h 498230"/>
              <a:gd name="connsiteX418" fmla="*/ 479190 w 1489473"/>
              <a:gd name="connsiteY418" fmla="*/ 287024 h 498230"/>
              <a:gd name="connsiteX419" fmla="*/ 480714 w 1489473"/>
              <a:gd name="connsiteY419" fmla="*/ 287024 h 498230"/>
              <a:gd name="connsiteX420" fmla="*/ 480714 w 1489473"/>
              <a:gd name="connsiteY420" fmla="*/ 284911 h 498230"/>
              <a:gd name="connsiteX421" fmla="*/ 482248 w 1489473"/>
              <a:gd name="connsiteY421" fmla="*/ 284911 h 498230"/>
              <a:gd name="connsiteX422" fmla="*/ 482248 w 1489473"/>
              <a:gd name="connsiteY422" fmla="*/ 283877 h 498230"/>
              <a:gd name="connsiteX423" fmla="*/ 483783 w 1489473"/>
              <a:gd name="connsiteY423" fmla="*/ 283877 h 498230"/>
              <a:gd name="connsiteX424" fmla="*/ 483783 w 1489473"/>
              <a:gd name="connsiteY424" fmla="*/ 282809 h 498230"/>
              <a:gd name="connsiteX425" fmla="*/ 485328 w 1489473"/>
              <a:gd name="connsiteY425" fmla="*/ 282809 h 498230"/>
              <a:gd name="connsiteX426" fmla="*/ 485328 w 1489473"/>
              <a:gd name="connsiteY426" fmla="*/ 279639 h 498230"/>
              <a:gd name="connsiteX427" fmla="*/ 491456 w 1489473"/>
              <a:gd name="connsiteY427" fmla="*/ 279639 h 498230"/>
              <a:gd name="connsiteX428" fmla="*/ 492957 w 1489473"/>
              <a:gd name="connsiteY428" fmla="*/ 279639 h 498230"/>
              <a:gd name="connsiteX429" fmla="*/ 494491 w 1489473"/>
              <a:gd name="connsiteY429" fmla="*/ 279639 h 498230"/>
              <a:gd name="connsiteX430" fmla="*/ 496015 w 1489473"/>
              <a:gd name="connsiteY430" fmla="*/ 279639 h 498230"/>
              <a:gd name="connsiteX431" fmla="*/ 496015 w 1489473"/>
              <a:gd name="connsiteY431" fmla="*/ 278594 h 498230"/>
              <a:gd name="connsiteX432" fmla="*/ 497549 w 1489473"/>
              <a:gd name="connsiteY432" fmla="*/ 278594 h 498230"/>
              <a:gd name="connsiteX433" fmla="*/ 497549 w 1489473"/>
              <a:gd name="connsiteY433" fmla="*/ 277526 h 498230"/>
              <a:gd name="connsiteX434" fmla="*/ 500630 w 1489473"/>
              <a:gd name="connsiteY434" fmla="*/ 277526 h 498230"/>
              <a:gd name="connsiteX435" fmla="*/ 500630 w 1489473"/>
              <a:gd name="connsiteY435" fmla="*/ 276458 h 498230"/>
              <a:gd name="connsiteX436" fmla="*/ 502153 w 1489473"/>
              <a:gd name="connsiteY436" fmla="*/ 276458 h 498230"/>
              <a:gd name="connsiteX437" fmla="*/ 503688 w 1489473"/>
              <a:gd name="connsiteY437" fmla="*/ 276458 h 498230"/>
              <a:gd name="connsiteX438" fmla="*/ 505233 w 1489473"/>
              <a:gd name="connsiteY438" fmla="*/ 276458 h 498230"/>
              <a:gd name="connsiteX439" fmla="*/ 506757 w 1489473"/>
              <a:gd name="connsiteY439" fmla="*/ 276458 h 498230"/>
              <a:gd name="connsiteX440" fmla="*/ 508291 w 1489473"/>
              <a:gd name="connsiteY440" fmla="*/ 276458 h 498230"/>
              <a:gd name="connsiteX441" fmla="*/ 508291 w 1489473"/>
              <a:gd name="connsiteY441" fmla="*/ 275357 h 498230"/>
              <a:gd name="connsiteX442" fmla="*/ 511316 w 1489473"/>
              <a:gd name="connsiteY442" fmla="*/ 275357 h 498230"/>
              <a:gd name="connsiteX443" fmla="*/ 511316 w 1489473"/>
              <a:gd name="connsiteY443" fmla="*/ 274289 h 498230"/>
              <a:gd name="connsiteX444" fmla="*/ 512862 w 1489473"/>
              <a:gd name="connsiteY444" fmla="*/ 274289 h 498230"/>
              <a:gd name="connsiteX445" fmla="*/ 514396 w 1489473"/>
              <a:gd name="connsiteY445" fmla="*/ 274289 h 498230"/>
              <a:gd name="connsiteX446" fmla="*/ 515931 w 1489473"/>
              <a:gd name="connsiteY446" fmla="*/ 274289 h 498230"/>
              <a:gd name="connsiteX447" fmla="*/ 517454 w 1489473"/>
              <a:gd name="connsiteY447" fmla="*/ 274289 h 498230"/>
              <a:gd name="connsiteX448" fmla="*/ 519000 w 1489473"/>
              <a:gd name="connsiteY448" fmla="*/ 274289 h 498230"/>
              <a:gd name="connsiteX449" fmla="*/ 519000 w 1489473"/>
              <a:gd name="connsiteY449" fmla="*/ 273188 h 498230"/>
              <a:gd name="connsiteX450" fmla="*/ 522058 w 1489473"/>
              <a:gd name="connsiteY450" fmla="*/ 273188 h 498230"/>
              <a:gd name="connsiteX451" fmla="*/ 523593 w 1489473"/>
              <a:gd name="connsiteY451" fmla="*/ 273188 h 498230"/>
              <a:gd name="connsiteX452" fmla="*/ 523593 w 1489473"/>
              <a:gd name="connsiteY452" fmla="*/ 270975 h 498230"/>
              <a:gd name="connsiteX453" fmla="*/ 525139 w 1489473"/>
              <a:gd name="connsiteY453" fmla="*/ 270975 h 498230"/>
              <a:gd name="connsiteX454" fmla="*/ 525139 w 1489473"/>
              <a:gd name="connsiteY454" fmla="*/ 268762 h 498230"/>
              <a:gd name="connsiteX455" fmla="*/ 526662 w 1489473"/>
              <a:gd name="connsiteY455" fmla="*/ 268762 h 498230"/>
              <a:gd name="connsiteX456" fmla="*/ 528163 w 1489473"/>
              <a:gd name="connsiteY456" fmla="*/ 268762 h 498230"/>
              <a:gd name="connsiteX457" fmla="*/ 528163 w 1489473"/>
              <a:gd name="connsiteY457" fmla="*/ 265414 h 498230"/>
              <a:gd name="connsiteX458" fmla="*/ 529698 w 1489473"/>
              <a:gd name="connsiteY458" fmla="*/ 265414 h 498230"/>
              <a:gd name="connsiteX459" fmla="*/ 529698 w 1489473"/>
              <a:gd name="connsiteY459" fmla="*/ 263179 h 498230"/>
              <a:gd name="connsiteX460" fmla="*/ 532767 w 1489473"/>
              <a:gd name="connsiteY460" fmla="*/ 263179 h 498230"/>
              <a:gd name="connsiteX461" fmla="*/ 534302 w 1489473"/>
              <a:gd name="connsiteY461" fmla="*/ 263179 h 498230"/>
              <a:gd name="connsiteX462" fmla="*/ 535836 w 1489473"/>
              <a:gd name="connsiteY462" fmla="*/ 263179 h 498230"/>
              <a:gd name="connsiteX463" fmla="*/ 537371 w 1489473"/>
              <a:gd name="connsiteY463" fmla="*/ 263179 h 498230"/>
              <a:gd name="connsiteX464" fmla="*/ 538905 w 1489473"/>
              <a:gd name="connsiteY464" fmla="*/ 263179 h 498230"/>
              <a:gd name="connsiteX465" fmla="*/ 540440 w 1489473"/>
              <a:gd name="connsiteY465" fmla="*/ 263179 h 498230"/>
              <a:gd name="connsiteX466" fmla="*/ 540440 w 1489473"/>
              <a:gd name="connsiteY466" fmla="*/ 262033 h 498230"/>
              <a:gd name="connsiteX467" fmla="*/ 541963 w 1489473"/>
              <a:gd name="connsiteY467" fmla="*/ 262033 h 498230"/>
              <a:gd name="connsiteX468" fmla="*/ 541963 w 1489473"/>
              <a:gd name="connsiteY468" fmla="*/ 260899 h 498230"/>
              <a:gd name="connsiteX469" fmla="*/ 543509 w 1489473"/>
              <a:gd name="connsiteY469" fmla="*/ 260899 h 498230"/>
              <a:gd name="connsiteX470" fmla="*/ 545044 w 1489473"/>
              <a:gd name="connsiteY470" fmla="*/ 260899 h 498230"/>
              <a:gd name="connsiteX471" fmla="*/ 545044 w 1489473"/>
              <a:gd name="connsiteY471" fmla="*/ 258619 h 498230"/>
              <a:gd name="connsiteX472" fmla="*/ 546534 w 1489473"/>
              <a:gd name="connsiteY472" fmla="*/ 258619 h 498230"/>
              <a:gd name="connsiteX473" fmla="*/ 548068 w 1489473"/>
              <a:gd name="connsiteY473" fmla="*/ 258619 h 498230"/>
              <a:gd name="connsiteX474" fmla="*/ 549603 w 1489473"/>
              <a:gd name="connsiteY474" fmla="*/ 258619 h 498230"/>
              <a:gd name="connsiteX475" fmla="*/ 551148 w 1489473"/>
              <a:gd name="connsiteY475" fmla="*/ 258619 h 498230"/>
              <a:gd name="connsiteX476" fmla="*/ 552672 w 1489473"/>
              <a:gd name="connsiteY476" fmla="*/ 258619 h 498230"/>
              <a:gd name="connsiteX477" fmla="*/ 552672 w 1489473"/>
              <a:gd name="connsiteY477" fmla="*/ 256316 h 498230"/>
              <a:gd name="connsiteX478" fmla="*/ 554206 w 1489473"/>
              <a:gd name="connsiteY478" fmla="*/ 256316 h 498230"/>
              <a:gd name="connsiteX479" fmla="*/ 555741 w 1489473"/>
              <a:gd name="connsiteY479" fmla="*/ 256316 h 498230"/>
              <a:gd name="connsiteX480" fmla="*/ 557276 w 1489473"/>
              <a:gd name="connsiteY480" fmla="*/ 256316 h 498230"/>
              <a:gd name="connsiteX481" fmla="*/ 557276 w 1489473"/>
              <a:gd name="connsiteY481" fmla="*/ 254003 h 498230"/>
              <a:gd name="connsiteX482" fmla="*/ 558810 w 1489473"/>
              <a:gd name="connsiteY482" fmla="*/ 254003 h 498230"/>
              <a:gd name="connsiteX483" fmla="*/ 560345 w 1489473"/>
              <a:gd name="connsiteY483" fmla="*/ 254003 h 498230"/>
              <a:gd name="connsiteX484" fmla="*/ 560345 w 1489473"/>
              <a:gd name="connsiteY484" fmla="*/ 252824 h 498230"/>
              <a:gd name="connsiteX485" fmla="*/ 563370 w 1489473"/>
              <a:gd name="connsiteY485" fmla="*/ 252824 h 498230"/>
              <a:gd name="connsiteX486" fmla="*/ 563370 w 1489473"/>
              <a:gd name="connsiteY486" fmla="*/ 251656 h 498230"/>
              <a:gd name="connsiteX487" fmla="*/ 564915 w 1489473"/>
              <a:gd name="connsiteY487" fmla="*/ 251656 h 498230"/>
              <a:gd name="connsiteX488" fmla="*/ 566439 w 1489473"/>
              <a:gd name="connsiteY488" fmla="*/ 251656 h 498230"/>
              <a:gd name="connsiteX489" fmla="*/ 567973 w 1489473"/>
              <a:gd name="connsiteY489" fmla="*/ 251656 h 498230"/>
              <a:gd name="connsiteX490" fmla="*/ 567973 w 1489473"/>
              <a:gd name="connsiteY490" fmla="*/ 250444 h 498230"/>
              <a:gd name="connsiteX491" fmla="*/ 569508 w 1489473"/>
              <a:gd name="connsiteY491" fmla="*/ 250444 h 498230"/>
              <a:gd name="connsiteX492" fmla="*/ 571054 w 1489473"/>
              <a:gd name="connsiteY492" fmla="*/ 250444 h 498230"/>
              <a:gd name="connsiteX493" fmla="*/ 575646 w 1489473"/>
              <a:gd name="connsiteY493" fmla="*/ 250444 h 498230"/>
              <a:gd name="connsiteX494" fmla="*/ 577181 w 1489473"/>
              <a:gd name="connsiteY494" fmla="*/ 250444 h 498230"/>
              <a:gd name="connsiteX495" fmla="*/ 577181 w 1489473"/>
              <a:gd name="connsiteY495" fmla="*/ 249265 h 498230"/>
              <a:gd name="connsiteX496" fmla="*/ 578715 w 1489473"/>
              <a:gd name="connsiteY496" fmla="*/ 249265 h 498230"/>
              <a:gd name="connsiteX497" fmla="*/ 580250 w 1489473"/>
              <a:gd name="connsiteY497" fmla="*/ 249265 h 498230"/>
              <a:gd name="connsiteX498" fmla="*/ 581740 w 1489473"/>
              <a:gd name="connsiteY498" fmla="*/ 249265 h 498230"/>
              <a:gd name="connsiteX499" fmla="*/ 583286 w 1489473"/>
              <a:gd name="connsiteY499" fmla="*/ 249265 h 498230"/>
              <a:gd name="connsiteX500" fmla="*/ 583286 w 1489473"/>
              <a:gd name="connsiteY500" fmla="*/ 245650 h 498230"/>
              <a:gd name="connsiteX501" fmla="*/ 586355 w 1489473"/>
              <a:gd name="connsiteY501" fmla="*/ 245650 h 498230"/>
              <a:gd name="connsiteX502" fmla="*/ 586355 w 1489473"/>
              <a:gd name="connsiteY502" fmla="*/ 244438 h 498230"/>
              <a:gd name="connsiteX503" fmla="*/ 587878 w 1489473"/>
              <a:gd name="connsiteY503" fmla="*/ 244438 h 498230"/>
              <a:gd name="connsiteX504" fmla="*/ 589424 w 1489473"/>
              <a:gd name="connsiteY504" fmla="*/ 244438 h 498230"/>
              <a:gd name="connsiteX505" fmla="*/ 590959 w 1489473"/>
              <a:gd name="connsiteY505" fmla="*/ 244438 h 498230"/>
              <a:gd name="connsiteX506" fmla="*/ 592482 w 1489473"/>
              <a:gd name="connsiteY506" fmla="*/ 244438 h 498230"/>
              <a:gd name="connsiteX507" fmla="*/ 592482 w 1489473"/>
              <a:gd name="connsiteY507" fmla="*/ 241991 h 498230"/>
              <a:gd name="connsiteX508" fmla="*/ 594017 w 1489473"/>
              <a:gd name="connsiteY508" fmla="*/ 241991 h 498230"/>
              <a:gd name="connsiteX509" fmla="*/ 594017 w 1489473"/>
              <a:gd name="connsiteY509" fmla="*/ 240746 h 498230"/>
              <a:gd name="connsiteX510" fmla="*/ 597086 w 1489473"/>
              <a:gd name="connsiteY510" fmla="*/ 240746 h 498230"/>
              <a:gd name="connsiteX511" fmla="*/ 598587 w 1489473"/>
              <a:gd name="connsiteY511" fmla="*/ 240746 h 498230"/>
              <a:gd name="connsiteX512" fmla="*/ 600122 w 1489473"/>
              <a:gd name="connsiteY512" fmla="*/ 240746 h 498230"/>
              <a:gd name="connsiteX513" fmla="*/ 601645 w 1489473"/>
              <a:gd name="connsiteY513" fmla="*/ 240746 h 498230"/>
              <a:gd name="connsiteX514" fmla="*/ 603191 w 1489473"/>
              <a:gd name="connsiteY514" fmla="*/ 240746 h 498230"/>
              <a:gd name="connsiteX515" fmla="*/ 607784 w 1489473"/>
              <a:gd name="connsiteY515" fmla="*/ 240746 h 498230"/>
              <a:gd name="connsiteX516" fmla="*/ 607784 w 1489473"/>
              <a:gd name="connsiteY516" fmla="*/ 239500 h 498230"/>
              <a:gd name="connsiteX517" fmla="*/ 609329 w 1489473"/>
              <a:gd name="connsiteY517" fmla="*/ 239500 h 498230"/>
              <a:gd name="connsiteX518" fmla="*/ 610864 w 1489473"/>
              <a:gd name="connsiteY518" fmla="*/ 239500 h 498230"/>
              <a:gd name="connsiteX519" fmla="*/ 610864 w 1489473"/>
              <a:gd name="connsiteY519" fmla="*/ 238254 h 498230"/>
              <a:gd name="connsiteX520" fmla="*/ 612387 w 1489473"/>
              <a:gd name="connsiteY520" fmla="*/ 238254 h 498230"/>
              <a:gd name="connsiteX521" fmla="*/ 613922 w 1489473"/>
              <a:gd name="connsiteY521" fmla="*/ 238254 h 498230"/>
              <a:gd name="connsiteX522" fmla="*/ 613922 w 1489473"/>
              <a:gd name="connsiteY522" fmla="*/ 236986 h 498230"/>
              <a:gd name="connsiteX523" fmla="*/ 616958 w 1489473"/>
              <a:gd name="connsiteY523" fmla="*/ 236986 h 498230"/>
              <a:gd name="connsiteX524" fmla="*/ 616958 w 1489473"/>
              <a:gd name="connsiteY524" fmla="*/ 235707 h 498230"/>
              <a:gd name="connsiteX525" fmla="*/ 618492 w 1489473"/>
              <a:gd name="connsiteY525" fmla="*/ 235707 h 498230"/>
              <a:gd name="connsiteX526" fmla="*/ 618492 w 1489473"/>
              <a:gd name="connsiteY526" fmla="*/ 234428 h 498230"/>
              <a:gd name="connsiteX527" fmla="*/ 620027 w 1489473"/>
              <a:gd name="connsiteY527" fmla="*/ 234428 h 498230"/>
              <a:gd name="connsiteX528" fmla="*/ 621561 w 1489473"/>
              <a:gd name="connsiteY528" fmla="*/ 234428 h 498230"/>
              <a:gd name="connsiteX529" fmla="*/ 623096 w 1489473"/>
              <a:gd name="connsiteY529" fmla="*/ 234428 h 498230"/>
              <a:gd name="connsiteX530" fmla="*/ 623096 w 1489473"/>
              <a:gd name="connsiteY530" fmla="*/ 231848 h 498230"/>
              <a:gd name="connsiteX531" fmla="*/ 624631 w 1489473"/>
              <a:gd name="connsiteY531" fmla="*/ 231848 h 498230"/>
              <a:gd name="connsiteX532" fmla="*/ 626165 w 1489473"/>
              <a:gd name="connsiteY532" fmla="*/ 231848 h 498230"/>
              <a:gd name="connsiteX533" fmla="*/ 627689 w 1489473"/>
              <a:gd name="connsiteY533" fmla="*/ 231848 h 498230"/>
              <a:gd name="connsiteX534" fmla="*/ 627689 w 1489473"/>
              <a:gd name="connsiteY534" fmla="*/ 229257 h 498230"/>
              <a:gd name="connsiteX535" fmla="*/ 629234 w 1489473"/>
              <a:gd name="connsiteY535" fmla="*/ 229257 h 498230"/>
              <a:gd name="connsiteX536" fmla="*/ 629234 w 1489473"/>
              <a:gd name="connsiteY536" fmla="*/ 227944 h 498230"/>
              <a:gd name="connsiteX537" fmla="*/ 630769 w 1489473"/>
              <a:gd name="connsiteY537" fmla="*/ 227944 h 498230"/>
              <a:gd name="connsiteX538" fmla="*/ 632292 w 1489473"/>
              <a:gd name="connsiteY538" fmla="*/ 227944 h 498230"/>
              <a:gd name="connsiteX539" fmla="*/ 632292 w 1489473"/>
              <a:gd name="connsiteY539" fmla="*/ 226632 h 498230"/>
              <a:gd name="connsiteX540" fmla="*/ 633794 w 1489473"/>
              <a:gd name="connsiteY540" fmla="*/ 226632 h 498230"/>
              <a:gd name="connsiteX541" fmla="*/ 633794 w 1489473"/>
              <a:gd name="connsiteY541" fmla="*/ 224007 h 498230"/>
              <a:gd name="connsiteX542" fmla="*/ 635339 w 1489473"/>
              <a:gd name="connsiteY542" fmla="*/ 224007 h 498230"/>
              <a:gd name="connsiteX543" fmla="*/ 635339 w 1489473"/>
              <a:gd name="connsiteY543" fmla="*/ 221349 h 498230"/>
              <a:gd name="connsiteX544" fmla="*/ 636863 w 1489473"/>
              <a:gd name="connsiteY544" fmla="*/ 221349 h 498230"/>
              <a:gd name="connsiteX545" fmla="*/ 636863 w 1489473"/>
              <a:gd name="connsiteY545" fmla="*/ 220048 h 498230"/>
              <a:gd name="connsiteX546" fmla="*/ 638397 w 1489473"/>
              <a:gd name="connsiteY546" fmla="*/ 220048 h 498230"/>
              <a:gd name="connsiteX547" fmla="*/ 639932 w 1489473"/>
              <a:gd name="connsiteY547" fmla="*/ 220048 h 498230"/>
              <a:gd name="connsiteX548" fmla="*/ 639932 w 1489473"/>
              <a:gd name="connsiteY548" fmla="*/ 218735 h 498230"/>
              <a:gd name="connsiteX549" fmla="*/ 641478 w 1489473"/>
              <a:gd name="connsiteY549" fmla="*/ 218735 h 498230"/>
              <a:gd name="connsiteX550" fmla="*/ 643001 w 1489473"/>
              <a:gd name="connsiteY550" fmla="*/ 218735 h 498230"/>
              <a:gd name="connsiteX551" fmla="*/ 643001 w 1489473"/>
              <a:gd name="connsiteY551" fmla="*/ 217423 h 498230"/>
              <a:gd name="connsiteX552" fmla="*/ 644536 w 1489473"/>
              <a:gd name="connsiteY552" fmla="*/ 217423 h 498230"/>
              <a:gd name="connsiteX553" fmla="*/ 646070 w 1489473"/>
              <a:gd name="connsiteY553" fmla="*/ 217423 h 498230"/>
              <a:gd name="connsiteX554" fmla="*/ 646070 w 1489473"/>
              <a:gd name="connsiteY554" fmla="*/ 216077 h 498230"/>
              <a:gd name="connsiteX555" fmla="*/ 647605 w 1489473"/>
              <a:gd name="connsiteY555" fmla="*/ 216077 h 498230"/>
              <a:gd name="connsiteX556" fmla="*/ 647605 w 1489473"/>
              <a:gd name="connsiteY556" fmla="*/ 214731 h 498230"/>
              <a:gd name="connsiteX557" fmla="*/ 652164 w 1489473"/>
              <a:gd name="connsiteY557" fmla="*/ 214731 h 498230"/>
              <a:gd name="connsiteX558" fmla="*/ 653699 w 1489473"/>
              <a:gd name="connsiteY558" fmla="*/ 214731 h 498230"/>
              <a:gd name="connsiteX559" fmla="*/ 653699 w 1489473"/>
              <a:gd name="connsiteY559" fmla="*/ 213386 h 498230"/>
              <a:gd name="connsiteX560" fmla="*/ 655244 w 1489473"/>
              <a:gd name="connsiteY560" fmla="*/ 213386 h 498230"/>
              <a:gd name="connsiteX561" fmla="*/ 655244 w 1489473"/>
              <a:gd name="connsiteY561" fmla="*/ 212040 h 498230"/>
              <a:gd name="connsiteX562" fmla="*/ 656779 w 1489473"/>
              <a:gd name="connsiteY562" fmla="*/ 212040 h 498230"/>
              <a:gd name="connsiteX563" fmla="*/ 661383 w 1489473"/>
              <a:gd name="connsiteY563" fmla="*/ 212040 h 498230"/>
              <a:gd name="connsiteX564" fmla="*/ 661383 w 1489473"/>
              <a:gd name="connsiteY564" fmla="*/ 210694 h 498230"/>
              <a:gd name="connsiteX565" fmla="*/ 662906 w 1489473"/>
              <a:gd name="connsiteY565" fmla="*/ 210694 h 498230"/>
              <a:gd name="connsiteX566" fmla="*/ 662906 w 1489473"/>
              <a:gd name="connsiteY566" fmla="*/ 209304 h 498230"/>
              <a:gd name="connsiteX567" fmla="*/ 664441 w 1489473"/>
              <a:gd name="connsiteY567" fmla="*/ 209304 h 498230"/>
              <a:gd name="connsiteX568" fmla="*/ 665975 w 1489473"/>
              <a:gd name="connsiteY568" fmla="*/ 209304 h 498230"/>
              <a:gd name="connsiteX569" fmla="*/ 667510 w 1489473"/>
              <a:gd name="connsiteY569" fmla="*/ 209304 h 498230"/>
              <a:gd name="connsiteX570" fmla="*/ 667510 w 1489473"/>
              <a:gd name="connsiteY570" fmla="*/ 207969 h 498230"/>
              <a:gd name="connsiteX571" fmla="*/ 669045 w 1489473"/>
              <a:gd name="connsiteY571" fmla="*/ 207969 h 498230"/>
              <a:gd name="connsiteX572" fmla="*/ 670546 w 1489473"/>
              <a:gd name="connsiteY572" fmla="*/ 207969 h 498230"/>
              <a:gd name="connsiteX573" fmla="*/ 670546 w 1489473"/>
              <a:gd name="connsiteY573" fmla="*/ 206590 h 498230"/>
              <a:gd name="connsiteX574" fmla="*/ 672080 w 1489473"/>
              <a:gd name="connsiteY574" fmla="*/ 206590 h 498230"/>
              <a:gd name="connsiteX575" fmla="*/ 673604 w 1489473"/>
              <a:gd name="connsiteY575" fmla="*/ 206590 h 498230"/>
              <a:gd name="connsiteX576" fmla="*/ 675149 w 1489473"/>
              <a:gd name="connsiteY576" fmla="*/ 206590 h 498230"/>
              <a:gd name="connsiteX577" fmla="*/ 675149 w 1489473"/>
              <a:gd name="connsiteY577" fmla="*/ 205166 h 498230"/>
              <a:gd name="connsiteX578" fmla="*/ 676684 w 1489473"/>
              <a:gd name="connsiteY578" fmla="*/ 205166 h 498230"/>
              <a:gd name="connsiteX579" fmla="*/ 678207 w 1489473"/>
              <a:gd name="connsiteY579" fmla="*/ 205166 h 498230"/>
              <a:gd name="connsiteX580" fmla="*/ 679742 w 1489473"/>
              <a:gd name="connsiteY580" fmla="*/ 205166 h 498230"/>
              <a:gd name="connsiteX581" fmla="*/ 679742 w 1489473"/>
              <a:gd name="connsiteY581" fmla="*/ 203787 h 498230"/>
              <a:gd name="connsiteX582" fmla="*/ 682811 w 1489473"/>
              <a:gd name="connsiteY582" fmla="*/ 203787 h 498230"/>
              <a:gd name="connsiteX583" fmla="*/ 682811 w 1489473"/>
              <a:gd name="connsiteY583" fmla="*/ 202375 h 498230"/>
              <a:gd name="connsiteX584" fmla="*/ 684346 w 1489473"/>
              <a:gd name="connsiteY584" fmla="*/ 202375 h 498230"/>
              <a:gd name="connsiteX585" fmla="*/ 685880 w 1489473"/>
              <a:gd name="connsiteY585" fmla="*/ 202375 h 498230"/>
              <a:gd name="connsiteX586" fmla="*/ 687370 w 1489473"/>
              <a:gd name="connsiteY586" fmla="*/ 202375 h 498230"/>
              <a:gd name="connsiteX587" fmla="*/ 688916 w 1489473"/>
              <a:gd name="connsiteY587" fmla="*/ 202375 h 498230"/>
              <a:gd name="connsiteX588" fmla="*/ 688916 w 1489473"/>
              <a:gd name="connsiteY588" fmla="*/ 199550 h 498230"/>
              <a:gd name="connsiteX589" fmla="*/ 691985 w 1489473"/>
              <a:gd name="connsiteY589" fmla="*/ 199550 h 498230"/>
              <a:gd name="connsiteX590" fmla="*/ 693520 w 1489473"/>
              <a:gd name="connsiteY590" fmla="*/ 199550 h 498230"/>
              <a:gd name="connsiteX591" fmla="*/ 695055 w 1489473"/>
              <a:gd name="connsiteY591" fmla="*/ 199550 h 498230"/>
              <a:gd name="connsiteX592" fmla="*/ 696589 w 1489473"/>
              <a:gd name="connsiteY592" fmla="*/ 199550 h 498230"/>
              <a:gd name="connsiteX593" fmla="*/ 698113 w 1489473"/>
              <a:gd name="connsiteY593" fmla="*/ 199550 h 498230"/>
              <a:gd name="connsiteX594" fmla="*/ 698113 w 1489473"/>
              <a:gd name="connsiteY594" fmla="*/ 198137 h 498230"/>
              <a:gd name="connsiteX595" fmla="*/ 699658 w 1489473"/>
              <a:gd name="connsiteY595" fmla="*/ 198137 h 498230"/>
              <a:gd name="connsiteX596" fmla="*/ 704251 w 1489473"/>
              <a:gd name="connsiteY596" fmla="*/ 198137 h 498230"/>
              <a:gd name="connsiteX597" fmla="*/ 704251 w 1489473"/>
              <a:gd name="connsiteY597" fmla="*/ 196714 h 498230"/>
              <a:gd name="connsiteX598" fmla="*/ 705752 w 1489473"/>
              <a:gd name="connsiteY598" fmla="*/ 196714 h 498230"/>
              <a:gd name="connsiteX599" fmla="*/ 707287 w 1489473"/>
              <a:gd name="connsiteY599" fmla="*/ 196714 h 498230"/>
              <a:gd name="connsiteX600" fmla="*/ 707287 w 1489473"/>
              <a:gd name="connsiteY600" fmla="*/ 195268 h 498230"/>
              <a:gd name="connsiteX601" fmla="*/ 708821 w 1489473"/>
              <a:gd name="connsiteY601" fmla="*/ 195268 h 498230"/>
              <a:gd name="connsiteX602" fmla="*/ 708821 w 1489473"/>
              <a:gd name="connsiteY602" fmla="*/ 192376 h 498230"/>
              <a:gd name="connsiteX603" fmla="*/ 710356 w 1489473"/>
              <a:gd name="connsiteY603" fmla="*/ 192376 h 498230"/>
              <a:gd name="connsiteX604" fmla="*/ 711891 w 1489473"/>
              <a:gd name="connsiteY604" fmla="*/ 192376 h 498230"/>
              <a:gd name="connsiteX605" fmla="*/ 711891 w 1489473"/>
              <a:gd name="connsiteY605" fmla="*/ 190919 h 498230"/>
              <a:gd name="connsiteX606" fmla="*/ 714960 w 1489473"/>
              <a:gd name="connsiteY606" fmla="*/ 190919 h 498230"/>
              <a:gd name="connsiteX607" fmla="*/ 716494 w 1489473"/>
              <a:gd name="connsiteY607" fmla="*/ 190919 h 498230"/>
              <a:gd name="connsiteX608" fmla="*/ 718018 w 1489473"/>
              <a:gd name="connsiteY608" fmla="*/ 190919 h 498230"/>
              <a:gd name="connsiteX609" fmla="*/ 718018 w 1489473"/>
              <a:gd name="connsiteY609" fmla="*/ 189440 h 498230"/>
              <a:gd name="connsiteX610" fmla="*/ 719564 w 1489473"/>
              <a:gd name="connsiteY610" fmla="*/ 189440 h 498230"/>
              <a:gd name="connsiteX611" fmla="*/ 719564 w 1489473"/>
              <a:gd name="connsiteY611" fmla="*/ 187983 h 498230"/>
              <a:gd name="connsiteX612" fmla="*/ 721098 w 1489473"/>
              <a:gd name="connsiteY612" fmla="*/ 187983 h 498230"/>
              <a:gd name="connsiteX613" fmla="*/ 721098 w 1489473"/>
              <a:gd name="connsiteY613" fmla="*/ 186504 h 498230"/>
              <a:gd name="connsiteX614" fmla="*/ 725657 w 1489473"/>
              <a:gd name="connsiteY614" fmla="*/ 186504 h 498230"/>
              <a:gd name="connsiteX615" fmla="*/ 725657 w 1489473"/>
              <a:gd name="connsiteY615" fmla="*/ 183534 h 498230"/>
              <a:gd name="connsiteX616" fmla="*/ 727203 w 1489473"/>
              <a:gd name="connsiteY616" fmla="*/ 183534 h 498230"/>
              <a:gd name="connsiteX617" fmla="*/ 727203 w 1489473"/>
              <a:gd name="connsiteY617" fmla="*/ 182055 h 498230"/>
              <a:gd name="connsiteX618" fmla="*/ 728726 w 1489473"/>
              <a:gd name="connsiteY618" fmla="*/ 182055 h 498230"/>
              <a:gd name="connsiteX619" fmla="*/ 728726 w 1489473"/>
              <a:gd name="connsiteY619" fmla="*/ 180531 h 498230"/>
              <a:gd name="connsiteX620" fmla="*/ 730261 w 1489473"/>
              <a:gd name="connsiteY620" fmla="*/ 180531 h 498230"/>
              <a:gd name="connsiteX621" fmla="*/ 731795 w 1489473"/>
              <a:gd name="connsiteY621" fmla="*/ 180531 h 498230"/>
              <a:gd name="connsiteX622" fmla="*/ 731795 w 1489473"/>
              <a:gd name="connsiteY622" fmla="*/ 179052 h 498230"/>
              <a:gd name="connsiteX623" fmla="*/ 733330 w 1489473"/>
              <a:gd name="connsiteY623" fmla="*/ 179052 h 498230"/>
              <a:gd name="connsiteX624" fmla="*/ 736399 w 1489473"/>
              <a:gd name="connsiteY624" fmla="*/ 179052 h 498230"/>
              <a:gd name="connsiteX625" fmla="*/ 737923 w 1489473"/>
              <a:gd name="connsiteY625" fmla="*/ 179052 h 498230"/>
              <a:gd name="connsiteX626" fmla="*/ 737923 w 1489473"/>
              <a:gd name="connsiteY626" fmla="*/ 177528 h 498230"/>
              <a:gd name="connsiteX627" fmla="*/ 739468 w 1489473"/>
              <a:gd name="connsiteY627" fmla="*/ 177528 h 498230"/>
              <a:gd name="connsiteX628" fmla="*/ 739468 w 1489473"/>
              <a:gd name="connsiteY628" fmla="*/ 176016 h 498230"/>
              <a:gd name="connsiteX629" fmla="*/ 740970 w 1489473"/>
              <a:gd name="connsiteY629" fmla="*/ 176016 h 498230"/>
              <a:gd name="connsiteX630" fmla="*/ 742504 w 1489473"/>
              <a:gd name="connsiteY630" fmla="*/ 176016 h 498230"/>
              <a:gd name="connsiteX631" fmla="*/ 745562 w 1489473"/>
              <a:gd name="connsiteY631" fmla="*/ 176016 h 498230"/>
              <a:gd name="connsiteX632" fmla="*/ 748631 w 1489473"/>
              <a:gd name="connsiteY632" fmla="*/ 176016 h 498230"/>
              <a:gd name="connsiteX633" fmla="*/ 750166 w 1489473"/>
              <a:gd name="connsiteY633" fmla="*/ 176016 h 498230"/>
              <a:gd name="connsiteX634" fmla="*/ 751712 w 1489473"/>
              <a:gd name="connsiteY634" fmla="*/ 176016 h 498230"/>
              <a:gd name="connsiteX635" fmla="*/ 753235 w 1489473"/>
              <a:gd name="connsiteY635" fmla="*/ 176016 h 498230"/>
              <a:gd name="connsiteX636" fmla="*/ 754770 w 1489473"/>
              <a:gd name="connsiteY636" fmla="*/ 176016 h 498230"/>
              <a:gd name="connsiteX637" fmla="*/ 754770 w 1489473"/>
              <a:gd name="connsiteY637" fmla="*/ 174459 h 498230"/>
              <a:gd name="connsiteX638" fmla="*/ 757795 w 1489473"/>
              <a:gd name="connsiteY638" fmla="*/ 174459 h 498230"/>
              <a:gd name="connsiteX639" fmla="*/ 759340 w 1489473"/>
              <a:gd name="connsiteY639" fmla="*/ 174459 h 498230"/>
              <a:gd name="connsiteX640" fmla="*/ 760875 w 1489473"/>
              <a:gd name="connsiteY640" fmla="*/ 174459 h 498230"/>
              <a:gd name="connsiteX641" fmla="*/ 760875 w 1489473"/>
              <a:gd name="connsiteY641" fmla="*/ 171322 h 498230"/>
              <a:gd name="connsiteX642" fmla="*/ 762410 w 1489473"/>
              <a:gd name="connsiteY642" fmla="*/ 171322 h 498230"/>
              <a:gd name="connsiteX643" fmla="*/ 762410 w 1489473"/>
              <a:gd name="connsiteY643" fmla="*/ 169765 h 498230"/>
              <a:gd name="connsiteX644" fmla="*/ 763933 w 1489473"/>
              <a:gd name="connsiteY644" fmla="*/ 169765 h 498230"/>
              <a:gd name="connsiteX645" fmla="*/ 763933 w 1489473"/>
              <a:gd name="connsiteY645" fmla="*/ 166629 h 498230"/>
              <a:gd name="connsiteX646" fmla="*/ 768537 w 1489473"/>
              <a:gd name="connsiteY646" fmla="*/ 166629 h 498230"/>
              <a:gd name="connsiteX647" fmla="*/ 770071 w 1489473"/>
              <a:gd name="connsiteY647" fmla="*/ 166629 h 498230"/>
              <a:gd name="connsiteX648" fmla="*/ 770071 w 1489473"/>
              <a:gd name="connsiteY648" fmla="*/ 163448 h 498230"/>
              <a:gd name="connsiteX649" fmla="*/ 771617 w 1489473"/>
              <a:gd name="connsiteY649" fmla="*/ 163448 h 498230"/>
              <a:gd name="connsiteX650" fmla="*/ 771617 w 1489473"/>
              <a:gd name="connsiteY650" fmla="*/ 161869 h 498230"/>
              <a:gd name="connsiteX651" fmla="*/ 773140 w 1489473"/>
              <a:gd name="connsiteY651" fmla="*/ 161869 h 498230"/>
              <a:gd name="connsiteX652" fmla="*/ 774675 w 1489473"/>
              <a:gd name="connsiteY652" fmla="*/ 161869 h 498230"/>
              <a:gd name="connsiteX653" fmla="*/ 779245 w 1489473"/>
              <a:gd name="connsiteY653" fmla="*/ 161869 h 498230"/>
              <a:gd name="connsiteX654" fmla="*/ 780780 w 1489473"/>
              <a:gd name="connsiteY654" fmla="*/ 161869 h 498230"/>
              <a:gd name="connsiteX655" fmla="*/ 782314 w 1489473"/>
              <a:gd name="connsiteY655" fmla="*/ 161869 h 498230"/>
              <a:gd name="connsiteX656" fmla="*/ 785384 w 1489473"/>
              <a:gd name="connsiteY656" fmla="*/ 161869 h 498230"/>
              <a:gd name="connsiteX657" fmla="*/ 789976 w 1489473"/>
              <a:gd name="connsiteY657" fmla="*/ 161869 h 498230"/>
              <a:gd name="connsiteX658" fmla="*/ 791522 w 1489473"/>
              <a:gd name="connsiteY658" fmla="*/ 161869 h 498230"/>
              <a:gd name="connsiteX659" fmla="*/ 793046 w 1489473"/>
              <a:gd name="connsiteY659" fmla="*/ 161869 h 498230"/>
              <a:gd name="connsiteX660" fmla="*/ 793046 w 1489473"/>
              <a:gd name="connsiteY660" fmla="*/ 160245 h 498230"/>
              <a:gd name="connsiteX661" fmla="*/ 794547 w 1489473"/>
              <a:gd name="connsiteY661" fmla="*/ 160245 h 498230"/>
              <a:gd name="connsiteX662" fmla="*/ 796081 w 1489473"/>
              <a:gd name="connsiteY662" fmla="*/ 160245 h 498230"/>
              <a:gd name="connsiteX663" fmla="*/ 797616 w 1489473"/>
              <a:gd name="connsiteY663" fmla="*/ 160245 h 498230"/>
              <a:gd name="connsiteX664" fmla="*/ 797616 w 1489473"/>
              <a:gd name="connsiteY664" fmla="*/ 158588 h 498230"/>
              <a:gd name="connsiteX665" fmla="*/ 800685 w 1489473"/>
              <a:gd name="connsiteY665" fmla="*/ 158588 h 498230"/>
              <a:gd name="connsiteX666" fmla="*/ 802220 w 1489473"/>
              <a:gd name="connsiteY666" fmla="*/ 158588 h 498230"/>
              <a:gd name="connsiteX667" fmla="*/ 803754 w 1489473"/>
              <a:gd name="connsiteY667" fmla="*/ 158588 h 498230"/>
              <a:gd name="connsiteX668" fmla="*/ 803754 w 1489473"/>
              <a:gd name="connsiteY668" fmla="*/ 156964 h 498230"/>
              <a:gd name="connsiteX669" fmla="*/ 805289 w 1489473"/>
              <a:gd name="connsiteY669" fmla="*/ 156964 h 498230"/>
              <a:gd name="connsiteX670" fmla="*/ 805289 w 1489473"/>
              <a:gd name="connsiteY670" fmla="*/ 155307 h 498230"/>
              <a:gd name="connsiteX671" fmla="*/ 806823 w 1489473"/>
              <a:gd name="connsiteY671" fmla="*/ 155307 h 498230"/>
              <a:gd name="connsiteX672" fmla="*/ 808347 w 1489473"/>
              <a:gd name="connsiteY672" fmla="*/ 155307 h 498230"/>
              <a:gd name="connsiteX673" fmla="*/ 811394 w 1489473"/>
              <a:gd name="connsiteY673" fmla="*/ 155307 h 498230"/>
              <a:gd name="connsiteX674" fmla="*/ 811394 w 1489473"/>
              <a:gd name="connsiteY674" fmla="*/ 153616 h 498230"/>
              <a:gd name="connsiteX675" fmla="*/ 812928 w 1489473"/>
              <a:gd name="connsiteY675" fmla="*/ 153616 h 498230"/>
              <a:gd name="connsiteX676" fmla="*/ 812928 w 1489473"/>
              <a:gd name="connsiteY676" fmla="*/ 151959 h 498230"/>
              <a:gd name="connsiteX677" fmla="*/ 814452 w 1489473"/>
              <a:gd name="connsiteY677" fmla="*/ 151959 h 498230"/>
              <a:gd name="connsiteX678" fmla="*/ 815986 w 1489473"/>
              <a:gd name="connsiteY678" fmla="*/ 151959 h 498230"/>
              <a:gd name="connsiteX679" fmla="*/ 819056 w 1489473"/>
              <a:gd name="connsiteY679" fmla="*/ 151959 h 498230"/>
              <a:gd name="connsiteX680" fmla="*/ 822125 w 1489473"/>
              <a:gd name="connsiteY680" fmla="*/ 151959 h 498230"/>
              <a:gd name="connsiteX681" fmla="*/ 823659 w 1489473"/>
              <a:gd name="connsiteY681" fmla="*/ 151959 h 498230"/>
              <a:gd name="connsiteX682" fmla="*/ 825194 w 1489473"/>
              <a:gd name="connsiteY682" fmla="*/ 151959 h 498230"/>
              <a:gd name="connsiteX683" fmla="*/ 826728 w 1489473"/>
              <a:gd name="connsiteY683" fmla="*/ 151959 h 498230"/>
              <a:gd name="connsiteX684" fmla="*/ 826728 w 1489473"/>
              <a:gd name="connsiteY684" fmla="*/ 150269 h 498230"/>
              <a:gd name="connsiteX685" fmla="*/ 828252 w 1489473"/>
              <a:gd name="connsiteY685" fmla="*/ 150269 h 498230"/>
              <a:gd name="connsiteX686" fmla="*/ 829753 w 1489473"/>
              <a:gd name="connsiteY686" fmla="*/ 150269 h 498230"/>
              <a:gd name="connsiteX687" fmla="*/ 831299 w 1489473"/>
              <a:gd name="connsiteY687" fmla="*/ 150269 h 498230"/>
              <a:gd name="connsiteX688" fmla="*/ 831299 w 1489473"/>
              <a:gd name="connsiteY688" fmla="*/ 146854 h 498230"/>
              <a:gd name="connsiteX689" fmla="*/ 832833 w 1489473"/>
              <a:gd name="connsiteY689" fmla="*/ 146854 h 498230"/>
              <a:gd name="connsiteX690" fmla="*/ 834357 w 1489473"/>
              <a:gd name="connsiteY690" fmla="*/ 146854 h 498230"/>
              <a:gd name="connsiteX691" fmla="*/ 835892 w 1489473"/>
              <a:gd name="connsiteY691" fmla="*/ 146854 h 498230"/>
              <a:gd name="connsiteX692" fmla="*/ 837437 w 1489473"/>
              <a:gd name="connsiteY692" fmla="*/ 146854 h 498230"/>
              <a:gd name="connsiteX693" fmla="*/ 838961 w 1489473"/>
              <a:gd name="connsiteY693" fmla="*/ 146854 h 498230"/>
              <a:gd name="connsiteX694" fmla="*/ 840495 w 1489473"/>
              <a:gd name="connsiteY694" fmla="*/ 146854 h 498230"/>
              <a:gd name="connsiteX695" fmla="*/ 840495 w 1489473"/>
              <a:gd name="connsiteY695" fmla="*/ 143373 h 498230"/>
              <a:gd name="connsiteX696" fmla="*/ 842030 w 1489473"/>
              <a:gd name="connsiteY696" fmla="*/ 143373 h 498230"/>
              <a:gd name="connsiteX697" fmla="*/ 842030 w 1489473"/>
              <a:gd name="connsiteY697" fmla="*/ 139881 h 498230"/>
              <a:gd name="connsiteX698" fmla="*/ 843564 w 1489473"/>
              <a:gd name="connsiteY698" fmla="*/ 139881 h 498230"/>
              <a:gd name="connsiteX699" fmla="*/ 845099 w 1489473"/>
              <a:gd name="connsiteY699" fmla="*/ 139881 h 498230"/>
              <a:gd name="connsiteX700" fmla="*/ 845099 w 1489473"/>
              <a:gd name="connsiteY700" fmla="*/ 138157 h 498230"/>
              <a:gd name="connsiteX701" fmla="*/ 846600 w 1489473"/>
              <a:gd name="connsiteY701" fmla="*/ 138157 h 498230"/>
              <a:gd name="connsiteX702" fmla="*/ 846600 w 1489473"/>
              <a:gd name="connsiteY702" fmla="*/ 136400 h 498230"/>
              <a:gd name="connsiteX703" fmla="*/ 848135 w 1489473"/>
              <a:gd name="connsiteY703" fmla="*/ 136400 h 498230"/>
              <a:gd name="connsiteX704" fmla="*/ 849658 w 1489473"/>
              <a:gd name="connsiteY704" fmla="*/ 136400 h 498230"/>
              <a:gd name="connsiteX705" fmla="*/ 851204 w 1489473"/>
              <a:gd name="connsiteY705" fmla="*/ 136400 h 498230"/>
              <a:gd name="connsiteX706" fmla="*/ 851204 w 1489473"/>
              <a:gd name="connsiteY706" fmla="*/ 134642 h 498230"/>
              <a:gd name="connsiteX707" fmla="*/ 852738 w 1489473"/>
              <a:gd name="connsiteY707" fmla="*/ 134642 h 498230"/>
              <a:gd name="connsiteX708" fmla="*/ 852738 w 1489473"/>
              <a:gd name="connsiteY708" fmla="*/ 132841 h 498230"/>
              <a:gd name="connsiteX709" fmla="*/ 854262 w 1489473"/>
              <a:gd name="connsiteY709" fmla="*/ 132841 h 498230"/>
              <a:gd name="connsiteX710" fmla="*/ 855796 w 1489473"/>
              <a:gd name="connsiteY710" fmla="*/ 132841 h 498230"/>
              <a:gd name="connsiteX711" fmla="*/ 857342 w 1489473"/>
              <a:gd name="connsiteY711" fmla="*/ 132841 h 498230"/>
              <a:gd name="connsiteX712" fmla="*/ 858866 w 1489473"/>
              <a:gd name="connsiteY712" fmla="*/ 132841 h 498230"/>
              <a:gd name="connsiteX713" fmla="*/ 860400 w 1489473"/>
              <a:gd name="connsiteY713" fmla="*/ 132841 h 498230"/>
              <a:gd name="connsiteX714" fmla="*/ 866505 w 1489473"/>
              <a:gd name="connsiteY714" fmla="*/ 132841 h 498230"/>
              <a:gd name="connsiteX715" fmla="*/ 868040 w 1489473"/>
              <a:gd name="connsiteY715" fmla="*/ 132841 h 498230"/>
              <a:gd name="connsiteX716" fmla="*/ 869574 w 1489473"/>
              <a:gd name="connsiteY716" fmla="*/ 132841 h 498230"/>
              <a:gd name="connsiteX717" fmla="*/ 871109 w 1489473"/>
              <a:gd name="connsiteY717" fmla="*/ 132841 h 498230"/>
              <a:gd name="connsiteX718" fmla="*/ 875713 w 1489473"/>
              <a:gd name="connsiteY718" fmla="*/ 132841 h 498230"/>
              <a:gd name="connsiteX719" fmla="*/ 877247 w 1489473"/>
              <a:gd name="connsiteY719" fmla="*/ 132841 h 498230"/>
              <a:gd name="connsiteX720" fmla="*/ 878771 w 1489473"/>
              <a:gd name="connsiteY720" fmla="*/ 132841 h 498230"/>
              <a:gd name="connsiteX721" fmla="*/ 880305 w 1489473"/>
              <a:gd name="connsiteY721" fmla="*/ 132841 h 498230"/>
              <a:gd name="connsiteX722" fmla="*/ 880305 w 1489473"/>
              <a:gd name="connsiteY722" fmla="*/ 129148 h 498230"/>
              <a:gd name="connsiteX723" fmla="*/ 881807 w 1489473"/>
              <a:gd name="connsiteY723" fmla="*/ 129148 h 498230"/>
              <a:gd name="connsiteX724" fmla="*/ 887945 w 1489473"/>
              <a:gd name="connsiteY724" fmla="*/ 129148 h 498230"/>
              <a:gd name="connsiteX725" fmla="*/ 889480 w 1489473"/>
              <a:gd name="connsiteY725" fmla="*/ 129148 h 498230"/>
              <a:gd name="connsiteX726" fmla="*/ 891014 w 1489473"/>
              <a:gd name="connsiteY726" fmla="*/ 129148 h 498230"/>
              <a:gd name="connsiteX727" fmla="*/ 892549 w 1489473"/>
              <a:gd name="connsiteY727" fmla="*/ 129148 h 498230"/>
              <a:gd name="connsiteX728" fmla="*/ 897153 w 1489473"/>
              <a:gd name="connsiteY728" fmla="*/ 129148 h 498230"/>
              <a:gd name="connsiteX729" fmla="*/ 897153 w 1489473"/>
              <a:gd name="connsiteY729" fmla="*/ 127257 h 498230"/>
              <a:gd name="connsiteX730" fmla="*/ 898676 w 1489473"/>
              <a:gd name="connsiteY730" fmla="*/ 127257 h 498230"/>
              <a:gd name="connsiteX731" fmla="*/ 898676 w 1489473"/>
              <a:gd name="connsiteY731" fmla="*/ 125322 h 498230"/>
              <a:gd name="connsiteX732" fmla="*/ 900177 w 1489473"/>
              <a:gd name="connsiteY732" fmla="*/ 125322 h 498230"/>
              <a:gd name="connsiteX733" fmla="*/ 901712 w 1489473"/>
              <a:gd name="connsiteY733" fmla="*/ 125322 h 498230"/>
              <a:gd name="connsiteX734" fmla="*/ 903257 w 1489473"/>
              <a:gd name="connsiteY734" fmla="*/ 125322 h 498230"/>
              <a:gd name="connsiteX735" fmla="*/ 904781 w 1489473"/>
              <a:gd name="connsiteY735" fmla="*/ 125322 h 498230"/>
              <a:gd name="connsiteX736" fmla="*/ 904781 w 1489473"/>
              <a:gd name="connsiteY736" fmla="*/ 121429 h 498230"/>
              <a:gd name="connsiteX737" fmla="*/ 907850 w 1489473"/>
              <a:gd name="connsiteY737" fmla="*/ 121429 h 498230"/>
              <a:gd name="connsiteX738" fmla="*/ 909384 w 1489473"/>
              <a:gd name="connsiteY738" fmla="*/ 121429 h 498230"/>
              <a:gd name="connsiteX739" fmla="*/ 912454 w 1489473"/>
              <a:gd name="connsiteY739" fmla="*/ 121429 h 498230"/>
              <a:gd name="connsiteX740" fmla="*/ 913988 w 1489473"/>
              <a:gd name="connsiteY740" fmla="*/ 121429 h 498230"/>
              <a:gd name="connsiteX741" fmla="*/ 917057 w 1489473"/>
              <a:gd name="connsiteY741" fmla="*/ 121429 h 498230"/>
              <a:gd name="connsiteX742" fmla="*/ 917057 w 1489473"/>
              <a:gd name="connsiteY742" fmla="*/ 119461 h 498230"/>
              <a:gd name="connsiteX743" fmla="*/ 920082 w 1489473"/>
              <a:gd name="connsiteY743" fmla="*/ 119461 h 498230"/>
              <a:gd name="connsiteX744" fmla="*/ 921628 w 1489473"/>
              <a:gd name="connsiteY744" fmla="*/ 119461 h 498230"/>
              <a:gd name="connsiteX745" fmla="*/ 923162 w 1489473"/>
              <a:gd name="connsiteY745" fmla="*/ 119461 h 498230"/>
              <a:gd name="connsiteX746" fmla="*/ 924686 w 1489473"/>
              <a:gd name="connsiteY746" fmla="*/ 119461 h 498230"/>
              <a:gd name="connsiteX747" fmla="*/ 924686 w 1489473"/>
              <a:gd name="connsiteY747" fmla="*/ 117459 h 498230"/>
              <a:gd name="connsiteX748" fmla="*/ 926220 w 1489473"/>
              <a:gd name="connsiteY748" fmla="*/ 117459 h 498230"/>
              <a:gd name="connsiteX749" fmla="*/ 926220 w 1489473"/>
              <a:gd name="connsiteY749" fmla="*/ 115424 h 498230"/>
              <a:gd name="connsiteX750" fmla="*/ 929290 w 1489473"/>
              <a:gd name="connsiteY750" fmla="*/ 115424 h 498230"/>
              <a:gd name="connsiteX751" fmla="*/ 930824 w 1489473"/>
              <a:gd name="connsiteY751" fmla="*/ 115424 h 498230"/>
              <a:gd name="connsiteX752" fmla="*/ 932359 w 1489473"/>
              <a:gd name="connsiteY752" fmla="*/ 115424 h 498230"/>
              <a:gd name="connsiteX753" fmla="*/ 932359 w 1489473"/>
              <a:gd name="connsiteY753" fmla="*/ 113377 h 498230"/>
              <a:gd name="connsiteX754" fmla="*/ 933893 w 1489473"/>
              <a:gd name="connsiteY754" fmla="*/ 113377 h 498230"/>
              <a:gd name="connsiteX755" fmla="*/ 935395 w 1489473"/>
              <a:gd name="connsiteY755" fmla="*/ 113377 h 498230"/>
              <a:gd name="connsiteX756" fmla="*/ 939987 w 1489473"/>
              <a:gd name="connsiteY756" fmla="*/ 113377 h 498230"/>
              <a:gd name="connsiteX757" fmla="*/ 941533 w 1489473"/>
              <a:gd name="connsiteY757" fmla="*/ 113377 h 498230"/>
              <a:gd name="connsiteX758" fmla="*/ 943068 w 1489473"/>
              <a:gd name="connsiteY758" fmla="*/ 113377 h 498230"/>
              <a:gd name="connsiteX759" fmla="*/ 943068 w 1489473"/>
              <a:gd name="connsiteY759" fmla="*/ 111308 h 498230"/>
              <a:gd name="connsiteX760" fmla="*/ 944591 w 1489473"/>
              <a:gd name="connsiteY760" fmla="*/ 111308 h 498230"/>
              <a:gd name="connsiteX761" fmla="*/ 946126 w 1489473"/>
              <a:gd name="connsiteY761" fmla="*/ 111308 h 498230"/>
              <a:gd name="connsiteX762" fmla="*/ 946126 w 1489473"/>
              <a:gd name="connsiteY762" fmla="*/ 109173 h 498230"/>
              <a:gd name="connsiteX763" fmla="*/ 947671 w 1489473"/>
              <a:gd name="connsiteY763" fmla="*/ 109173 h 498230"/>
              <a:gd name="connsiteX764" fmla="*/ 947671 w 1489473"/>
              <a:gd name="connsiteY764" fmla="*/ 107071 h 498230"/>
              <a:gd name="connsiteX765" fmla="*/ 949195 w 1489473"/>
              <a:gd name="connsiteY765" fmla="*/ 107071 h 498230"/>
              <a:gd name="connsiteX766" fmla="*/ 949195 w 1489473"/>
              <a:gd name="connsiteY766" fmla="*/ 104936 h 498230"/>
              <a:gd name="connsiteX767" fmla="*/ 950729 w 1489473"/>
              <a:gd name="connsiteY767" fmla="*/ 104936 h 498230"/>
              <a:gd name="connsiteX768" fmla="*/ 952264 w 1489473"/>
              <a:gd name="connsiteY768" fmla="*/ 104936 h 498230"/>
              <a:gd name="connsiteX769" fmla="*/ 953765 w 1489473"/>
              <a:gd name="connsiteY769" fmla="*/ 104936 h 498230"/>
              <a:gd name="connsiteX770" fmla="*/ 955300 w 1489473"/>
              <a:gd name="connsiteY770" fmla="*/ 104936 h 498230"/>
              <a:gd name="connsiteX771" fmla="*/ 956834 w 1489473"/>
              <a:gd name="connsiteY771" fmla="*/ 104936 h 498230"/>
              <a:gd name="connsiteX772" fmla="*/ 959892 w 1489473"/>
              <a:gd name="connsiteY772" fmla="*/ 104936 h 498230"/>
              <a:gd name="connsiteX773" fmla="*/ 959892 w 1489473"/>
              <a:gd name="connsiteY773" fmla="*/ 102756 h 498230"/>
              <a:gd name="connsiteX774" fmla="*/ 961438 w 1489473"/>
              <a:gd name="connsiteY774" fmla="*/ 102756 h 498230"/>
              <a:gd name="connsiteX775" fmla="*/ 962973 w 1489473"/>
              <a:gd name="connsiteY775" fmla="*/ 102756 h 498230"/>
              <a:gd name="connsiteX776" fmla="*/ 964496 w 1489473"/>
              <a:gd name="connsiteY776" fmla="*/ 102756 h 498230"/>
              <a:gd name="connsiteX777" fmla="*/ 966031 w 1489473"/>
              <a:gd name="connsiteY777" fmla="*/ 102756 h 498230"/>
              <a:gd name="connsiteX778" fmla="*/ 967576 w 1489473"/>
              <a:gd name="connsiteY778" fmla="*/ 102756 h 498230"/>
              <a:gd name="connsiteX779" fmla="*/ 973681 w 1489473"/>
              <a:gd name="connsiteY779" fmla="*/ 102756 h 498230"/>
              <a:gd name="connsiteX780" fmla="*/ 973681 w 1489473"/>
              <a:gd name="connsiteY780" fmla="*/ 100509 h 498230"/>
              <a:gd name="connsiteX781" fmla="*/ 975205 w 1489473"/>
              <a:gd name="connsiteY781" fmla="*/ 100509 h 498230"/>
              <a:gd name="connsiteX782" fmla="*/ 976739 w 1489473"/>
              <a:gd name="connsiteY782" fmla="*/ 100509 h 498230"/>
              <a:gd name="connsiteX783" fmla="*/ 978274 w 1489473"/>
              <a:gd name="connsiteY783" fmla="*/ 100509 h 498230"/>
              <a:gd name="connsiteX784" fmla="*/ 981343 w 1489473"/>
              <a:gd name="connsiteY784" fmla="*/ 100509 h 498230"/>
              <a:gd name="connsiteX785" fmla="*/ 981343 w 1489473"/>
              <a:gd name="connsiteY785" fmla="*/ 95960 h 498230"/>
              <a:gd name="connsiteX786" fmla="*/ 982878 w 1489473"/>
              <a:gd name="connsiteY786" fmla="*/ 95960 h 498230"/>
              <a:gd name="connsiteX787" fmla="*/ 984401 w 1489473"/>
              <a:gd name="connsiteY787" fmla="*/ 95960 h 498230"/>
              <a:gd name="connsiteX788" fmla="*/ 985947 w 1489473"/>
              <a:gd name="connsiteY788" fmla="*/ 95960 h 498230"/>
              <a:gd name="connsiteX789" fmla="*/ 987481 w 1489473"/>
              <a:gd name="connsiteY789" fmla="*/ 95960 h 498230"/>
              <a:gd name="connsiteX790" fmla="*/ 988983 w 1489473"/>
              <a:gd name="connsiteY790" fmla="*/ 95960 h 498230"/>
              <a:gd name="connsiteX791" fmla="*/ 988983 w 1489473"/>
              <a:gd name="connsiteY791" fmla="*/ 93613 h 498230"/>
              <a:gd name="connsiteX792" fmla="*/ 992041 w 1489473"/>
              <a:gd name="connsiteY792" fmla="*/ 93613 h 498230"/>
              <a:gd name="connsiteX793" fmla="*/ 992041 w 1489473"/>
              <a:gd name="connsiteY793" fmla="*/ 91267 h 498230"/>
              <a:gd name="connsiteX794" fmla="*/ 993587 w 1489473"/>
              <a:gd name="connsiteY794" fmla="*/ 91267 h 498230"/>
              <a:gd name="connsiteX795" fmla="*/ 995110 w 1489473"/>
              <a:gd name="connsiteY795" fmla="*/ 91267 h 498230"/>
              <a:gd name="connsiteX796" fmla="*/ 996645 w 1489473"/>
              <a:gd name="connsiteY796" fmla="*/ 91267 h 498230"/>
              <a:gd name="connsiteX797" fmla="*/ 998179 w 1489473"/>
              <a:gd name="connsiteY797" fmla="*/ 91267 h 498230"/>
              <a:gd name="connsiteX798" fmla="*/ 998179 w 1489473"/>
              <a:gd name="connsiteY798" fmla="*/ 88920 h 498230"/>
              <a:gd name="connsiteX799" fmla="*/ 999714 w 1489473"/>
              <a:gd name="connsiteY799" fmla="*/ 88920 h 498230"/>
              <a:gd name="connsiteX800" fmla="*/ 1004306 w 1489473"/>
              <a:gd name="connsiteY800" fmla="*/ 88920 h 498230"/>
              <a:gd name="connsiteX801" fmla="*/ 1005808 w 1489473"/>
              <a:gd name="connsiteY801" fmla="*/ 88920 h 498230"/>
              <a:gd name="connsiteX802" fmla="*/ 1007353 w 1489473"/>
              <a:gd name="connsiteY802" fmla="*/ 88920 h 498230"/>
              <a:gd name="connsiteX803" fmla="*/ 1008888 w 1489473"/>
              <a:gd name="connsiteY803" fmla="*/ 88920 h 498230"/>
              <a:gd name="connsiteX804" fmla="*/ 1008888 w 1489473"/>
              <a:gd name="connsiteY804" fmla="*/ 86540 h 498230"/>
              <a:gd name="connsiteX805" fmla="*/ 1010411 w 1489473"/>
              <a:gd name="connsiteY805" fmla="*/ 86540 h 498230"/>
              <a:gd name="connsiteX806" fmla="*/ 1015015 w 1489473"/>
              <a:gd name="connsiteY806" fmla="*/ 86540 h 498230"/>
              <a:gd name="connsiteX807" fmla="*/ 1016550 w 1489473"/>
              <a:gd name="connsiteY807" fmla="*/ 86540 h 498230"/>
              <a:gd name="connsiteX808" fmla="*/ 1018084 w 1489473"/>
              <a:gd name="connsiteY808" fmla="*/ 86540 h 498230"/>
              <a:gd name="connsiteX809" fmla="*/ 1019619 w 1489473"/>
              <a:gd name="connsiteY809" fmla="*/ 86540 h 498230"/>
              <a:gd name="connsiteX810" fmla="*/ 1019619 w 1489473"/>
              <a:gd name="connsiteY810" fmla="*/ 84093 h 498230"/>
              <a:gd name="connsiteX811" fmla="*/ 1021153 w 1489473"/>
              <a:gd name="connsiteY811" fmla="*/ 84093 h 498230"/>
              <a:gd name="connsiteX812" fmla="*/ 1021153 w 1489473"/>
              <a:gd name="connsiteY812" fmla="*/ 81668 h 498230"/>
              <a:gd name="connsiteX813" fmla="*/ 1024189 w 1489473"/>
              <a:gd name="connsiteY813" fmla="*/ 81668 h 498230"/>
              <a:gd name="connsiteX814" fmla="*/ 1024189 w 1489473"/>
              <a:gd name="connsiteY814" fmla="*/ 79188 h 498230"/>
              <a:gd name="connsiteX815" fmla="*/ 1025724 w 1489473"/>
              <a:gd name="connsiteY815" fmla="*/ 79188 h 498230"/>
              <a:gd name="connsiteX816" fmla="*/ 1027258 w 1489473"/>
              <a:gd name="connsiteY816" fmla="*/ 79188 h 498230"/>
              <a:gd name="connsiteX817" fmla="*/ 1028793 w 1489473"/>
              <a:gd name="connsiteY817" fmla="*/ 79188 h 498230"/>
              <a:gd name="connsiteX818" fmla="*/ 1030316 w 1489473"/>
              <a:gd name="connsiteY818" fmla="*/ 79188 h 498230"/>
              <a:gd name="connsiteX819" fmla="*/ 1031862 w 1489473"/>
              <a:gd name="connsiteY819" fmla="*/ 79188 h 498230"/>
              <a:gd name="connsiteX820" fmla="*/ 1034920 w 1489473"/>
              <a:gd name="connsiteY820" fmla="*/ 79188 h 498230"/>
              <a:gd name="connsiteX821" fmla="*/ 1036455 w 1489473"/>
              <a:gd name="connsiteY821" fmla="*/ 79188 h 498230"/>
              <a:gd name="connsiteX822" fmla="*/ 1038000 w 1489473"/>
              <a:gd name="connsiteY822" fmla="*/ 79188 h 498230"/>
              <a:gd name="connsiteX823" fmla="*/ 1041058 w 1489473"/>
              <a:gd name="connsiteY823" fmla="*/ 79188 h 498230"/>
              <a:gd name="connsiteX824" fmla="*/ 1042560 w 1489473"/>
              <a:gd name="connsiteY824" fmla="*/ 79188 h 498230"/>
              <a:gd name="connsiteX825" fmla="*/ 1047163 w 1489473"/>
              <a:gd name="connsiteY825" fmla="*/ 79188 h 498230"/>
              <a:gd name="connsiteX826" fmla="*/ 1048698 w 1489473"/>
              <a:gd name="connsiteY826" fmla="*/ 79188 h 498230"/>
              <a:gd name="connsiteX827" fmla="*/ 1050221 w 1489473"/>
              <a:gd name="connsiteY827" fmla="*/ 79188 h 498230"/>
              <a:gd name="connsiteX828" fmla="*/ 1051767 w 1489473"/>
              <a:gd name="connsiteY828" fmla="*/ 79188 h 498230"/>
              <a:gd name="connsiteX829" fmla="*/ 1053302 w 1489473"/>
              <a:gd name="connsiteY829" fmla="*/ 79188 h 498230"/>
              <a:gd name="connsiteX830" fmla="*/ 1056360 w 1489473"/>
              <a:gd name="connsiteY830" fmla="*/ 79188 h 498230"/>
              <a:gd name="connsiteX831" fmla="*/ 1057906 w 1489473"/>
              <a:gd name="connsiteY831" fmla="*/ 79188 h 498230"/>
              <a:gd name="connsiteX832" fmla="*/ 1059407 w 1489473"/>
              <a:gd name="connsiteY832" fmla="*/ 79188 h 498230"/>
              <a:gd name="connsiteX833" fmla="*/ 1060930 w 1489473"/>
              <a:gd name="connsiteY833" fmla="*/ 79188 h 498230"/>
              <a:gd name="connsiteX834" fmla="*/ 1062465 w 1489473"/>
              <a:gd name="connsiteY834" fmla="*/ 79188 h 498230"/>
              <a:gd name="connsiteX835" fmla="*/ 1063999 w 1489473"/>
              <a:gd name="connsiteY835" fmla="*/ 79188 h 498230"/>
              <a:gd name="connsiteX836" fmla="*/ 1067069 w 1489473"/>
              <a:gd name="connsiteY836" fmla="*/ 79188 h 498230"/>
              <a:gd name="connsiteX837" fmla="*/ 1067069 w 1489473"/>
              <a:gd name="connsiteY837" fmla="*/ 76463 h 498230"/>
              <a:gd name="connsiteX838" fmla="*/ 1068603 w 1489473"/>
              <a:gd name="connsiteY838" fmla="*/ 76463 h 498230"/>
              <a:gd name="connsiteX839" fmla="*/ 1070127 w 1489473"/>
              <a:gd name="connsiteY839" fmla="*/ 76463 h 498230"/>
              <a:gd name="connsiteX840" fmla="*/ 1073207 w 1489473"/>
              <a:gd name="connsiteY840" fmla="*/ 76463 h 498230"/>
              <a:gd name="connsiteX841" fmla="*/ 1074730 w 1489473"/>
              <a:gd name="connsiteY841" fmla="*/ 76463 h 498230"/>
              <a:gd name="connsiteX842" fmla="*/ 1076265 w 1489473"/>
              <a:gd name="connsiteY842" fmla="*/ 76463 h 498230"/>
              <a:gd name="connsiteX843" fmla="*/ 1076265 w 1489473"/>
              <a:gd name="connsiteY843" fmla="*/ 70869 h 498230"/>
              <a:gd name="connsiteX844" fmla="*/ 1080835 w 1489473"/>
              <a:gd name="connsiteY844" fmla="*/ 70869 h 498230"/>
              <a:gd name="connsiteX845" fmla="*/ 1082370 w 1489473"/>
              <a:gd name="connsiteY845" fmla="*/ 70869 h 498230"/>
              <a:gd name="connsiteX846" fmla="*/ 1083916 w 1489473"/>
              <a:gd name="connsiteY846" fmla="*/ 70869 h 498230"/>
              <a:gd name="connsiteX847" fmla="*/ 1085439 w 1489473"/>
              <a:gd name="connsiteY847" fmla="*/ 70869 h 498230"/>
              <a:gd name="connsiteX848" fmla="*/ 1090043 w 1489473"/>
              <a:gd name="connsiteY848" fmla="*/ 70869 h 498230"/>
              <a:gd name="connsiteX849" fmla="*/ 1091577 w 1489473"/>
              <a:gd name="connsiteY849" fmla="*/ 70869 h 498230"/>
              <a:gd name="connsiteX850" fmla="*/ 1093112 w 1489473"/>
              <a:gd name="connsiteY850" fmla="*/ 70869 h 498230"/>
              <a:gd name="connsiteX851" fmla="*/ 1094613 w 1489473"/>
              <a:gd name="connsiteY851" fmla="*/ 70869 h 498230"/>
              <a:gd name="connsiteX852" fmla="*/ 1096137 w 1489473"/>
              <a:gd name="connsiteY852" fmla="*/ 70869 h 498230"/>
              <a:gd name="connsiteX853" fmla="*/ 1097682 w 1489473"/>
              <a:gd name="connsiteY853" fmla="*/ 70869 h 498230"/>
              <a:gd name="connsiteX854" fmla="*/ 1097682 w 1489473"/>
              <a:gd name="connsiteY854" fmla="*/ 67911 h 498230"/>
              <a:gd name="connsiteX855" fmla="*/ 1099217 w 1489473"/>
              <a:gd name="connsiteY855" fmla="*/ 67911 h 498230"/>
              <a:gd name="connsiteX856" fmla="*/ 1102275 w 1489473"/>
              <a:gd name="connsiteY856" fmla="*/ 67911 h 498230"/>
              <a:gd name="connsiteX857" fmla="*/ 1102275 w 1489473"/>
              <a:gd name="connsiteY857" fmla="*/ 64941 h 498230"/>
              <a:gd name="connsiteX858" fmla="*/ 1103821 w 1489473"/>
              <a:gd name="connsiteY858" fmla="*/ 64941 h 498230"/>
              <a:gd name="connsiteX859" fmla="*/ 1105344 w 1489473"/>
              <a:gd name="connsiteY859" fmla="*/ 64941 h 498230"/>
              <a:gd name="connsiteX860" fmla="*/ 1106879 w 1489473"/>
              <a:gd name="connsiteY860" fmla="*/ 64941 h 498230"/>
              <a:gd name="connsiteX861" fmla="*/ 1109948 w 1489473"/>
              <a:gd name="connsiteY861" fmla="*/ 64941 h 498230"/>
              <a:gd name="connsiteX862" fmla="*/ 1111482 w 1489473"/>
              <a:gd name="connsiteY862" fmla="*/ 64941 h 498230"/>
              <a:gd name="connsiteX863" fmla="*/ 1112984 w 1489473"/>
              <a:gd name="connsiteY863" fmla="*/ 64941 h 498230"/>
              <a:gd name="connsiteX864" fmla="*/ 1114518 w 1489473"/>
              <a:gd name="connsiteY864" fmla="*/ 64941 h 498230"/>
              <a:gd name="connsiteX865" fmla="*/ 1116042 w 1489473"/>
              <a:gd name="connsiteY865" fmla="*/ 64941 h 498230"/>
              <a:gd name="connsiteX866" fmla="*/ 1117588 w 1489473"/>
              <a:gd name="connsiteY866" fmla="*/ 64941 h 498230"/>
              <a:gd name="connsiteX867" fmla="*/ 1122180 w 1489473"/>
              <a:gd name="connsiteY867" fmla="*/ 64941 h 498230"/>
              <a:gd name="connsiteX868" fmla="*/ 1123726 w 1489473"/>
              <a:gd name="connsiteY868" fmla="*/ 64941 h 498230"/>
              <a:gd name="connsiteX869" fmla="*/ 1125249 w 1489473"/>
              <a:gd name="connsiteY869" fmla="*/ 64941 h 498230"/>
              <a:gd name="connsiteX870" fmla="*/ 1126784 w 1489473"/>
              <a:gd name="connsiteY870" fmla="*/ 64941 h 498230"/>
              <a:gd name="connsiteX871" fmla="*/ 1128318 w 1489473"/>
              <a:gd name="connsiteY871" fmla="*/ 64941 h 498230"/>
              <a:gd name="connsiteX872" fmla="*/ 1129831 w 1489473"/>
              <a:gd name="connsiteY872" fmla="*/ 64941 h 498230"/>
              <a:gd name="connsiteX873" fmla="*/ 1129831 w 1489473"/>
              <a:gd name="connsiteY873" fmla="*/ 61693 h 498230"/>
              <a:gd name="connsiteX874" fmla="*/ 1134423 w 1489473"/>
              <a:gd name="connsiteY874" fmla="*/ 61693 h 498230"/>
              <a:gd name="connsiteX875" fmla="*/ 1135958 w 1489473"/>
              <a:gd name="connsiteY875" fmla="*/ 61693 h 498230"/>
              <a:gd name="connsiteX876" fmla="*/ 1137492 w 1489473"/>
              <a:gd name="connsiteY876" fmla="*/ 61693 h 498230"/>
              <a:gd name="connsiteX877" fmla="*/ 1137492 w 1489473"/>
              <a:gd name="connsiteY877" fmla="*/ 58379 h 498230"/>
              <a:gd name="connsiteX878" fmla="*/ 1139027 w 1489473"/>
              <a:gd name="connsiteY878" fmla="*/ 58379 h 498230"/>
              <a:gd name="connsiteX879" fmla="*/ 1139027 w 1489473"/>
              <a:gd name="connsiteY879" fmla="*/ 55031 h 498230"/>
              <a:gd name="connsiteX880" fmla="*/ 1142096 w 1489473"/>
              <a:gd name="connsiteY880" fmla="*/ 55031 h 498230"/>
              <a:gd name="connsiteX881" fmla="*/ 1142096 w 1489473"/>
              <a:gd name="connsiteY881" fmla="*/ 51695 h 498230"/>
              <a:gd name="connsiteX882" fmla="*/ 1143631 w 1489473"/>
              <a:gd name="connsiteY882" fmla="*/ 51695 h 498230"/>
              <a:gd name="connsiteX883" fmla="*/ 1145154 w 1489473"/>
              <a:gd name="connsiteY883" fmla="*/ 51695 h 498230"/>
              <a:gd name="connsiteX884" fmla="*/ 1146689 w 1489473"/>
              <a:gd name="connsiteY884" fmla="*/ 51695 h 498230"/>
              <a:gd name="connsiteX885" fmla="*/ 1146689 w 1489473"/>
              <a:gd name="connsiteY885" fmla="*/ 48269 h 498230"/>
              <a:gd name="connsiteX886" fmla="*/ 1148190 w 1489473"/>
              <a:gd name="connsiteY886" fmla="*/ 48269 h 498230"/>
              <a:gd name="connsiteX887" fmla="*/ 1148190 w 1489473"/>
              <a:gd name="connsiteY887" fmla="*/ 41407 h 498230"/>
              <a:gd name="connsiteX888" fmla="*/ 1149736 w 1489473"/>
              <a:gd name="connsiteY888" fmla="*/ 41407 h 498230"/>
              <a:gd name="connsiteX889" fmla="*/ 1151259 w 1489473"/>
              <a:gd name="connsiteY889" fmla="*/ 41407 h 498230"/>
              <a:gd name="connsiteX890" fmla="*/ 1154328 w 1489473"/>
              <a:gd name="connsiteY890" fmla="*/ 41407 h 498230"/>
              <a:gd name="connsiteX891" fmla="*/ 1154328 w 1489473"/>
              <a:gd name="connsiteY891" fmla="*/ 37881 h 498230"/>
              <a:gd name="connsiteX892" fmla="*/ 1155863 w 1489473"/>
              <a:gd name="connsiteY892" fmla="*/ 37881 h 498230"/>
              <a:gd name="connsiteX893" fmla="*/ 1157398 w 1489473"/>
              <a:gd name="connsiteY893" fmla="*/ 37881 h 498230"/>
              <a:gd name="connsiteX894" fmla="*/ 1158932 w 1489473"/>
              <a:gd name="connsiteY894" fmla="*/ 37881 h 498230"/>
              <a:gd name="connsiteX895" fmla="*/ 1160456 w 1489473"/>
              <a:gd name="connsiteY895" fmla="*/ 37881 h 498230"/>
              <a:gd name="connsiteX896" fmla="*/ 1163536 w 1489473"/>
              <a:gd name="connsiteY896" fmla="*/ 37881 h 498230"/>
              <a:gd name="connsiteX897" fmla="*/ 1163536 w 1489473"/>
              <a:gd name="connsiteY897" fmla="*/ 34267 h 498230"/>
              <a:gd name="connsiteX898" fmla="*/ 1165071 w 1489473"/>
              <a:gd name="connsiteY898" fmla="*/ 34267 h 498230"/>
              <a:gd name="connsiteX899" fmla="*/ 1166561 w 1489473"/>
              <a:gd name="connsiteY899" fmla="*/ 34267 h 498230"/>
              <a:gd name="connsiteX900" fmla="*/ 1168095 w 1489473"/>
              <a:gd name="connsiteY900" fmla="*/ 34267 h 498230"/>
              <a:gd name="connsiteX901" fmla="*/ 1169641 w 1489473"/>
              <a:gd name="connsiteY901" fmla="*/ 34267 h 498230"/>
              <a:gd name="connsiteX902" fmla="*/ 1169641 w 1489473"/>
              <a:gd name="connsiteY902" fmla="*/ 30541 h 498230"/>
              <a:gd name="connsiteX903" fmla="*/ 1171164 w 1489473"/>
              <a:gd name="connsiteY903" fmla="*/ 30541 h 498230"/>
              <a:gd name="connsiteX904" fmla="*/ 1177303 w 1489473"/>
              <a:gd name="connsiteY904" fmla="*/ 30541 h 498230"/>
              <a:gd name="connsiteX905" fmla="*/ 1178837 w 1489473"/>
              <a:gd name="connsiteY905" fmla="*/ 30541 h 498230"/>
              <a:gd name="connsiteX906" fmla="*/ 1180361 w 1489473"/>
              <a:gd name="connsiteY906" fmla="*/ 30541 h 498230"/>
              <a:gd name="connsiteX907" fmla="*/ 1181907 w 1489473"/>
              <a:gd name="connsiteY907" fmla="*/ 30541 h 498230"/>
              <a:gd name="connsiteX908" fmla="*/ 1184942 w 1489473"/>
              <a:gd name="connsiteY908" fmla="*/ 30541 h 498230"/>
              <a:gd name="connsiteX909" fmla="*/ 1186466 w 1489473"/>
              <a:gd name="connsiteY909" fmla="*/ 30541 h 498230"/>
              <a:gd name="connsiteX910" fmla="*/ 1188011 w 1489473"/>
              <a:gd name="connsiteY910" fmla="*/ 30541 h 498230"/>
              <a:gd name="connsiteX911" fmla="*/ 1189546 w 1489473"/>
              <a:gd name="connsiteY911" fmla="*/ 30541 h 498230"/>
              <a:gd name="connsiteX912" fmla="*/ 1191070 w 1489473"/>
              <a:gd name="connsiteY912" fmla="*/ 30541 h 498230"/>
              <a:gd name="connsiteX913" fmla="*/ 1192604 w 1489473"/>
              <a:gd name="connsiteY913" fmla="*/ 30541 h 498230"/>
              <a:gd name="connsiteX914" fmla="*/ 1197208 w 1489473"/>
              <a:gd name="connsiteY914" fmla="*/ 30541 h 498230"/>
              <a:gd name="connsiteX915" fmla="*/ 1198742 w 1489473"/>
              <a:gd name="connsiteY915" fmla="*/ 30541 h 498230"/>
              <a:gd name="connsiteX916" fmla="*/ 1200288 w 1489473"/>
              <a:gd name="connsiteY916" fmla="*/ 30541 h 498230"/>
              <a:gd name="connsiteX917" fmla="*/ 1201778 w 1489473"/>
              <a:gd name="connsiteY917" fmla="*/ 30541 h 498230"/>
              <a:gd name="connsiteX918" fmla="*/ 1203313 w 1489473"/>
              <a:gd name="connsiteY918" fmla="*/ 30541 h 498230"/>
              <a:gd name="connsiteX919" fmla="*/ 1207916 w 1489473"/>
              <a:gd name="connsiteY919" fmla="*/ 30541 h 498230"/>
              <a:gd name="connsiteX920" fmla="*/ 1207916 w 1489473"/>
              <a:gd name="connsiteY920" fmla="*/ 26192 h 498230"/>
              <a:gd name="connsiteX921" fmla="*/ 1209451 w 1489473"/>
              <a:gd name="connsiteY921" fmla="*/ 26192 h 498230"/>
              <a:gd name="connsiteX922" fmla="*/ 1210974 w 1489473"/>
              <a:gd name="connsiteY922" fmla="*/ 26192 h 498230"/>
              <a:gd name="connsiteX923" fmla="*/ 1212509 w 1489473"/>
              <a:gd name="connsiteY923" fmla="*/ 26192 h 498230"/>
              <a:gd name="connsiteX924" fmla="*/ 1218614 w 1489473"/>
              <a:gd name="connsiteY924" fmla="*/ 26192 h 498230"/>
              <a:gd name="connsiteX925" fmla="*/ 1220149 w 1489473"/>
              <a:gd name="connsiteY925" fmla="*/ 26192 h 498230"/>
              <a:gd name="connsiteX926" fmla="*/ 1221683 w 1489473"/>
              <a:gd name="connsiteY926" fmla="*/ 26192 h 498230"/>
              <a:gd name="connsiteX927" fmla="*/ 1223218 w 1489473"/>
              <a:gd name="connsiteY927" fmla="*/ 26192 h 498230"/>
              <a:gd name="connsiteX928" fmla="*/ 1224752 w 1489473"/>
              <a:gd name="connsiteY928" fmla="*/ 26192 h 498230"/>
              <a:gd name="connsiteX929" fmla="*/ 1229356 w 1489473"/>
              <a:gd name="connsiteY929" fmla="*/ 26192 h 498230"/>
              <a:gd name="connsiteX930" fmla="*/ 1230880 w 1489473"/>
              <a:gd name="connsiteY930" fmla="*/ 26192 h 498230"/>
              <a:gd name="connsiteX931" fmla="*/ 1232414 w 1489473"/>
              <a:gd name="connsiteY931" fmla="*/ 26192 h 498230"/>
              <a:gd name="connsiteX932" fmla="*/ 1233960 w 1489473"/>
              <a:gd name="connsiteY932" fmla="*/ 26192 h 498230"/>
              <a:gd name="connsiteX933" fmla="*/ 1235495 w 1489473"/>
              <a:gd name="connsiteY933" fmla="*/ 26192 h 498230"/>
              <a:gd name="connsiteX934" fmla="*/ 1235495 w 1489473"/>
              <a:gd name="connsiteY934" fmla="*/ 21221 h 498230"/>
              <a:gd name="connsiteX935" fmla="*/ 1240065 w 1489473"/>
              <a:gd name="connsiteY935" fmla="*/ 21221 h 498230"/>
              <a:gd name="connsiteX936" fmla="*/ 1243123 w 1489473"/>
              <a:gd name="connsiteY936" fmla="*/ 21221 h 498230"/>
              <a:gd name="connsiteX937" fmla="*/ 1244658 w 1489473"/>
              <a:gd name="connsiteY937" fmla="*/ 21221 h 498230"/>
              <a:gd name="connsiteX938" fmla="*/ 1246192 w 1489473"/>
              <a:gd name="connsiteY938" fmla="*/ 21221 h 498230"/>
              <a:gd name="connsiteX939" fmla="*/ 1250785 w 1489473"/>
              <a:gd name="connsiteY939" fmla="*/ 21221 h 498230"/>
              <a:gd name="connsiteX940" fmla="*/ 1252330 w 1489473"/>
              <a:gd name="connsiteY940" fmla="*/ 21221 h 498230"/>
              <a:gd name="connsiteX941" fmla="*/ 1253832 w 1489473"/>
              <a:gd name="connsiteY941" fmla="*/ 21221 h 498230"/>
              <a:gd name="connsiteX942" fmla="*/ 1255366 w 1489473"/>
              <a:gd name="connsiteY942" fmla="*/ 21221 h 498230"/>
              <a:gd name="connsiteX943" fmla="*/ 1256890 w 1489473"/>
              <a:gd name="connsiteY943" fmla="*/ 21221 h 498230"/>
              <a:gd name="connsiteX944" fmla="*/ 1261493 w 1489473"/>
              <a:gd name="connsiteY944" fmla="*/ 21221 h 498230"/>
              <a:gd name="connsiteX945" fmla="*/ 1263028 w 1489473"/>
              <a:gd name="connsiteY945" fmla="*/ 21221 h 498230"/>
              <a:gd name="connsiteX946" fmla="*/ 1264562 w 1489473"/>
              <a:gd name="connsiteY946" fmla="*/ 21221 h 498230"/>
              <a:gd name="connsiteX947" fmla="*/ 1266097 w 1489473"/>
              <a:gd name="connsiteY947" fmla="*/ 21221 h 498230"/>
              <a:gd name="connsiteX948" fmla="*/ 1267632 w 1489473"/>
              <a:gd name="connsiteY948" fmla="*/ 21221 h 498230"/>
              <a:gd name="connsiteX949" fmla="*/ 1272191 w 1489473"/>
              <a:gd name="connsiteY949" fmla="*/ 21221 h 498230"/>
              <a:gd name="connsiteX950" fmla="*/ 1273737 w 1489473"/>
              <a:gd name="connsiteY950" fmla="*/ 21221 h 498230"/>
              <a:gd name="connsiteX951" fmla="*/ 1275271 w 1489473"/>
              <a:gd name="connsiteY951" fmla="*/ 21221 h 498230"/>
              <a:gd name="connsiteX952" fmla="*/ 1276795 w 1489473"/>
              <a:gd name="connsiteY952" fmla="*/ 21221 h 498230"/>
              <a:gd name="connsiteX953" fmla="*/ 1278329 w 1489473"/>
              <a:gd name="connsiteY953" fmla="*/ 21221 h 498230"/>
              <a:gd name="connsiteX954" fmla="*/ 1282933 w 1489473"/>
              <a:gd name="connsiteY954" fmla="*/ 21221 h 498230"/>
              <a:gd name="connsiteX955" fmla="*/ 1284468 w 1489473"/>
              <a:gd name="connsiteY955" fmla="*/ 21221 h 498230"/>
              <a:gd name="connsiteX956" fmla="*/ 1286002 w 1489473"/>
              <a:gd name="connsiteY956" fmla="*/ 21221 h 498230"/>
              <a:gd name="connsiteX957" fmla="*/ 1287537 w 1489473"/>
              <a:gd name="connsiteY957" fmla="*/ 21221 h 498230"/>
              <a:gd name="connsiteX958" fmla="*/ 1289071 w 1489473"/>
              <a:gd name="connsiteY958" fmla="*/ 21221 h 498230"/>
              <a:gd name="connsiteX959" fmla="*/ 1293642 w 1489473"/>
              <a:gd name="connsiteY959" fmla="*/ 21221 h 498230"/>
              <a:gd name="connsiteX960" fmla="*/ 1295177 w 1489473"/>
              <a:gd name="connsiteY960" fmla="*/ 21221 h 498230"/>
              <a:gd name="connsiteX961" fmla="*/ 1296700 w 1489473"/>
              <a:gd name="connsiteY961" fmla="*/ 21221 h 498230"/>
              <a:gd name="connsiteX962" fmla="*/ 1298246 w 1489473"/>
              <a:gd name="connsiteY962" fmla="*/ 21221 h 498230"/>
              <a:gd name="connsiteX963" fmla="*/ 1299780 w 1489473"/>
              <a:gd name="connsiteY963" fmla="*/ 21221 h 498230"/>
              <a:gd name="connsiteX964" fmla="*/ 1304384 w 1489473"/>
              <a:gd name="connsiteY964" fmla="*/ 21221 h 498230"/>
              <a:gd name="connsiteX965" fmla="*/ 1305918 w 1489473"/>
              <a:gd name="connsiteY965" fmla="*/ 21221 h 498230"/>
              <a:gd name="connsiteX966" fmla="*/ 1307408 w 1489473"/>
              <a:gd name="connsiteY966" fmla="*/ 21221 h 498230"/>
              <a:gd name="connsiteX967" fmla="*/ 1308943 w 1489473"/>
              <a:gd name="connsiteY967" fmla="*/ 21221 h 498230"/>
              <a:gd name="connsiteX968" fmla="*/ 1310478 w 1489473"/>
              <a:gd name="connsiteY968" fmla="*/ 21221 h 498230"/>
              <a:gd name="connsiteX969" fmla="*/ 1315081 w 1489473"/>
              <a:gd name="connsiteY969" fmla="*/ 21221 h 498230"/>
              <a:gd name="connsiteX970" fmla="*/ 1316605 w 1489473"/>
              <a:gd name="connsiteY970" fmla="*/ 21221 h 498230"/>
              <a:gd name="connsiteX971" fmla="*/ 1318151 w 1489473"/>
              <a:gd name="connsiteY971" fmla="*/ 21221 h 498230"/>
              <a:gd name="connsiteX972" fmla="*/ 1319685 w 1489473"/>
              <a:gd name="connsiteY972" fmla="*/ 21221 h 498230"/>
              <a:gd name="connsiteX973" fmla="*/ 1321220 w 1489473"/>
              <a:gd name="connsiteY973" fmla="*/ 21221 h 498230"/>
              <a:gd name="connsiteX974" fmla="*/ 1322743 w 1489473"/>
              <a:gd name="connsiteY974" fmla="*/ 21221 h 498230"/>
              <a:gd name="connsiteX975" fmla="*/ 1322743 w 1489473"/>
              <a:gd name="connsiteY975" fmla="*/ 11311 h 498230"/>
              <a:gd name="connsiteX976" fmla="*/ 1325790 w 1489473"/>
              <a:gd name="connsiteY976" fmla="*/ 11311 h 498230"/>
              <a:gd name="connsiteX977" fmla="*/ 1327314 w 1489473"/>
              <a:gd name="connsiteY977" fmla="*/ 11311 h 498230"/>
              <a:gd name="connsiteX978" fmla="*/ 1328848 w 1489473"/>
              <a:gd name="connsiteY978" fmla="*/ 11311 h 498230"/>
              <a:gd name="connsiteX979" fmla="*/ 1330383 w 1489473"/>
              <a:gd name="connsiteY979" fmla="*/ 11311 h 498230"/>
              <a:gd name="connsiteX980" fmla="*/ 1331917 w 1489473"/>
              <a:gd name="connsiteY980" fmla="*/ 11311 h 498230"/>
              <a:gd name="connsiteX981" fmla="*/ 1333452 w 1489473"/>
              <a:gd name="connsiteY981" fmla="*/ 11311 h 498230"/>
              <a:gd name="connsiteX982" fmla="*/ 1334987 w 1489473"/>
              <a:gd name="connsiteY982" fmla="*/ 11311 h 498230"/>
              <a:gd name="connsiteX983" fmla="*/ 1334987 w 1489473"/>
              <a:gd name="connsiteY983" fmla="*/ 0 h 498230"/>
              <a:gd name="connsiteX984" fmla="*/ 1489473 w 1489473"/>
              <a:gd name="connsiteY984" fmla="*/ 1221 h 49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Lst>
            <a:rect l="l" t="t" r="r" b="b"/>
            <a:pathLst>
              <a:path w="1489473" h="498230">
                <a:moveTo>
                  <a:pt x="0" y="498230"/>
                </a:moveTo>
                <a:lnTo>
                  <a:pt x="3058" y="498230"/>
                </a:lnTo>
                <a:lnTo>
                  <a:pt x="3058" y="495127"/>
                </a:lnTo>
                <a:lnTo>
                  <a:pt x="4604" y="495127"/>
                </a:lnTo>
                <a:lnTo>
                  <a:pt x="4604" y="493570"/>
                </a:lnTo>
                <a:lnTo>
                  <a:pt x="12277" y="493570"/>
                </a:lnTo>
                <a:lnTo>
                  <a:pt x="12277" y="492780"/>
                </a:lnTo>
                <a:lnTo>
                  <a:pt x="13800" y="492780"/>
                </a:lnTo>
                <a:lnTo>
                  <a:pt x="13800" y="491979"/>
                </a:lnTo>
                <a:lnTo>
                  <a:pt x="15301" y="491979"/>
                </a:lnTo>
                <a:lnTo>
                  <a:pt x="15301" y="491223"/>
                </a:lnTo>
                <a:lnTo>
                  <a:pt x="21440" y="491223"/>
                </a:lnTo>
                <a:lnTo>
                  <a:pt x="21440" y="490433"/>
                </a:lnTo>
                <a:lnTo>
                  <a:pt x="24509" y="490433"/>
                </a:lnTo>
                <a:lnTo>
                  <a:pt x="24509" y="489666"/>
                </a:lnTo>
                <a:lnTo>
                  <a:pt x="26043" y="489666"/>
                </a:lnTo>
                <a:lnTo>
                  <a:pt x="26043" y="488876"/>
                </a:lnTo>
                <a:lnTo>
                  <a:pt x="27567" y="488876"/>
                </a:lnTo>
                <a:lnTo>
                  <a:pt x="27567" y="487330"/>
                </a:lnTo>
                <a:lnTo>
                  <a:pt x="32148" y="487330"/>
                </a:lnTo>
                <a:lnTo>
                  <a:pt x="33672" y="487330"/>
                </a:lnTo>
                <a:lnTo>
                  <a:pt x="33672" y="485773"/>
                </a:lnTo>
                <a:lnTo>
                  <a:pt x="36752" y="485773"/>
                </a:lnTo>
                <a:lnTo>
                  <a:pt x="41345" y="485773"/>
                </a:lnTo>
                <a:lnTo>
                  <a:pt x="42879" y="485773"/>
                </a:lnTo>
                <a:lnTo>
                  <a:pt x="42879" y="484216"/>
                </a:lnTo>
                <a:lnTo>
                  <a:pt x="44414" y="484216"/>
                </a:lnTo>
                <a:lnTo>
                  <a:pt x="45948" y="484216"/>
                </a:lnTo>
                <a:lnTo>
                  <a:pt x="47483" y="484216"/>
                </a:lnTo>
                <a:lnTo>
                  <a:pt x="47483" y="482637"/>
                </a:lnTo>
                <a:lnTo>
                  <a:pt x="49018" y="482637"/>
                </a:lnTo>
                <a:lnTo>
                  <a:pt x="49018" y="481869"/>
                </a:lnTo>
                <a:lnTo>
                  <a:pt x="50519" y="481869"/>
                </a:lnTo>
                <a:lnTo>
                  <a:pt x="50519" y="477943"/>
                </a:lnTo>
                <a:lnTo>
                  <a:pt x="52053" y="477943"/>
                </a:lnTo>
                <a:lnTo>
                  <a:pt x="52053" y="475630"/>
                </a:lnTo>
                <a:lnTo>
                  <a:pt x="53577" y="475630"/>
                </a:lnTo>
                <a:lnTo>
                  <a:pt x="53577" y="474829"/>
                </a:lnTo>
                <a:lnTo>
                  <a:pt x="55111" y="474829"/>
                </a:lnTo>
                <a:lnTo>
                  <a:pt x="55111" y="474039"/>
                </a:lnTo>
                <a:lnTo>
                  <a:pt x="56657" y="474039"/>
                </a:lnTo>
                <a:lnTo>
                  <a:pt x="56657" y="473283"/>
                </a:lnTo>
                <a:lnTo>
                  <a:pt x="59715" y="473283"/>
                </a:lnTo>
                <a:lnTo>
                  <a:pt x="59715" y="471693"/>
                </a:lnTo>
                <a:lnTo>
                  <a:pt x="61250" y="471693"/>
                </a:lnTo>
                <a:lnTo>
                  <a:pt x="61250" y="470936"/>
                </a:lnTo>
                <a:lnTo>
                  <a:pt x="65854" y="470936"/>
                </a:lnTo>
                <a:lnTo>
                  <a:pt x="65854" y="470147"/>
                </a:lnTo>
                <a:lnTo>
                  <a:pt x="68878" y="470147"/>
                </a:lnTo>
                <a:lnTo>
                  <a:pt x="68878" y="468590"/>
                </a:lnTo>
                <a:lnTo>
                  <a:pt x="70424" y="468590"/>
                </a:lnTo>
                <a:lnTo>
                  <a:pt x="70424" y="466999"/>
                </a:lnTo>
                <a:lnTo>
                  <a:pt x="71959" y="466999"/>
                </a:lnTo>
                <a:lnTo>
                  <a:pt x="71959" y="465453"/>
                </a:lnTo>
                <a:lnTo>
                  <a:pt x="75017" y="465453"/>
                </a:lnTo>
                <a:lnTo>
                  <a:pt x="75017" y="464653"/>
                </a:lnTo>
                <a:lnTo>
                  <a:pt x="76562" y="464653"/>
                </a:lnTo>
                <a:lnTo>
                  <a:pt x="76562" y="463896"/>
                </a:lnTo>
                <a:lnTo>
                  <a:pt x="79620" y="463896"/>
                </a:lnTo>
                <a:lnTo>
                  <a:pt x="79620" y="463107"/>
                </a:lnTo>
                <a:lnTo>
                  <a:pt x="81155" y="463107"/>
                </a:lnTo>
                <a:lnTo>
                  <a:pt x="81155" y="461550"/>
                </a:lnTo>
                <a:lnTo>
                  <a:pt x="82700" y="461550"/>
                </a:lnTo>
                <a:lnTo>
                  <a:pt x="82700" y="460760"/>
                </a:lnTo>
                <a:lnTo>
                  <a:pt x="84224" y="460760"/>
                </a:lnTo>
                <a:lnTo>
                  <a:pt x="84224" y="459203"/>
                </a:lnTo>
                <a:lnTo>
                  <a:pt x="85725" y="459203"/>
                </a:lnTo>
                <a:lnTo>
                  <a:pt x="85725" y="458413"/>
                </a:lnTo>
                <a:lnTo>
                  <a:pt x="88794" y="458413"/>
                </a:lnTo>
                <a:lnTo>
                  <a:pt x="88794" y="455277"/>
                </a:lnTo>
                <a:lnTo>
                  <a:pt x="91864" y="455277"/>
                </a:lnTo>
                <a:lnTo>
                  <a:pt x="91864" y="453720"/>
                </a:lnTo>
                <a:lnTo>
                  <a:pt x="93387" y="453720"/>
                </a:lnTo>
                <a:lnTo>
                  <a:pt x="93387" y="451373"/>
                </a:lnTo>
                <a:lnTo>
                  <a:pt x="94933" y="451373"/>
                </a:lnTo>
                <a:lnTo>
                  <a:pt x="94933" y="449816"/>
                </a:lnTo>
                <a:lnTo>
                  <a:pt x="96467" y="449816"/>
                </a:lnTo>
                <a:lnTo>
                  <a:pt x="96467" y="448225"/>
                </a:lnTo>
                <a:lnTo>
                  <a:pt x="99525" y="448225"/>
                </a:lnTo>
                <a:lnTo>
                  <a:pt x="99525" y="445879"/>
                </a:lnTo>
                <a:lnTo>
                  <a:pt x="101071" y="445879"/>
                </a:lnTo>
                <a:lnTo>
                  <a:pt x="101071" y="445122"/>
                </a:lnTo>
                <a:lnTo>
                  <a:pt x="102572" y="445122"/>
                </a:lnTo>
                <a:lnTo>
                  <a:pt x="102572" y="444333"/>
                </a:lnTo>
                <a:lnTo>
                  <a:pt x="104096" y="444333"/>
                </a:lnTo>
                <a:lnTo>
                  <a:pt x="104096" y="443543"/>
                </a:lnTo>
                <a:lnTo>
                  <a:pt x="105630" y="443543"/>
                </a:lnTo>
                <a:lnTo>
                  <a:pt x="107165" y="443543"/>
                </a:lnTo>
                <a:lnTo>
                  <a:pt x="107165" y="441196"/>
                </a:lnTo>
                <a:lnTo>
                  <a:pt x="108700" y="441196"/>
                </a:lnTo>
                <a:lnTo>
                  <a:pt x="108700" y="438850"/>
                </a:lnTo>
                <a:lnTo>
                  <a:pt x="110234" y="438850"/>
                </a:lnTo>
                <a:lnTo>
                  <a:pt x="110234" y="438049"/>
                </a:lnTo>
                <a:lnTo>
                  <a:pt x="111769" y="438049"/>
                </a:lnTo>
                <a:lnTo>
                  <a:pt x="111769" y="435702"/>
                </a:lnTo>
                <a:lnTo>
                  <a:pt x="113292" y="435702"/>
                </a:lnTo>
                <a:lnTo>
                  <a:pt x="113292" y="434156"/>
                </a:lnTo>
                <a:lnTo>
                  <a:pt x="122478" y="434156"/>
                </a:lnTo>
                <a:lnTo>
                  <a:pt x="122478" y="433355"/>
                </a:lnTo>
                <a:lnTo>
                  <a:pt x="124001" y="433355"/>
                </a:lnTo>
                <a:lnTo>
                  <a:pt x="124001" y="431809"/>
                </a:lnTo>
                <a:lnTo>
                  <a:pt x="125536" y="431809"/>
                </a:lnTo>
                <a:lnTo>
                  <a:pt x="125536" y="429463"/>
                </a:lnTo>
                <a:lnTo>
                  <a:pt x="128605" y="429463"/>
                </a:lnTo>
                <a:lnTo>
                  <a:pt x="128605" y="428673"/>
                </a:lnTo>
                <a:lnTo>
                  <a:pt x="133208" y="428673"/>
                </a:lnTo>
                <a:lnTo>
                  <a:pt x="133208" y="427872"/>
                </a:lnTo>
                <a:lnTo>
                  <a:pt x="134743" y="427872"/>
                </a:lnTo>
                <a:lnTo>
                  <a:pt x="134743" y="426326"/>
                </a:lnTo>
                <a:lnTo>
                  <a:pt x="136278" y="426326"/>
                </a:lnTo>
                <a:lnTo>
                  <a:pt x="137812" y="426326"/>
                </a:lnTo>
                <a:lnTo>
                  <a:pt x="137812" y="424736"/>
                </a:lnTo>
                <a:lnTo>
                  <a:pt x="142382" y="424736"/>
                </a:lnTo>
                <a:lnTo>
                  <a:pt x="142382" y="422389"/>
                </a:lnTo>
                <a:lnTo>
                  <a:pt x="143906" y="422389"/>
                </a:lnTo>
                <a:lnTo>
                  <a:pt x="143906" y="421588"/>
                </a:lnTo>
                <a:lnTo>
                  <a:pt x="146986" y="421588"/>
                </a:lnTo>
                <a:lnTo>
                  <a:pt x="148510" y="421588"/>
                </a:lnTo>
                <a:lnTo>
                  <a:pt x="148510" y="420042"/>
                </a:lnTo>
                <a:lnTo>
                  <a:pt x="151579" y="420042"/>
                </a:lnTo>
                <a:lnTo>
                  <a:pt x="151579" y="418452"/>
                </a:lnTo>
                <a:lnTo>
                  <a:pt x="153125" y="418452"/>
                </a:lnTo>
                <a:lnTo>
                  <a:pt x="153125" y="417696"/>
                </a:lnTo>
                <a:lnTo>
                  <a:pt x="154648" y="417696"/>
                </a:lnTo>
                <a:lnTo>
                  <a:pt x="154648" y="416906"/>
                </a:lnTo>
                <a:lnTo>
                  <a:pt x="157684" y="416906"/>
                </a:lnTo>
                <a:lnTo>
                  <a:pt x="159207" y="416906"/>
                </a:lnTo>
                <a:lnTo>
                  <a:pt x="159207" y="415316"/>
                </a:lnTo>
                <a:lnTo>
                  <a:pt x="160753" y="415316"/>
                </a:lnTo>
                <a:lnTo>
                  <a:pt x="160753" y="412969"/>
                </a:lnTo>
                <a:lnTo>
                  <a:pt x="162288" y="412969"/>
                </a:lnTo>
                <a:lnTo>
                  <a:pt x="162288" y="411378"/>
                </a:lnTo>
                <a:lnTo>
                  <a:pt x="165346" y="411378"/>
                </a:lnTo>
                <a:lnTo>
                  <a:pt x="165346" y="410622"/>
                </a:lnTo>
                <a:lnTo>
                  <a:pt x="166891" y="410622"/>
                </a:lnTo>
                <a:lnTo>
                  <a:pt x="166891" y="409821"/>
                </a:lnTo>
                <a:lnTo>
                  <a:pt x="168426" y="409821"/>
                </a:lnTo>
                <a:lnTo>
                  <a:pt x="168426" y="409032"/>
                </a:lnTo>
                <a:lnTo>
                  <a:pt x="169949" y="409032"/>
                </a:lnTo>
                <a:lnTo>
                  <a:pt x="169949" y="408242"/>
                </a:lnTo>
                <a:lnTo>
                  <a:pt x="171484" y="408242"/>
                </a:lnTo>
                <a:lnTo>
                  <a:pt x="171484" y="406685"/>
                </a:lnTo>
                <a:lnTo>
                  <a:pt x="173030" y="406685"/>
                </a:lnTo>
                <a:lnTo>
                  <a:pt x="173030" y="405895"/>
                </a:lnTo>
                <a:lnTo>
                  <a:pt x="177589" y="405895"/>
                </a:lnTo>
                <a:lnTo>
                  <a:pt x="177589" y="404338"/>
                </a:lnTo>
                <a:lnTo>
                  <a:pt x="179112" y="404338"/>
                </a:lnTo>
                <a:lnTo>
                  <a:pt x="179112" y="403549"/>
                </a:lnTo>
                <a:lnTo>
                  <a:pt x="182193" y="403549"/>
                </a:lnTo>
                <a:lnTo>
                  <a:pt x="182193" y="402759"/>
                </a:lnTo>
                <a:lnTo>
                  <a:pt x="183716" y="402759"/>
                </a:lnTo>
                <a:lnTo>
                  <a:pt x="183716" y="401958"/>
                </a:lnTo>
                <a:lnTo>
                  <a:pt x="185251" y="401958"/>
                </a:lnTo>
                <a:lnTo>
                  <a:pt x="185251" y="401157"/>
                </a:lnTo>
                <a:lnTo>
                  <a:pt x="189855" y="401157"/>
                </a:lnTo>
                <a:lnTo>
                  <a:pt x="189855" y="399611"/>
                </a:lnTo>
                <a:lnTo>
                  <a:pt x="192901" y="399611"/>
                </a:lnTo>
                <a:lnTo>
                  <a:pt x="194425" y="399611"/>
                </a:lnTo>
                <a:lnTo>
                  <a:pt x="195960" y="399611"/>
                </a:lnTo>
                <a:lnTo>
                  <a:pt x="195960" y="398822"/>
                </a:lnTo>
                <a:lnTo>
                  <a:pt x="197494" y="398822"/>
                </a:lnTo>
                <a:lnTo>
                  <a:pt x="197494" y="398021"/>
                </a:lnTo>
                <a:lnTo>
                  <a:pt x="199028" y="398021"/>
                </a:lnTo>
                <a:lnTo>
                  <a:pt x="199028" y="397231"/>
                </a:lnTo>
                <a:lnTo>
                  <a:pt x="200563" y="397231"/>
                </a:lnTo>
                <a:lnTo>
                  <a:pt x="203632" y="397231"/>
                </a:lnTo>
                <a:lnTo>
                  <a:pt x="203632" y="396442"/>
                </a:lnTo>
                <a:lnTo>
                  <a:pt x="206701" y="396442"/>
                </a:lnTo>
                <a:lnTo>
                  <a:pt x="206701" y="394885"/>
                </a:lnTo>
                <a:lnTo>
                  <a:pt x="208236" y="394885"/>
                </a:lnTo>
                <a:lnTo>
                  <a:pt x="209726" y="394885"/>
                </a:lnTo>
                <a:lnTo>
                  <a:pt x="209726" y="394095"/>
                </a:lnTo>
                <a:lnTo>
                  <a:pt x="212806" y="394095"/>
                </a:lnTo>
                <a:lnTo>
                  <a:pt x="212806" y="393294"/>
                </a:lnTo>
                <a:lnTo>
                  <a:pt x="214330" y="393294"/>
                </a:lnTo>
                <a:lnTo>
                  <a:pt x="214330" y="392505"/>
                </a:lnTo>
                <a:lnTo>
                  <a:pt x="218934" y="392505"/>
                </a:lnTo>
                <a:lnTo>
                  <a:pt x="218934" y="391715"/>
                </a:lnTo>
                <a:lnTo>
                  <a:pt x="222003" y="391715"/>
                </a:lnTo>
                <a:lnTo>
                  <a:pt x="223537" y="391715"/>
                </a:lnTo>
                <a:lnTo>
                  <a:pt x="223537" y="390914"/>
                </a:lnTo>
                <a:lnTo>
                  <a:pt x="225072" y="390914"/>
                </a:lnTo>
                <a:lnTo>
                  <a:pt x="225072" y="389357"/>
                </a:lnTo>
                <a:lnTo>
                  <a:pt x="228108" y="389357"/>
                </a:lnTo>
                <a:lnTo>
                  <a:pt x="228108" y="387778"/>
                </a:lnTo>
                <a:lnTo>
                  <a:pt x="229631" y="387778"/>
                </a:lnTo>
                <a:lnTo>
                  <a:pt x="229631" y="386187"/>
                </a:lnTo>
                <a:lnTo>
                  <a:pt x="234235" y="386187"/>
                </a:lnTo>
                <a:lnTo>
                  <a:pt x="234235" y="384608"/>
                </a:lnTo>
                <a:lnTo>
                  <a:pt x="235770" y="384608"/>
                </a:lnTo>
                <a:lnTo>
                  <a:pt x="235770" y="383017"/>
                </a:lnTo>
                <a:lnTo>
                  <a:pt x="237304" y="383017"/>
                </a:lnTo>
                <a:lnTo>
                  <a:pt x="237304" y="382217"/>
                </a:lnTo>
                <a:lnTo>
                  <a:pt x="240373" y="382217"/>
                </a:lnTo>
                <a:lnTo>
                  <a:pt x="240373" y="381427"/>
                </a:lnTo>
                <a:lnTo>
                  <a:pt x="243443" y="381427"/>
                </a:lnTo>
                <a:lnTo>
                  <a:pt x="243443" y="380671"/>
                </a:lnTo>
                <a:lnTo>
                  <a:pt x="244933" y="380671"/>
                </a:lnTo>
                <a:lnTo>
                  <a:pt x="244933" y="379080"/>
                </a:lnTo>
                <a:lnTo>
                  <a:pt x="246478" y="379080"/>
                </a:lnTo>
                <a:lnTo>
                  <a:pt x="246478" y="378291"/>
                </a:lnTo>
                <a:lnTo>
                  <a:pt x="248013" y="378291"/>
                </a:lnTo>
                <a:lnTo>
                  <a:pt x="248013" y="376700"/>
                </a:lnTo>
                <a:lnTo>
                  <a:pt x="251082" y="376700"/>
                </a:lnTo>
                <a:lnTo>
                  <a:pt x="251082" y="375899"/>
                </a:lnTo>
                <a:lnTo>
                  <a:pt x="252617" y="375899"/>
                </a:lnTo>
                <a:lnTo>
                  <a:pt x="252617" y="375110"/>
                </a:lnTo>
                <a:lnTo>
                  <a:pt x="254140" y="375110"/>
                </a:lnTo>
                <a:lnTo>
                  <a:pt x="254140" y="374320"/>
                </a:lnTo>
                <a:lnTo>
                  <a:pt x="257220" y="374320"/>
                </a:lnTo>
                <a:lnTo>
                  <a:pt x="257220" y="373530"/>
                </a:lnTo>
                <a:lnTo>
                  <a:pt x="261780" y="373530"/>
                </a:lnTo>
                <a:lnTo>
                  <a:pt x="261780" y="371940"/>
                </a:lnTo>
                <a:lnTo>
                  <a:pt x="263314" y="371940"/>
                </a:lnTo>
                <a:lnTo>
                  <a:pt x="263314" y="370383"/>
                </a:lnTo>
                <a:lnTo>
                  <a:pt x="264849" y="370383"/>
                </a:lnTo>
                <a:lnTo>
                  <a:pt x="264849" y="369593"/>
                </a:lnTo>
                <a:lnTo>
                  <a:pt x="266383" y="369593"/>
                </a:lnTo>
                <a:lnTo>
                  <a:pt x="266383" y="368792"/>
                </a:lnTo>
                <a:lnTo>
                  <a:pt x="267918" y="368792"/>
                </a:lnTo>
                <a:lnTo>
                  <a:pt x="267918" y="367213"/>
                </a:lnTo>
                <a:lnTo>
                  <a:pt x="269441" y="367213"/>
                </a:lnTo>
                <a:lnTo>
                  <a:pt x="269441" y="366412"/>
                </a:lnTo>
                <a:lnTo>
                  <a:pt x="270987" y="366412"/>
                </a:lnTo>
                <a:lnTo>
                  <a:pt x="270987" y="365623"/>
                </a:lnTo>
                <a:lnTo>
                  <a:pt x="272522" y="365623"/>
                </a:lnTo>
                <a:lnTo>
                  <a:pt x="272522" y="364833"/>
                </a:lnTo>
                <a:lnTo>
                  <a:pt x="274056" y="364833"/>
                </a:lnTo>
                <a:lnTo>
                  <a:pt x="274056" y="363243"/>
                </a:lnTo>
                <a:lnTo>
                  <a:pt x="275580" y="363243"/>
                </a:lnTo>
                <a:lnTo>
                  <a:pt x="275580" y="362453"/>
                </a:lnTo>
                <a:lnTo>
                  <a:pt x="277125" y="362453"/>
                </a:lnTo>
                <a:lnTo>
                  <a:pt x="278660" y="362453"/>
                </a:lnTo>
                <a:lnTo>
                  <a:pt x="278660" y="361652"/>
                </a:lnTo>
                <a:lnTo>
                  <a:pt x="280150" y="361652"/>
                </a:lnTo>
                <a:lnTo>
                  <a:pt x="280150" y="360073"/>
                </a:lnTo>
                <a:lnTo>
                  <a:pt x="281685" y="360073"/>
                </a:lnTo>
                <a:lnTo>
                  <a:pt x="283219" y="360073"/>
                </a:lnTo>
                <a:lnTo>
                  <a:pt x="283219" y="359272"/>
                </a:lnTo>
                <a:lnTo>
                  <a:pt x="284754" y="359272"/>
                </a:lnTo>
                <a:lnTo>
                  <a:pt x="284754" y="357693"/>
                </a:lnTo>
                <a:lnTo>
                  <a:pt x="286289" y="357693"/>
                </a:lnTo>
                <a:lnTo>
                  <a:pt x="286289" y="356892"/>
                </a:lnTo>
                <a:lnTo>
                  <a:pt x="287823" y="356892"/>
                </a:lnTo>
                <a:lnTo>
                  <a:pt x="287823" y="355268"/>
                </a:lnTo>
                <a:lnTo>
                  <a:pt x="289358" y="355268"/>
                </a:lnTo>
                <a:lnTo>
                  <a:pt x="290892" y="355268"/>
                </a:lnTo>
                <a:lnTo>
                  <a:pt x="290892" y="354479"/>
                </a:lnTo>
                <a:lnTo>
                  <a:pt x="292427" y="354479"/>
                </a:lnTo>
                <a:lnTo>
                  <a:pt x="293961" y="354479"/>
                </a:lnTo>
                <a:lnTo>
                  <a:pt x="293961" y="353678"/>
                </a:lnTo>
                <a:lnTo>
                  <a:pt x="295485" y="353678"/>
                </a:lnTo>
                <a:lnTo>
                  <a:pt x="295485" y="352855"/>
                </a:lnTo>
                <a:lnTo>
                  <a:pt x="297031" y="352855"/>
                </a:lnTo>
                <a:lnTo>
                  <a:pt x="298532" y="352855"/>
                </a:lnTo>
                <a:lnTo>
                  <a:pt x="298532" y="352065"/>
                </a:lnTo>
                <a:lnTo>
                  <a:pt x="300055" y="352065"/>
                </a:lnTo>
                <a:lnTo>
                  <a:pt x="301590" y="352065"/>
                </a:lnTo>
                <a:lnTo>
                  <a:pt x="303125" y="352065"/>
                </a:lnTo>
                <a:lnTo>
                  <a:pt x="304659" y="352065"/>
                </a:lnTo>
                <a:lnTo>
                  <a:pt x="304659" y="351231"/>
                </a:lnTo>
                <a:lnTo>
                  <a:pt x="306194" y="351231"/>
                </a:lnTo>
                <a:lnTo>
                  <a:pt x="307728" y="351231"/>
                </a:lnTo>
                <a:lnTo>
                  <a:pt x="307728" y="350408"/>
                </a:lnTo>
                <a:lnTo>
                  <a:pt x="309274" y="350408"/>
                </a:lnTo>
                <a:lnTo>
                  <a:pt x="309274" y="349618"/>
                </a:lnTo>
                <a:lnTo>
                  <a:pt x="310797" y="349618"/>
                </a:lnTo>
                <a:lnTo>
                  <a:pt x="312332" y="349618"/>
                </a:lnTo>
                <a:lnTo>
                  <a:pt x="312332" y="347961"/>
                </a:lnTo>
                <a:lnTo>
                  <a:pt x="313867" y="347961"/>
                </a:lnTo>
                <a:lnTo>
                  <a:pt x="315357" y="347961"/>
                </a:lnTo>
                <a:lnTo>
                  <a:pt x="316902" y="347961"/>
                </a:lnTo>
                <a:lnTo>
                  <a:pt x="316902" y="347094"/>
                </a:lnTo>
                <a:lnTo>
                  <a:pt x="318437" y="347094"/>
                </a:lnTo>
                <a:lnTo>
                  <a:pt x="318437" y="346259"/>
                </a:lnTo>
                <a:lnTo>
                  <a:pt x="319960" y="346259"/>
                </a:lnTo>
                <a:lnTo>
                  <a:pt x="321495" y="346259"/>
                </a:lnTo>
                <a:lnTo>
                  <a:pt x="321495" y="345403"/>
                </a:lnTo>
                <a:lnTo>
                  <a:pt x="323041" y="345403"/>
                </a:lnTo>
                <a:lnTo>
                  <a:pt x="323041" y="344580"/>
                </a:lnTo>
                <a:lnTo>
                  <a:pt x="324564" y="344580"/>
                </a:lnTo>
                <a:lnTo>
                  <a:pt x="324564" y="343713"/>
                </a:lnTo>
                <a:lnTo>
                  <a:pt x="327633" y="343713"/>
                </a:lnTo>
                <a:lnTo>
                  <a:pt x="329179" y="343713"/>
                </a:lnTo>
                <a:lnTo>
                  <a:pt x="330702" y="343713"/>
                </a:lnTo>
                <a:lnTo>
                  <a:pt x="330702" y="342845"/>
                </a:lnTo>
                <a:lnTo>
                  <a:pt x="332237" y="342845"/>
                </a:lnTo>
                <a:lnTo>
                  <a:pt x="333738" y="342845"/>
                </a:lnTo>
                <a:lnTo>
                  <a:pt x="333738" y="341989"/>
                </a:lnTo>
                <a:lnTo>
                  <a:pt x="335262" y="341989"/>
                </a:lnTo>
                <a:lnTo>
                  <a:pt x="338342" y="341989"/>
                </a:lnTo>
                <a:lnTo>
                  <a:pt x="338342" y="341132"/>
                </a:lnTo>
                <a:lnTo>
                  <a:pt x="339865" y="341132"/>
                </a:lnTo>
                <a:lnTo>
                  <a:pt x="341400" y="341132"/>
                </a:lnTo>
                <a:lnTo>
                  <a:pt x="341400" y="340265"/>
                </a:lnTo>
                <a:lnTo>
                  <a:pt x="342946" y="340265"/>
                </a:lnTo>
                <a:lnTo>
                  <a:pt x="342946" y="335883"/>
                </a:lnTo>
                <a:lnTo>
                  <a:pt x="344480" y="335883"/>
                </a:lnTo>
                <a:lnTo>
                  <a:pt x="344480" y="335015"/>
                </a:lnTo>
                <a:lnTo>
                  <a:pt x="346004" y="335015"/>
                </a:lnTo>
                <a:lnTo>
                  <a:pt x="349084" y="335015"/>
                </a:lnTo>
                <a:lnTo>
                  <a:pt x="349084" y="334125"/>
                </a:lnTo>
                <a:lnTo>
                  <a:pt x="350574" y="334125"/>
                </a:lnTo>
                <a:lnTo>
                  <a:pt x="350574" y="332357"/>
                </a:lnTo>
                <a:lnTo>
                  <a:pt x="352109" y="332357"/>
                </a:lnTo>
                <a:lnTo>
                  <a:pt x="353643" y="332357"/>
                </a:lnTo>
                <a:lnTo>
                  <a:pt x="353643" y="331456"/>
                </a:lnTo>
                <a:lnTo>
                  <a:pt x="355167" y="331456"/>
                </a:lnTo>
                <a:lnTo>
                  <a:pt x="356713" y="331456"/>
                </a:lnTo>
                <a:lnTo>
                  <a:pt x="358247" y="331456"/>
                </a:lnTo>
                <a:lnTo>
                  <a:pt x="358247" y="330566"/>
                </a:lnTo>
                <a:lnTo>
                  <a:pt x="359782" y="330566"/>
                </a:lnTo>
                <a:lnTo>
                  <a:pt x="359782" y="329666"/>
                </a:lnTo>
                <a:lnTo>
                  <a:pt x="361316" y="329666"/>
                </a:lnTo>
                <a:lnTo>
                  <a:pt x="361316" y="328776"/>
                </a:lnTo>
                <a:lnTo>
                  <a:pt x="362851" y="328776"/>
                </a:lnTo>
                <a:lnTo>
                  <a:pt x="362851" y="327875"/>
                </a:lnTo>
                <a:lnTo>
                  <a:pt x="364386" y="327875"/>
                </a:lnTo>
                <a:lnTo>
                  <a:pt x="365909" y="327875"/>
                </a:lnTo>
                <a:lnTo>
                  <a:pt x="365909" y="326073"/>
                </a:lnTo>
                <a:lnTo>
                  <a:pt x="367455" y="326073"/>
                </a:lnTo>
                <a:lnTo>
                  <a:pt x="368956" y="326073"/>
                </a:lnTo>
                <a:lnTo>
                  <a:pt x="370479" y="326073"/>
                </a:lnTo>
                <a:lnTo>
                  <a:pt x="370479" y="325183"/>
                </a:lnTo>
                <a:lnTo>
                  <a:pt x="372014" y="325183"/>
                </a:lnTo>
                <a:lnTo>
                  <a:pt x="373548" y="325183"/>
                </a:lnTo>
                <a:lnTo>
                  <a:pt x="375083" y="325183"/>
                </a:lnTo>
                <a:lnTo>
                  <a:pt x="375083" y="324249"/>
                </a:lnTo>
                <a:lnTo>
                  <a:pt x="376617" y="324249"/>
                </a:lnTo>
                <a:lnTo>
                  <a:pt x="376617" y="322425"/>
                </a:lnTo>
                <a:lnTo>
                  <a:pt x="378152" y="322425"/>
                </a:lnTo>
                <a:lnTo>
                  <a:pt x="381221" y="322425"/>
                </a:lnTo>
                <a:lnTo>
                  <a:pt x="381221" y="321491"/>
                </a:lnTo>
                <a:lnTo>
                  <a:pt x="382756" y="321491"/>
                </a:lnTo>
                <a:lnTo>
                  <a:pt x="384290" y="321491"/>
                </a:lnTo>
                <a:lnTo>
                  <a:pt x="385781" y="321491"/>
                </a:lnTo>
                <a:lnTo>
                  <a:pt x="385781" y="320557"/>
                </a:lnTo>
                <a:lnTo>
                  <a:pt x="387315" y="320557"/>
                </a:lnTo>
                <a:lnTo>
                  <a:pt x="387315" y="319656"/>
                </a:lnTo>
                <a:lnTo>
                  <a:pt x="388861" y="319656"/>
                </a:lnTo>
                <a:lnTo>
                  <a:pt x="388861" y="317765"/>
                </a:lnTo>
                <a:lnTo>
                  <a:pt x="390384" y="317765"/>
                </a:lnTo>
                <a:lnTo>
                  <a:pt x="390384" y="316831"/>
                </a:lnTo>
                <a:lnTo>
                  <a:pt x="391919" y="316831"/>
                </a:lnTo>
                <a:lnTo>
                  <a:pt x="391919" y="314962"/>
                </a:lnTo>
                <a:lnTo>
                  <a:pt x="393453" y="314962"/>
                </a:lnTo>
                <a:lnTo>
                  <a:pt x="393453" y="313105"/>
                </a:lnTo>
                <a:lnTo>
                  <a:pt x="394999" y="313105"/>
                </a:lnTo>
                <a:lnTo>
                  <a:pt x="396523" y="313105"/>
                </a:lnTo>
                <a:lnTo>
                  <a:pt x="398057" y="313105"/>
                </a:lnTo>
                <a:lnTo>
                  <a:pt x="399592" y="313105"/>
                </a:lnTo>
                <a:lnTo>
                  <a:pt x="401126" y="313105"/>
                </a:lnTo>
                <a:lnTo>
                  <a:pt x="404162" y="313105"/>
                </a:lnTo>
                <a:lnTo>
                  <a:pt x="405686" y="313105"/>
                </a:lnTo>
                <a:lnTo>
                  <a:pt x="407220" y="313105"/>
                </a:lnTo>
                <a:lnTo>
                  <a:pt x="408766" y="313105"/>
                </a:lnTo>
                <a:lnTo>
                  <a:pt x="410289" y="313105"/>
                </a:lnTo>
                <a:lnTo>
                  <a:pt x="413359" y="313105"/>
                </a:lnTo>
                <a:lnTo>
                  <a:pt x="413359" y="311170"/>
                </a:lnTo>
                <a:lnTo>
                  <a:pt x="414904" y="311170"/>
                </a:lnTo>
                <a:lnTo>
                  <a:pt x="416428" y="311170"/>
                </a:lnTo>
                <a:lnTo>
                  <a:pt x="416428" y="310202"/>
                </a:lnTo>
                <a:lnTo>
                  <a:pt x="417962" y="310202"/>
                </a:lnTo>
                <a:lnTo>
                  <a:pt x="419508" y="310202"/>
                </a:lnTo>
                <a:lnTo>
                  <a:pt x="421032" y="310202"/>
                </a:lnTo>
                <a:lnTo>
                  <a:pt x="424067" y="310202"/>
                </a:lnTo>
                <a:lnTo>
                  <a:pt x="424067" y="309201"/>
                </a:lnTo>
                <a:lnTo>
                  <a:pt x="425591" y="309201"/>
                </a:lnTo>
                <a:lnTo>
                  <a:pt x="425591" y="308234"/>
                </a:lnTo>
                <a:lnTo>
                  <a:pt x="427136" y="308234"/>
                </a:lnTo>
                <a:lnTo>
                  <a:pt x="427136" y="307244"/>
                </a:lnTo>
                <a:lnTo>
                  <a:pt x="428671" y="307244"/>
                </a:lnTo>
                <a:lnTo>
                  <a:pt x="430206" y="307244"/>
                </a:lnTo>
                <a:lnTo>
                  <a:pt x="431729" y="307244"/>
                </a:lnTo>
                <a:lnTo>
                  <a:pt x="431729" y="306276"/>
                </a:lnTo>
                <a:lnTo>
                  <a:pt x="433275" y="306276"/>
                </a:lnTo>
                <a:lnTo>
                  <a:pt x="433275" y="304274"/>
                </a:lnTo>
                <a:lnTo>
                  <a:pt x="434809" y="304274"/>
                </a:lnTo>
                <a:lnTo>
                  <a:pt x="436333" y="304274"/>
                </a:lnTo>
                <a:lnTo>
                  <a:pt x="436333" y="302272"/>
                </a:lnTo>
                <a:lnTo>
                  <a:pt x="437868" y="302272"/>
                </a:lnTo>
                <a:lnTo>
                  <a:pt x="437868" y="300270"/>
                </a:lnTo>
                <a:lnTo>
                  <a:pt x="439369" y="300270"/>
                </a:lnTo>
                <a:lnTo>
                  <a:pt x="439369" y="299269"/>
                </a:lnTo>
                <a:lnTo>
                  <a:pt x="440903" y="299269"/>
                </a:lnTo>
                <a:lnTo>
                  <a:pt x="442438" y="299269"/>
                </a:lnTo>
                <a:lnTo>
                  <a:pt x="442438" y="298268"/>
                </a:lnTo>
                <a:lnTo>
                  <a:pt x="443972" y="298268"/>
                </a:lnTo>
                <a:lnTo>
                  <a:pt x="443972" y="297267"/>
                </a:lnTo>
                <a:lnTo>
                  <a:pt x="445507" y="297267"/>
                </a:lnTo>
                <a:lnTo>
                  <a:pt x="445507" y="295232"/>
                </a:lnTo>
                <a:lnTo>
                  <a:pt x="447042" y="295232"/>
                </a:lnTo>
                <a:lnTo>
                  <a:pt x="448576" y="295232"/>
                </a:lnTo>
                <a:lnTo>
                  <a:pt x="448576" y="294231"/>
                </a:lnTo>
                <a:lnTo>
                  <a:pt x="450111" y="294231"/>
                </a:lnTo>
                <a:lnTo>
                  <a:pt x="451634" y="294231"/>
                </a:lnTo>
                <a:lnTo>
                  <a:pt x="453180" y="294231"/>
                </a:lnTo>
                <a:lnTo>
                  <a:pt x="453180" y="293197"/>
                </a:lnTo>
                <a:lnTo>
                  <a:pt x="456238" y="293197"/>
                </a:lnTo>
                <a:lnTo>
                  <a:pt x="456238" y="292196"/>
                </a:lnTo>
                <a:lnTo>
                  <a:pt x="457739" y="292196"/>
                </a:lnTo>
                <a:lnTo>
                  <a:pt x="457739" y="291161"/>
                </a:lnTo>
                <a:lnTo>
                  <a:pt x="459274" y="291161"/>
                </a:lnTo>
                <a:lnTo>
                  <a:pt x="459274" y="290127"/>
                </a:lnTo>
                <a:lnTo>
                  <a:pt x="460808" y="290127"/>
                </a:lnTo>
                <a:lnTo>
                  <a:pt x="462343" y="290127"/>
                </a:lnTo>
                <a:lnTo>
                  <a:pt x="463878" y="290127"/>
                </a:lnTo>
                <a:lnTo>
                  <a:pt x="465412" y="290127"/>
                </a:lnTo>
                <a:lnTo>
                  <a:pt x="468481" y="290127"/>
                </a:lnTo>
                <a:lnTo>
                  <a:pt x="468481" y="289093"/>
                </a:lnTo>
                <a:lnTo>
                  <a:pt x="470016" y="289093"/>
                </a:lnTo>
                <a:lnTo>
                  <a:pt x="471539" y="289093"/>
                </a:lnTo>
                <a:lnTo>
                  <a:pt x="471539" y="288058"/>
                </a:lnTo>
                <a:lnTo>
                  <a:pt x="473085" y="288058"/>
                </a:lnTo>
                <a:lnTo>
                  <a:pt x="474586" y="288058"/>
                </a:lnTo>
                <a:lnTo>
                  <a:pt x="476110" y="288058"/>
                </a:lnTo>
                <a:lnTo>
                  <a:pt x="476110" y="287024"/>
                </a:lnTo>
                <a:lnTo>
                  <a:pt x="477644" y="287024"/>
                </a:lnTo>
                <a:lnTo>
                  <a:pt x="479190" y="287024"/>
                </a:lnTo>
                <a:lnTo>
                  <a:pt x="480714" y="287024"/>
                </a:lnTo>
                <a:lnTo>
                  <a:pt x="480714" y="284911"/>
                </a:lnTo>
                <a:lnTo>
                  <a:pt x="482248" y="284911"/>
                </a:lnTo>
                <a:lnTo>
                  <a:pt x="482248" y="283877"/>
                </a:lnTo>
                <a:lnTo>
                  <a:pt x="483783" y="283877"/>
                </a:lnTo>
                <a:lnTo>
                  <a:pt x="483783" y="282809"/>
                </a:lnTo>
                <a:lnTo>
                  <a:pt x="485328" y="282809"/>
                </a:lnTo>
                <a:lnTo>
                  <a:pt x="485328" y="279639"/>
                </a:lnTo>
                <a:lnTo>
                  <a:pt x="491456" y="279639"/>
                </a:lnTo>
                <a:lnTo>
                  <a:pt x="492957" y="279639"/>
                </a:lnTo>
                <a:lnTo>
                  <a:pt x="494491" y="279639"/>
                </a:lnTo>
                <a:lnTo>
                  <a:pt x="496015" y="279639"/>
                </a:lnTo>
                <a:lnTo>
                  <a:pt x="496015" y="278594"/>
                </a:lnTo>
                <a:lnTo>
                  <a:pt x="497549" y="278594"/>
                </a:lnTo>
                <a:lnTo>
                  <a:pt x="497549" y="277526"/>
                </a:lnTo>
                <a:lnTo>
                  <a:pt x="500630" y="277526"/>
                </a:lnTo>
                <a:lnTo>
                  <a:pt x="500630" y="276458"/>
                </a:lnTo>
                <a:lnTo>
                  <a:pt x="502153" y="276458"/>
                </a:lnTo>
                <a:lnTo>
                  <a:pt x="503688" y="276458"/>
                </a:lnTo>
                <a:lnTo>
                  <a:pt x="505233" y="276458"/>
                </a:lnTo>
                <a:lnTo>
                  <a:pt x="506757" y="276458"/>
                </a:lnTo>
                <a:lnTo>
                  <a:pt x="508291" y="276458"/>
                </a:lnTo>
                <a:lnTo>
                  <a:pt x="508291" y="275357"/>
                </a:lnTo>
                <a:lnTo>
                  <a:pt x="511316" y="275357"/>
                </a:lnTo>
                <a:lnTo>
                  <a:pt x="511316" y="274289"/>
                </a:lnTo>
                <a:lnTo>
                  <a:pt x="512862" y="274289"/>
                </a:lnTo>
                <a:lnTo>
                  <a:pt x="514396" y="274289"/>
                </a:lnTo>
                <a:lnTo>
                  <a:pt x="515931" y="274289"/>
                </a:lnTo>
                <a:lnTo>
                  <a:pt x="517454" y="274289"/>
                </a:lnTo>
                <a:lnTo>
                  <a:pt x="519000" y="274289"/>
                </a:lnTo>
                <a:lnTo>
                  <a:pt x="519000" y="273188"/>
                </a:lnTo>
                <a:lnTo>
                  <a:pt x="522058" y="273188"/>
                </a:lnTo>
                <a:lnTo>
                  <a:pt x="523593" y="273188"/>
                </a:lnTo>
                <a:lnTo>
                  <a:pt x="523593" y="270975"/>
                </a:lnTo>
                <a:lnTo>
                  <a:pt x="525139" y="270975"/>
                </a:lnTo>
                <a:lnTo>
                  <a:pt x="525139" y="268762"/>
                </a:lnTo>
                <a:lnTo>
                  <a:pt x="526662" y="268762"/>
                </a:lnTo>
                <a:lnTo>
                  <a:pt x="528163" y="268762"/>
                </a:lnTo>
                <a:lnTo>
                  <a:pt x="528163" y="265414"/>
                </a:lnTo>
                <a:lnTo>
                  <a:pt x="529698" y="265414"/>
                </a:lnTo>
                <a:lnTo>
                  <a:pt x="529698" y="263179"/>
                </a:lnTo>
                <a:lnTo>
                  <a:pt x="532767" y="263179"/>
                </a:lnTo>
                <a:lnTo>
                  <a:pt x="534302" y="263179"/>
                </a:lnTo>
                <a:lnTo>
                  <a:pt x="535836" y="263179"/>
                </a:lnTo>
                <a:lnTo>
                  <a:pt x="537371" y="263179"/>
                </a:lnTo>
                <a:lnTo>
                  <a:pt x="538905" y="263179"/>
                </a:lnTo>
                <a:lnTo>
                  <a:pt x="540440" y="263179"/>
                </a:lnTo>
                <a:lnTo>
                  <a:pt x="540440" y="262033"/>
                </a:lnTo>
                <a:lnTo>
                  <a:pt x="541963" y="262033"/>
                </a:lnTo>
                <a:lnTo>
                  <a:pt x="541963" y="260899"/>
                </a:lnTo>
                <a:lnTo>
                  <a:pt x="543509" y="260899"/>
                </a:lnTo>
                <a:lnTo>
                  <a:pt x="545044" y="260899"/>
                </a:lnTo>
                <a:lnTo>
                  <a:pt x="545044" y="258619"/>
                </a:lnTo>
                <a:lnTo>
                  <a:pt x="546534" y="258619"/>
                </a:lnTo>
                <a:lnTo>
                  <a:pt x="548068" y="258619"/>
                </a:lnTo>
                <a:lnTo>
                  <a:pt x="549603" y="258619"/>
                </a:lnTo>
                <a:lnTo>
                  <a:pt x="551148" y="258619"/>
                </a:lnTo>
                <a:lnTo>
                  <a:pt x="552672" y="258619"/>
                </a:lnTo>
                <a:lnTo>
                  <a:pt x="552672" y="256316"/>
                </a:lnTo>
                <a:lnTo>
                  <a:pt x="554206" y="256316"/>
                </a:lnTo>
                <a:lnTo>
                  <a:pt x="555741" y="256316"/>
                </a:lnTo>
                <a:lnTo>
                  <a:pt x="557276" y="256316"/>
                </a:lnTo>
                <a:lnTo>
                  <a:pt x="557276" y="254003"/>
                </a:lnTo>
                <a:lnTo>
                  <a:pt x="558810" y="254003"/>
                </a:lnTo>
                <a:lnTo>
                  <a:pt x="560345" y="254003"/>
                </a:lnTo>
                <a:lnTo>
                  <a:pt x="560345" y="252824"/>
                </a:lnTo>
                <a:lnTo>
                  <a:pt x="563370" y="252824"/>
                </a:lnTo>
                <a:lnTo>
                  <a:pt x="563370" y="251656"/>
                </a:lnTo>
                <a:lnTo>
                  <a:pt x="564915" y="251656"/>
                </a:lnTo>
                <a:lnTo>
                  <a:pt x="566439" y="251656"/>
                </a:lnTo>
                <a:lnTo>
                  <a:pt x="567973" y="251656"/>
                </a:lnTo>
                <a:lnTo>
                  <a:pt x="567973" y="250444"/>
                </a:lnTo>
                <a:lnTo>
                  <a:pt x="569508" y="250444"/>
                </a:lnTo>
                <a:lnTo>
                  <a:pt x="571054" y="250444"/>
                </a:lnTo>
                <a:lnTo>
                  <a:pt x="575646" y="250444"/>
                </a:lnTo>
                <a:lnTo>
                  <a:pt x="577181" y="250444"/>
                </a:lnTo>
                <a:lnTo>
                  <a:pt x="577181" y="249265"/>
                </a:lnTo>
                <a:lnTo>
                  <a:pt x="578715" y="249265"/>
                </a:lnTo>
                <a:lnTo>
                  <a:pt x="580250" y="249265"/>
                </a:lnTo>
                <a:lnTo>
                  <a:pt x="581740" y="249265"/>
                </a:lnTo>
                <a:lnTo>
                  <a:pt x="583286" y="249265"/>
                </a:lnTo>
                <a:lnTo>
                  <a:pt x="583286" y="245650"/>
                </a:lnTo>
                <a:lnTo>
                  <a:pt x="586355" y="245650"/>
                </a:lnTo>
                <a:lnTo>
                  <a:pt x="586355" y="244438"/>
                </a:lnTo>
                <a:lnTo>
                  <a:pt x="587878" y="244438"/>
                </a:lnTo>
                <a:lnTo>
                  <a:pt x="589424" y="244438"/>
                </a:lnTo>
                <a:lnTo>
                  <a:pt x="590959" y="244438"/>
                </a:lnTo>
                <a:lnTo>
                  <a:pt x="592482" y="244438"/>
                </a:lnTo>
                <a:lnTo>
                  <a:pt x="592482" y="241991"/>
                </a:lnTo>
                <a:lnTo>
                  <a:pt x="594017" y="241991"/>
                </a:lnTo>
                <a:lnTo>
                  <a:pt x="594017" y="240746"/>
                </a:lnTo>
                <a:lnTo>
                  <a:pt x="597086" y="240746"/>
                </a:lnTo>
                <a:lnTo>
                  <a:pt x="598587" y="240746"/>
                </a:lnTo>
                <a:lnTo>
                  <a:pt x="600122" y="240746"/>
                </a:lnTo>
                <a:lnTo>
                  <a:pt x="601645" y="240746"/>
                </a:lnTo>
                <a:lnTo>
                  <a:pt x="603191" y="240746"/>
                </a:lnTo>
                <a:lnTo>
                  <a:pt x="607784" y="240746"/>
                </a:lnTo>
                <a:lnTo>
                  <a:pt x="607784" y="239500"/>
                </a:lnTo>
                <a:lnTo>
                  <a:pt x="609329" y="239500"/>
                </a:lnTo>
                <a:lnTo>
                  <a:pt x="610864" y="239500"/>
                </a:lnTo>
                <a:lnTo>
                  <a:pt x="610864" y="238254"/>
                </a:lnTo>
                <a:lnTo>
                  <a:pt x="612387" y="238254"/>
                </a:lnTo>
                <a:lnTo>
                  <a:pt x="613922" y="238254"/>
                </a:lnTo>
                <a:lnTo>
                  <a:pt x="613922" y="236986"/>
                </a:lnTo>
                <a:lnTo>
                  <a:pt x="616958" y="236986"/>
                </a:lnTo>
                <a:lnTo>
                  <a:pt x="616958" y="235707"/>
                </a:lnTo>
                <a:lnTo>
                  <a:pt x="618492" y="235707"/>
                </a:lnTo>
                <a:lnTo>
                  <a:pt x="618492" y="234428"/>
                </a:lnTo>
                <a:lnTo>
                  <a:pt x="620027" y="234428"/>
                </a:lnTo>
                <a:lnTo>
                  <a:pt x="621561" y="234428"/>
                </a:lnTo>
                <a:lnTo>
                  <a:pt x="623096" y="234428"/>
                </a:lnTo>
                <a:lnTo>
                  <a:pt x="623096" y="231848"/>
                </a:lnTo>
                <a:lnTo>
                  <a:pt x="624631" y="231848"/>
                </a:lnTo>
                <a:lnTo>
                  <a:pt x="626165" y="231848"/>
                </a:lnTo>
                <a:lnTo>
                  <a:pt x="627689" y="231848"/>
                </a:lnTo>
                <a:lnTo>
                  <a:pt x="627689" y="229257"/>
                </a:lnTo>
                <a:lnTo>
                  <a:pt x="629234" y="229257"/>
                </a:lnTo>
                <a:lnTo>
                  <a:pt x="629234" y="227944"/>
                </a:lnTo>
                <a:lnTo>
                  <a:pt x="630769" y="227944"/>
                </a:lnTo>
                <a:lnTo>
                  <a:pt x="632292" y="227944"/>
                </a:lnTo>
                <a:lnTo>
                  <a:pt x="632292" y="226632"/>
                </a:lnTo>
                <a:lnTo>
                  <a:pt x="633794" y="226632"/>
                </a:lnTo>
                <a:lnTo>
                  <a:pt x="633794" y="224007"/>
                </a:lnTo>
                <a:lnTo>
                  <a:pt x="635339" y="224007"/>
                </a:lnTo>
                <a:lnTo>
                  <a:pt x="635339" y="221349"/>
                </a:lnTo>
                <a:lnTo>
                  <a:pt x="636863" y="221349"/>
                </a:lnTo>
                <a:lnTo>
                  <a:pt x="636863" y="220048"/>
                </a:lnTo>
                <a:lnTo>
                  <a:pt x="638397" y="220048"/>
                </a:lnTo>
                <a:lnTo>
                  <a:pt x="639932" y="220048"/>
                </a:lnTo>
                <a:lnTo>
                  <a:pt x="639932" y="218735"/>
                </a:lnTo>
                <a:lnTo>
                  <a:pt x="641478" y="218735"/>
                </a:lnTo>
                <a:lnTo>
                  <a:pt x="643001" y="218735"/>
                </a:lnTo>
                <a:lnTo>
                  <a:pt x="643001" y="217423"/>
                </a:lnTo>
                <a:lnTo>
                  <a:pt x="644536" y="217423"/>
                </a:lnTo>
                <a:lnTo>
                  <a:pt x="646070" y="217423"/>
                </a:lnTo>
                <a:lnTo>
                  <a:pt x="646070" y="216077"/>
                </a:lnTo>
                <a:lnTo>
                  <a:pt x="647605" y="216077"/>
                </a:lnTo>
                <a:lnTo>
                  <a:pt x="647605" y="214731"/>
                </a:lnTo>
                <a:lnTo>
                  <a:pt x="652164" y="214731"/>
                </a:lnTo>
                <a:lnTo>
                  <a:pt x="653699" y="214731"/>
                </a:lnTo>
                <a:lnTo>
                  <a:pt x="653699" y="213386"/>
                </a:lnTo>
                <a:lnTo>
                  <a:pt x="655244" y="213386"/>
                </a:lnTo>
                <a:lnTo>
                  <a:pt x="655244" y="212040"/>
                </a:lnTo>
                <a:lnTo>
                  <a:pt x="656779" y="212040"/>
                </a:lnTo>
                <a:lnTo>
                  <a:pt x="661383" y="212040"/>
                </a:lnTo>
                <a:lnTo>
                  <a:pt x="661383" y="210694"/>
                </a:lnTo>
                <a:lnTo>
                  <a:pt x="662906" y="210694"/>
                </a:lnTo>
                <a:lnTo>
                  <a:pt x="662906" y="209304"/>
                </a:lnTo>
                <a:lnTo>
                  <a:pt x="664441" y="209304"/>
                </a:lnTo>
                <a:lnTo>
                  <a:pt x="665975" y="209304"/>
                </a:lnTo>
                <a:lnTo>
                  <a:pt x="667510" y="209304"/>
                </a:lnTo>
                <a:lnTo>
                  <a:pt x="667510" y="207969"/>
                </a:lnTo>
                <a:lnTo>
                  <a:pt x="669045" y="207969"/>
                </a:lnTo>
                <a:lnTo>
                  <a:pt x="670546" y="207969"/>
                </a:lnTo>
                <a:lnTo>
                  <a:pt x="670546" y="206590"/>
                </a:lnTo>
                <a:lnTo>
                  <a:pt x="672080" y="206590"/>
                </a:lnTo>
                <a:lnTo>
                  <a:pt x="673604" y="206590"/>
                </a:lnTo>
                <a:lnTo>
                  <a:pt x="675149" y="206590"/>
                </a:lnTo>
                <a:lnTo>
                  <a:pt x="675149" y="205166"/>
                </a:lnTo>
                <a:lnTo>
                  <a:pt x="676684" y="205166"/>
                </a:lnTo>
                <a:lnTo>
                  <a:pt x="678207" y="205166"/>
                </a:lnTo>
                <a:lnTo>
                  <a:pt x="679742" y="205166"/>
                </a:lnTo>
                <a:lnTo>
                  <a:pt x="679742" y="203787"/>
                </a:lnTo>
                <a:lnTo>
                  <a:pt x="682811" y="203787"/>
                </a:lnTo>
                <a:lnTo>
                  <a:pt x="682811" y="202375"/>
                </a:lnTo>
                <a:lnTo>
                  <a:pt x="684346" y="202375"/>
                </a:lnTo>
                <a:lnTo>
                  <a:pt x="685880" y="202375"/>
                </a:lnTo>
                <a:lnTo>
                  <a:pt x="687370" y="202375"/>
                </a:lnTo>
                <a:lnTo>
                  <a:pt x="688916" y="202375"/>
                </a:lnTo>
                <a:lnTo>
                  <a:pt x="688916" y="199550"/>
                </a:lnTo>
                <a:lnTo>
                  <a:pt x="691985" y="199550"/>
                </a:lnTo>
                <a:lnTo>
                  <a:pt x="693520" y="199550"/>
                </a:lnTo>
                <a:lnTo>
                  <a:pt x="695055" y="199550"/>
                </a:lnTo>
                <a:lnTo>
                  <a:pt x="696589" y="199550"/>
                </a:lnTo>
                <a:lnTo>
                  <a:pt x="698113" y="199550"/>
                </a:lnTo>
                <a:lnTo>
                  <a:pt x="698113" y="198137"/>
                </a:lnTo>
                <a:lnTo>
                  <a:pt x="699658" y="198137"/>
                </a:lnTo>
                <a:lnTo>
                  <a:pt x="704251" y="198137"/>
                </a:lnTo>
                <a:lnTo>
                  <a:pt x="704251" y="196714"/>
                </a:lnTo>
                <a:lnTo>
                  <a:pt x="705752" y="196714"/>
                </a:lnTo>
                <a:lnTo>
                  <a:pt x="707287" y="196714"/>
                </a:lnTo>
                <a:lnTo>
                  <a:pt x="707287" y="195268"/>
                </a:lnTo>
                <a:lnTo>
                  <a:pt x="708821" y="195268"/>
                </a:lnTo>
                <a:lnTo>
                  <a:pt x="708821" y="192376"/>
                </a:lnTo>
                <a:lnTo>
                  <a:pt x="710356" y="192376"/>
                </a:lnTo>
                <a:lnTo>
                  <a:pt x="711891" y="192376"/>
                </a:lnTo>
                <a:lnTo>
                  <a:pt x="711891" y="190919"/>
                </a:lnTo>
                <a:lnTo>
                  <a:pt x="714960" y="190919"/>
                </a:lnTo>
                <a:lnTo>
                  <a:pt x="716494" y="190919"/>
                </a:lnTo>
                <a:lnTo>
                  <a:pt x="718018" y="190919"/>
                </a:lnTo>
                <a:lnTo>
                  <a:pt x="718018" y="189440"/>
                </a:lnTo>
                <a:lnTo>
                  <a:pt x="719564" y="189440"/>
                </a:lnTo>
                <a:lnTo>
                  <a:pt x="719564" y="187983"/>
                </a:lnTo>
                <a:lnTo>
                  <a:pt x="721098" y="187983"/>
                </a:lnTo>
                <a:lnTo>
                  <a:pt x="721098" y="186504"/>
                </a:lnTo>
                <a:lnTo>
                  <a:pt x="725657" y="186504"/>
                </a:lnTo>
                <a:lnTo>
                  <a:pt x="725657" y="183534"/>
                </a:lnTo>
                <a:lnTo>
                  <a:pt x="727203" y="183534"/>
                </a:lnTo>
                <a:lnTo>
                  <a:pt x="727203" y="182055"/>
                </a:lnTo>
                <a:lnTo>
                  <a:pt x="728726" y="182055"/>
                </a:lnTo>
                <a:lnTo>
                  <a:pt x="728726" y="180531"/>
                </a:lnTo>
                <a:lnTo>
                  <a:pt x="730261" y="180531"/>
                </a:lnTo>
                <a:lnTo>
                  <a:pt x="731795" y="180531"/>
                </a:lnTo>
                <a:lnTo>
                  <a:pt x="731795" y="179052"/>
                </a:lnTo>
                <a:lnTo>
                  <a:pt x="733330" y="179052"/>
                </a:lnTo>
                <a:lnTo>
                  <a:pt x="736399" y="179052"/>
                </a:lnTo>
                <a:lnTo>
                  <a:pt x="737923" y="179052"/>
                </a:lnTo>
                <a:lnTo>
                  <a:pt x="737923" y="177528"/>
                </a:lnTo>
                <a:lnTo>
                  <a:pt x="739468" y="177528"/>
                </a:lnTo>
                <a:lnTo>
                  <a:pt x="739468" y="176016"/>
                </a:lnTo>
                <a:lnTo>
                  <a:pt x="740970" y="176016"/>
                </a:lnTo>
                <a:lnTo>
                  <a:pt x="742504" y="176016"/>
                </a:lnTo>
                <a:lnTo>
                  <a:pt x="745562" y="176016"/>
                </a:lnTo>
                <a:lnTo>
                  <a:pt x="748631" y="176016"/>
                </a:lnTo>
                <a:lnTo>
                  <a:pt x="750166" y="176016"/>
                </a:lnTo>
                <a:lnTo>
                  <a:pt x="751712" y="176016"/>
                </a:lnTo>
                <a:lnTo>
                  <a:pt x="753235" y="176016"/>
                </a:lnTo>
                <a:lnTo>
                  <a:pt x="754770" y="176016"/>
                </a:lnTo>
                <a:lnTo>
                  <a:pt x="754770" y="174459"/>
                </a:lnTo>
                <a:lnTo>
                  <a:pt x="757795" y="174459"/>
                </a:lnTo>
                <a:lnTo>
                  <a:pt x="759340" y="174459"/>
                </a:lnTo>
                <a:lnTo>
                  <a:pt x="760875" y="174459"/>
                </a:lnTo>
                <a:lnTo>
                  <a:pt x="760875" y="171322"/>
                </a:lnTo>
                <a:lnTo>
                  <a:pt x="762410" y="171322"/>
                </a:lnTo>
                <a:lnTo>
                  <a:pt x="762410" y="169765"/>
                </a:lnTo>
                <a:lnTo>
                  <a:pt x="763933" y="169765"/>
                </a:lnTo>
                <a:lnTo>
                  <a:pt x="763933" y="166629"/>
                </a:lnTo>
                <a:lnTo>
                  <a:pt x="768537" y="166629"/>
                </a:lnTo>
                <a:lnTo>
                  <a:pt x="770071" y="166629"/>
                </a:lnTo>
                <a:lnTo>
                  <a:pt x="770071" y="163448"/>
                </a:lnTo>
                <a:lnTo>
                  <a:pt x="771617" y="163448"/>
                </a:lnTo>
                <a:lnTo>
                  <a:pt x="771617" y="161869"/>
                </a:lnTo>
                <a:lnTo>
                  <a:pt x="773140" y="161869"/>
                </a:lnTo>
                <a:lnTo>
                  <a:pt x="774675" y="161869"/>
                </a:lnTo>
                <a:lnTo>
                  <a:pt x="779245" y="161869"/>
                </a:lnTo>
                <a:lnTo>
                  <a:pt x="780780" y="161869"/>
                </a:lnTo>
                <a:lnTo>
                  <a:pt x="782314" y="161869"/>
                </a:lnTo>
                <a:lnTo>
                  <a:pt x="785384" y="161869"/>
                </a:lnTo>
                <a:lnTo>
                  <a:pt x="789976" y="161869"/>
                </a:lnTo>
                <a:lnTo>
                  <a:pt x="791522" y="161869"/>
                </a:lnTo>
                <a:lnTo>
                  <a:pt x="793046" y="161869"/>
                </a:lnTo>
                <a:lnTo>
                  <a:pt x="793046" y="160245"/>
                </a:lnTo>
                <a:lnTo>
                  <a:pt x="794547" y="160245"/>
                </a:lnTo>
                <a:lnTo>
                  <a:pt x="796081" y="160245"/>
                </a:lnTo>
                <a:lnTo>
                  <a:pt x="797616" y="160245"/>
                </a:lnTo>
                <a:lnTo>
                  <a:pt x="797616" y="158588"/>
                </a:lnTo>
                <a:lnTo>
                  <a:pt x="800685" y="158588"/>
                </a:lnTo>
                <a:lnTo>
                  <a:pt x="802220" y="158588"/>
                </a:lnTo>
                <a:lnTo>
                  <a:pt x="803754" y="158588"/>
                </a:lnTo>
                <a:lnTo>
                  <a:pt x="803754" y="156964"/>
                </a:lnTo>
                <a:lnTo>
                  <a:pt x="805289" y="156964"/>
                </a:lnTo>
                <a:lnTo>
                  <a:pt x="805289" y="155307"/>
                </a:lnTo>
                <a:lnTo>
                  <a:pt x="806823" y="155307"/>
                </a:lnTo>
                <a:lnTo>
                  <a:pt x="808347" y="155307"/>
                </a:lnTo>
                <a:lnTo>
                  <a:pt x="811394" y="155307"/>
                </a:lnTo>
                <a:lnTo>
                  <a:pt x="811394" y="153616"/>
                </a:lnTo>
                <a:lnTo>
                  <a:pt x="812928" y="153616"/>
                </a:lnTo>
                <a:lnTo>
                  <a:pt x="812928" y="151959"/>
                </a:lnTo>
                <a:lnTo>
                  <a:pt x="814452" y="151959"/>
                </a:lnTo>
                <a:lnTo>
                  <a:pt x="815986" y="151959"/>
                </a:lnTo>
                <a:lnTo>
                  <a:pt x="819056" y="151959"/>
                </a:lnTo>
                <a:lnTo>
                  <a:pt x="822125" y="151959"/>
                </a:lnTo>
                <a:lnTo>
                  <a:pt x="823659" y="151959"/>
                </a:lnTo>
                <a:lnTo>
                  <a:pt x="825194" y="151959"/>
                </a:lnTo>
                <a:lnTo>
                  <a:pt x="826728" y="151959"/>
                </a:lnTo>
                <a:lnTo>
                  <a:pt x="826728" y="150269"/>
                </a:lnTo>
                <a:lnTo>
                  <a:pt x="828252" y="150269"/>
                </a:lnTo>
                <a:lnTo>
                  <a:pt x="829753" y="150269"/>
                </a:lnTo>
                <a:lnTo>
                  <a:pt x="831299" y="150269"/>
                </a:lnTo>
                <a:lnTo>
                  <a:pt x="831299" y="146854"/>
                </a:lnTo>
                <a:lnTo>
                  <a:pt x="832833" y="146854"/>
                </a:lnTo>
                <a:lnTo>
                  <a:pt x="834357" y="146854"/>
                </a:lnTo>
                <a:lnTo>
                  <a:pt x="835892" y="146854"/>
                </a:lnTo>
                <a:lnTo>
                  <a:pt x="837437" y="146854"/>
                </a:lnTo>
                <a:lnTo>
                  <a:pt x="838961" y="146854"/>
                </a:lnTo>
                <a:lnTo>
                  <a:pt x="840495" y="146854"/>
                </a:lnTo>
                <a:lnTo>
                  <a:pt x="840495" y="143373"/>
                </a:lnTo>
                <a:lnTo>
                  <a:pt x="842030" y="143373"/>
                </a:lnTo>
                <a:lnTo>
                  <a:pt x="842030" y="139881"/>
                </a:lnTo>
                <a:lnTo>
                  <a:pt x="843564" y="139881"/>
                </a:lnTo>
                <a:lnTo>
                  <a:pt x="845099" y="139881"/>
                </a:lnTo>
                <a:lnTo>
                  <a:pt x="845099" y="138157"/>
                </a:lnTo>
                <a:lnTo>
                  <a:pt x="846600" y="138157"/>
                </a:lnTo>
                <a:lnTo>
                  <a:pt x="846600" y="136400"/>
                </a:lnTo>
                <a:lnTo>
                  <a:pt x="848135" y="136400"/>
                </a:lnTo>
                <a:lnTo>
                  <a:pt x="849658" y="136400"/>
                </a:lnTo>
                <a:lnTo>
                  <a:pt x="851204" y="136400"/>
                </a:lnTo>
                <a:lnTo>
                  <a:pt x="851204" y="134642"/>
                </a:lnTo>
                <a:lnTo>
                  <a:pt x="852738" y="134642"/>
                </a:lnTo>
                <a:lnTo>
                  <a:pt x="852738" y="132841"/>
                </a:lnTo>
                <a:lnTo>
                  <a:pt x="854262" y="132841"/>
                </a:lnTo>
                <a:lnTo>
                  <a:pt x="855796" y="132841"/>
                </a:lnTo>
                <a:lnTo>
                  <a:pt x="857342" y="132841"/>
                </a:lnTo>
                <a:lnTo>
                  <a:pt x="858866" y="132841"/>
                </a:lnTo>
                <a:lnTo>
                  <a:pt x="860400" y="132841"/>
                </a:lnTo>
                <a:lnTo>
                  <a:pt x="866505" y="132841"/>
                </a:lnTo>
                <a:lnTo>
                  <a:pt x="868040" y="132841"/>
                </a:lnTo>
                <a:lnTo>
                  <a:pt x="869574" y="132841"/>
                </a:lnTo>
                <a:lnTo>
                  <a:pt x="871109" y="132841"/>
                </a:lnTo>
                <a:lnTo>
                  <a:pt x="875713" y="132841"/>
                </a:lnTo>
                <a:lnTo>
                  <a:pt x="877247" y="132841"/>
                </a:lnTo>
                <a:lnTo>
                  <a:pt x="878771" y="132841"/>
                </a:lnTo>
                <a:lnTo>
                  <a:pt x="880305" y="132841"/>
                </a:lnTo>
                <a:lnTo>
                  <a:pt x="880305" y="129148"/>
                </a:lnTo>
                <a:lnTo>
                  <a:pt x="881807" y="129148"/>
                </a:lnTo>
                <a:lnTo>
                  <a:pt x="887945" y="129148"/>
                </a:lnTo>
                <a:lnTo>
                  <a:pt x="889480" y="129148"/>
                </a:lnTo>
                <a:lnTo>
                  <a:pt x="891014" y="129148"/>
                </a:lnTo>
                <a:lnTo>
                  <a:pt x="892549" y="129148"/>
                </a:lnTo>
                <a:lnTo>
                  <a:pt x="897153" y="129148"/>
                </a:lnTo>
                <a:lnTo>
                  <a:pt x="897153" y="127257"/>
                </a:lnTo>
                <a:lnTo>
                  <a:pt x="898676" y="127257"/>
                </a:lnTo>
                <a:lnTo>
                  <a:pt x="898676" y="125322"/>
                </a:lnTo>
                <a:lnTo>
                  <a:pt x="900177" y="125322"/>
                </a:lnTo>
                <a:lnTo>
                  <a:pt x="901712" y="125322"/>
                </a:lnTo>
                <a:lnTo>
                  <a:pt x="903257" y="125322"/>
                </a:lnTo>
                <a:lnTo>
                  <a:pt x="904781" y="125322"/>
                </a:lnTo>
                <a:lnTo>
                  <a:pt x="904781" y="121429"/>
                </a:lnTo>
                <a:lnTo>
                  <a:pt x="907850" y="121429"/>
                </a:lnTo>
                <a:lnTo>
                  <a:pt x="909384" y="121429"/>
                </a:lnTo>
                <a:lnTo>
                  <a:pt x="912454" y="121429"/>
                </a:lnTo>
                <a:lnTo>
                  <a:pt x="913988" y="121429"/>
                </a:lnTo>
                <a:lnTo>
                  <a:pt x="917057" y="121429"/>
                </a:lnTo>
                <a:lnTo>
                  <a:pt x="917057" y="119461"/>
                </a:lnTo>
                <a:lnTo>
                  <a:pt x="920082" y="119461"/>
                </a:lnTo>
                <a:lnTo>
                  <a:pt x="921628" y="119461"/>
                </a:lnTo>
                <a:lnTo>
                  <a:pt x="923162" y="119461"/>
                </a:lnTo>
                <a:lnTo>
                  <a:pt x="924686" y="119461"/>
                </a:lnTo>
                <a:lnTo>
                  <a:pt x="924686" y="117459"/>
                </a:lnTo>
                <a:lnTo>
                  <a:pt x="926220" y="117459"/>
                </a:lnTo>
                <a:lnTo>
                  <a:pt x="926220" y="115424"/>
                </a:lnTo>
                <a:lnTo>
                  <a:pt x="929290" y="115424"/>
                </a:lnTo>
                <a:lnTo>
                  <a:pt x="930824" y="115424"/>
                </a:lnTo>
                <a:lnTo>
                  <a:pt x="932359" y="115424"/>
                </a:lnTo>
                <a:lnTo>
                  <a:pt x="932359" y="113377"/>
                </a:lnTo>
                <a:lnTo>
                  <a:pt x="933893" y="113377"/>
                </a:lnTo>
                <a:lnTo>
                  <a:pt x="935395" y="113377"/>
                </a:lnTo>
                <a:lnTo>
                  <a:pt x="939987" y="113377"/>
                </a:lnTo>
                <a:lnTo>
                  <a:pt x="941533" y="113377"/>
                </a:lnTo>
                <a:lnTo>
                  <a:pt x="943068" y="113377"/>
                </a:lnTo>
                <a:lnTo>
                  <a:pt x="943068" y="111308"/>
                </a:lnTo>
                <a:lnTo>
                  <a:pt x="944591" y="111308"/>
                </a:lnTo>
                <a:lnTo>
                  <a:pt x="946126" y="111308"/>
                </a:lnTo>
                <a:lnTo>
                  <a:pt x="946126" y="109173"/>
                </a:lnTo>
                <a:lnTo>
                  <a:pt x="947671" y="109173"/>
                </a:lnTo>
                <a:lnTo>
                  <a:pt x="947671" y="107071"/>
                </a:lnTo>
                <a:lnTo>
                  <a:pt x="949195" y="107071"/>
                </a:lnTo>
                <a:lnTo>
                  <a:pt x="949195" y="104936"/>
                </a:lnTo>
                <a:lnTo>
                  <a:pt x="950729" y="104936"/>
                </a:lnTo>
                <a:lnTo>
                  <a:pt x="952264" y="104936"/>
                </a:lnTo>
                <a:lnTo>
                  <a:pt x="953765" y="104936"/>
                </a:lnTo>
                <a:lnTo>
                  <a:pt x="955300" y="104936"/>
                </a:lnTo>
                <a:lnTo>
                  <a:pt x="956834" y="104936"/>
                </a:lnTo>
                <a:lnTo>
                  <a:pt x="959892" y="104936"/>
                </a:lnTo>
                <a:lnTo>
                  <a:pt x="959892" y="102756"/>
                </a:lnTo>
                <a:lnTo>
                  <a:pt x="961438" y="102756"/>
                </a:lnTo>
                <a:lnTo>
                  <a:pt x="962973" y="102756"/>
                </a:lnTo>
                <a:lnTo>
                  <a:pt x="964496" y="102756"/>
                </a:lnTo>
                <a:lnTo>
                  <a:pt x="966031" y="102756"/>
                </a:lnTo>
                <a:lnTo>
                  <a:pt x="967576" y="102756"/>
                </a:lnTo>
                <a:lnTo>
                  <a:pt x="973681" y="102756"/>
                </a:lnTo>
                <a:lnTo>
                  <a:pt x="973681" y="100509"/>
                </a:lnTo>
                <a:lnTo>
                  <a:pt x="975205" y="100509"/>
                </a:lnTo>
                <a:lnTo>
                  <a:pt x="976739" y="100509"/>
                </a:lnTo>
                <a:lnTo>
                  <a:pt x="978274" y="100509"/>
                </a:lnTo>
                <a:lnTo>
                  <a:pt x="981343" y="100509"/>
                </a:lnTo>
                <a:lnTo>
                  <a:pt x="981343" y="95960"/>
                </a:lnTo>
                <a:lnTo>
                  <a:pt x="982878" y="95960"/>
                </a:lnTo>
                <a:lnTo>
                  <a:pt x="984401" y="95960"/>
                </a:lnTo>
                <a:lnTo>
                  <a:pt x="985947" y="95960"/>
                </a:lnTo>
                <a:lnTo>
                  <a:pt x="987481" y="95960"/>
                </a:lnTo>
                <a:lnTo>
                  <a:pt x="988983" y="95960"/>
                </a:lnTo>
                <a:lnTo>
                  <a:pt x="988983" y="93613"/>
                </a:lnTo>
                <a:lnTo>
                  <a:pt x="992041" y="93613"/>
                </a:lnTo>
                <a:lnTo>
                  <a:pt x="992041" y="91267"/>
                </a:lnTo>
                <a:lnTo>
                  <a:pt x="993587" y="91267"/>
                </a:lnTo>
                <a:lnTo>
                  <a:pt x="995110" y="91267"/>
                </a:lnTo>
                <a:lnTo>
                  <a:pt x="996645" y="91267"/>
                </a:lnTo>
                <a:lnTo>
                  <a:pt x="998179" y="91267"/>
                </a:lnTo>
                <a:lnTo>
                  <a:pt x="998179" y="88920"/>
                </a:lnTo>
                <a:lnTo>
                  <a:pt x="999714" y="88920"/>
                </a:lnTo>
                <a:lnTo>
                  <a:pt x="1004306" y="88920"/>
                </a:lnTo>
                <a:lnTo>
                  <a:pt x="1005808" y="88920"/>
                </a:lnTo>
                <a:lnTo>
                  <a:pt x="1007353" y="88920"/>
                </a:lnTo>
                <a:lnTo>
                  <a:pt x="1008888" y="88920"/>
                </a:lnTo>
                <a:lnTo>
                  <a:pt x="1008888" y="86540"/>
                </a:lnTo>
                <a:lnTo>
                  <a:pt x="1010411" y="86540"/>
                </a:lnTo>
                <a:lnTo>
                  <a:pt x="1015015" y="86540"/>
                </a:lnTo>
                <a:lnTo>
                  <a:pt x="1016550" y="86540"/>
                </a:lnTo>
                <a:lnTo>
                  <a:pt x="1018084" y="86540"/>
                </a:lnTo>
                <a:lnTo>
                  <a:pt x="1019619" y="86540"/>
                </a:lnTo>
                <a:lnTo>
                  <a:pt x="1019619" y="84093"/>
                </a:lnTo>
                <a:lnTo>
                  <a:pt x="1021153" y="84093"/>
                </a:lnTo>
                <a:lnTo>
                  <a:pt x="1021153" y="81668"/>
                </a:lnTo>
                <a:lnTo>
                  <a:pt x="1024189" y="81668"/>
                </a:lnTo>
                <a:lnTo>
                  <a:pt x="1024189" y="79188"/>
                </a:lnTo>
                <a:lnTo>
                  <a:pt x="1025724" y="79188"/>
                </a:lnTo>
                <a:lnTo>
                  <a:pt x="1027258" y="79188"/>
                </a:lnTo>
                <a:lnTo>
                  <a:pt x="1028793" y="79188"/>
                </a:lnTo>
                <a:lnTo>
                  <a:pt x="1030316" y="79188"/>
                </a:lnTo>
                <a:lnTo>
                  <a:pt x="1031862" y="79188"/>
                </a:lnTo>
                <a:lnTo>
                  <a:pt x="1034920" y="79188"/>
                </a:lnTo>
                <a:lnTo>
                  <a:pt x="1036455" y="79188"/>
                </a:lnTo>
                <a:lnTo>
                  <a:pt x="1038000" y="79188"/>
                </a:lnTo>
                <a:lnTo>
                  <a:pt x="1041058" y="79188"/>
                </a:lnTo>
                <a:lnTo>
                  <a:pt x="1042560" y="79188"/>
                </a:lnTo>
                <a:lnTo>
                  <a:pt x="1047163" y="79188"/>
                </a:lnTo>
                <a:lnTo>
                  <a:pt x="1048698" y="79188"/>
                </a:lnTo>
                <a:lnTo>
                  <a:pt x="1050221" y="79188"/>
                </a:lnTo>
                <a:lnTo>
                  <a:pt x="1051767" y="79188"/>
                </a:lnTo>
                <a:lnTo>
                  <a:pt x="1053302" y="79188"/>
                </a:lnTo>
                <a:lnTo>
                  <a:pt x="1056360" y="79188"/>
                </a:lnTo>
                <a:lnTo>
                  <a:pt x="1057906" y="79188"/>
                </a:lnTo>
                <a:lnTo>
                  <a:pt x="1059407" y="79188"/>
                </a:lnTo>
                <a:lnTo>
                  <a:pt x="1060930" y="79188"/>
                </a:lnTo>
                <a:lnTo>
                  <a:pt x="1062465" y="79188"/>
                </a:lnTo>
                <a:lnTo>
                  <a:pt x="1063999" y="79188"/>
                </a:lnTo>
                <a:lnTo>
                  <a:pt x="1067069" y="79188"/>
                </a:lnTo>
                <a:lnTo>
                  <a:pt x="1067069" y="76463"/>
                </a:lnTo>
                <a:lnTo>
                  <a:pt x="1068603" y="76463"/>
                </a:lnTo>
                <a:lnTo>
                  <a:pt x="1070127" y="76463"/>
                </a:lnTo>
                <a:lnTo>
                  <a:pt x="1073207" y="76463"/>
                </a:lnTo>
                <a:lnTo>
                  <a:pt x="1074730" y="76463"/>
                </a:lnTo>
                <a:lnTo>
                  <a:pt x="1076265" y="76463"/>
                </a:lnTo>
                <a:lnTo>
                  <a:pt x="1076265" y="70869"/>
                </a:lnTo>
                <a:lnTo>
                  <a:pt x="1080835" y="70869"/>
                </a:lnTo>
                <a:lnTo>
                  <a:pt x="1082370" y="70869"/>
                </a:lnTo>
                <a:lnTo>
                  <a:pt x="1083916" y="70869"/>
                </a:lnTo>
                <a:lnTo>
                  <a:pt x="1085439" y="70869"/>
                </a:lnTo>
                <a:lnTo>
                  <a:pt x="1090043" y="70869"/>
                </a:lnTo>
                <a:lnTo>
                  <a:pt x="1091577" y="70869"/>
                </a:lnTo>
                <a:lnTo>
                  <a:pt x="1093112" y="70869"/>
                </a:lnTo>
                <a:lnTo>
                  <a:pt x="1094613" y="70869"/>
                </a:lnTo>
                <a:lnTo>
                  <a:pt x="1096137" y="70869"/>
                </a:lnTo>
                <a:lnTo>
                  <a:pt x="1097682" y="70869"/>
                </a:lnTo>
                <a:lnTo>
                  <a:pt x="1097682" y="67911"/>
                </a:lnTo>
                <a:lnTo>
                  <a:pt x="1099217" y="67911"/>
                </a:lnTo>
                <a:lnTo>
                  <a:pt x="1102275" y="67911"/>
                </a:lnTo>
                <a:lnTo>
                  <a:pt x="1102275" y="64941"/>
                </a:lnTo>
                <a:lnTo>
                  <a:pt x="1103821" y="64941"/>
                </a:lnTo>
                <a:lnTo>
                  <a:pt x="1105344" y="64941"/>
                </a:lnTo>
                <a:lnTo>
                  <a:pt x="1106879" y="64941"/>
                </a:lnTo>
                <a:lnTo>
                  <a:pt x="1109948" y="64941"/>
                </a:lnTo>
                <a:lnTo>
                  <a:pt x="1111482" y="64941"/>
                </a:lnTo>
                <a:lnTo>
                  <a:pt x="1112984" y="64941"/>
                </a:lnTo>
                <a:lnTo>
                  <a:pt x="1114518" y="64941"/>
                </a:lnTo>
                <a:lnTo>
                  <a:pt x="1116042" y="64941"/>
                </a:lnTo>
                <a:lnTo>
                  <a:pt x="1117588" y="64941"/>
                </a:lnTo>
                <a:lnTo>
                  <a:pt x="1122180" y="64941"/>
                </a:lnTo>
                <a:lnTo>
                  <a:pt x="1123726" y="64941"/>
                </a:lnTo>
                <a:lnTo>
                  <a:pt x="1125249" y="64941"/>
                </a:lnTo>
                <a:lnTo>
                  <a:pt x="1126784" y="64941"/>
                </a:lnTo>
                <a:lnTo>
                  <a:pt x="1128318" y="64941"/>
                </a:lnTo>
                <a:lnTo>
                  <a:pt x="1129831" y="64941"/>
                </a:lnTo>
                <a:lnTo>
                  <a:pt x="1129831" y="61693"/>
                </a:lnTo>
                <a:lnTo>
                  <a:pt x="1134423" y="61693"/>
                </a:lnTo>
                <a:lnTo>
                  <a:pt x="1135958" y="61693"/>
                </a:lnTo>
                <a:lnTo>
                  <a:pt x="1137492" y="61693"/>
                </a:lnTo>
                <a:lnTo>
                  <a:pt x="1137492" y="58379"/>
                </a:lnTo>
                <a:lnTo>
                  <a:pt x="1139027" y="58379"/>
                </a:lnTo>
                <a:lnTo>
                  <a:pt x="1139027" y="55031"/>
                </a:lnTo>
                <a:lnTo>
                  <a:pt x="1142096" y="55031"/>
                </a:lnTo>
                <a:lnTo>
                  <a:pt x="1142096" y="51695"/>
                </a:lnTo>
                <a:lnTo>
                  <a:pt x="1143631" y="51695"/>
                </a:lnTo>
                <a:lnTo>
                  <a:pt x="1145154" y="51695"/>
                </a:lnTo>
                <a:lnTo>
                  <a:pt x="1146689" y="51695"/>
                </a:lnTo>
                <a:lnTo>
                  <a:pt x="1146689" y="48269"/>
                </a:lnTo>
                <a:lnTo>
                  <a:pt x="1148190" y="48269"/>
                </a:lnTo>
                <a:lnTo>
                  <a:pt x="1148190" y="41407"/>
                </a:lnTo>
                <a:lnTo>
                  <a:pt x="1149736" y="41407"/>
                </a:lnTo>
                <a:lnTo>
                  <a:pt x="1151259" y="41407"/>
                </a:lnTo>
                <a:lnTo>
                  <a:pt x="1154328" y="41407"/>
                </a:lnTo>
                <a:lnTo>
                  <a:pt x="1154328" y="37881"/>
                </a:lnTo>
                <a:lnTo>
                  <a:pt x="1155863" y="37881"/>
                </a:lnTo>
                <a:lnTo>
                  <a:pt x="1157398" y="37881"/>
                </a:lnTo>
                <a:lnTo>
                  <a:pt x="1158932" y="37881"/>
                </a:lnTo>
                <a:lnTo>
                  <a:pt x="1160456" y="37881"/>
                </a:lnTo>
                <a:lnTo>
                  <a:pt x="1163536" y="37881"/>
                </a:lnTo>
                <a:lnTo>
                  <a:pt x="1163536" y="34267"/>
                </a:lnTo>
                <a:lnTo>
                  <a:pt x="1165071" y="34267"/>
                </a:lnTo>
                <a:lnTo>
                  <a:pt x="1166561" y="34267"/>
                </a:lnTo>
                <a:lnTo>
                  <a:pt x="1168095" y="34267"/>
                </a:lnTo>
                <a:lnTo>
                  <a:pt x="1169641" y="34267"/>
                </a:lnTo>
                <a:lnTo>
                  <a:pt x="1169641" y="30541"/>
                </a:lnTo>
                <a:lnTo>
                  <a:pt x="1171164" y="30541"/>
                </a:lnTo>
                <a:lnTo>
                  <a:pt x="1177303" y="30541"/>
                </a:lnTo>
                <a:lnTo>
                  <a:pt x="1178837" y="30541"/>
                </a:lnTo>
                <a:lnTo>
                  <a:pt x="1180361" y="30541"/>
                </a:lnTo>
                <a:lnTo>
                  <a:pt x="1181907" y="30541"/>
                </a:lnTo>
                <a:lnTo>
                  <a:pt x="1184942" y="30541"/>
                </a:lnTo>
                <a:lnTo>
                  <a:pt x="1186466" y="30541"/>
                </a:lnTo>
                <a:lnTo>
                  <a:pt x="1188011" y="30541"/>
                </a:lnTo>
                <a:lnTo>
                  <a:pt x="1189546" y="30541"/>
                </a:lnTo>
                <a:lnTo>
                  <a:pt x="1191070" y="30541"/>
                </a:lnTo>
                <a:lnTo>
                  <a:pt x="1192604" y="30541"/>
                </a:lnTo>
                <a:lnTo>
                  <a:pt x="1197208" y="30541"/>
                </a:lnTo>
                <a:lnTo>
                  <a:pt x="1198742" y="30541"/>
                </a:lnTo>
                <a:lnTo>
                  <a:pt x="1200288" y="30541"/>
                </a:lnTo>
                <a:lnTo>
                  <a:pt x="1201778" y="30541"/>
                </a:lnTo>
                <a:lnTo>
                  <a:pt x="1203313" y="30541"/>
                </a:lnTo>
                <a:lnTo>
                  <a:pt x="1207916" y="30541"/>
                </a:lnTo>
                <a:lnTo>
                  <a:pt x="1207916" y="26192"/>
                </a:lnTo>
                <a:lnTo>
                  <a:pt x="1209451" y="26192"/>
                </a:lnTo>
                <a:lnTo>
                  <a:pt x="1210974" y="26192"/>
                </a:lnTo>
                <a:lnTo>
                  <a:pt x="1212509" y="26192"/>
                </a:lnTo>
                <a:lnTo>
                  <a:pt x="1218614" y="26192"/>
                </a:lnTo>
                <a:lnTo>
                  <a:pt x="1220149" y="26192"/>
                </a:lnTo>
                <a:lnTo>
                  <a:pt x="1221683" y="26192"/>
                </a:lnTo>
                <a:lnTo>
                  <a:pt x="1223218" y="26192"/>
                </a:lnTo>
                <a:lnTo>
                  <a:pt x="1224752" y="26192"/>
                </a:lnTo>
                <a:lnTo>
                  <a:pt x="1229356" y="26192"/>
                </a:lnTo>
                <a:lnTo>
                  <a:pt x="1230880" y="26192"/>
                </a:lnTo>
                <a:lnTo>
                  <a:pt x="1232414" y="26192"/>
                </a:lnTo>
                <a:lnTo>
                  <a:pt x="1233960" y="26192"/>
                </a:lnTo>
                <a:lnTo>
                  <a:pt x="1235495" y="26192"/>
                </a:lnTo>
                <a:lnTo>
                  <a:pt x="1235495" y="21221"/>
                </a:lnTo>
                <a:lnTo>
                  <a:pt x="1240065" y="21221"/>
                </a:lnTo>
                <a:lnTo>
                  <a:pt x="1243123" y="21221"/>
                </a:lnTo>
                <a:lnTo>
                  <a:pt x="1244658" y="21221"/>
                </a:lnTo>
                <a:lnTo>
                  <a:pt x="1246192" y="21221"/>
                </a:lnTo>
                <a:lnTo>
                  <a:pt x="1250785" y="21221"/>
                </a:lnTo>
                <a:lnTo>
                  <a:pt x="1252330" y="21221"/>
                </a:lnTo>
                <a:lnTo>
                  <a:pt x="1253832" y="21221"/>
                </a:lnTo>
                <a:lnTo>
                  <a:pt x="1255366" y="21221"/>
                </a:lnTo>
                <a:lnTo>
                  <a:pt x="1256890" y="21221"/>
                </a:lnTo>
                <a:lnTo>
                  <a:pt x="1261493" y="21221"/>
                </a:lnTo>
                <a:lnTo>
                  <a:pt x="1263028" y="21221"/>
                </a:lnTo>
                <a:lnTo>
                  <a:pt x="1264562" y="21221"/>
                </a:lnTo>
                <a:lnTo>
                  <a:pt x="1266097" y="21221"/>
                </a:lnTo>
                <a:lnTo>
                  <a:pt x="1267632" y="21221"/>
                </a:lnTo>
                <a:lnTo>
                  <a:pt x="1272191" y="21221"/>
                </a:lnTo>
                <a:lnTo>
                  <a:pt x="1273737" y="21221"/>
                </a:lnTo>
                <a:lnTo>
                  <a:pt x="1275271" y="21221"/>
                </a:lnTo>
                <a:lnTo>
                  <a:pt x="1276795" y="21221"/>
                </a:lnTo>
                <a:lnTo>
                  <a:pt x="1278329" y="21221"/>
                </a:lnTo>
                <a:lnTo>
                  <a:pt x="1282933" y="21221"/>
                </a:lnTo>
                <a:lnTo>
                  <a:pt x="1284468" y="21221"/>
                </a:lnTo>
                <a:lnTo>
                  <a:pt x="1286002" y="21221"/>
                </a:lnTo>
                <a:lnTo>
                  <a:pt x="1287537" y="21221"/>
                </a:lnTo>
                <a:lnTo>
                  <a:pt x="1289071" y="21221"/>
                </a:lnTo>
                <a:lnTo>
                  <a:pt x="1293642" y="21221"/>
                </a:lnTo>
                <a:lnTo>
                  <a:pt x="1295177" y="21221"/>
                </a:lnTo>
                <a:lnTo>
                  <a:pt x="1296700" y="21221"/>
                </a:lnTo>
                <a:lnTo>
                  <a:pt x="1298246" y="21221"/>
                </a:lnTo>
                <a:lnTo>
                  <a:pt x="1299780" y="21221"/>
                </a:lnTo>
                <a:lnTo>
                  <a:pt x="1304384" y="21221"/>
                </a:lnTo>
                <a:lnTo>
                  <a:pt x="1305918" y="21221"/>
                </a:lnTo>
                <a:lnTo>
                  <a:pt x="1307408" y="21221"/>
                </a:lnTo>
                <a:lnTo>
                  <a:pt x="1308943" y="21221"/>
                </a:lnTo>
                <a:lnTo>
                  <a:pt x="1310478" y="21221"/>
                </a:lnTo>
                <a:lnTo>
                  <a:pt x="1315081" y="21221"/>
                </a:lnTo>
                <a:lnTo>
                  <a:pt x="1316605" y="21221"/>
                </a:lnTo>
                <a:lnTo>
                  <a:pt x="1318151" y="21221"/>
                </a:lnTo>
                <a:lnTo>
                  <a:pt x="1319685" y="21221"/>
                </a:lnTo>
                <a:lnTo>
                  <a:pt x="1321220" y="21221"/>
                </a:lnTo>
                <a:lnTo>
                  <a:pt x="1322743" y="21221"/>
                </a:lnTo>
                <a:lnTo>
                  <a:pt x="1322743" y="11311"/>
                </a:lnTo>
                <a:lnTo>
                  <a:pt x="1325790" y="11311"/>
                </a:lnTo>
                <a:lnTo>
                  <a:pt x="1327314" y="11311"/>
                </a:lnTo>
                <a:lnTo>
                  <a:pt x="1328848" y="11311"/>
                </a:lnTo>
                <a:lnTo>
                  <a:pt x="1330383" y="11311"/>
                </a:lnTo>
                <a:lnTo>
                  <a:pt x="1331917" y="11311"/>
                </a:lnTo>
                <a:lnTo>
                  <a:pt x="1333452" y="11311"/>
                </a:lnTo>
                <a:lnTo>
                  <a:pt x="1334987" y="11311"/>
                </a:lnTo>
                <a:lnTo>
                  <a:pt x="1334987" y="0"/>
                </a:lnTo>
                <a:lnTo>
                  <a:pt x="1489473" y="1221"/>
                </a:lnTo>
              </a:path>
            </a:pathLst>
          </a:custGeom>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146">
            <a:extLst>
              <a:ext uri="{FF2B5EF4-FFF2-40B4-BE49-F238E27FC236}">
                <a16:creationId xmlns:a16="http://schemas.microsoft.com/office/drawing/2014/main" id="{CFEDF3F5-61D6-4F33-9F27-942160B1FC5D}"/>
              </a:ext>
            </a:extLst>
          </p:cNvPr>
          <p:cNvSpPr/>
          <p:nvPr/>
        </p:nvSpPr>
        <p:spPr>
          <a:xfrm>
            <a:off x="2381008" y="3429001"/>
            <a:ext cx="5781356" cy="1421130"/>
          </a:xfrm>
          <a:custGeom>
            <a:avLst/>
            <a:gdLst>
              <a:gd name="connsiteX0" fmla="*/ 0 w 1491135"/>
              <a:gd name="connsiteY0" fmla="*/ 549157 h 549157"/>
              <a:gd name="connsiteX1" fmla="*/ 7662 w 1491135"/>
              <a:gd name="connsiteY1" fmla="*/ 549157 h 549157"/>
              <a:gd name="connsiteX2" fmla="*/ 7662 w 1491135"/>
              <a:gd name="connsiteY2" fmla="*/ 548367 h 549157"/>
              <a:gd name="connsiteX3" fmla="*/ 9196 w 1491135"/>
              <a:gd name="connsiteY3" fmla="*/ 548367 h 549157"/>
              <a:gd name="connsiteX4" fmla="*/ 9196 w 1491135"/>
              <a:gd name="connsiteY4" fmla="*/ 547600 h 549157"/>
              <a:gd name="connsiteX5" fmla="*/ 10742 w 1491135"/>
              <a:gd name="connsiteY5" fmla="*/ 547600 h 549157"/>
              <a:gd name="connsiteX6" fmla="*/ 10742 w 1491135"/>
              <a:gd name="connsiteY6" fmla="*/ 546810 h 549157"/>
              <a:gd name="connsiteX7" fmla="*/ 12277 w 1491135"/>
              <a:gd name="connsiteY7" fmla="*/ 546810 h 549157"/>
              <a:gd name="connsiteX8" fmla="*/ 16836 w 1491135"/>
              <a:gd name="connsiteY8" fmla="*/ 546810 h 549157"/>
              <a:gd name="connsiteX9" fmla="*/ 16836 w 1491135"/>
              <a:gd name="connsiteY9" fmla="*/ 545253 h 549157"/>
              <a:gd name="connsiteX10" fmla="*/ 18371 w 1491135"/>
              <a:gd name="connsiteY10" fmla="*/ 545253 h 549157"/>
              <a:gd name="connsiteX11" fmla="*/ 19905 w 1491135"/>
              <a:gd name="connsiteY11" fmla="*/ 545253 h 549157"/>
              <a:gd name="connsiteX12" fmla="*/ 19905 w 1491135"/>
              <a:gd name="connsiteY12" fmla="*/ 542150 h 549157"/>
              <a:gd name="connsiteX13" fmla="*/ 21440 w 1491135"/>
              <a:gd name="connsiteY13" fmla="*/ 542150 h 549157"/>
              <a:gd name="connsiteX14" fmla="*/ 21440 w 1491135"/>
              <a:gd name="connsiteY14" fmla="*/ 541361 h 549157"/>
              <a:gd name="connsiteX15" fmla="*/ 24509 w 1491135"/>
              <a:gd name="connsiteY15" fmla="*/ 541361 h 549157"/>
              <a:gd name="connsiteX16" fmla="*/ 24509 w 1491135"/>
              <a:gd name="connsiteY16" fmla="*/ 539804 h 549157"/>
              <a:gd name="connsiteX17" fmla="*/ 27567 w 1491135"/>
              <a:gd name="connsiteY17" fmla="*/ 539804 h 549157"/>
              <a:gd name="connsiteX18" fmla="*/ 27567 w 1491135"/>
              <a:gd name="connsiteY18" fmla="*/ 538258 h 549157"/>
              <a:gd name="connsiteX19" fmla="*/ 32148 w 1491135"/>
              <a:gd name="connsiteY19" fmla="*/ 538258 h 549157"/>
              <a:gd name="connsiteX20" fmla="*/ 32148 w 1491135"/>
              <a:gd name="connsiteY20" fmla="*/ 536667 h 549157"/>
              <a:gd name="connsiteX21" fmla="*/ 33672 w 1491135"/>
              <a:gd name="connsiteY21" fmla="*/ 536667 h 549157"/>
              <a:gd name="connsiteX22" fmla="*/ 33672 w 1491135"/>
              <a:gd name="connsiteY22" fmla="*/ 535911 h 549157"/>
              <a:gd name="connsiteX23" fmla="*/ 35206 w 1491135"/>
              <a:gd name="connsiteY23" fmla="*/ 535911 h 549157"/>
              <a:gd name="connsiteX24" fmla="*/ 35206 w 1491135"/>
              <a:gd name="connsiteY24" fmla="*/ 535110 h 549157"/>
              <a:gd name="connsiteX25" fmla="*/ 36752 w 1491135"/>
              <a:gd name="connsiteY25" fmla="*/ 535110 h 549157"/>
              <a:gd name="connsiteX26" fmla="*/ 38275 w 1491135"/>
              <a:gd name="connsiteY26" fmla="*/ 535110 h 549157"/>
              <a:gd name="connsiteX27" fmla="*/ 38275 w 1491135"/>
              <a:gd name="connsiteY27" fmla="*/ 532763 h 549157"/>
              <a:gd name="connsiteX28" fmla="*/ 39810 w 1491135"/>
              <a:gd name="connsiteY28" fmla="*/ 532763 h 549157"/>
              <a:gd name="connsiteX29" fmla="*/ 39810 w 1491135"/>
              <a:gd name="connsiteY29" fmla="*/ 531217 h 549157"/>
              <a:gd name="connsiteX30" fmla="*/ 41345 w 1491135"/>
              <a:gd name="connsiteY30" fmla="*/ 531217 h 549157"/>
              <a:gd name="connsiteX31" fmla="*/ 42879 w 1491135"/>
              <a:gd name="connsiteY31" fmla="*/ 531217 h 549157"/>
              <a:gd name="connsiteX32" fmla="*/ 42879 w 1491135"/>
              <a:gd name="connsiteY32" fmla="*/ 529660 h 549157"/>
              <a:gd name="connsiteX33" fmla="*/ 47483 w 1491135"/>
              <a:gd name="connsiteY33" fmla="*/ 529660 h 549157"/>
              <a:gd name="connsiteX34" fmla="*/ 47483 w 1491135"/>
              <a:gd name="connsiteY34" fmla="*/ 528871 h 549157"/>
              <a:gd name="connsiteX35" fmla="*/ 50519 w 1491135"/>
              <a:gd name="connsiteY35" fmla="*/ 528871 h 549157"/>
              <a:gd name="connsiteX36" fmla="*/ 50519 w 1491135"/>
              <a:gd name="connsiteY36" fmla="*/ 527314 h 549157"/>
              <a:gd name="connsiteX37" fmla="*/ 52053 w 1491135"/>
              <a:gd name="connsiteY37" fmla="*/ 527314 h 549157"/>
              <a:gd name="connsiteX38" fmla="*/ 52053 w 1491135"/>
              <a:gd name="connsiteY38" fmla="*/ 525734 h 549157"/>
              <a:gd name="connsiteX39" fmla="*/ 53577 w 1491135"/>
              <a:gd name="connsiteY39" fmla="*/ 525734 h 549157"/>
              <a:gd name="connsiteX40" fmla="*/ 53577 w 1491135"/>
              <a:gd name="connsiteY40" fmla="*/ 524967 h 549157"/>
              <a:gd name="connsiteX41" fmla="*/ 55111 w 1491135"/>
              <a:gd name="connsiteY41" fmla="*/ 524967 h 549157"/>
              <a:gd name="connsiteX42" fmla="*/ 55111 w 1491135"/>
              <a:gd name="connsiteY42" fmla="*/ 523388 h 549157"/>
              <a:gd name="connsiteX43" fmla="*/ 58181 w 1491135"/>
              <a:gd name="connsiteY43" fmla="*/ 523388 h 549157"/>
              <a:gd name="connsiteX44" fmla="*/ 58181 w 1491135"/>
              <a:gd name="connsiteY44" fmla="*/ 521830 h 549157"/>
              <a:gd name="connsiteX45" fmla="*/ 61250 w 1491135"/>
              <a:gd name="connsiteY45" fmla="*/ 521830 h 549157"/>
              <a:gd name="connsiteX46" fmla="*/ 61250 w 1491135"/>
              <a:gd name="connsiteY46" fmla="*/ 521041 h 549157"/>
              <a:gd name="connsiteX47" fmla="*/ 62784 w 1491135"/>
              <a:gd name="connsiteY47" fmla="*/ 521041 h 549157"/>
              <a:gd name="connsiteX48" fmla="*/ 62784 w 1491135"/>
              <a:gd name="connsiteY48" fmla="*/ 520273 h 549157"/>
              <a:gd name="connsiteX49" fmla="*/ 65854 w 1491135"/>
              <a:gd name="connsiteY49" fmla="*/ 520273 h 549157"/>
              <a:gd name="connsiteX50" fmla="*/ 65854 w 1491135"/>
              <a:gd name="connsiteY50" fmla="*/ 519484 h 549157"/>
              <a:gd name="connsiteX51" fmla="*/ 67355 w 1491135"/>
              <a:gd name="connsiteY51" fmla="*/ 519484 h 549157"/>
              <a:gd name="connsiteX52" fmla="*/ 67355 w 1491135"/>
              <a:gd name="connsiteY52" fmla="*/ 518694 h 549157"/>
              <a:gd name="connsiteX53" fmla="*/ 68878 w 1491135"/>
              <a:gd name="connsiteY53" fmla="*/ 518694 h 549157"/>
              <a:gd name="connsiteX54" fmla="*/ 68878 w 1491135"/>
              <a:gd name="connsiteY54" fmla="*/ 517927 h 549157"/>
              <a:gd name="connsiteX55" fmla="*/ 70424 w 1491135"/>
              <a:gd name="connsiteY55" fmla="*/ 517927 h 549157"/>
              <a:gd name="connsiteX56" fmla="*/ 70424 w 1491135"/>
              <a:gd name="connsiteY56" fmla="*/ 517137 h 549157"/>
              <a:gd name="connsiteX57" fmla="*/ 75017 w 1491135"/>
              <a:gd name="connsiteY57" fmla="*/ 517137 h 549157"/>
              <a:gd name="connsiteX58" fmla="*/ 75017 w 1491135"/>
              <a:gd name="connsiteY58" fmla="*/ 516347 h 549157"/>
              <a:gd name="connsiteX59" fmla="*/ 76562 w 1491135"/>
              <a:gd name="connsiteY59" fmla="*/ 516347 h 549157"/>
              <a:gd name="connsiteX60" fmla="*/ 76562 w 1491135"/>
              <a:gd name="connsiteY60" fmla="*/ 515580 h 549157"/>
              <a:gd name="connsiteX61" fmla="*/ 78086 w 1491135"/>
              <a:gd name="connsiteY61" fmla="*/ 515580 h 549157"/>
              <a:gd name="connsiteX62" fmla="*/ 78086 w 1491135"/>
              <a:gd name="connsiteY62" fmla="*/ 513244 h 549157"/>
              <a:gd name="connsiteX63" fmla="*/ 79620 w 1491135"/>
              <a:gd name="connsiteY63" fmla="*/ 513244 h 549157"/>
              <a:gd name="connsiteX64" fmla="*/ 79620 w 1491135"/>
              <a:gd name="connsiteY64" fmla="*/ 512444 h 549157"/>
              <a:gd name="connsiteX65" fmla="*/ 81155 w 1491135"/>
              <a:gd name="connsiteY65" fmla="*/ 512444 h 549157"/>
              <a:gd name="connsiteX66" fmla="*/ 81155 w 1491135"/>
              <a:gd name="connsiteY66" fmla="*/ 510097 h 549157"/>
              <a:gd name="connsiteX67" fmla="*/ 82700 w 1491135"/>
              <a:gd name="connsiteY67" fmla="*/ 510097 h 549157"/>
              <a:gd name="connsiteX68" fmla="*/ 82700 w 1491135"/>
              <a:gd name="connsiteY68" fmla="*/ 509307 h 549157"/>
              <a:gd name="connsiteX69" fmla="*/ 84224 w 1491135"/>
              <a:gd name="connsiteY69" fmla="*/ 509307 h 549157"/>
              <a:gd name="connsiteX70" fmla="*/ 84224 w 1491135"/>
              <a:gd name="connsiteY70" fmla="*/ 508551 h 549157"/>
              <a:gd name="connsiteX71" fmla="*/ 85725 w 1491135"/>
              <a:gd name="connsiteY71" fmla="*/ 508551 h 549157"/>
              <a:gd name="connsiteX72" fmla="*/ 85725 w 1491135"/>
              <a:gd name="connsiteY72" fmla="*/ 507750 h 549157"/>
              <a:gd name="connsiteX73" fmla="*/ 88794 w 1491135"/>
              <a:gd name="connsiteY73" fmla="*/ 507750 h 549157"/>
              <a:gd name="connsiteX74" fmla="*/ 88794 w 1491135"/>
              <a:gd name="connsiteY74" fmla="*/ 506204 h 549157"/>
              <a:gd name="connsiteX75" fmla="*/ 91864 w 1491135"/>
              <a:gd name="connsiteY75" fmla="*/ 506204 h 549157"/>
              <a:gd name="connsiteX76" fmla="*/ 91864 w 1491135"/>
              <a:gd name="connsiteY76" fmla="*/ 504614 h 549157"/>
              <a:gd name="connsiteX77" fmla="*/ 94933 w 1491135"/>
              <a:gd name="connsiteY77" fmla="*/ 504614 h 549157"/>
              <a:gd name="connsiteX78" fmla="*/ 94933 w 1491135"/>
              <a:gd name="connsiteY78" fmla="*/ 503846 h 549157"/>
              <a:gd name="connsiteX79" fmla="*/ 96467 w 1491135"/>
              <a:gd name="connsiteY79" fmla="*/ 503846 h 549157"/>
              <a:gd name="connsiteX80" fmla="*/ 96467 w 1491135"/>
              <a:gd name="connsiteY80" fmla="*/ 502267 h 549157"/>
              <a:gd name="connsiteX81" fmla="*/ 98002 w 1491135"/>
              <a:gd name="connsiteY81" fmla="*/ 502267 h 549157"/>
              <a:gd name="connsiteX82" fmla="*/ 98002 w 1491135"/>
              <a:gd name="connsiteY82" fmla="*/ 499153 h 549157"/>
              <a:gd name="connsiteX83" fmla="*/ 99525 w 1491135"/>
              <a:gd name="connsiteY83" fmla="*/ 499153 h 549157"/>
              <a:gd name="connsiteX84" fmla="*/ 99525 w 1491135"/>
              <a:gd name="connsiteY84" fmla="*/ 498363 h 549157"/>
              <a:gd name="connsiteX85" fmla="*/ 102572 w 1491135"/>
              <a:gd name="connsiteY85" fmla="*/ 498363 h 549157"/>
              <a:gd name="connsiteX86" fmla="*/ 104096 w 1491135"/>
              <a:gd name="connsiteY86" fmla="*/ 498363 h 549157"/>
              <a:gd name="connsiteX87" fmla="*/ 104096 w 1491135"/>
              <a:gd name="connsiteY87" fmla="*/ 496784 h 549157"/>
              <a:gd name="connsiteX88" fmla="*/ 105630 w 1491135"/>
              <a:gd name="connsiteY88" fmla="*/ 496784 h 549157"/>
              <a:gd name="connsiteX89" fmla="*/ 105630 w 1491135"/>
              <a:gd name="connsiteY89" fmla="*/ 496016 h 549157"/>
              <a:gd name="connsiteX90" fmla="*/ 107165 w 1491135"/>
              <a:gd name="connsiteY90" fmla="*/ 496016 h 549157"/>
              <a:gd name="connsiteX91" fmla="*/ 107165 w 1491135"/>
              <a:gd name="connsiteY91" fmla="*/ 494437 h 549157"/>
              <a:gd name="connsiteX92" fmla="*/ 110234 w 1491135"/>
              <a:gd name="connsiteY92" fmla="*/ 494437 h 549157"/>
              <a:gd name="connsiteX93" fmla="*/ 110234 w 1491135"/>
              <a:gd name="connsiteY93" fmla="*/ 493670 h 549157"/>
              <a:gd name="connsiteX94" fmla="*/ 113292 w 1491135"/>
              <a:gd name="connsiteY94" fmla="*/ 493670 h 549157"/>
              <a:gd name="connsiteX95" fmla="*/ 113292 w 1491135"/>
              <a:gd name="connsiteY95" fmla="*/ 492090 h 549157"/>
              <a:gd name="connsiteX96" fmla="*/ 114838 w 1491135"/>
              <a:gd name="connsiteY96" fmla="*/ 492090 h 549157"/>
              <a:gd name="connsiteX97" fmla="*/ 114838 w 1491135"/>
              <a:gd name="connsiteY97" fmla="*/ 491323 h 549157"/>
              <a:gd name="connsiteX98" fmla="*/ 116372 w 1491135"/>
              <a:gd name="connsiteY98" fmla="*/ 491323 h 549157"/>
              <a:gd name="connsiteX99" fmla="*/ 116372 w 1491135"/>
              <a:gd name="connsiteY99" fmla="*/ 488187 h 549157"/>
              <a:gd name="connsiteX100" fmla="*/ 117907 w 1491135"/>
              <a:gd name="connsiteY100" fmla="*/ 488187 h 549157"/>
              <a:gd name="connsiteX101" fmla="*/ 117907 w 1491135"/>
              <a:gd name="connsiteY101" fmla="*/ 487397 h 549157"/>
              <a:gd name="connsiteX102" fmla="*/ 119430 w 1491135"/>
              <a:gd name="connsiteY102" fmla="*/ 487397 h 549157"/>
              <a:gd name="connsiteX103" fmla="*/ 120932 w 1491135"/>
              <a:gd name="connsiteY103" fmla="*/ 487397 h 549157"/>
              <a:gd name="connsiteX104" fmla="*/ 120932 w 1491135"/>
              <a:gd name="connsiteY104" fmla="*/ 486596 h 549157"/>
              <a:gd name="connsiteX105" fmla="*/ 124001 w 1491135"/>
              <a:gd name="connsiteY105" fmla="*/ 486596 h 549157"/>
              <a:gd name="connsiteX106" fmla="*/ 124001 w 1491135"/>
              <a:gd name="connsiteY106" fmla="*/ 485840 h 549157"/>
              <a:gd name="connsiteX107" fmla="*/ 125536 w 1491135"/>
              <a:gd name="connsiteY107" fmla="*/ 485840 h 549157"/>
              <a:gd name="connsiteX108" fmla="*/ 125536 w 1491135"/>
              <a:gd name="connsiteY108" fmla="*/ 485050 h 549157"/>
              <a:gd name="connsiteX109" fmla="*/ 127070 w 1491135"/>
              <a:gd name="connsiteY109" fmla="*/ 485050 h 549157"/>
              <a:gd name="connsiteX110" fmla="*/ 127070 w 1491135"/>
              <a:gd name="connsiteY110" fmla="*/ 484249 h 549157"/>
              <a:gd name="connsiteX111" fmla="*/ 128605 w 1491135"/>
              <a:gd name="connsiteY111" fmla="*/ 484249 h 549157"/>
              <a:gd name="connsiteX112" fmla="*/ 128605 w 1491135"/>
              <a:gd name="connsiteY112" fmla="*/ 483460 h 549157"/>
              <a:gd name="connsiteX113" fmla="*/ 130139 w 1491135"/>
              <a:gd name="connsiteY113" fmla="*/ 483460 h 549157"/>
              <a:gd name="connsiteX114" fmla="*/ 130139 w 1491135"/>
              <a:gd name="connsiteY114" fmla="*/ 481903 h 549157"/>
              <a:gd name="connsiteX115" fmla="*/ 131674 w 1491135"/>
              <a:gd name="connsiteY115" fmla="*/ 481903 h 549157"/>
              <a:gd name="connsiteX116" fmla="*/ 131674 w 1491135"/>
              <a:gd name="connsiteY116" fmla="*/ 479556 h 549157"/>
              <a:gd name="connsiteX117" fmla="*/ 133208 w 1491135"/>
              <a:gd name="connsiteY117" fmla="*/ 479556 h 549157"/>
              <a:gd name="connsiteX118" fmla="*/ 133208 w 1491135"/>
              <a:gd name="connsiteY118" fmla="*/ 477977 h 549157"/>
              <a:gd name="connsiteX119" fmla="*/ 134743 w 1491135"/>
              <a:gd name="connsiteY119" fmla="*/ 477977 h 549157"/>
              <a:gd name="connsiteX120" fmla="*/ 134743 w 1491135"/>
              <a:gd name="connsiteY120" fmla="*/ 477176 h 549157"/>
              <a:gd name="connsiteX121" fmla="*/ 136278 w 1491135"/>
              <a:gd name="connsiteY121" fmla="*/ 477176 h 549157"/>
              <a:gd name="connsiteX122" fmla="*/ 136278 w 1491135"/>
              <a:gd name="connsiteY122" fmla="*/ 476420 h 549157"/>
              <a:gd name="connsiteX123" fmla="*/ 140848 w 1491135"/>
              <a:gd name="connsiteY123" fmla="*/ 476420 h 549157"/>
              <a:gd name="connsiteX124" fmla="*/ 140848 w 1491135"/>
              <a:gd name="connsiteY124" fmla="*/ 475630 h 549157"/>
              <a:gd name="connsiteX125" fmla="*/ 142382 w 1491135"/>
              <a:gd name="connsiteY125" fmla="*/ 475630 h 549157"/>
              <a:gd name="connsiteX126" fmla="*/ 142382 w 1491135"/>
              <a:gd name="connsiteY126" fmla="*/ 473283 h 549157"/>
              <a:gd name="connsiteX127" fmla="*/ 143906 w 1491135"/>
              <a:gd name="connsiteY127" fmla="*/ 473283 h 549157"/>
              <a:gd name="connsiteX128" fmla="*/ 146986 w 1491135"/>
              <a:gd name="connsiteY128" fmla="*/ 473283 h 549157"/>
              <a:gd name="connsiteX129" fmla="*/ 146986 w 1491135"/>
              <a:gd name="connsiteY129" fmla="*/ 471693 h 549157"/>
              <a:gd name="connsiteX130" fmla="*/ 148510 w 1491135"/>
              <a:gd name="connsiteY130" fmla="*/ 471693 h 549157"/>
              <a:gd name="connsiteX131" fmla="*/ 148510 w 1491135"/>
              <a:gd name="connsiteY131" fmla="*/ 470892 h 549157"/>
              <a:gd name="connsiteX132" fmla="*/ 151579 w 1491135"/>
              <a:gd name="connsiteY132" fmla="*/ 470892 h 549157"/>
              <a:gd name="connsiteX133" fmla="*/ 151579 w 1491135"/>
              <a:gd name="connsiteY133" fmla="*/ 468545 h 549157"/>
              <a:gd name="connsiteX134" fmla="*/ 156149 w 1491135"/>
              <a:gd name="connsiteY134" fmla="*/ 468545 h 549157"/>
              <a:gd name="connsiteX135" fmla="*/ 156149 w 1491135"/>
              <a:gd name="connsiteY135" fmla="*/ 467756 h 549157"/>
              <a:gd name="connsiteX136" fmla="*/ 160753 w 1491135"/>
              <a:gd name="connsiteY136" fmla="*/ 467756 h 549157"/>
              <a:gd name="connsiteX137" fmla="*/ 160753 w 1491135"/>
              <a:gd name="connsiteY137" fmla="*/ 466210 h 549157"/>
              <a:gd name="connsiteX138" fmla="*/ 162288 w 1491135"/>
              <a:gd name="connsiteY138" fmla="*/ 466210 h 549157"/>
              <a:gd name="connsiteX139" fmla="*/ 162288 w 1491135"/>
              <a:gd name="connsiteY139" fmla="*/ 465409 h 549157"/>
              <a:gd name="connsiteX140" fmla="*/ 163811 w 1491135"/>
              <a:gd name="connsiteY140" fmla="*/ 465409 h 549157"/>
              <a:gd name="connsiteX141" fmla="*/ 163811 w 1491135"/>
              <a:gd name="connsiteY141" fmla="*/ 464619 h 549157"/>
              <a:gd name="connsiteX142" fmla="*/ 165346 w 1491135"/>
              <a:gd name="connsiteY142" fmla="*/ 464619 h 549157"/>
              <a:gd name="connsiteX143" fmla="*/ 165346 w 1491135"/>
              <a:gd name="connsiteY143" fmla="*/ 462272 h 549157"/>
              <a:gd name="connsiteX144" fmla="*/ 166891 w 1491135"/>
              <a:gd name="connsiteY144" fmla="*/ 462272 h 549157"/>
              <a:gd name="connsiteX145" fmla="*/ 166891 w 1491135"/>
              <a:gd name="connsiteY145" fmla="*/ 461483 h 549157"/>
              <a:gd name="connsiteX146" fmla="*/ 169949 w 1491135"/>
              <a:gd name="connsiteY146" fmla="*/ 461483 h 549157"/>
              <a:gd name="connsiteX147" fmla="*/ 171484 w 1491135"/>
              <a:gd name="connsiteY147" fmla="*/ 461483 h 549157"/>
              <a:gd name="connsiteX148" fmla="*/ 171484 w 1491135"/>
              <a:gd name="connsiteY148" fmla="*/ 458302 h 549157"/>
              <a:gd name="connsiteX149" fmla="*/ 173030 w 1491135"/>
              <a:gd name="connsiteY149" fmla="*/ 458302 h 549157"/>
              <a:gd name="connsiteX150" fmla="*/ 173030 w 1491135"/>
              <a:gd name="connsiteY150" fmla="*/ 455955 h 549157"/>
              <a:gd name="connsiteX151" fmla="*/ 174520 w 1491135"/>
              <a:gd name="connsiteY151" fmla="*/ 455955 h 549157"/>
              <a:gd name="connsiteX152" fmla="*/ 174520 w 1491135"/>
              <a:gd name="connsiteY152" fmla="*/ 455166 h 549157"/>
              <a:gd name="connsiteX153" fmla="*/ 177589 w 1491135"/>
              <a:gd name="connsiteY153" fmla="*/ 455166 h 549157"/>
              <a:gd name="connsiteX154" fmla="*/ 177589 w 1491135"/>
              <a:gd name="connsiteY154" fmla="*/ 452029 h 549157"/>
              <a:gd name="connsiteX155" fmla="*/ 179112 w 1491135"/>
              <a:gd name="connsiteY155" fmla="*/ 452029 h 549157"/>
              <a:gd name="connsiteX156" fmla="*/ 179112 w 1491135"/>
              <a:gd name="connsiteY156" fmla="*/ 450439 h 549157"/>
              <a:gd name="connsiteX157" fmla="*/ 183716 w 1491135"/>
              <a:gd name="connsiteY157" fmla="*/ 450439 h 549157"/>
              <a:gd name="connsiteX158" fmla="*/ 183716 w 1491135"/>
              <a:gd name="connsiteY158" fmla="*/ 448882 h 549157"/>
              <a:gd name="connsiteX159" fmla="*/ 185251 w 1491135"/>
              <a:gd name="connsiteY159" fmla="*/ 448882 h 549157"/>
              <a:gd name="connsiteX160" fmla="*/ 185251 w 1491135"/>
              <a:gd name="connsiteY160" fmla="*/ 448092 h 549157"/>
              <a:gd name="connsiteX161" fmla="*/ 189855 w 1491135"/>
              <a:gd name="connsiteY161" fmla="*/ 448092 h 549157"/>
              <a:gd name="connsiteX162" fmla="*/ 189855 w 1491135"/>
              <a:gd name="connsiteY162" fmla="*/ 445712 h 549157"/>
              <a:gd name="connsiteX163" fmla="*/ 191356 w 1491135"/>
              <a:gd name="connsiteY163" fmla="*/ 445712 h 549157"/>
              <a:gd name="connsiteX164" fmla="*/ 191356 w 1491135"/>
              <a:gd name="connsiteY164" fmla="*/ 444155 h 549157"/>
              <a:gd name="connsiteX165" fmla="*/ 194425 w 1491135"/>
              <a:gd name="connsiteY165" fmla="*/ 444155 h 549157"/>
              <a:gd name="connsiteX166" fmla="*/ 194425 w 1491135"/>
              <a:gd name="connsiteY166" fmla="*/ 443365 h 549157"/>
              <a:gd name="connsiteX167" fmla="*/ 195960 w 1491135"/>
              <a:gd name="connsiteY167" fmla="*/ 443365 h 549157"/>
              <a:gd name="connsiteX168" fmla="*/ 195960 w 1491135"/>
              <a:gd name="connsiteY168" fmla="*/ 441775 h 549157"/>
              <a:gd name="connsiteX169" fmla="*/ 199028 w 1491135"/>
              <a:gd name="connsiteY169" fmla="*/ 441775 h 549157"/>
              <a:gd name="connsiteX170" fmla="*/ 200563 w 1491135"/>
              <a:gd name="connsiteY170" fmla="*/ 441775 h 549157"/>
              <a:gd name="connsiteX171" fmla="*/ 202098 w 1491135"/>
              <a:gd name="connsiteY171" fmla="*/ 441775 h 549157"/>
              <a:gd name="connsiteX172" fmla="*/ 202098 w 1491135"/>
              <a:gd name="connsiteY172" fmla="*/ 440985 h 549157"/>
              <a:gd name="connsiteX173" fmla="*/ 203632 w 1491135"/>
              <a:gd name="connsiteY173" fmla="*/ 440985 h 549157"/>
              <a:gd name="connsiteX174" fmla="*/ 203632 w 1491135"/>
              <a:gd name="connsiteY174" fmla="*/ 440229 h 549157"/>
              <a:gd name="connsiteX175" fmla="*/ 206701 w 1491135"/>
              <a:gd name="connsiteY175" fmla="*/ 440229 h 549157"/>
              <a:gd name="connsiteX176" fmla="*/ 206701 w 1491135"/>
              <a:gd name="connsiteY176" fmla="*/ 439428 h 549157"/>
              <a:gd name="connsiteX177" fmla="*/ 208236 w 1491135"/>
              <a:gd name="connsiteY177" fmla="*/ 439428 h 549157"/>
              <a:gd name="connsiteX178" fmla="*/ 209726 w 1491135"/>
              <a:gd name="connsiteY178" fmla="*/ 439428 h 549157"/>
              <a:gd name="connsiteX179" fmla="*/ 209726 w 1491135"/>
              <a:gd name="connsiteY179" fmla="*/ 437838 h 549157"/>
              <a:gd name="connsiteX180" fmla="*/ 211261 w 1491135"/>
              <a:gd name="connsiteY180" fmla="*/ 437838 h 549157"/>
              <a:gd name="connsiteX181" fmla="*/ 212806 w 1491135"/>
              <a:gd name="connsiteY181" fmla="*/ 437838 h 549157"/>
              <a:gd name="connsiteX182" fmla="*/ 212806 w 1491135"/>
              <a:gd name="connsiteY182" fmla="*/ 437048 h 549157"/>
              <a:gd name="connsiteX183" fmla="*/ 215864 w 1491135"/>
              <a:gd name="connsiteY183" fmla="*/ 437048 h 549157"/>
              <a:gd name="connsiteX184" fmla="*/ 215864 w 1491135"/>
              <a:gd name="connsiteY184" fmla="*/ 436258 h 549157"/>
              <a:gd name="connsiteX185" fmla="*/ 217399 w 1491135"/>
              <a:gd name="connsiteY185" fmla="*/ 436258 h 549157"/>
              <a:gd name="connsiteX186" fmla="*/ 217399 w 1491135"/>
              <a:gd name="connsiteY186" fmla="*/ 434701 h 549157"/>
              <a:gd name="connsiteX187" fmla="*/ 218934 w 1491135"/>
              <a:gd name="connsiteY187" fmla="*/ 434701 h 549157"/>
              <a:gd name="connsiteX188" fmla="*/ 218934 w 1491135"/>
              <a:gd name="connsiteY188" fmla="*/ 433111 h 549157"/>
              <a:gd name="connsiteX189" fmla="*/ 222003 w 1491135"/>
              <a:gd name="connsiteY189" fmla="*/ 433111 h 549157"/>
              <a:gd name="connsiteX190" fmla="*/ 222003 w 1491135"/>
              <a:gd name="connsiteY190" fmla="*/ 431531 h 549157"/>
              <a:gd name="connsiteX191" fmla="*/ 223537 w 1491135"/>
              <a:gd name="connsiteY191" fmla="*/ 431531 h 549157"/>
              <a:gd name="connsiteX192" fmla="*/ 223537 w 1491135"/>
              <a:gd name="connsiteY192" fmla="*/ 430731 h 549157"/>
              <a:gd name="connsiteX193" fmla="*/ 225072 w 1491135"/>
              <a:gd name="connsiteY193" fmla="*/ 430731 h 549157"/>
              <a:gd name="connsiteX194" fmla="*/ 226573 w 1491135"/>
              <a:gd name="connsiteY194" fmla="*/ 430731 h 549157"/>
              <a:gd name="connsiteX195" fmla="*/ 226573 w 1491135"/>
              <a:gd name="connsiteY195" fmla="*/ 429140 h 549157"/>
              <a:gd name="connsiteX196" fmla="*/ 228108 w 1491135"/>
              <a:gd name="connsiteY196" fmla="*/ 429140 h 549157"/>
              <a:gd name="connsiteX197" fmla="*/ 228108 w 1491135"/>
              <a:gd name="connsiteY197" fmla="*/ 428384 h 549157"/>
              <a:gd name="connsiteX198" fmla="*/ 229631 w 1491135"/>
              <a:gd name="connsiteY198" fmla="*/ 428384 h 549157"/>
              <a:gd name="connsiteX199" fmla="*/ 229631 w 1491135"/>
              <a:gd name="connsiteY199" fmla="*/ 427594 h 549157"/>
              <a:gd name="connsiteX200" fmla="*/ 231166 w 1491135"/>
              <a:gd name="connsiteY200" fmla="*/ 427594 h 549157"/>
              <a:gd name="connsiteX201" fmla="*/ 231166 w 1491135"/>
              <a:gd name="connsiteY201" fmla="*/ 426805 h 549157"/>
              <a:gd name="connsiteX202" fmla="*/ 232712 w 1491135"/>
              <a:gd name="connsiteY202" fmla="*/ 426805 h 549157"/>
              <a:gd name="connsiteX203" fmla="*/ 232712 w 1491135"/>
              <a:gd name="connsiteY203" fmla="*/ 426004 h 549157"/>
              <a:gd name="connsiteX204" fmla="*/ 234235 w 1491135"/>
              <a:gd name="connsiteY204" fmla="*/ 426004 h 549157"/>
              <a:gd name="connsiteX205" fmla="*/ 235770 w 1491135"/>
              <a:gd name="connsiteY205" fmla="*/ 426004 h 549157"/>
              <a:gd name="connsiteX206" fmla="*/ 235770 w 1491135"/>
              <a:gd name="connsiteY206" fmla="*/ 425214 h 549157"/>
              <a:gd name="connsiteX207" fmla="*/ 237304 w 1491135"/>
              <a:gd name="connsiteY207" fmla="*/ 425214 h 549157"/>
              <a:gd name="connsiteX208" fmla="*/ 237304 w 1491135"/>
              <a:gd name="connsiteY208" fmla="*/ 423624 h 549157"/>
              <a:gd name="connsiteX209" fmla="*/ 238850 w 1491135"/>
              <a:gd name="connsiteY209" fmla="*/ 423624 h 549157"/>
              <a:gd name="connsiteX210" fmla="*/ 240373 w 1491135"/>
              <a:gd name="connsiteY210" fmla="*/ 423624 h 549157"/>
              <a:gd name="connsiteX211" fmla="*/ 240373 w 1491135"/>
              <a:gd name="connsiteY211" fmla="*/ 422834 h 549157"/>
              <a:gd name="connsiteX212" fmla="*/ 241908 w 1491135"/>
              <a:gd name="connsiteY212" fmla="*/ 422834 h 549157"/>
              <a:gd name="connsiteX213" fmla="*/ 241908 w 1491135"/>
              <a:gd name="connsiteY213" fmla="*/ 421244 h 549157"/>
              <a:gd name="connsiteX214" fmla="*/ 244933 w 1491135"/>
              <a:gd name="connsiteY214" fmla="*/ 421244 h 549157"/>
              <a:gd name="connsiteX215" fmla="*/ 244933 w 1491135"/>
              <a:gd name="connsiteY215" fmla="*/ 420487 h 549157"/>
              <a:gd name="connsiteX216" fmla="*/ 246478 w 1491135"/>
              <a:gd name="connsiteY216" fmla="*/ 420487 h 549157"/>
              <a:gd name="connsiteX217" fmla="*/ 249536 w 1491135"/>
              <a:gd name="connsiteY217" fmla="*/ 420487 h 549157"/>
              <a:gd name="connsiteX218" fmla="*/ 249536 w 1491135"/>
              <a:gd name="connsiteY218" fmla="*/ 418897 h 549157"/>
              <a:gd name="connsiteX219" fmla="*/ 251082 w 1491135"/>
              <a:gd name="connsiteY219" fmla="*/ 418897 h 549157"/>
              <a:gd name="connsiteX220" fmla="*/ 251082 w 1491135"/>
              <a:gd name="connsiteY220" fmla="*/ 418107 h 549157"/>
              <a:gd name="connsiteX221" fmla="*/ 254140 w 1491135"/>
              <a:gd name="connsiteY221" fmla="*/ 418107 h 549157"/>
              <a:gd name="connsiteX222" fmla="*/ 254140 w 1491135"/>
              <a:gd name="connsiteY222" fmla="*/ 417318 h 549157"/>
              <a:gd name="connsiteX223" fmla="*/ 255675 w 1491135"/>
              <a:gd name="connsiteY223" fmla="*/ 417318 h 549157"/>
              <a:gd name="connsiteX224" fmla="*/ 255675 w 1491135"/>
              <a:gd name="connsiteY224" fmla="*/ 416517 h 549157"/>
              <a:gd name="connsiteX225" fmla="*/ 258755 w 1491135"/>
              <a:gd name="connsiteY225" fmla="*/ 416517 h 549157"/>
              <a:gd name="connsiteX226" fmla="*/ 258755 w 1491135"/>
              <a:gd name="connsiteY226" fmla="*/ 414137 h 549157"/>
              <a:gd name="connsiteX227" fmla="*/ 260279 w 1491135"/>
              <a:gd name="connsiteY227" fmla="*/ 414137 h 549157"/>
              <a:gd name="connsiteX228" fmla="*/ 260279 w 1491135"/>
              <a:gd name="connsiteY228" fmla="*/ 413347 h 549157"/>
              <a:gd name="connsiteX229" fmla="*/ 261780 w 1491135"/>
              <a:gd name="connsiteY229" fmla="*/ 413347 h 549157"/>
              <a:gd name="connsiteX230" fmla="*/ 263314 w 1491135"/>
              <a:gd name="connsiteY230" fmla="*/ 413347 h 549157"/>
              <a:gd name="connsiteX231" fmla="*/ 263314 w 1491135"/>
              <a:gd name="connsiteY231" fmla="*/ 412546 h 549157"/>
              <a:gd name="connsiteX232" fmla="*/ 267918 w 1491135"/>
              <a:gd name="connsiteY232" fmla="*/ 412546 h 549157"/>
              <a:gd name="connsiteX233" fmla="*/ 269441 w 1491135"/>
              <a:gd name="connsiteY233" fmla="*/ 412546 h 549157"/>
              <a:gd name="connsiteX234" fmla="*/ 269441 w 1491135"/>
              <a:gd name="connsiteY234" fmla="*/ 411757 h 549157"/>
              <a:gd name="connsiteX235" fmla="*/ 270987 w 1491135"/>
              <a:gd name="connsiteY235" fmla="*/ 411757 h 549157"/>
              <a:gd name="connsiteX236" fmla="*/ 270987 w 1491135"/>
              <a:gd name="connsiteY236" fmla="*/ 410967 h 549157"/>
              <a:gd name="connsiteX237" fmla="*/ 272522 w 1491135"/>
              <a:gd name="connsiteY237" fmla="*/ 410967 h 549157"/>
              <a:gd name="connsiteX238" fmla="*/ 274056 w 1491135"/>
              <a:gd name="connsiteY238" fmla="*/ 410967 h 549157"/>
              <a:gd name="connsiteX239" fmla="*/ 274056 w 1491135"/>
              <a:gd name="connsiteY239" fmla="*/ 409376 h 549157"/>
              <a:gd name="connsiteX240" fmla="*/ 275580 w 1491135"/>
              <a:gd name="connsiteY240" fmla="*/ 409376 h 549157"/>
              <a:gd name="connsiteX241" fmla="*/ 275580 w 1491135"/>
              <a:gd name="connsiteY241" fmla="*/ 407786 h 549157"/>
              <a:gd name="connsiteX242" fmla="*/ 277125 w 1491135"/>
              <a:gd name="connsiteY242" fmla="*/ 407786 h 549157"/>
              <a:gd name="connsiteX243" fmla="*/ 277125 w 1491135"/>
              <a:gd name="connsiteY243" fmla="*/ 406196 h 549157"/>
              <a:gd name="connsiteX244" fmla="*/ 278660 w 1491135"/>
              <a:gd name="connsiteY244" fmla="*/ 406196 h 549157"/>
              <a:gd name="connsiteX245" fmla="*/ 278660 w 1491135"/>
              <a:gd name="connsiteY245" fmla="*/ 404605 h 549157"/>
              <a:gd name="connsiteX246" fmla="*/ 280150 w 1491135"/>
              <a:gd name="connsiteY246" fmla="*/ 404605 h 549157"/>
              <a:gd name="connsiteX247" fmla="*/ 281685 w 1491135"/>
              <a:gd name="connsiteY247" fmla="*/ 404605 h 549157"/>
              <a:gd name="connsiteX248" fmla="*/ 281685 w 1491135"/>
              <a:gd name="connsiteY248" fmla="*/ 403026 h 549157"/>
              <a:gd name="connsiteX249" fmla="*/ 284754 w 1491135"/>
              <a:gd name="connsiteY249" fmla="*/ 403026 h 549157"/>
              <a:gd name="connsiteX250" fmla="*/ 284754 w 1491135"/>
              <a:gd name="connsiteY250" fmla="*/ 401435 h 549157"/>
              <a:gd name="connsiteX251" fmla="*/ 286289 w 1491135"/>
              <a:gd name="connsiteY251" fmla="*/ 401435 h 549157"/>
              <a:gd name="connsiteX252" fmla="*/ 286289 w 1491135"/>
              <a:gd name="connsiteY252" fmla="*/ 400646 h 549157"/>
              <a:gd name="connsiteX253" fmla="*/ 287823 w 1491135"/>
              <a:gd name="connsiteY253" fmla="*/ 400646 h 549157"/>
              <a:gd name="connsiteX254" fmla="*/ 289358 w 1491135"/>
              <a:gd name="connsiteY254" fmla="*/ 400646 h 549157"/>
              <a:gd name="connsiteX255" fmla="*/ 290892 w 1491135"/>
              <a:gd name="connsiteY255" fmla="*/ 400646 h 549157"/>
              <a:gd name="connsiteX256" fmla="*/ 290892 w 1491135"/>
              <a:gd name="connsiteY256" fmla="*/ 399055 h 549157"/>
              <a:gd name="connsiteX257" fmla="*/ 292427 w 1491135"/>
              <a:gd name="connsiteY257" fmla="*/ 399055 h 549157"/>
              <a:gd name="connsiteX258" fmla="*/ 292427 w 1491135"/>
              <a:gd name="connsiteY258" fmla="*/ 396642 h 549157"/>
              <a:gd name="connsiteX259" fmla="*/ 293961 w 1491135"/>
              <a:gd name="connsiteY259" fmla="*/ 396642 h 549157"/>
              <a:gd name="connsiteX260" fmla="*/ 295485 w 1491135"/>
              <a:gd name="connsiteY260" fmla="*/ 396642 h 549157"/>
              <a:gd name="connsiteX261" fmla="*/ 297031 w 1491135"/>
              <a:gd name="connsiteY261" fmla="*/ 396642 h 549157"/>
              <a:gd name="connsiteX262" fmla="*/ 298532 w 1491135"/>
              <a:gd name="connsiteY262" fmla="*/ 396642 h 549157"/>
              <a:gd name="connsiteX263" fmla="*/ 298532 w 1491135"/>
              <a:gd name="connsiteY263" fmla="*/ 395852 h 549157"/>
              <a:gd name="connsiteX264" fmla="*/ 300055 w 1491135"/>
              <a:gd name="connsiteY264" fmla="*/ 395852 h 549157"/>
              <a:gd name="connsiteX265" fmla="*/ 301590 w 1491135"/>
              <a:gd name="connsiteY265" fmla="*/ 395852 h 549157"/>
              <a:gd name="connsiteX266" fmla="*/ 303125 w 1491135"/>
              <a:gd name="connsiteY266" fmla="*/ 395852 h 549157"/>
              <a:gd name="connsiteX267" fmla="*/ 303125 w 1491135"/>
              <a:gd name="connsiteY267" fmla="*/ 395018 h 549157"/>
              <a:gd name="connsiteX268" fmla="*/ 304659 w 1491135"/>
              <a:gd name="connsiteY268" fmla="*/ 395018 h 549157"/>
              <a:gd name="connsiteX269" fmla="*/ 304659 w 1491135"/>
              <a:gd name="connsiteY269" fmla="*/ 393394 h 549157"/>
              <a:gd name="connsiteX270" fmla="*/ 306194 w 1491135"/>
              <a:gd name="connsiteY270" fmla="*/ 393394 h 549157"/>
              <a:gd name="connsiteX271" fmla="*/ 306194 w 1491135"/>
              <a:gd name="connsiteY271" fmla="*/ 392571 h 549157"/>
              <a:gd name="connsiteX272" fmla="*/ 307728 w 1491135"/>
              <a:gd name="connsiteY272" fmla="*/ 392571 h 549157"/>
              <a:gd name="connsiteX273" fmla="*/ 307728 w 1491135"/>
              <a:gd name="connsiteY273" fmla="*/ 391737 h 549157"/>
              <a:gd name="connsiteX274" fmla="*/ 309274 w 1491135"/>
              <a:gd name="connsiteY274" fmla="*/ 391737 h 549157"/>
              <a:gd name="connsiteX275" fmla="*/ 310797 w 1491135"/>
              <a:gd name="connsiteY275" fmla="*/ 391737 h 549157"/>
              <a:gd name="connsiteX276" fmla="*/ 310797 w 1491135"/>
              <a:gd name="connsiteY276" fmla="*/ 390124 h 549157"/>
              <a:gd name="connsiteX277" fmla="*/ 312332 w 1491135"/>
              <a:gd name="connsiteY277" fmla="*/ 390124 h 549157"/>
              <a:gd name="connsiteX278" fmla="*/ 313867 w 1491135"/>
              <a:gd name="connsiteY278" fmla="*/ 390124 h 549157"/>
              <a:gd name="connsiteX279" fmla="*/ 313867 w 1491135"/>
              <a:gd name="connsiteY279" fmla="*/ 389257 h 549157"/>
              <a:gd name="connsiteX280" fmla="*/ 315357 w 1491135"/>
              <a:gd name="connsiteY280" fmla="*/ 389257 h 549157"/>
              <a:gd name="connsiteX281" fmla="*/ 315357 w 1491135"/>
              <a:gd name="connsiteY281" fmla="*/ 387600 h 549157"/>
              <a:gd name="connsiteX282" fmla="*/ 316902 w 1491135"/>
              <a:gd name="connsiteY282" fmla="*/ 387600 h 549157"/>
              <a:gd name="connsiteX283" fmla="*/ 316902 w 1491135"/>
              <a:gd name="connsiteY283" fmla="*/ 386766 h 549157"/>
              <a:gd name="connsiteX284" fmla="*/ 318437 w 1491135"/>
              <a:gd name="connsiteY284" fmla="*/ 386766 h 549157"/>
              <a:gd name="connsiteX285" fmla="*/ 318437 w 1491135"/>
              <a:gd name="connsiteY285" fmla="*/ 385943 h 549157"/>
              <a:gd name="connsiteX286" fmla="*/ 319960 w 1491135"/>
              <a:gd name="connsiteY286" fmla="*/ 385943 h 549157"/>
              <a:gd name="connsiteX287" fmla="*/ 319960 w 1491135"/>
              <a:gd name="connsiteY287" fmla="*/ 385086 h 549157"/>
              <a:gd name="connsiteX288" fmla="*/ 321495 w 1491135"/>
              <a:gd name="connsiteY288" fmla="*/ 385086 h 549157"/>
              <a:gd name="connsiteX289" fmla="*/ 323041 w 1491135"/>
              <a:gd name="connsiteY289" fmla="*/ 385086 h 549157"/>
              <a:gd name="connsiteX290" fmla="*/ 324564 w 1491135"/>
              <a:gd name="connsiteY290" fmla="*/ 385086 h 549157"/>
              <a:gd name="connsiteX291" fmla="*/ 327633 w 1491135"/>
              <a:gd name="connsiteY291" fmla="*/ 385086 h 549157"/>
              <a:gd name="connsiteX292" fmla="*/ 327633 w 1491135"/>
              <a:gd name="connsiteY292" fmla="*/ 384252 h 549157"/>
              <a:gd name="connsiteX293" fmla="*/ 329179 w 1491135"/>
              <a:gd name="connsiteY293" fmla="*/ 384252 h 549157"/>
              <a:gd name="connsiteX294" fmla="*/ 329179 w 1491135"/>
              <a:gd name="connsiteY294" fmla="*/ 383396 h 549157"/>
              <a:gd name="connsiteX295" fmla="*/ 330702 w 1491135"/>
              <a:gd name="connsiteY295" fmla="*/ 383396 h 549157"/>
              <a:gd name="connsiteX296" fmla="*/ 330702 w 1491135"/>
              <a:gd name="connsiteY296" fmla="*/ 381661 h 549157"/>
              <a:gd name="connsiteX297" fmla="*/ 332237 w 1491135"/>
              <a:gd name="connsiteY297" fmla="*/ 381661 h 549157"/>
              <a:gd name="connsiteX298" fmla="*/ 333738 w 1491135"/>
              <a:gd name="connsiteY298" fmla="*/ 381661 h 549157"/>
              <a:gd name="connsiteX299" fmla="*/ 335262 w 1491135"/>
              <a:gd name="connsiteY299" fmla="*/ 381661 h 549157"/>
              <a:gd name="connsiteX300" fmla="*/ 335262 w 1491135"/>
              <a:gd name="connsiteY300" fmla="*/ 380804 h 549157"/>
              <a:gd name="connsiteX301" fmla="*/ 336807 w 1491135"/>
              <a:gd name="connsiteY301" fmla="*/ 380804 h 549157"/>
              <a:gd name="connsiteX302" fmla="*/ 336807 w 1491135"/>
              <a:gd name="connsiteY302" fmla="*/ 379937 h 549157"/>
              <a:gd name="connsiteX303" fmla="*/ 338342 w 1491135"/>
              <a:gd name="connsiteY303" fmla="*/ 379937 h 549157"/>
              <a:gd name="connsiteX304" fmla="*/ 339865 w 1491135"/>
              <a:gd name="connsiteY304" fmla="*/ 379937 h 549157"/>
              <a:gd name="connsiteX305" fmla="*/ 339865 w 1491135"/>
              <a:gd name="connsiteY305" fmla="*/ 379080 h 549157"/>
              <a:gd name="connsiteX306" fmla="*/ 341400 w 1491135"/>
              <a:gd name="connsiteY306" fmla="*/ 379080 h 549157"/>
              <a:gd name="connsiteX307" fmla="*/ 342946 w 1491135"/>
              <a:gd name="connsiteY307" fmla="*/ 379080 h 549157"/>
              <a:gd name="connsiteX308" fmla="*/ 342946 w 1491135"/>
              <a:gd name="connsiteY308" fmla="*/ 377312 h 549157"/>
              <a:gd name="connsiteX309" fmla="*/ 344480 w 1491135"/>
              <a:gd name="connsiteY309" fmla="*/ 377312 h 549157"/>
              <a:gd name="connsiteX310" fmla="*/ 346004 w 1491135"/>
              <a:gd name="connsiteY310" fmla="*/ 377312 h 549157"/>
              <a:gd name="connsiteX311" fmla="*/ 346004 w 1491135"/>
              <a:gd name="connsiteY311" fmla="*/ 375555 h 549157"/>
              <a:gd name="connsiteX312" fmla="*/ 347538 w 1491135"/>
              <a:gd name="connsiteY312" fmla="*/ 375555 h 549157"/>
              <a:gd name="connsiteX313" fmla="*/ 347538 w 1491135"/>
              <a:gd name="connsiteY313" fmla="*/ 374698 h 549157"/>
              <a:gd name="connsiteX314" fmla="*/ 350574 w 1491135"/>
              <a:gd name="connsiteY314" fmla="*/ 374698 h 549157"/>
              <a:gd name="connsiteX315" fmla="*/ 352109 w 1491135"/>
              <a:gd name="connsiteY315" fmla="*/ 374698 h 549157"/>
              <a:gd name="connsiteX316" fmla="*/ 352109 w 1491135"/>
              <a:gd name="connsiteY316" fmla="*/ 373797 h 549157"/>
              <a:gd name="connsiteX317" fmla="*/ 353643 w 1491135"/>
              <a:gd name="connsiteY317" fmla="*/ 373797 h 549157"/>
              <a:gd name="connsiteX318" fmla="*/ 353643 w 1491135"/>
              <a:gd name="connsiteY318" fmla="*/ 372930 h 549157"/>
              <a:gd name="connsiteX319" fmla="*/ 355167 w 1491135"/>
              <a:gd name="connsiteY319" fmla="*/ 372930 h 549157"/>
              <a:gd name="connsiteX320" fmla="*/ 356713 w 1491135"/>
              <a:gd name="connsiteY320" fmla="*/ 372930 h 549157"/>
              <a:gd name="connsiteX321" fmla="*/ 356713 w 1491135"/>
              <a:gd name="connsiteY321" fmla="*/ 372040 h 549157"/>
              <a:gd name="connsiteX322" fmla="*/ 358247 w 1491135"/>
              <a:gd name="connsiteY322" fmla="*/ 372040 h 549157"/>
              <a:gd name="connsiteX323" fmla="*/ 359782 w 1491135"/>
              <a:gd name="connsiteY323" fmla="*/ 372040 h 549157"/>
              <a:gd name="connsiteX324" fmla="*/ 361316 w 1491135"/>
              <a:gd name="connsiteY324" fmla="*/ 372040 h 549157"/>
              <a:gd name="connsiteX325" fmla="*/ 362851 w 1491135"/>
              <a:gd name="connsiteY325" fmla="*/ 372040 h 549157"/>
              <a:gd name="connsiteX326" fmla="*/ 362851 w 1491135"/>
              <a:gd name="connsiteY326" fmla="*/ 371139 h 549157"/>
              <a:gd name="connsiteX327" fmla="*/ 364386 w 1491135"/>
              <a:gd name="connsiteY327" fmla="*/ 371139 h 549157"/>
              <a:gd name="connsiteX328" fmla="*/ 364386 w 1491135"/>
              <a:gd name="connsiteY328" fmla="*/ 368448 h 549157"/>
              <a:gd name="connsiteX329" fmla="*/ 365909 w 1491135"/>
              <a:gd name="connsiteY329" fmla="*/ 368448 h 549157"/>
              <a:gd name="connsiteX330" fmla="*/ 367455 w 1491135"/>
              <a:gd name="connsiteY330" fmla="*/ 368448 h 549157"/>
              <a:gd name="connsiteX331" fmla="*/ 367455 w 1491135"/>
              <a:gd name="connsiteY331" fmla="*/ 367513 h 549157"/>
              <a:gd name="connsiteX332" fmla="*/ 368956 w 1491135"/>
              <a:gd name="connsiteY332" fmla="*/ 367513 h 549157"/>
              <a:gd name="connsiteX333" fmla="*/ 370479 w 1491135"/>
              <a:gd name="connsiteY333" fmla="*/ 367513 h 549157"/>
              <a:gd name="connsiteX334" fmla="*/ 372014 w 1491135"/>
              <a:gd name="connsiteY334" fmla="*/ 367513 h 549157"/>
              <a:gd name="connsiteX335" fmla="*/ 373548 w 1491135"/>
              <a:gd name="connsiteY335" fmla="*/ 367513 h 549157"/>
              <a:gd name="connsiteX336" fmla="*/ 373548 w 1491135"/>
              <a:gd name="connsiteY336" fmla="*/ 365690 h 549157"/>
              <a:gd name="connsiteX337" fmla="*/ 375083 w 1491135"/>
              <a:gd name="connsiteY337" fmla="*/ 365690 h 549157"/>
              <a:gd name="connsiteX338" fmla="*/ 375083 w 1491135"/>
              <a:gd name="connsiteY338" fmla="*/ 364789 h 549157"/>
              <a:gd name="connsiteX339" fmla="*/ 376617 w 1491135"/>
              <a:gd name="connsiteY339" fmla="*/ 364789 h 549157"/>
              <a:gd name="connsiteX340" fmla="*/ 376617 w 1491135"/>
              <a:gd name="connsiteY340" fmla="*/ 362030 h 549157"/>
              <a:gd name="connsiteX341" fmla="*/ 378152 w 1491135"/>
              <a:gd name="connsiteY341" fmla="*/ 362030 h 549157"/>
              <a:gd name="connsiteX342" fmla="*/ 378152 w 1491135"/>
              <a:gd name="connsiteY342" fmla="*/ 359272 h 549157"/>
              <a:gd name="connsiteX343" fmla="*/ 382756 w 1491135"/>
              <a:gd name="connsiteY343" fmla="*/ 359272 h 549157"/>
              <a:gd name="connsiteX344" fmla="*/ 382756 w 1491135"/>
              <a:gd name="connsiteY344" fmla="*/ 358338 h 549157"/>
              <a:gd name="connsiteX345" fmla="*/ 384290 w 1491135"/>
              <a:gd name="connsiteY345" fmla="*/ 358338 h 549157"/>
              <a:gd name="connsiteX346" fmla="*/ 384290 w 1491135"/>
              <a:gd name="connsiteY346" fmla="*/ 357404 h 549157"/>
              <a:gd name="connsiteX347" fmla="*/ 385781 w 1491135"/>
              <a:gd name="connsiteY347" fmla="*/ 357404 h 549157"/>
              <a:gd name="connsiteX348" fmla="*/ 387315 w 1491135"/>
              <a:gd name="connsiteY348" fmla="*/ 357404 h 549157"/>
              <a:gd name="connsiteX349" fmla="*/ 388861 w 1491135"/>
              <a:gd name="connsiteY349" fmla="*/ 357404 h 549157"/>
              <a:gd name="connsiteX350" fmla="*/ 388861 w 1491135"/>
              <a:gd name="connsiteY350" fmla="*/ 356481 h 549157"/>
              <a:gd name="connsiteX351" fmla="*/ 391919 w 1491135"/>
              <a:gd name="connsiteY351" fmla="*/ 356481 h 549157"/>
              <a:gd name="connsiteX352" fmla="*/ 393453 w 1491135"/>
              <a:gd name="connsiteY352" fmla="*/ 356481 h 549157"/>
              <a:gd name="connsiteX353" fmla="*/ 393453 w 1491135"/>
              <a:gd name="connsiteY353" fmla="*/ 355546 h 549157"/>
              <a:gd name="connsiteX354" fmla="*/ 394999 w 1491135"/>
              <a:gd name="connsiteY354" fmla="*/ 355546 h 549157"/>
              <a:gd name="connsiteX355" fmla="*/ 396523 w 1491135"/>
              <a:gd name="connsiteY355" fmla="*/ 355546 h 549157"/>
              <a:gd name="connsiteX356" fmla="*/ 396523 w 1491135"/>
              <a:gd name="connsiteY356" fmla="*/ 354579 h 549157"/>
              <a:gd name="connsiteX357" fmla="*/ 398057 w 1491135"/>
              <a:gd name="connsiteY357" fmla="*/ 354579 h 549157"/>
              <a:gd name="connsiteX358" fmla="*/ 399592 w 1491135"/>
              <a:gd name="connsiteY358" fmla="*/ 354579 h 549157"/>
              <a:gd name="connsiteX359" fmla="*/ 401126 w 1491135"/>
              <a:gd name="connsiteY359" fmla="*/ 354579 h 549157"/>
              <a:gd name="connsiteX360" fmla="*/ 404162 w 1491135"/>
              <a:gd name="connsiteY360" fmla="*/ 354579 h 549157"/>
              <a:gd name="connsiteX361" fmla="*/ 404162 w 1491135"/>
              <a:gd name="connsiteY361" fmla="*/ 353644 h 549157"/>
              <a:gd name="connsiteX362" fmla="*/ 405686 w 1491135"/>
              <a:gd name="connsiteY362" fmla="*/ 353644 h 549157"/>
              <a:gd name="connsiteX363" fmla="*/ 407220 w 1491135"/>
              <a:gd name="connsiteY363" fmla="*/ 353644 h 549157"/>
              <a:gd name="connsiteX364" fmla="*/ 408766 w 1491135"/>
              <a:gd name="connsiteY364" fmla="*/ 353644 h 549157"/>
              <a:gd name="connsiteX365" fmla="*/ 410289 w 1491135"/>
              <a:gd name="connsiteY365" fmla="*/ 353644 h 549157"/>
              <a:gd name="connsiteX366" fmla="*/ 410289 w 1491135"/>
              <a:gd name="connsiteY366" fmla="*/ 351720 h 549157"/>
              <a:gd name="connsiteX367" fmla="*/ 411824 w 1491135"/>
              <a:gd name="connsiteY367" fmla="*/ 351720 h 549157"/>
              <a:gd name="connsiteX368" fmla="*/ 413359 w 1491135"/>
              <a:gd name="connsiteY368" fmla="*/ 351720 h 549157"/>
              <a:gd name="connsiteX369" fmla="*/ 413359 w 1491135"/>
              <a:gd name="connsiteY369" fmla="*/ 349785 h 549157"/>
              <a:gd name="connsiteX370" fmla="*/ 416428 w 1491135"/>
              <a:gd name="connsiteY370" fmla="*/ 349785 h 549157"/>
              <a:gd name="connsiteX371" fmla="*/ 417962 w 1491135"/>
              <a:gd name="connsiteY371" fmla="*/ 349785 h 549157"/>
              <a:gd name="connsiteX372" fmla="*/ 419508 w 1491135"/>
              <a:gd name="connsiteY372" fmla="*/ 349785 h 549157"/>
              <a:gd name="connsiteX373" fmla="*/ 419508 w 1491135"/>
              <a:gd name="connsiteY373" fmla="*/ 348784 h 549157"/>
              <a:gd name="connsiteX374" fmla="*/ 421032 w 1491135"/>
              <a:gd name="connsiteY374" fmla="*/ 348784 h 549157"/>
              <a:gd name="connsiteX375" fmla="*/ 424067 w 1491135"/>
              <a:gd name="connsiteY375" fmla="*/ 348784 h 549157"/>
              <a:gd name="connsiteX376" fmla="*/ 424067 w 1491135"/>
              <a:gd name="connsiteY376" fmla="*/ 347817 h 549157"/>
              <a:gd name="connsiteX377" fmla="*/ 425591 w 1491135"/>
              <a:gd name="connsiteY377" fmla="*/ 347817 h 549157"/>
              <a:gd name="connsiteX378" fmla="*/ 425591 w 1491135"/>
              <a:gd name="connsiteY378" fmla="*/ 346816 h 549157"/>
              <a:gd name="connsiteX379" fmla="*/ 427136 w 1491135"/>
              <a:gd name="connsiteY379" fmla="*/ 346816 h 549157"/>
              <a:gd name="connsiteX380" fmla="*/ 427136 w 1491135"/>
              <a:gd name="connsiteY380" fmla="*/ 345848 h 549157"/>
              <a:gd name="connsiteX381" fmla="*/ 428671 w 1491135"/>
              <a:gd name="connsiteY381" fmla="*/ 345848 h 549157"/>
              <a:gd name="connsiteX382" fmla="*/ 430206 w 1491135"/>
              <a:gd name="connsiteY382" fmla="*/ 345848 h 549157"/>
              <a:gd name="connsiteX383" fmla="*/ 431729 w 1491135"/>
              <a:gd name="connsiteY383" fmla="*/ 345848 h 549157"/>
              <a:gd name="connsiteX384" fmla="*/ 431729 w 1491135"/>
              <a:gd name="connsiteY384" fmla="*/ 344847 h 549157"/>
              <a:gd name="connsiteX385" fmla="*/ 433275 w 1491135"/>
              <a:gd name="connsiteY385" fmla="*/ 344847 h 549157"/>
              <a:gd name="connsiteX386" fmla="*/ 433275 w 1491135"/>
              <a:gd name="connsiteY386" fmla="*/ 343846 h 549157"/>
              <a:gd name="connsiteX387" fmla="*/ 436333 w 1491135"/>
              <a:gd name="connsiteY387" fmla="*/ 343846 h 549157"/>
              <a:gd name="connsiteX388" fmla="*/ 436333 w 1491135"/>
              <a:gd name="connsiteY388" fmla="*/ 342845 h 549157"/>
              <a:gd name="connsiteX389" fmla="*/ 437868 w 1491135"/>
              <a:gd name="connsiteY389" fmla="*/ 342845 h 549157"/>
              <a:gd name="connsiteX390" fmla="*/ 439369 w 1491135"/>
              <a:gd name="connsiteY390" fmla="*/ 342845 h 549157"/>
              <a:gd name="connsiteX391" fmla="*/ 440903 w 1491135"/>
              <a:gd name="connsiteY391" fmla="*/ 342845 h 549157"/>
              <a:gd name="connsiteX392" fmla="*/ 442438 w 1491135"/>
              <a:gd name="connsiteY392" fmla="*/ 342845 h 549157"/>
              <a:gd name="connsiteX393" fmla="*/ 442438 w 1491135"/>
              <a:gd name="connsiteY393" fmla="*/ 341844 h 549157"/>
              <a:gd name="connsiteX394" fmla="*/ 443972 w 1491135"/>
              <a:gd name="connsiteY394" fmla="*/ 341844 h 549157"/>
              <a:gd name="connsiteX395" fmla="*/ 443972 w 1491135"/>
              <a:gd name="connsiteY395" fmla="*/ 340843 h 549157"/>
              <a:gd name="connsiteX396" fmla="*/ 447042 w 1491135"/>
              <a:gd name="connsiteY396" fmla="*/ 340843 h 549157"/>
              <a:gd name="connsiteX397" fmla="*/ 448576 w 1491135"/>
              <a:gd name="connsiteY397" fmla="*/ 340843 h 549157"/>
              <a:gd name="connsiteX398" fmla="*/ 448576 w 1491135"/>
              <a:gd name="connsiteY398" fmla="*/ 339809 h 549157"/>
              <a:gd name="connsiteX399" fmla="*/ 450111 w 1491135"/>
              <a:gd name="connsiteY399" fmla="*/ 339809 h 549157"/>
              <a:gd name="connsiteX400" fmla="*/ 450111 w 1491135"/>
              <a:gd name="connsiteY400" fmla="*/ 337773 h 549157"/>
              <a:gd name="connsiteX401" fmla="*/ 451634 w 1491135"/>
              <a:gd name="connsiteY401" fmla="*/ 337773 h 549157"/>
              <a:gd name="connsiteX402" fmla="*/ 451634 w 1491135"/>
              <a:gd name="connsiteY402" fmla="*/ 336772 h 549157"/>
              <a:gd name="connsiteX403" fmla="*/ 453180 w 1491135"/>
              <a:gd name="connsiteY403" fmla="*/ 336772 h 549157"/>
              <a:gd name="connsiteX404" fmla="*/ 454714 w 1491135"/>
              <a:gd name="connsiteY404" fmla="*/ 336772 h 549157"/>
              <a:gd name="connsiteX405" fmla="*/ 456238 w 1491135"/>
              <a:gd name="connsiteY405" fmla="*/ 336772 h 549157"/>
              <a:gd name="connsiteX406" fmla="*/ 456238 w 1491135"/>
              <a:gd name="connsiteY406" fmla="*/ 335738 h 549157"/>
              <a:gd name="connsiteX407" fmla="*/ 457739 w 1491135"/>
              <a:gd name="connsiteY407" fmla="*/ 335738 h 549157"/>
              <a:gd name="connsiteX408" fmla="*/ 459274 w 1491135"/>
              <a:gd name="connsiteY408" fmla="*/ 335738 h 549157"/>
              <a:gd name="connsiteX409" fmla="*/ 459274 w 1491135"/>
              <a:gd name="connsiteY409" fmla="*/ 334704 h 549157"/>
              <a:gd name="connsiteX410" fmla="*/ 460808 w 1491135"/>
              <a:gd name="connsiteY410" fmla="*/ 334704 h 549157"/>
              <a:gd name="connsiteX411" fmla="*/ 462343 w 1491135"/>
              <a:gd name="connsiteY411" fmla="*/ 334704 h 549157"/>
              <a:gd name="connsiteX412" fmla="*/ 463878 w 1491135"/>
              <a:gd name="connsiteY412" fmla="*/ 334704 h 549157"/>
              <a:gd name="connsiteX413" fmla="*/ 463878 w 1491135"/>
              <a:gd name="connsiteY413" fmla="*/ 331590 h 549157"/>
              <a:gd name="connsiteX414" fmla="*/ 466947 w 1491135"/>
              <a:gd name="connsiteY414" fmla="*/ 331590 h 549157"/>
              <a:gd name="connsiteX415" fmla="*/ 466947 w 1491135"/>
              <a:gd name="connsiteY415" fmla="*/ 330566 h 549157"/>
              <a:gd name="connsiteX416" fmla="*/ 468481 w 1491135"/>
              <a:gd name="connsiteY416" fmla="*/ 330566 h 549157"/>
              <a:gd name="connsiteX417" fmla="*/ 468481 w 1491135"/>
              <a:gd name="connsiteY417" fmla="*/ 329521 h 549157"/>
              <a:gd name="connsiteX418" fmla="*/ 470016 w 1491135"/>
              <a:gd name="connsiteY418" fmla="*/ 329521 h 549157"/>
              <a:gd name="connsiteX419" fmla="*/ 471539 w 1491135"/>
              <a:gd name="connsiteY419" fmla="*/ 329521 h 549157"/>
              <a:gd name="connsiteX420" fmla="*/ 473085 w 1491135"/>
              <a:gd name="connsiteY420" fmla="*/ 329521 h 549157"/>
              <a:gd name="connsiteX421" fmla="*/ 473085 w 1491135"/>
              <a:gd name="connsiteY421" fmla="*/ 327452 h 549157"/>
              <a:gd name="connsiteX422" fmla="*/ 474586 w 1491135"/>
              <a:gd name="connsiteY422" fmla="*/ 327452 h 549157"/>
              <a:gd name="connsiteX423" fmla="*/ 474586 w 1491135"/>
              <a:gd name="connsiteY423" fmla="*/ 326418 h 549157"/>
              <a:gd name="connsiteX424" fmla="*/ 476110 w 1491135"/>
              <a:gd name="connsiteY424" fmla="*/ 326418 h 549157"/>
              <a:gd name="connsiteX425" fmla="*/ 476110 w 1491135"/>
              <a:gd name="connsiteY425" fmla="*/ 324316 h 549157"/>
              <a:gd name="connsiteX426" fmla="*/ 479190 w 1491135"/>
              <a:gd name="connsiteY426" fmla="*/ 324316 h 549157"/>
              <a:gd name="connsiteX427" fmla="*/ 480714 w 1491135"/>
              <a:gd name="connsiteY427" fmla="*/ 324316 h 549157"/>
              <a:gd name="connsiteX428" fmla="*/ 480714 w 1491135"/>
              <a:gd name="connsiteY428" fmla="*/ 322214 h 549157"/>
              <a:gd name="connsiteX429" fmla="*/ 482248 w 1491135"/>
              <a:gd name="connsiteY429" fmla="*/ 322214 h 549157"/>
              <a:gd name="connsiteX430" fmla="*/ 482248 w 1491135"/>
              <a:gd name="connsiteY430" fmla="*/ 317999 h 549157"/>
              <a:gd name="connsiteX431" fmla="*/ 483783 w 1491135"/>
              <a:gd name="connsiteY431" fmla="*/ 317999 h 549157"/>
              <a:gd name="connsiteX432" fmla="*/ 485328 w 1491135"/>
              <a:gd name="connsiteY432" fmla="*/ 317999 h 549157"/>
              <a:gd name="connsiteX433" fmla="*/ 488386 w 1491135"/>
              <a:gd name="connsiteY433" fmla="*/ 317999 h 549157"/>
              <a:gd name="connsiteX434" fmla="*/ 488386 w 1491135"/>
              <a:gd name="connsiteY434" fmla="*/ 315897 h 549157"/>
              <a:gd name="connsiteX435" fmla="*/ 489921 w 1491135"/>
              <a:gd name="connsiteY435" fmla="*/ 315897 h 549157"/>
              <a:gd name="connsiteX436" fmla="*/ 491456 w 1491135"/>
              <a:gd name="connsiteY436" fmla="*/ 315897 h 549157"/>
              <a:gd name="connsiteX437" fmla="*/ 491456 w 1491135"/>
              <a:gd name="connsiteY437" fmla="*/ 314829 h 549157"/>
              <a:gd name="connsiteX438" fmla="*/ 492957 w 1491135"/>
              <a:gd name="connsiteY438" fmla="*/ 314829 h 549157"/>
              <a:gd name="connsiteX439" fmla="*/ 492957 w 1491135"/>
              <a:gd name="connsiteY439" fmla="*/ 312727 h 549157"/>
              <a:gd name="connsiteX440" fmla="*/ 494491 w 1491135"/>
              <a:gd name="connsiteY440" fmla="*/ 312727 h 549157"/>
              <a:gd name="connsiteX441" fmla="*/ 494491 w 1491135"/>
              <a:gd name="connsiteY441" fmla="*/ 310580 h 549157"/>
              <a:gd name="connsiteX442" fmla="*/ 496015 w 1491135"/>
              <a:gd name="connsiteY442" fmla="*/ 310580 h 549157"/>
              <a:gd name="connsiteX443" fmla="*/ 496015 w 1491135"/>
              <a:gd name="connsiteY443" fmla="*/ 309513 h 549157"/>
              <a:gd name="connsiteX444" fmla="*/ 497549 w 1491135"/>
              <a:gd name="connsiteY444" fmla="*/ 309513 h 549157"/>
              <a:gd name="connsiteX445" fmla="*/ 497549 w 1491135"/>
              <a:gd name="connsiteY445" fmla="*/ 308412 h 549157"/>
              <a:gd name="connsiteX446" fmla="*/ 499095 w 1491135"/>
              <a:gd name="connsiteY446" fmla="*/ 308412 h 549157"/>
              <a:gd name="connsiteX447" fmla="*/ 499095 w 1491135"/>
              <a:gd name="connsiteY447" fmla="*/ 307344 h 549157"/>
              <a:gd name="connsiteX448" fmla="*/ 500630 w 1491135"/>
              <a:gd name="connsiteY448" fmla="*/ 307344 h 549157"/>
              <a:gd name="connsiteX449" fmla="*/ 502153 w 1491135"/>
              <a:gd name="connsiteY449" fmla="*/ 307344 h 549157"/>
              <a:gd name="connsiteX450" fmla="*/ 503688 w 1491135"/>
              <a:gd name="connsiteY450" fmla="*/ 307344 h 549157"/>
              <a:gd name="connsiteX451" fmla="*/ 503688 w 1491135"/>
              <a:gd name="connsiteY451" fmla="*/ 305197 h 549157"/>
              <a:gd name="connsiteX452" fmla="*/ 505233 w 1491135"/>
              <a:gd name="connsiteY452" fmla="*/ 305197 h 549157"/>
              <a:gd name="connsiteX453" fmla="*/ 506757 w 1491135"/>
              <a:gd name="connsiteY453" fmla="*/ 305197 h 549157"/>
              <a:gd name="connsiteX454" fmla="*/ 506757 w 1491135"/>
              <a:gd name="connsiteY454" fmla="*/ 304096 h 549157"/>
              <a:gd name="connsiteX455" fmla="*/ 509793 w 1491135"/>
              <a:gd name="connsiteY455" fmla="*/ 304096 h 549157"/>
              <a:gd name="connsiteX456" fmla="*/ 509793 w 1491135"/>
              <a:gd name="connsiteY456" fmla="*/ 301927 h 549157"/>
              <a:gd name="connsiteX457" fmla="*/ 511316 w 1491135"/>
              <a:gd name="connsiteY457" fmla="*/ 301927 h 549157"/>
              <a:gd name="connsiteX458" fmla="*/ 511316 w 1491135"/>
              <a:gd name="connsiteY458" fmla="*/ 299748 h 549157"/>
              <a:gd name="connsiteX459" fmla="*/ 512862 w 1491135"/>
              <a:gd name="connsiteY459" fmla="*/ 299748 h 549157"/>
              <a:gd name="connsiteX460" fmla="*/ 514396 w 1491135"/>
              <a:gd name="connsiteY460" fmla="*/ 299748 h 549157"/>
              <a:gd name="connsiteX461" fmla="*/ 514396 w 1491135"/>
              <a:gd name="connsiteY461" fmla="*/ 298646 h 549157"/>
              <a:gd name="connsiteX462" fmla="*/ 515931 w 1491135"/>
              <a:gd name="connsiteY462" fmla="*/ 298646 h 549157"/>
              <a:gd name="connsiteX463" fmla="*/ 517454 w 1491135"/>
              <a:gd name="connsiteY463" fmla="*/ 298646 h 549157"/>
              <a:gd name="connsiteX464" fmla="*/ 520535 w 1491135"/>
              <a:gd name="connsiteY464" fmla="*/ 298646 h 549157"/>
              <a:gd name="connsiteX465" fmla="*/ 520535 w 1491135"/>
              <a:gd name="connsiteY465" fmla="*/ 297534 h 549157"/>
              <a:gd name="connsiteX466" fmla="*/ 522058 w 1491135"/>
              <a:gd name="connsiteY466" fmla="*/ 297534 h 549157"/>
              <a:gd name="connsiteX467" fmla="*/ 522058 w 1491135"/>
              <a:gd name="connsiteY467" fmla="*/ 294231 h 549157"/>
              <a:gd name="connsiteX468" fmla="*/ 523593 w 1491135"/>
              <a:gd name="connsiteY468" fmla="*/ 294231 h 549157"/>
              <a:gd name="connsiteX469" fmla="*/ 525139 w 1491135"/>
              <a:gd name="connsiteY469" fmla="*/ 294231 h 549157"/>
              <a:gd name="connsiteX470" fmla="*/ 526662 w 1491135"/>
              <a:gd name="connsiteY470" fmla="*/ 294231 h 549157"/>
              <a:gd name="connsiteX471" fmla="*/ 528163 w 1491135"/>
              <a:gd name="connsiteY471" fmla="*/ 294231 h 549157"/>
              <a:gd name="connsiteX472" fmla="*/ 531232 w 1491135"/>
              <a:gd name="connsiteY472" fmla="*/ 294231 h 549157"/>
              <a:gd name="connsiteX473" fmla="*/ 531232 w 1491135"/>
              <a:gd name="connsiteY473" fmla="*/ 293086 h 549157"/>
              <a:gd name="connsiteX474" fmla="*/ 532767 w 1491135"/>
              <a:gd name="connsiteY474" fmla="*/ 293086 h 549157"/>
              <a:gd name="connsiteX475" fmla="*/ 534302 w 1491135"/>
              <a:gd name="connsiteY475" fmla="*/ 293086 h 549157"/>
              <a:gd name="connsiteX476" fmla="*/ 535836 w 1491135"/>
              <a:gd name="connsiteY476" fmla="*/ 293086 h 549157"/>
              <a:gd name="connsiteX477" fmla="*/ 537371 w 1491135"/>
              <a:gd name="connsiteY477" fmla="*/ 293086 h 549157"/>
              <a:gd name="connsiteX478" fmla="*/ 537371 w 1491135"/>
              <a:gd name="connsiteY478" fmla="*/ 291951 h 549157"/>
              <a:gd name="connsiteX479" fmla="*/ 538905 w 1491135"/>
              <a:gd name="connsiteY479" fmla="*/ 291951 h 549157"/>
              <a:gd name="connsiteX480" fmla="*/ 540440 w 1491135"/>
              <a:gd name="connsiteY480" fmla="*/ 291951 h 549157"/>
              <a:gd name="connsiteX481" fmla="*/ 540440 w 1491135"/>
              <a:gd name="connsiteY481" fmla="*/ 290805 h 549157"/>
              <a:gd name="connsiteX482" fmla="*/ 541963 w 1491135"/>
              <a:gd name="connsiteY482" fmla="*/ 290805 h 549157"/>
              <a:gd name="connsiteX483" fmla="*/ 543509 w 1491135"/>
              <a:gd name="connsiteY483" fmla="*/ 290805 h 549157"/>
              <a:gd name="connsiteX484" fmla="*/ 545044 w 1491135"/>
              <a:gd name="connsiteY484" fmla="*/ 290805 h 549157"/>
              <a:gd name="connsiteX485" fmla="*/ 546534 w 1491135"/>
              <a:gd name="connsiteY485" fmla="*/ 290805 h 549157"/>
              <a:gd name="connsiteX486" fmla="*/ 546534 w 1491135"/>
              <a:gd name="connsiteY486" fmla="*/ 289671 h 549157"/>
              <a:gd name="connsiteX487" fmla="*/ 548068 w 1491135"/>
              <a:gd name="connsiteY487" fmla="*/ 289671 h 549157"/>
              <a:gd name="connsiteX488" fmla="*/ 548068 w 1491135"/>
              <a:gd name="connsiteY488" fmla="*/ 288492 h 549157"/>
              <a:gd name="connsiteX489" fmla="*/ 549603 w 1491135"/>
              <a:gd name="connsiteY489" fmla="*/ 288492 h 549157"/>
              <a:gd name="connsiteX490" fmla="*/ 549603 w 1491135"/>
              <a:gd name="connsiteY490" fmla="*/ 287358 h 549157"/>
              <a:gd name="connsiteX491" fmla="*/ 554206 w 1491135"/>
              <a:gd name="connsiteY491" fmla="*/ 287358 h 549157"/>
              <a:gd name="connsiteX492" fmla="*/ 554206 w 1491135"/>
              <a:gd name="connsiteY492" fmla="*/ 285011 h 549157"/>
              <a:gd name="connsiteX493" fmla="*/ 555741 w 1491135"/>
              <a:gd name="connsiteY493" fmla="*/ 285011 h 549157"/>
              <a:gd name="connsiteX494" fmla="*/ 555741 w 1491135"/>
              <a:gd name="connsiteY494" fmla="*/ 283843 h 549157"/>
              <a:gd name="connsiteX495" fmla="*/ 557276 w 1491135"/>
              <a:gd name="connsiteY495" fmla="*/ 283843 h 549157"/>
              <a:gd name="connsiteX496" fmla="*/ 558810 w 1491135"/>
              <a:gd name="connsiteY496" fmla="*/ 283843 h 549157"/>
              <a:gd name="connsiteX497" fmla="*/ 558810 w 1491135"/>
              <a:gd name="connsiteY497" fmla="*/ 282675 h 549157"/>
              <a:gd name="connsiteX498" fmla="*/ 560345 w 1491135"/>
              <a:gd name="connsiteY498" fmla="*/ 282675 h 549157"/>
              <a:gd name="connsiteX499" fmla="*/ 564915 w 1491135"/>
              <a:gd name="connsiteY499" fmla="*/ 282675 h 549157"/>
              <a:gd name="connsiteX500" fmla="*/ 564915 w 1491135"/>
              <a:gd name="connsiteY500" fmla="*/ 281496 h 549157"/>
              <a:gd name="connsiteX501" fmla="*/ 566439 w 1491135"/>
              <a:gd name="connsiteY501" fmla="*/ 281496 h 549157"/>
              <a:gd name="connsiteX502" fmla="*/ 567973 w 1491135"/>
              <a:gd name="connsiteY502" fmla="*/ 281496 h 549157"/>
              <a:gd name="connsiteX503" fmla="*/ 567973 w 1491135"/>
              <a:gd name="connsiteY503" fmla="*/ 277937 h 549157"/>
              <a:gd name="connsiteX504" fmla="*/ 569508 w 1491135"/>
              <a:gd name="connsiteY504" fmla="*/ 277937 h 549157"/>
              <a:gd name="connsiteX505" fmla="*/ 571054 w 1491135"/>
              <a:gd name="connsiteY505" fmla="*/ 277937 h 549157"/>
              <a:gd name="connsiteX506" fmla="*/ 571054 w 1491135"/>
              <a:gd name="connsiteY506" fmla="*/ 276736 h 549157"/>
              <a:gd name="connsiteX507" fmla="*/ 575646 w 1491135"/>
              <a:gd name="connsiteY507" fmla="*/ 276736 h 549157"/>
              <a:gd name="connsiteX508" fmla="*/ 577181 w 1491135"/>
              <a:gd name="connsiteY508" fmla="*/ 276736 h 549157"/>
              <a:gd name="connsiteX509" fmla="*/ 577181 w 1491135"/>
              <a:gd name="connsiteY509" fmla="*/ 273144 h 549157"/>
              <a:gd name="connsiteX510" fmla="*/ 578715 w 1491135"/>
              <a:gd name="connsiteY510" fmla="*/ 273144 h 549157"/>
              <a:gd name="connsiteX511" fmla="*/ 580250 w 1491135"/>
              <a:gd name="connsiteY511" fmla="*/ 273144 h 549157"/>
              <a:gd name="connsiteX512" fmla="*/ 580250 w 1491135"/>
              <a:gd name="connsiteY512" fmla="*/ 270730 h 549157"/>
              <a:gd name="connsiteX513" fmla="*/ 581740 w 1491135"/>
              <a:gd name="connsiteY513" fmla="*/ 270730 h 549157"/>
              <a:gd name="connsiteX514" fmla="*/ 583286 w 1491135"/>
              <a:gd name="connsiteY514" fmla="*/ 270730 h 549157"/>
              <a:gd name="connsiteX515" fmla="*/ 583286 w 1491135"/>
              <a:gd name="connsiteY515" fmla="*/ 269485 h 549157"/>
              <a:gd name="connsiteX516" fmla="*/ 584821 w 1491135"/>
              <a:gd name="connsiteY516" fmla="*/ 269485 h 549157"/>
              <a:gd name="connsiteX517" fmla="*/ 584821 w 1491135"/>
              <a:gd name="connsiteY517" fmla="*/ 268284 h 549157"/>
              <a:gd name="connsiteX518" fmla="*/ 586355 w 1491135"/>
              <a:gd name="connsiteY518" fmla="*/ 268284 h 549157"/>
              <a:gd name="connsiteX519" fmla="*/ 587878 w 1491135"/>
              <a:gd name="connsiteY519" fmla="*/ 268284 h 549157"/>
              <a:gd name="connsiteX520" fmla="*/ 589424 w 1491135"/>
              <a:gd name="connsiteY520" fmla="*/ 268284 h 549157"/>
              <a:gd name="connsiteX521" fmla="*/ 590959 w 1491135"/>
              <a:gd name="connsiteY521" fmla="*/ 268284 h 549157"/>
              <a:gd name="connsiteX522" fmla="*/ 592482 w 1491135"/>
              <a:gd name="connsiteY522" fmla="*/ 268284 h 549157"/>
              <a:gd name="connsiteX523" fmla="*/ 592482 w 1491135"/>
              <a:gd name="connsiteY523" fmla="*/ 265792 h 549157"/>
              <a:gd name="connsiteX524" fmla="*/ 594017 w 1491135"/>
              <a:gd name="connsiteY524" fmla="*/ 265792 h 549157"/>
              <a:gd name="connsiteX525" fmla="*/ 594017 w 1491135"/>
              <a:gd name="connsiteY525" fmla="*/ 263312 h 549157"/>
              <a:gd name="connsiteX526" fmla="*/ 595563 w 1491135"/>
              <a:gd name="connsiteY526" fmla="*/ 263312 h 549157"/>
              <a:gd name="connsiteX527" fmla="*/ 595563 w 1491135"/>
              <a:gd name="connsiteY527" fmla="*/ 262066 h 549157"/>
              <a:gd name="connsiteX528" fmla="*/ 597086 w 1491135"/>
              <a:gd name="connsiteY528" fmla="*/ 262066 h 549157"/>
              <a:gd name="connsiteX529" fmla="*/ 598587 w 1491135"/>
              <a:gd name="connsiteY529" fmla="*/ 262066 h 549157"/>
              <a:gd name="connsiteX530" fmla="*/ 600122 w 1491135"/>
              <a:gd name="connsiteY530" fmla="*/ 262066 h 549157"/>
              <a:gd name="connsiteX531" fmla="*/ 600122 w 1491135"/>
              <a:gd name="connsiteY531" fmla="*/ 260787 h 549157"/>
              <a:gd name="connsiteX532" fmla="*/ 601645 w 1491135"/>
              <a:gd name="connsiteY532" fmla="*/ 260787 h 549157"/>
              <a:gd name="connsiteX533" fmla="*/ 601645 w 1491135"/>
              <a:gd name="connsiteY533" fmla="*/ 259542 h 549157"/>
              <a:gd name="connsiteX534" fmla="*/ 603191 w 1491135"/>
              <a:gd name="connsiteY534" fmla="*/ 259542 h 549157"/>
              <a:gd name="connsiteX535" fmla="*/ 606260 w 1491135"/>
              <a:gd name="connsiteY535" fmla="*/ 259542 h 549157"/>
              <a:gd name="connsiteX536" fmla="*/ 606260 w 1491135"/>
              <a:gd name="connsiteY536" fmla="*/ 258274 h 549157"/>
              <a:gd name="connsiteX537" fmla="*/ 607784 w 1491135"/>
              <a:gd name="connsiteY537" fmla="*/ 258274 h 549157"/>
              <a:gd name="connsiteX538" fmla="*/ 607784 w 1491135"/>
              <a:gd name="connsiteY538" fmla="*/ 256995 h 549157"/>
              <a:gd name="connsiteX539" fmla="*/ 609329 w 1491135"/>
              <a:gd name="connsiteY539" fmla="*/ 256995 h 549157"/>
              <a:gd name="connsiteX540" fmla="*/ 610864 w 1491135"/>
              <a:gd name="connsiteY540" fmla="*/ 256995 h 549157"/>
              <a:gd name="connsiteX541" fmla="*/ 612387 w 1491135"/>
              <a:gd name="connsiteY541" fmla="*/ 256995 h 549157"/>
              <a:gd name="connsiteX542" fmla="*/ 613922 w 1491135"/>
              <a:gd name="connsiteY542" fmla="*/ 256995 h 549157"/>
              <a:gd name="connsiteX543" fmla="*/ 613922 w 1491135"/>
              <a:gd name="connsiteY543" fmla="*/ 255716 h 549157"/>
              <a:gd name="connsiteX544" fmla="*/ 615467 w 1491135"/>
              <a:gd name="connsiteY544" fmla="*/ 255716 h 549157"/>
              <a:gd name="connsiteX545" fmla="*/ 615467 w 1491135"/>
              <a:gd name="connsiteY545" fmla="*/ 254414 h 549157"/>
              <a:gd name="connsiteX546" fmla="*/ 618492 w 1491135"/>
              <a:gd name="connsiteY546" fmla="*/ 254414 h 549157"/>
              <a:gd name="connsiteX547" fmla="*/ 620027 w 1491135"/>
              <a:gd name="connsiteY547" fmla="*/ 254414 h 549157"/>
              <a:gd name="connsiteX548" fmla="*/ 621561 w 1491135"/>
              <a:gd name="connsiteY548" fmla="*/ 254414 h 549157"/>
              <a:gd name="connsiteX549" fmla="*/ 623096 w 1491135"/>
              <a:gd name="connsiteY549" fmla="*/ 254414 h 549157"/>
              <a:gd name="connsiteX550" fmla="*/ 623096 w 1491135"/>
              <a:gd name="connsiteY550" fmla="*/ 253091 h 549157"/>
              <a:gd name="connsiteX551" fmla="*/ 624631 w 1491135"/>
              <a:gd name="connsiteY551" fmla="*/ 253091 h 549157"/>
              <a:gd name="connsiteX552" fmla="*/ 624631 w 1491135"/>
              <a:gd name="connsiteY552" fmla="*/ 251790 h 549157"/>
              <a:gd name="connsiteX553" fmla="*/ 626165 w 1491135"/>
              <a:gd name="connsiteY553" fmla="*/ 251790 h 549157"/>
              <a:gd name="connsiteX554" fmla="*/ 626165 w 1491135"/>
              <a:gd name="connsiteY554" fmla="*/ 250477 h 549157"/>
              <a:gd name="connsiteX555" fmla="*/ 627689 w 1491135"/>
              <a:gd name="connsiteY555" fmla="*/ 250477 h 549157"/>
              <a:gd name="connsiteX556" fmla="*/ 627689 w 1491135"/>
              <a:gd name="connsiteY556" fmla="*/ 249165 h 549157"/>
              <a:gd name="connsiteX557" fmla="*/ 629234 w 1491135"/>
              <a:gd name="connsiteY557" fmla="*/ 249165 h 549157"/>
              <a:gd name="connsiteX558" fmla="*/ 629234 w 1491135"/>
              <a:gd name="connsiteY558" fmla="*/ 247819 h 549157"/>
              <a:gd name="connsiteX559" fmla="*/ 630769 w 1491135"/>
              <a:gd name="connsiteY559" fmla="*/ 247819 h 549157"/>
              <a:gd name="connsiteX560" fmla="*/ 632292 w 1491135"/>
              <a:gd name="connsiteY560" fmla="*/ 247819 h 549157"/>
              <a:gd name="connsiteX561" fmla="*/ 633794 w 1491135"/>
              <a:gd name="connsiteY561" fmla="*/ 247819 h 549157"/>
              <a:gd name="connsiteX562" fmla="*/ 633794 w 1491135"/>
              <a:gd name="connsiteY562" fmla="*/ 246507 h 549157"/>
              <a:gd name="connsiteX563" fmla="*/ 635339 w 1491135"/>
              <a:gd name="connsiteY563" fmla="*/ 246507 h 549157"/>
              <a:gd name="connsiteX564" fmla="*/ 638397 w 1491135"/>
              <a:gd name="connsiteY564" fmla="*/ 246507 h 549157"/>
              <a:gd name="connsiteX565" fmla="*/ 638397 w 1491135"/>
              <a:gd name="connsiteY565" fmla="*/ 243815 h 549157"/>
              <a:gd name="connsiteX566" fmla="*/ 639932 w 1491135"/>
              <a:gd name="connsiteY566" fmla="*/ 243815 h 549157"/>
              <a:gd name="connsiteX567" fmla="*/ 641478 w 1491135"/>
              <a:gd name="connsiteY567" fmla="*/ 243815 h 549157"/>
              <a:gd name="connsiteX568" fmla="*/ 643001 w 1491135"/>
              <a:gd name="connsiteY568" fmla="*/ 243815 h 549157"/>
              <a:gd name="connsiteX569" fmla="*/ 644536 w 1491135"/>
              <a:gd name="connsiteY569" fmla="*/ 243815 h 549157"/>
              <a:gd name="connsiteX570" fmla="*/ 646070 w 1491135"/>
              <a:gd name="connsiteY570" fmla="*/ 243815 h 549157"/>
              <a:gd name="connsiteX571" fmla="*/ 649139 w 1491135"/>
              <a:gd name="connsiteY571" fmla="*/ 243815 h 549157"/>
              <a:gd name="connsiteX572" fmla="*/ 649139 w 1491135"/>
              <a:gd name="connsiteY572" fmla="*/ 242470 h 549157"/>
              <a:gd name="connsiteX573" fmla="*/ 650674 w 1491135"/>
              <a:gd name="connsiteY573" fmla="*/ 242470 h 549157"/>
              <a:gd name="connsiteX574" fmla="*/ 652164 w 1491135"/>
              <a:gd name="connsiteY574" fmla="*/ 242470 h 549157"/>
              <a:gd name="connsiteX575" fmla="*/ 653699 w 1491135"/>
              <a:gd name="connsiteY575" fmla="*/ 242470 h 549157"/>
              <a:gd name="connsiteX576" fmla="*/ 655244 w 1491135"/>
              <a:gd name="connsiteY576" fmla="*/ 242470 h 549157"/>
              <a:gd name="connsiteX577" fmla="*/ 656779 w 1491135"/>
              <a:gd name="connsiteY577" fmla="*/ 242470 h 549157"/>
              <a:gd name="connsiteX578" fmla="*/ 658303 w 1491135"/>
              <a:gd name="connsiteY578" fmla="*/ 242470 h 549157"/>
              <a:gd name="connsiteX579" fmla="*/ 658303 w 1491135"/>
              <a:gd name="connsiteY579" fmla="*/ 241090 h 549157"/>
              <a:gd name="connsiteX580" fmla="*/ 661383 w 1491135"/>
              <a:gd name="connsiteY580" fmla="*/ 241090 h 549157"/>
              <a:gd name="connsiteX581" fmla="*/ 661383 w 1491135"/>
              <a:gd name="connsiteY581" fmla="*/ 239711 h 549157"/>
              <a:gd name="connsiteX582" fmla="*/ 662906 w 1491135"/>
              <a:gd name="connsiteY582" fmla="*/ 239711 h 549157"/>
              <a:gd name="connsiteX583" fmla="*/ 662906 w 1491135"/>
              <a:gd name="connsiteY583" fmla="*/ 238332 h 549157"/>
              <a:gd name="connsiteX584" fmla="*/ 664441 w 1491135"/>
              <a:gd name="connsiteY584" fmla="*/ 238332 h 549157"/>
              <a:gd name="connsiteX585" fmla="*/ 664441 w 1491135"/>
              <a:gd name="connsiteY585" fmla="*/ 236953 h 549157"/>
              <a:gd name="connsiteX586" fmla="*/ 665975 w 1491135"/>
              <a:gd name="connsiteY586" fmla="*/ 236953 h 549157"/>
              <a:gd name="connsiteX587" fmla="*/ 667510 w 1491135"/>
              <a:gd name="connsiteY587" fmla="*/ 236953 h 549157"/>
              <a:gd name="connsiteX588" fmla="*/ 672080 w 1491135"/>
              <a:gd name="connsiteY588" fmla="*/ 236953 h 549157"/>
              <a:gd name="connsiteX589" fmla="*/ 672080 w 1491135"/>
              <a:gd name="connsiteY589" fmla="*/ 235529 h 549157"/>
              <a:gd name="connsiteX590" fmla="*/ 673604 w 1491135"/>
              <a:gd name="connsiteY590" fmla="*/ 235529 h 549157"/>
              <a:gd name="connsiteX591" fmla="*/ 675149 w 1491135"/>
              <a:gd name="connsiteY591" fmla="*/ 235529 h 549157"/>
              <a:gd name="connsiteX592" fmla="*/ 676684 w 1491135"/>
              <a:gd name="connsiteY592" fmla="*/ 235529 h 549157"/>
              <a:gd name="connsiteX593" fmla="*/ 678207 w 1491135"/>
              <a:gd name="connsiteY593" fmla="*/ 235529 h 549157"/>
              <a:gd name="connsiteX594" fmla="*/ 681288 w 1491135"/>
              <a:gd name="connsiteY594" fmla="*/ 235529 h 549157"/>
              <a:gd name="connsiteX595" fmla="*/ 681288 w 1491135"/>
              <a:gd name="connsiteY595" fmla="*/ 234117 h 549157"/>
              <a:gd name="connsiteX596" fmla="*/ 684346 w 1491135"/>
              <a:gd name="connsiteY596" fmla="*/ 234117 h 549157"/>
              <a:gd name="connsiteX597" fmla="*/ 685880 w 1491135"/>
              <a:gd name="connsiteY597" fmla="*/ 234117 h 549157"/>
              <a:gd name="connsiteX598" fmla="*/ 687370 w 1491135"/>
              <a:gd name="connsiteY598" fmla="*/ 234117 h 549157"/>
              <a:gd name="connsiteX599" fmla="*/ 687370 w 1491135"/>
              <a:gd name="connsiteY599" fmla="*/ 232671 h 549157"/>
              <a:gd name="connsiteX600" fmla="*/ 688916 w 1491135"/>
              <a:gd name="connsiteY600" fmla="*/ 232671 h 549157"/>
              <a:gd name="connsiteX601" fmla="*/ 690451 w 1491135"/>
              <a:gd name="connsiteY601" fmla="*/ 232671 h 549157"/>
              <a:gd name="connsiteX602" fmla="*/ 690451 w 1491135"/>
              <a:gd name="connsiteY602" fmla="*/ 231259 h 549157"/>
              <a:gd name="connsiteX603" fmla="*/ 691985 w 1491135"/>
              <a:gd name="connsiteY603" fmla="*/ 231259 h 549157"/>
              <a:gd name="connsiteX604" fmla="*/ 691985 w 1491135"/>
              <a:gd name="connsiteY604" fmla="*/ 229802 h 549157"/>
              <a:gd name="connsiteX605" fmla="*/ 693520 w 1491135"/>
              <a:gd name="connsiteY605" fmla="*/ 229802 h 549157"/>
              <a:gd name="connsiteX606" fmla="*/ 695055 w 1491135"/>
              <a:gd name="connsiteY606" fmla="*/ 229802 h 549157"/>
              <a:gd name="connsiteX607" fmla="*/ 696589 w 1491135"/>
              <a:gd name="connsiteY607" fmla="*/ 229802 h 549157"/>
              <a:gd name="connsiteX608" fmla="*/ 698113 w 1491135"/>
              <a:gd name="connsiteY608" fmla="*/ 229802 h 549157"/>
              <a:gd name="connsiteX609" fmla="*/ 699658 w 1491135"/>
              <a:gd name="connsiteY609" fmla="*/ 229802 h 549157"/>
              <a:gd name="connsiteX610" fmla="*/ 699658 w 1491135"/>
              <a:gd name="connsiteY610" fmla="*/ 226865 h 549157"/>
              <a:gd name="connsiteX611" fmla="*/ 704251 w 1491135"/>
              <a:gd name="connsiteY611" fmla="*/ 226865 h 549157"/>
              <a:gd name="connsiteX612" fmla="*/ 705752 w 1491135"/>
              <a:gd name="connsiteY612" fmla="*/ 226865 h 549157"/>
              <a:gd name="connsiteX613" fmla="*/ 707287 w 1491135"/>
              <a:gd name="connsiteY613" fmla="*/ 226865 h 549157"/>
              <a:gd name="connsiteX614" fmla="*/ 707287 w 1491135"/>
              <a:gd name="connsiteY614" fmla="*/ 225420 h 549157"/>
              <a:gd name="connsiteX615" fmla="*/ 708821 w 1491135"/>
              <a:gd name="connsiteY615" fmla="*/ 225420 h 549157"/>
              <a:gd name="connsiteX616" fmla="*/ 710356 w 1491135"/>
              <a:gd name="connsiteY616" fmla="*/ 225420 h 549157"/>
              <a:gd name="connsiteX617" fmla="*/ 711891 w 1491135"/>
              <a:gd name="connsiteY617" fmla="*/ 225420 h 549157"/>
              <a:gd name="connsiteX618" fmla="*/ 711891 w 1491135"/>
              <a:gd name="connsiteY618" fmla="*/ 223940 h 549157"/>
              <a:gd name="connsiteX619" fmla="*/ 713425 w 1491135"/>
              <a:gd name="connsiteY619" fmla="*/ 223940 h 549157"/>
              <a:gd name="connsiteX620" fmla="*/ 713425 w 1491135"/>
              <a:gd name="connsiteY620" fmla="*/ 222450 h 549157"/>
              <a:gd name="connsiteX621" fmla="*/ 714960 w 1491135"/>
              <a:gd name="connsiteY621" fmla="*/ 222450 h 549157"/>
              <a:gd name="connsiteX622" fmla="*/ 716494 w 1491135"/>
              <a:gd name="connsiteY622" fmla="*/ 222450 h 549157"/>
              <a:gd name="connsiteX623" fmla="*/ 718018 w 1491135"/>
              <a:gd name="connsiteY623" fmla="*/ 222450 h 549157"/>
              <a:gd name="connsiteX624" fmla="*/ 719564 w 1491135"/>
              <a:gd name="connsiteY624" fmla="*/ 222450 h 549157"/>
              <a:gd name="connsiteX625" fmla="*/ 719564 w 1491135"/>
              <a:gd name="connsiteY625" fmla="*/ 220971 h 549157"/>
              <a:gd name="connsiteX626" fmla="*/ 721098 w 1491135"/>
              <a:gd name="connsiteY626" fmla="*/ 220971 h 549157"/>
              <a:gd name="connsiteX627" fmla="*/ 722588 w 1491135"/>
              <a:gd name="connsiteY627" fmla="*/ 220971 h 549157"/>
              <a:gd name="connsiteX628" fmla="*/ 722588 w 1491135"/>
              <a:gd name="connsiteY628" fmla="*/ 219480 h 549157"/>
              <a:gd name="connsiteX629" fmla="*/ 724123 w 1491135"/>
              <a:gd name="connsiteY629" fmla="*/ 219480 h 549157"/>
              <a:gd name="connsiteX630" fmla="*/ 724123 w 1491135"/>
              <a:gd name="connsiteY630" fmla="*/ 217968 h 549157"/>
              <a:gd name="connsiteX631" fmla="*/ 725657 w 1491135"/>
              <a:gd name="connsiteY631" fmla="*/ 217968 h 549157"/>
              <a:gd name="connsiteX632" fmla="*/ 725657 w 1491135"/>
              <a:gd name="connsiteY632" fmla="*/ 216489 h 549157"/>
              <a:gd name="connsiteX633" fmla="*/ 727203 w 1491135"/>
              <a:gd name="connsiteY633" fmla="*/ 216489 h 549157"/>
              <a:gd name="connsiteX634" fmla="*/ 728726 w 1491135"/>
              <a:gd name="connsiteY634" fmla="*/ 216489 h 549157"/>
              <a:gd name="connsiteX635" fmla="*/ 730261 w 1491135"/>
              <a:gd name="connsiteY635" fmla="*/ 216489 h 549157"/>
              <a:gd name="connsiteX636" fmla="*/ 731795 w 1491135"/>
              <a:gd name="connsiteY636" fmla="*/ 216489 h 549157"/>
              <a:gd name="connsiteX637" fmla="*/ 731795 w 1491135"/>
              <a:gd name="connsiteY637" fmla="*/ 214932 h 549157"/>
              <a:gd name="connsiteX638" fmla="*/ 733330 w 1491135"/>
              <a:gd name="connsiteY638" fmla="*/ 214932 h 549157"/>
              <a:gd name="connsiteX639" fmla="*/ 734865 w 1491135"/>
              <a:gd name="connsiteY639" fmla="*/ 214932 h 549157"/>
              <a:gd name="connsiteX640" fmla="*/ 734865 w 1491135"/>
              <a:gd name="connsiteY640" fmla="*/ 213419 h 549157"/>
              <a:gd name="connsiteX641" fmla="*/ 736399 w 1491135"/>
              <a:gd name="connsiteY641" fmla="*/ 213419 h 549157"/>
              <a:gd name="connsiteX642" fmla="*/ 737923 w 1491135"/>
              <a:gd name="connsiteY642" fmla="*/ 213419 h 549157"/>
              <a:gd name="connsiteX643" fmla="*/ 739468 w 1491135"/>
              <a:gd name="connsiteY643" fmla="*/ 213419 h 549157"/>
              <a:gd name="connsiteX644" fmla="*/ 739468 w 1491135"/>
              <a:gd name="connsiteY644" fmla="*/ 211862 h 549157"/>
              <a:gd name="connsiteX645" fmla="*/ 740970 w 1491135"/>
              <a:gd name="connsiteY645" fmla="*/ 211862 h 549157"/>
              <a:gd name="connsiteX646" fmla="*/ 740970 w 1491135"/>
              <a:gd name="connsiteY646" fmla="*/ 208792 h 549157"/>
              <a:gd name="connsiteX647" fmla="*/ 742504 w 1491135"/>
              <a:gd name="connsiteY647" fmla="*/ 208792 h 549157"/>
              <a:gd name="connsiteX648" fmla="*/ 744028 w 1491135"/>
              <a:gd name="connsiteY648" fmla="*/ 208792 h 549157"/>
              <a:gd name="connsiteX649" fmla="*/ 744028 w 1491135"/>
              <a:gd name="connsiteY649" fmla="*/ 207235 h 549157"/>
              <a:gd name="connsiteX650" fmla="*/ 747108 w 1491135"/>
              <a:gd name="connsiteY650" fmla="*/ 207235 h 549157"/>
              <a:gd name="connsiteX651" fmla="*/ 748631 w 1491135"/>
              <a:gd name="connsiteY651" fmla="*/ 207235 h 549157"/>
              <a:gd name="connsiteX652" fmla="*/ 750166 w 1491135"/>
              <a:gd name="connsiteY652" fmla="*/ 207235 h 549157"/>
              <a:gd name="connsiteX653" fmla="*/ 750166 w 1491135"/>
              <a:gd name="connsiteY653" fmla="*/ 205689 h 549157"/>
              <a:gd name="connsiteX654" fmla="*/ 751712 w 1491135"/>
              <a:gd name="connsiteY654" fmla="*/ 205689 h 549157"/>
              <a:gd name="connsiteX655" fmla="*/ 751712 w 1491135"/>
              <a:gd name="connsiteY655" fmla="*/ 204099 h 549157"/>
              <a:gd name="connsiteX656" fmla="*/ 753235 w 1491135"/>
              <a:gd name="connsiteY656" fmla="*/ 204099 h 549157"/>
              <a:gd name="connsiteX657" fmla="*/ 757795 w 1491135"/>
              <a:gd name="connsiteY657" fmla="*/ 204099 h 549157"/>
              <a:gd name="connsiteX658" fmla="*/ 757795 w 1491135"/>
              <a:gd name="connsiteY658" fmla="*/ 202542 h 549157"/>
              <a:gd name="connsiteX659" fmla="*/ 759340 w 1491135"/>
              <a:gd name="connsiteY659" fmla="*/ 202542 h 549157"/>
              <a:gd name="connsiteX660" fmla="*/ 759340 w 1491135"/>
              <a:gd name="connsiteY660" fmla="*/ 200951 h 549157"/>
              <a:gd name="connsiteX661" fmla="*/ 760875 w 1491135"/>
              <a:gd name="connsiteY661" fmla="*/ 200951 h 549157"/>
              <a:gd name="connsiteX662" fmla="*/ 762410 w 1491135"/>
              <a:gd name="connsiteY662" fmla="*/ 200951 h 549157"/>
              <a:gd name="connsiteX663" fmla="*/ 763933 w 1491135"/>
              <a:gd name="connsiteY663" fmla="*/ 200951 h 549157"/>
              <a:gd name="connsiteX664" fmla="*/ 765479 w 1491135"/>
              <a:gd name="connsiteY664" fmla="*/ 200951 h 549157"/>
              <a:gd name="connsiteX665" fmla="*/ 765479 w 1491135"/>
              <a:gd name="connsiteY665" fmla="*/ 196158 h 549157"/>
              <a:gd name="connsiteX666" fmla="*/ 768537 w 1491135"/>
              <a:gd name="connsiteY666" fmla="*/ 196158 h 549157"/>
              <a:gd name="connsiteX667" fmla="*/ 770071 w 1491135"/>
              <a:gd name="connsiteY667" fmla="*/ 196158 h 549157"/>
              <a:gd name="connsiteX668" fmla="*/ 771617 w 1491135"/>
              <a:gd name="connsiteY668" fmla="*/ 196158 h 549157"/>
              <a:gd name="connsiteX669" fmla="*/ 773140 w 1491135"/>
              <a:gd name="connsiteY669" fmla="*/ 196158 h 549157"/>
              <a:gd name="connsiteX670" fmla="*/ 774675 w 1491135"/>
              <a:gd name="connsiteY670" fmla="*/ 196158 h 549157"/>
              <a:gd name="connsiteX671" fmla="*/ 779245 w 1491135"/>
              <a:gd name="connsiteY671" fmla="*/ 196158 h 549157"/>
              <a:gd name="connsiteX672" fmla="*/ 780780 w 1491135"/>
              <a:gd name="connsiteY672" fmla="*/ 196158 h 549157"/>
              <a:gd name="connsiteX673" fmla="*/ 780780 w 1491135"/>
              <a:gd name="connsiteY673" fmla="*/ 194545 h 549157"/>
              <a:gd name="connsiteX674" fmla="*/ 782314 w 1491135"/>
              <a:gd name="connsiteY674" fmla="*/ 194545 h 549157"/>
              <a:gd name="connsiteX675" fmla="*/ 783838 w 1491135"/>
              <a:gd name="connsiteY675" fmla="*/ 194545 h 549157"/>
              <a:gd name="connsiteX676" fmla="*/ 785384 w 1491135"/>
              <a:gd name="connsiteY676" fmla="*/ 194545 h 549157"/>
              <a:gd name="connsiteX677" fmla="*/ 789976 w 1491135"/>
              <a:gd name="connsiteY677" fmla="*/ 194545 h 549157"/>
              <a:gd name="connsiteX678" fmla="*/ 791522 w 1491135"/>
              <a:gd name="connsiteY678" fmla="*/ 194545 h 549157"/>
              <a:gd name="connsiteX679" fmla="*/ 793046 w 1491135"/>
              <a:gd name="connsiteY679" fmla="*/ 194545 h 549157"/>
              <a:gd name="connsiteX680" fmla="*/ 794547 w 1491135"/>
              <a:gd name="connsiteY680" fmla="*/ 194545 h 549157"/>
              <a:gd name="connsiteX681" fmla="*/ 796081 w 1491135"/>
              <a:gd name="connsiteY681" fmla="*/ 194545 h 549157"/>
              <a:gd name="connsiteX682" fmla="*/ 800685 w 1491135"/>
              <a:gd name="connsiteY682" fmla="*/ 194545 h 549157"/>
              <a:gd name="connsiteX683" fmla="*/ 802220 w 1491135"/>
              <a:gd name="connsiteY683" fmla="*/ 194545 h 549157"/>
              <a:gd name="connsiteX684" fmla="*/ 803754 w 1491135"/>
              <a:gd name="connsiteY684" fmla="*/ 194545 h 549157"/>
              <a:gd name="connsiteX685" fmla="*/ 805289 w 1491135"/>
              <a:gd name="connsiteY685" fmla="*/ 194545 h 549157"/>
              <a:gd name="connsiteX686" fmla="*/ 805289 w 1491135"/>
              <a:gd name="connsiteY686" fmla="*/ 192888 h 549157"/>
              <a:gd name="connsiteX687" fmla="*/ 806823 w 1491135"/>
              <a:gd name="connsiteY687" fmla="*/ 192888 h 549157"/>
              <a:gd name="connsiteX688" fmla="*/ 806823 w 1491135"/>
              <a:gd name="connsiteY688" fmla="*/ 191186 h 549157"/>
              <a:gd name="connsiteX689" fmla="*/ 808347 w 1491135"/>
              <a:gd name="connsiteY689" fmla="*/ 191186 h 549157"/>
              <a:gd name="connsiteX690" fmla="*/ 808347 w 1491135"/>
              <a:gd name="connsiteY690" fmla="*/ 189507 h 549157"/>
              <a:gd name="connsiteX691" fmla="*/ 809892 w 1491135"/>
              <a:gd name="connsiteY691" fmla="*/ 189507 h 549157"/>
              <a:gd name="connsiteX692" fmla="*/ 811394 w 1491135"/>
              <a:gd name="connsiteY692" fmla="*/ 189507 h 549157"/>
              <a:gd name="connsiteX693" fmla="*/ 812928 w 1491135"/>
              <a:gd name="connsiteY693" fmla="*/ 189507 h 549157"/>
              <a:gd name="connsiteX694" fmla="*/ 814452 w 1491135"/>
              <a:gd name="connsiteY694" fmla="*/ 189507 h 549157"/>
              <a:gd name="connsiteX695" fmla="*/ 814452 w 1491135"/>
              <a:gd name="connsiteY695" fmla="*/ 186115 h 549157"/>
              <a:gd name="connsiteX696" fmla="*/ 815986 w 1491135"/>
              <a:gd name="connsiteY696" fmla="*/ 186115 h 549157"/>
              <a:gd name="connsiteX697" fmla="*/ 815986 w 1491135"/>
              <a:gd name="connsiteY697" fmla="*/ 184435 h 549157"/>
              <a:gd name="connsiteX698" fmla="*/ 822125 w 1491135"/>
              <a:gd name="connsiteY698" fmla="*/ 184435 h 549157"/>
              <a:gd name="connsiteX699" fmla="*/ 825194 w 1491135"/>
              <a:gd name="connsiteY699" fmla="*/ 184435 h 549157"/>
              <a:gd name="connsiteX700" fmla="*/ 826728 w 1491135"/>
              <a:gd name="connsiteY700" fmla="*/ 184435 h 549157"/>
              <a:gd name="connsiteX701" fmla="*/ 828252 w 1491135"/>
              <a:gd name="connsiteY701" fmla="*/ 184435 h 549157"/>
              <a:gd name="connsiteX702" fmla="*/ 831299 w 1491135"/>
              <a:gd name="connsiteY702" fmla="*/ 184435 h 549157"/>
              <a:gd name="connsiteX703" fmla="*/ 831299 w 1491135"/>
              <a:gd name="connsiteY703" fmla="*/ 182700 h 549157"/>
              <a:gd name="connsiteX704" fmla="*/ 832833 w 1491135"/>
              <a:gd name="connsiteY704" fmla="*/ 182700 h 549157"/>
              <a:gd name="connsiteX705" fmla="*/ 834357 w 1491135"/>
              <a:gd name="connsiteY705" fmla="*/ 182700 h 549157"/>
              <a:gd name="connsiteX706" fmla="*/ 835892 w 1491135"/>
              <a:gd name="connsiteY706" fmla="*/ 182700 h 549157"/>
              <a:gd name="connsiteX707" fmla="*/ 838961 w 1491135"/>
              <a:gd name="connsiteY707" fmla="*/ 182700 h 549157"/>
              <a:gd name="connsiteX708" fmla="*/ 838961 w 1491135"/>
              <a:gd name="connsiteY708" fmla="*/ 180976 h 549157"/>
              <a:gd name="connsiteX709" fmla="*/ 843564 w 1491135"/>
              <a:gd name="connsiteY709" fmla="*/ 180976 h 549157"/>
              <a:gd name="connsiteX710" fmla="*/ 845099 w 1491135"/>
              <a:gd name="connsiteY710" fmla="*/ 180976 h 549157"/>
              <a:gd name="connsiteX711" fmla="*/ 846600 w 1491135"/>
              <a:gd name="connsiteY711" fmla="*/ 180976 h 549157"/>
              <a:gd name="connsiteX712" fmla="*/ 848135 w 1491135"/>
              <a:gd name="connsiteY712" fmla="*/ 180976 h 549157"/>
              <a:gd name="connsiteX713" fmla="*/ 849658 w 1491135"/>
              <a:gd name="connsiteY713" fmla="*/ 180976 h 549157"/>
              <a:gd name="connsiteX714" fmla="*/ 852738 w 1491135"/>
              <a:gd name="connsiteY714" fmla="*/ 180976 h 549157"/>
              <a:gd name="connsiteX715" fmla="*/ 854262 w 1491135"/>
              <a:gd name="connsiteY715" fmla="*/ 180976 h 549157"/>
              <a:gd name="connsiteX716" fmla="*/ 855796 w 1491135"/>
              <a:gd name="connsiteY716" fmla="*/ 180976 h 549157"/>
              <a:gd name="connsiteX717" fmla="*/ 857342 w 1491135"/>
              <a:gd name="connsiteY717" fmla="*/ 180976 h 549157"/>
              <a:gd name="connsiteX718" fmla="*/ 858866 w 1491135"/>
              <a:gd name="connsiteY718" fmla="*/ 180976 h 549157"/>
              <a:gd name="connsiteX719" fmla="*/ 860400 w 1491135"/>
              <a:gd name="connsiteY719" fmla="*/ 180976 h 549157"/>
              <a:gd name="connsiteX720" fmla="*/ 864971 w 1491135"/>
              <a:gd name="connsiteY720" fmla="*/ 180976 h 549157"/>
              <a:gd name="connsiteX721" fmla="*/ 866505 w 1491135"/>
              <a:gd name="connsiteY721" fmla="*/ 180976 h 549157"/>
              <a:gd name="connsiteX722" fmla="*/ 866505 w 1491135"/>
              <a:gd name="connsiteY722" fmla="*/ 179186 h 549157"/>
              <a:gd name="connsiteX723" fmla="*/ 868040 w 1491135"/>
              <a:gd name="connsiteY723" fmla="*/ 179186 h 549157"/>
              <a:gd name="connsiteX724" fmla="*/ 869574 w 1491135"/>
              <a:gd name="connsiteY724" fmla="*/ 179186 h 549157"/>
              <a:gd name="connsiteX725" fmla="*/ 871109 w 1491135"/>
              <a:gd name="connsiteY725" fmla="*/ 179186 h 549157"/>
              <a:gd name="connsiteX726" fmla="*/ 874167 w 1491135"/>
              <a:gd name="connsiteY726" fmla="*/ 179186 h 549157"/>
              <a:gd name="connsiteX727" fmla="*/ 874167 w 1491135"/>
              <a:gd name="connsiteY727" fmla="*/ 177317 h 549157"/>
              <a:gd name="connsiteX728" fmla="*/ 875713 w 1491135"/>
              <a:gd name="connsiteY728" fmla="*/ 177317 h 549157"/>
              <a:gd name="connsiteX729" fmla="*/ 877247 w 1491135"/>
              <a:gd name="connsiteY729" fmla="*/ 177317 h 549157"/>
              <a:gd name="connsiteX730" fmla="*/ 878771 w 1491135"/>
              <a:gd name="connsiteY730" fmla="*/ 177317 h 549157"/>
              <a:gd name="connsiteX731" fmla="*/ 880305 w 1491135"/>
              <a:gd name="connsiteY731" fmla="*/ 177317 h 549157"/>
              <a:gd name="connsiteX732" fmla="*/ 881807 w 1491135"/>
              <a:gd name="connsiteY732" fmla="*/ 177317 h 549157"/>
              <a:gd name="connsiteX733" fmla="*/ 886410 w 1491135"/>
              <a:gd name="connsiteY733" fmla="*/ 177317 h 549157"/>
              <a:gd name="connsiteX734" fmla="*/ 886410 w 1491135"/>
              <a:gd name="connsiteY734" fmla="*/ 175460 h 549157"/>
              <a:gd name="connsiteX735" fmla="*/ 887945 w 1491135"/>
              <a:gd name="connsiteY735" fmla="*/ 175460 h 549157"/>
              <a:gd name="connsiteX736" fmla="*/ 889480 w 1491135"/>
              <a:gd name="connsiteY736" fmla="*/ 175460 h 549157"/>
              <a:gd name="connsiteX737" fmla="*/ 891014 w 1491135"/>
              <a:gd name="connsiteY737" fmla="*/ 175460 h 549157"/>
              <a:gd name="connsiteX738" fmla="*/ 892549 w 1491135"/>
              <a:gd name="connsiteY738" fmla="*/ 175460 h 549157"/>
              <a:gd name="connsiteX739" fmla="*/ 898676 w 1491135"/>
              <a:gd name="connsiteY739" fmla="*/ 175460 h 549157"/>
              <a:gd name="connsiteX740" fmla="*/ 898676 w 1491135"/>
              <a:gd name="connsiteY740" fmla="*/ 173525 h 549157"/>
              <a:gd name="connsiteX741" fmla="*/ 900177 w 1491135"/>
              <a:gd name="connsiteY741" fmla="*/ 173525 h 549157"/>
              <a:gd name="connsiteX742" fmla="*/ 903257 w 1491135"/>
              <a:gd name="connsiteY742" fmla="*/ 173525 h 549157"/>
              <a:gd name="connsiteX743" fmla="*/ 906315 w 1491135"/>
              <a:gd name="connsiteY743" fmla="*/ 173525 h 549157"/>
              <a:gd name="connsiteX744" fmla="*/ 906315 w 1491135"/>
              <a:gd name="connsiteY744" fmla="*/ 169621 h 549157"/>
              <a:gd name="connsiteX745" fmla="*/ 907850 w 1491135"/>
              <a:gd name="connsiteY745" fmla="*/ 169621 h 549157"/>
              <a:gd name="connsiteX746" fmla="*/ 909384 w 1491135"/>
              <a:gd name="connsiteY746" fmla="*/ 169621 h 549157"/>
              <a:gd name="connsiteX747" fmla="*/ 910919 w 1491135"/>
              <a:gd name="connsiteY747" fmla="*/ 169621 h 549157"/>
              <a:gd name="connsiteX748" fmla="*/ 910919 w 1491135"/>
              <a:gd name="connsiteY748" fmla="*/ 167663 h 549157"/>
              <a:gd name="connsiteX749" fmla="*/ 912454 w 1491135"/>
              <a:gd name="connsiteY749" fmla="*/ 167663 h 549157"/>
              <a:gd name="connsiteX750" fmla="*/ 913988 w 1491135"/>
              <a:gd name="connsiteY750" fmla="*/ 167663 h 549157"/>
              <a:gd name="connsiteX751" fmla="*/ 918559 w 1491135"/>
              <a:gd name="connsiteY751" fmla="*/ 167663 h 549157"/>
              <a:gd name="connsiteX752" fmla="*/ 918559 w 1491135"/>
              <a:gd name="connsiteY752" fmla="*/ 165695 h 549157"/>
              <a:gd name="connsiteX753" fmla="*/ 920082 w 1491135"/>
              <a:gd name="connsiteY753" fmla="*/ 165695 h 549157"/>
              <a:gd name="connsiteX754" fmla="*/ 920082 w 1491135"/>
              <a:gd name="connsiteY754" fmla="*/ 163693 h 549157"/>
              <a:gd name="connsiteX755" fmla="*/ 921628 w 1491135"/>
              <a:gd name="connsiteY755" fmla="*/ 163693 h 549157"/>
              <a:gd name="connsiteX756" fmla="*/ 923162 w 1491135"/>
              <a:gd name="connsiteY756" fmla="*/ 163693 h 549157"/>
              <a:gd name="connsiteX757" fmla="*/ 923162 w 1491135"/>
              <a:gd name="connsiteY757" fmla="*/ 161691 h 549157"/>
              <a:gd name="connsiteX758" fmla="*/ 924686 w 1491135"/>
              <a:gd name="connsiteY758" fmla="*/ 161691 h 549157"/>
              <a:gd name="connsiteX759" fmla="*/ 924686 w 1491135"/>
              <a:gd name="connsiteY759" fmla="*/ 159656 h 549157"/>
              <a:gd name="connsiteX760" fmla="*/ 929290 w 1491135"/>
              <a:gd name="connsiteY760" fmla="*/ 159656 h 549157"/>
              <a:gd name="connsiteX761" fmla="*/ 930824 w 1491135"/>
              <a:gd name="connsiteY761" fmla="*/ 159656 h 549157"/>
              <a:gd name="connsiteX762" fmla="*/ 930824 w 1491135"/>
              <a:gd name="connsiteY762" fmla="*/ 155585 h 549157"/>
              <a:gd name="connsiteX763" fmla="*/ 932359 w 1491135"/>
              <a:gd name="connsiteY763" fmla="*/ 155585 h 549157"/>
              <a:gd name="connsiteX764" fmla="*/ 933893 w 1491135"/>
              <a:gd name="connsiteY764" fmla="*/ 155585 h 549157"/>
              <a:gd name="connsiteX765" fmla="*/ 935395 w 1491135"/>
              <a:gd name="connsiteY765" fmla="*/ 155585 h 549157"/>
              <a:gd name="connsiteX766" fmla="*/ 939987 w 1491135"/>
              <a:gd name="connsiteY766" fmla="*/ 155585 h 549157"/>
              <a:gd name="connsiteX767" fmla="*/ 941533 w 1491135"/>
              <a:gd name="connsiteY767" fmla="*/ 155585 h 549157"/>
              <a:gd name="connsiteX768" fmla="*/ 943068 w 1491135"/>
              <a:gd name="connsiteY768" fmla="*/ 155585 h 549157"/>
              <a:gd name="connsiteX769" fmla="*/ 943068 w 1491135"/>
              <a:gd name="connsiteY769" fmla="*/ 153516 h 549157"/>
              <a:gd name="connsiteX770" fmla="*/ 944591 w 1491135"/>
              <a:gd name="connsiteY770" fmla="*/ 153516 h 549157"/>
              <a:gd name="connsiteX771" fmla="*/ 946126 w 1491135"/>
              <a:gd name="connsiteY771" fmla="*/ 153516 h 549157"/>
              <a:gd name="connsiteX772" fmla="*/ 947671 w 1491135"/>
              <a:gd name="connsiteY772" fmla="*/ 153516 h 549157"/>
              <a:gd name="connsiteX773" fmla="*/ 950729 w 1491135"/>
              <a:gd name="connsiteY773" fmla="*/ 153516 h 549157"/>
              <a:gd name="connsiteX774" fmla="*/ 952264 w 1491135"/>
              <a:gd name="connsiteY774" fmla="*/ 153516 h 549157"/>
              <a:gd name="connsiteX775" fmla="*/ 953765 w 1491135"/>
              <a:gd name="connsiteY775" fmla="*/ 153516 h 549157"/>
              <a:gd name="connsiteX776" fmla="*/ 955300 w 1491135"/>
              <a:gd name="connsiteY776" fmla="*/ 153516 h 549157"/>
              <a:gd name="connsiteX777" fmla="*/ 956834 w 1491135"/>
              <a:gd name="connsiteY777" fmla="*/ 153516 h 549157"/>
              <a:gd name="connsiteX778" fmla="*/ 958369 w 1491135"/>
              <a:gd name="connsiteY778" fmla="*/ 153516 h 549157"/>
              <a:gd name="connsiteX779" fmla="*/ 958369 w 1491135"/>
              <a:gd name="connsiteY779" fmla="*/ 149168 h 549157"/>
              <a:gd name="connsiteX780" fmla="*/ 961438 w 1491135"/>
              <a:gd name="connsiteY780" fmla="*/ 149168 h 549157"/>
              <a:gd name="connsiteX781" fmla="*/ 961438 w 1491135"/>
              <a:gd name="connsiteY781" fmla="*/ 144852 h 549157"/>
              <a:gd name="connsiteX782" fmla="*/ 962973 w 1491135"/>
              <a:gd name="connsiteY782" fmla="*/ 144852 h 549157"/>
              <a:gd name="connsiteX783" fmla="*/ 962973 w 1491135"/>
              <a:gd name="connsiteY783" fmla="*/ 142683 h 549157"/>
              <a:gd name="connsiteX784" fmla="*/ 964496 w 1491135"/>
              <a:gd name="connsiteY784" fmla="*/ 142683 h 549157"/>
              <a:gd name="connsiteX785" fmla="*/ 966031 w 1491135"/>
              <a:gd name="connsiteY785" fmla="*/ 142683 h 549157"/>
              <a:gd name="connsiteX786" fmla="*/ 966031 w 1491135"/>
              <a:gd name="connsiteY786" fmla="*/ 140470 h 549157"/>
              <a:gd name="connsiteX787" fmla="*/ 967576 w 1491135"/>
              <a:gd name="connsiteY787" fmla="*/ 140470 h 549157"/>
              <a:gd name="connsiteX788" fmla="*/ 972136 w 1491135"/>
              <a:gd name="connsiteY788" fmla="*/ 140470 h 549157"/>
              <a:gd name="connsiteX789" fmla="*/ 973681 w 1491135"/>
              <a:gd name="connsiteY789" fmla="*/ 140470 h 549157"/>
              <a:gd name="connsiteX790" fmla="*/ 975205 w 1491135"/>
              <a:gd name="connsiteY790" fmla="*/ 140470 h 549157"/>
              <a:gd name="connsiteX791" fmla="*/ 976739 w 1491135"/>
              <a:gd name="connsiteY791" fmla="*/ 140470 h 549157"/>
              <a:gd name="connsiteX792" fmla="*/ 976739 w 1491135"/>
              <a:gd name="connsiteY792" fmla="*/ 133741 h 549157"/>
              <a:gd name="connsiteX793" fmla="*/ 978274 w 1491135"/>
              <a:gd name="connsiteY793" fmla="*/ 133741 h 549157"/>
              <a:gd name="connsiteX794" fmla="*/ 978274 w 1491135"/>
              <a:gd name="connsiteY794" fmla="*/ 131461 h 549157"/>
              <a:gd name="connsiteX795" fmla="*/ 982878 w 1491135"/>
              <a:gd name="connsiteY795" fmla="*/ 131461 h 549157"/>
              <a:gd name="connsiteX796" fmla="*/ 984401 w 1491135"/>
              <a:gd name="connsiteY796" fmla="*/ 131461 h 549157"/>
              <a:gd name="connsiteX797" fmla="*/ 985947 w 1491135"/>
              <a:gd name="connsiteY797" fmla="*/ 131461 h 549157"/>
              <a:gd name="connsiteX798" fmla="*/ 987481 w 1491135"/>
              <a:gd name="connsiteY798" fmla="*/ 131461 h 549157"/>
              <a:gd name="connsiteX799" fmla="*/ 988983 w 1491135"/>
              <a:gd name="connsiteY799" fmla="*/ 131461 h 549157"/>
              <a:gd name="connsiteX800" fmla="*/ 993587 w 1491135"/>
              <a:gd name="connsiteY800" fmla="*/ 131461 h 549157"/>
              <a:gd name="connsiteX801" fmla="*/ 995110 w 1491135"/>
              <a:gd name="connsiteY801" fmla="*/ 131461 h 549157"/>
              <a:gd name="connsiteX802" fmla="*/ 996645 w 1491135"/>
              <a:gd name="connsiteY802" fmla="*/ 131461 h 549157"/>
              <a:gd name="connsiteX803" fmla="*/ 998179 w 1491135"/>
              <a:gd name="connsiteY803" fmla="*/ 131461 h 549157"/>
              <a:gd name="connsiteX804" fmla="*/ 999714 w 1491135"/>
              <a:gd name="connsiteY804" fmla="*/ 131461 h 549157"/>
              <a:gd name="connsiteX805" fmla="*/ 1002783 w 1491135"/>
              <a:gd name="connsiteY805" fmla="*/ 131461 h 549157"/>
              <a:gd name="connsiteX806" fmla="*/ 1005808 w 1491135"/>
              <a:gd name="connsiteY806" fmla="*/ 131461 h 549157"/>
              <a:gd name="connsiteX807" fmla="*/ 1007353 w 1491135"/>
              <a:gd name="connsiteY807" fmla="*/ 131461 h 549157"/>
              <a:gd name="connsiteX808" fmla="*/ 1008888 w 1491135"/>
              <a:gd name="connsiteY808" fmla="*/ 131461 h 549157"/>
              <a:gd name="connsiteX809" fmla="*/ 1008888 w 1491135"/>
              <a:gd name="connsiteY809" fmla="*/ 129081 h 549157"/>
              <a:gd name="connsiteX810" fmla="*/ 1010411 w 1491135"/>
              <a:gd name="connsiteY810" fmla="*/ 129081 h 549157"/>
              <a:gd name="connsiteX811" fmla="*/ 1010411 w 1491135"/>
              <a:gd name="connsiteY811" fmla="*/ 124254 h 549157"/>
              <a:gd name="connsiteX812" fmla="*/ 1015015 w 1491135"/>
              <a:gd name="connsiteY812" fmla="*/ 124254 h 549157"/>
              <a:gd name="connsiteX813" fmla="*/ 1015015 w 1491135"/>
              <a:gd name="connsiteY813" fmla="*/ 121841 h 549157"/>
              <a:gd name="connsiteX814" fmla="*/ 1016550 w 1491135"/>
              <a:gd name="connsiteY814" fmla="*/ 121841 h 549157"/>
              <a:gd name="connsiteX815" fmla="*/ 1018084 w 1491135"/>
              <a:gd name="connsiteY815" fmla="*/ 121841 h 549157"/>
              <a:gd name="connsiteX816" fmla="*/ 1019619 w 1491135"/>
              <a:gd name="connsiteY816" fmla="*/ 121841 h 549157"/>
              <a:gd name="connsiteX817" fmla="*/ 1021153 w 1491135"/>
              <a:gd name="connsiteY817" fmla="*/ 121841 h 549157"/>
              <a:gd name="connsiteX818" fmla="*/ 1021153 w 1491135"/>
              <a:gd name="connsiteY818" fmla="*/ 119383 h 549157"/>
              <a:gd name="connsiteX819" fmla="*/ 1022688 w 1491135"/>
              <a:gd name="connsiteY819" fmla="*/ 119383 h 549157"/>
              <a:gd name="connsiteX820" fmla="*/ 1025724 w 1491135"/>
              <a:gd name="connsiteY820" fmla="*/ 119383 h 549157"/>
              <a:gd name="connsiteX821" fmla="*/ 1027258 w 1491135"/>
              <a:gd name="connsiteY821" fmla="*/ 119383 h 549157"/>
              <a:gd name="connsiteX822" fmla="*/ 1028793 w 1491135"/>
              <a:gd name="connsiteY822" fmla="*/ 119383 h 549157"/>
              <a:gd name="connsiteX823" fmla="*/ 1030316 w 1491135"/>
              <a:gd name="connsiteY823" fmla="*/ 119383 h 549157"/>
              <a:gd name="connsiteX824" fmla="*/ 1031862 w 1491135"/>
              <a:gd name="connsiteY824" fmla="*/ 119383 h 549157"/>
              <a:gd name="connsiteX825" fmla="*/ 1036455 w 1491135"/>
              <a:gd name="connsiteY825" fmla="*/ 119383 h 549157"/>
              <a:gd name="connsiteX826" fmla="*/ 1036455 w 1491135"/>
              <a:gd name="connsiteY826" fmla="*/ 116825 h 549157"/>
              <a:gd name="connsiteX827" fmla="*/ 1038000 w 1491135"/>
              <a:gd name="connsiteY827" fmla="*/ 116825 h 549157"/>
              <a:gd name="connsiteX828" fmla="*/ 1039524 w 1491135"/>
              <a:gd name="connsiteY828" fmla="*/ 116825 h 549157"/>
              <a:gd name="connsiteX829" fmla="*/ 1039524 w 1491135"/>
              <a:gd name="connsiteY829" fmla="*/ 114278 h 549157"/>
              <a:gd name="connsiteX830" fmla="*/ 1041058 w 1491135"/>
              <a:gd name="connsiteY830" fmla="*/ 114278 h 549157"/>
              <a:gd name="connsiteX831" fmla="*/ 1042560 w 1491135"/>
              <a:gd name="connsiteY831" fmla="*/ 114278 h 549157"/>
              <a:gd name="connsiteX832" fmla="*/ 1044094 w 1491135"/>
              <a:gd name="connsiteY832" fmla="*/ 114278 h 549157"/>
              <a:gd name="connsiteX833" fmla="*/ 1047163 w 1491135"/>
              <a:gd name="connsiteY833" fmla="*/ 114278 h 549157"/>
              <a:gd name="connsiteX834" fmla="*/ 1050221 w 1491135"/>
              <a:gd name="connsiteY834" fmla="*/ 114278 h 549157"/>
              <a:gd name="connsiteX835" fmla="*/ 1051767 w 1491135"/>
              <a:gd name="connsiteY835" fmla="*/ 114278 h 549157"/>
              <a:gd name="connsiteX836" fmla="*/ 1051767 w 1491135"/>
              <a:gd name="connsiteY836" fmla="*/ 111620 h 549157"/>
              <a:gd name="connsiteX837" fmla="*/ 1053302 w 1491135"/>
              <a:gd name="connsiteY837" fmla="*/ 111620 h 549157"/>
              <a:gd name="connsiteX838" fmla="*/ 1054825 w 1491135"/>
              <a:gd name="connsiteY838" fmla="*/ 111620 h 549157"/>
              <a:gd name="connsiteX839" fmla="*/ 1054825 w 1491135"/>
              <a:gd name="connsiteY839" fmla="*/ 108962 h 549157"/>
              <a:gd name="connsiteX840" fmla="*/ 1056360 w 1491135"/>
              <a:gd name="connsiteY840" fmla="*/ 108962 h 549157"/>
              <a:gd name="connsiteX841" fmla="*/ 1057906 w 1491135"/>
              <a:gd name="connsiteY841" fmla="*/ 108962 h 549157"/>
              <a:gd name="connsiteX842" fmla="*/ 1057906 w 1491135"/>
              <a:gd name="connsiteY842" fmla="*/ 106304 h 549157"/>
              <a:gd name="connsiteX843" fmla="*/ 1059407 w 1491135"/>
              <a:gd name="connsiteY843" fmla="*/ 106304 h 549157"/>
              <a:gd name="connsiteX844" fmla="*/ 1060930 w 1491135"/>
              <a:gd name="connsiteY844" fmla="*/ 106304 h 549157"/>
              <a:gd name="connsiteX845" fmla="*/ 1060930 w 1491135"/>
              <a:gd name="connsiteY845" fmla="*/ 103612 h 549157"/>
              <a:gd name="connsiteX846" fmla="*/ 1062465 w 1491135"/>
              <a:gd name="connsiteY846" fmla="*/ 103612 h 549157"/>
              <a:gd name="connsiteX847" fmla="*/ 1063999 w 1491135"/>
              <a:gd name="connsiteY847" fmla="*/ 103612 h 549157"/>
              <a:gd name="connsiteX848" fmla="*/ 1068603 w 1491135"/>
              <a:gd name="connsiteY848" fmla="*/ 103612 h 549157"/>
              <a:gd name="connsiteX849" fmla="*/ 1070127 w 1491135"/>
              <a:gd name="connsiteY849" fmla="*/ 103612 h 549157"/>
              <a:gd name="connsiteX850" fmla="*/ 1071672 w 1491135"/>
              <a:gd name="connsiteY850" fmla="*/ 103612 h 549157"/>
              <a:gd name="connsiteX851" fmla="*/ 1073207 w 1491135"/>
              <a:gd name="connsiteY851" fmla="*/ 103612 h 549157"/>
              <a:gd name="connsiteX852" fmla="*/ 1073207 w 1491135"/>
              <a:gd name="connsiteY852" fmla="*/ 100820 h 549157"/>
              <a:gd name="connsiteX853" fmla="*/ 1074730 w 1491135"/>
              <a:gd name="connsiteY853" fmla="*/ 100820 h 549157"/>
              <a:gd name="connsiteX854" fmla="*/ 1076265 w 1491135"/>
              <a:gd name="connsiteY854" fmla="*/ 100820 h 549157"/>
              <a:gd name="connsiteX855" fmla="*/ 1076265 w 1491135"/>
              <a:gd name="connsiteY855" fmla="*/ 98029 h 549157"/>
              <a:gd name="connsiteX856" fmla="*/ 1079312 w 1491135"/>
              <a:gd name="connsiteY856" fmla="*/ 98029 h 549157"/>
              <a:gd name="connsiteX857" fmla="*/ 1080835 w 1491135"/>
              <a:gd name="connsiteY857" fmla="*/ 98029 h 549157"/>
              <a:gd name="connsiteX858" fmla="*/ 1082370 w 1491135"/>
              <a:gd name="connsiteY858" fmla="*/ 98029 h 549157"/>
              <a:gd name="connsiteX859" fmla="*/ 1082370 w 1491135"/>
              <a:gd name="connsiteY859" fmla="*/ 95193 h 549157"/>
              <a:gd name="connsiteX860" fmla="*/ 1083916 w 1491135"/>
              <a:gd name="connsiteY860" fmla="*/ 95193 h 549157"/>
              <a:gd name="connsiteX861" fmla="*/ 1085439 w 1491135"/>
              <a:gd name="connsiteY861" fmla="*/ 95193 h 549157"/>
              <a:gd name="connsiteX862" fmla="*/ 1086973 w 1491135"/>
              <a:gd name="connsiteY862" fmla="*/ 95193 h 549157"/>
              <a:gd name="connsiteX863" fmla="*/ 1086973 w 1491135"/>
              <a:gd name="connsiteY863" fmla="*/ 92301 h 549157"/>
              <a:gd name="connsiteX864" fmla="*/ 1090043 w 1491135"/>
              <a:gd name="connsiteY864" fmla="*/ 92301 h 549157"/>
              <a:gd name="connsiteX865" fmla="*/ 1091577 w 1491135"/>
              <a:gd name="connsiteY865" fmla="*/ 92301 h 549157"/>
              <a:gd name="connsiteX866" fmla="*/ 1093112 w 1491135"/>
              <a:gd name="connsiteY866" fmla="*/ 92301 h 549157"/>
              <a:gd name="connsiteX867" fmla="*/ 1094613 w 1491135"/>
              <a:gd name="connsiteY867" fmla="*/ 92301 h 549157"/>
              <a:gd name="connsiteX868" fmla="*/ 1096137 w 1491135"/>
              <a:gd name="connsiteY868" fmla="*/ 92301 h 549157"/>
              <a:gd name="connsiteX869" fmla="*/ 1099217 w 1491135"/>
              <a:gd name="connsiteY869" fmla="*/ 92301 h 549157"/>
              <a:gd name="connsiteX870" fmla="*/ 1102275 w 1491135"/>
              <a:gd name="connsiteY870" fmla="*/ 92301 h 549157"/>
              <a:gd name="connsiteX871" fmla="*/ 1103821 w 1491135"/>
              <a:gd name="connsiteY871" fmla="*/ 92301 h 549157"/>
              <a:gd name="connsiteX872" fmla="*/ 1105344 w 1491135"/>
              <a:gd name="connsiteY872" fmla="*/ 92301 h 549157"/>
              <a:gd name="connsiteX873" fmla="*/ 1105344 w 1491135"/>
              <a:gd name="connsiteY873" fmla="*/ 89265 h 549157"/>
              <a:gd name="connsiteX874" fmla="*/ 1106879 w 1491135"/>
              <a:gd name="connsiteY874" fmla="*/ 89265 h 549157"/>
              <a:gd name="connsiteX875" fmla="*/ 1111482 w 1491135"/>
              <a:gd name="connsiteY875" fmla="*/ 89265 h 549157"/>
              <a:gd name="connsiteX876" fmla="*/ 1111482 w 1491135"/>
              <a:gd name="connsiteY876" fmla="*/ 86162 h 549157"/>
              <a:gd name="connsiteX877" fmla="*/ 1112984 w 1491135"/>
              <a:gd name="connsiteY877" fmla="*/ 86162 h 549157"/>
              <a:gd name="connsiteX878" fmla="*/ 1114518 w 1491135"/>
              <a:gd name="connsiteY878" fmla="*/ 86162 h 549157"/>
              <a:gd name="connsiteX879" fmla="*/ 1114518 w 1491135"/>
              <a:gd name="connsiteY879" fmla="*/ 83048 h 549157"/>
              <a:gd name="connsiteX880" fmla="*/ 1116042 w 1491135"/>
              <a:gd name="connsiteY880" fmla="*/ 83048 h 549157"/>
              <a:gd name="connsiteX881" fmla="*/ 1117588 w 1491135"/>
              <a:gd name="connsiteY881" fmla="*/ 83048 h 549157"/>
              <a:gd name="connsiteX882" fmla="*/ 1120646 w 1491135"/>
              <a:gd name="connsiteY882" fmla="*/ 83048 h 549157"/>
              <a:gd name="connsiteX883" fmla="*/ 1123726 w 1491135"/>
              <a:gd name="connsiteY883" fmla="*/ 83048 h 549157"/>
              <a:gd name="connsiteX884" fmla="*/ 1125249 w 1491135"/>
              <a:gd name="connsiteY884" fmla="*/ 83048 h 549157"/>
              <a:gd name="connsiteX885" fmla="*/ 1126784 w 1491135"/>
              <a:gd name="connsiteY885" fmla="*/ 83048 h 549157"/>
              <a:gd name="connsiteX886" fmla="*/ 1128318 w 1491135"/>
              <a:gd name="connsiteY886" fmla="*/ 83048 h 549157"/>
              <a:gd name="connsiteX887" fmla="*/ 1128318 w 1491135"/>
              <a:gd name="connsiteY887" fmla="*/ 79767 h 549157"/>
              <a:gd name="connsiteX888" fmla="*/ 1132889 w 1491135"/>
              <a:gd name="connsiteY888" fmla="*/ 79767 h 549157"/>
              <a:gd name="connsiteX889" fmla="*/ 1132889 w 1491135"/>
              <a:gd name="connsiteY889" fmla="*/ 69835 h 549157"/>
              <a:gd name="connsiteX890" fmla="*/ 1134423 w 1491135"/>
              <a:gd name="connsiteY890" fmla="*/ 69835 h 549157"/>
              <a:gd name="connsiteX891" fmla="*/ 1135958 w 1491135"/>
              <a:gd name="connsiteY891" fmla="*/ 69835 h 549157"/>
              <a:gd name="connsiteX892" fmla="*/ 1137492 w 1491135"/>
              <a:gd name="connsiteY892" fmla="*/ 69835 h 549157"/>
              <a:gd name="connsiteX893" fmla="*/ 1139027 w 1491135"/>
              <a:gd name="connsiteY893" fmla="*/ 69835 h 549157"/>
              <a:gd name="connsiteX894" fmla="*/ 1143631 w 1491135"/>
              <a:gd name="connsiteY894" fmla="*/ 69835 h 549157"/>
              <a:gd name="connsiteX895" fmla="*/ 1145154 w 1491135"/>
              <a:gd name="connsiteY895" fmla="*/ 69835 h 549157"/>
              <a:gd name="connsiteX896" fmla="*/ 1146689 w 1491135"/>
              <a:gd name="connsiteY896" fmla="*/ 69835 h 549157"/>
              <a:gd name="connsiteX897" fmla="*/ 1148190 w 1491135"/>
              <a:gd name="connsiteY897" fmla="*/ 69835 h 549157"/>
              <a:gd name="connsiteX898" fmla="*/ 1149736 w 1491135"/>
              <a:gd name="connsiteY898" fmla="*/ 69835 h 549157"/>
              <a:gd name="connsiteX899" fmla="*/ 1151259 w 1491135"/>
              <a:gd name="connsiteY899" fmla="*/ 69835 h 549157"/>
              <a:gd name="connsiteX900" fmla="*/ 1151259 w 1491135"/>
              <a:gd name="connsiteY900" fmla="*/ 66209 h 549157"/>
              <a:gd name="connsiteX901" fmla="*/ 1154328 w 1491135"/>
              <a:gd name="connsiteY901" fmla="*/ 66209 h 549157"/>
              <a:gd name="connsiteX902" fmla="*/ 1155863 w 1491135"/>
              <a:gd name="connsiteY902" fmla="*/ 66209 h 549157"/>
              <a:gd name="connsiteX903" fmla="*/ 1157398 w 1491135"/>
              <a:gd name="connsiteY903" fmla="*/ 66209 h 549157"/>
              <a:gd name="connsiteX904" fmla="*/ 1158932 w 1491135"/>
              <a:gd name="connsiteY904" fmla="*/ 66209 h 549157"/>
              <a:gd name="connsiteX905" fmla="*/ 1160456 w 1491135"/>
              <a:gd name="connsiteY905" fmla="*/ 66209 h 549157"/>
              <a:gd name="connsiteX906" fmla="*/ 1165071 w 1491135"/>
              <a:gd name="connsiteY906" fmla="*/ 66209 h 549157"/>
              <a:gd name="connsiteX907" fmla="*/ 1166561 w 1491135"/>
              <a:gd name="connsiteY907" fmla="*/ 66209 h 549157"/>
              <a:gd name="connsiteX908" fmla="*/ 1168095 w 1491135"/>
              <a:gd name="connsiteY908" fmla="*/ 66209 h 549157"/>
              <a:gd name="connsiteX909" fmla="*/ 1168095 w 1491135"/>
              <a:gd name="connsiteY909" fmla="*/ 62316 h 549157"/>
              <a:gd name="connsiteX910" fmla="*/ 1169641 w 1491135"/>
              <a:gd name="connsiteY910" fmla="*/ 62316 h 549157"/>
              <a:gd name="connsiteX911" fmla="*/ 1171164 w 1491135"/>
              <a:gd name="connsiteY911" fmla="*/ 62316 h 549157"/>
              <a:gd name="connsiteX912" fmla="*/ 1174234 w 1491135"/>
              <a:gd name="connsiteY912" fmla="*/ 62316 h 549157"/>
              <a:gd name="connsiteX913" fmla="*/ 1175768 w 1491135"/>
              <a:gd name="connsiteY913" fmla="*/ 62316 h 549157"/>
              <a:gd name="connsiteX914" fmla="*/ 1177303 w 1491135"/>
              <a:gd name="connsiteY914" fmla="*/ 62316 h 549157"/>
              <a:gd name="connsiteX915" fmla="*/ 1178837 w 1491135"/>
              <a:gd name="connsiteY915" fmla="*/ 62316 h 549157"/>
              <a:gd name="connsiteX916" fmla="*/ 1180361 w 1491135"/>
              <a:gd name="connsiteY916" fmla="*/ 62316 h 549157"/>
              <a:gd name="connsiteX917" fmla="*/ 1181907 w 1491135"/>
              <a:gd name="connsiteY917" fmla="*/ 62316 h 549157"/>
              <a:gd name="connsiteX918" fmla="*/ 1181907 w 1491135"/>
              <a:gd name="connsiteY918" fmla="*/ 58134 h 549157"/>
              <a:gd name="connsiteX919" fmla="*/ 1186466 w 1491135"/>
              <a:gd name="connsiteY919" fmla="*/ 58134 h 549157"/>
              <a:gd name="connsiteX920" fmla="*/ 1188011 w 1491135"/>
              <a:gd name="connsiteY920" fmla="*/ 58134 h 549157"/>
              <a:gd name="connsiteX921" fmla="*/ 1189546 w 1491135"/>
              <a:gd name="connsiteY921" fmla="*/ 58134 h 549157"/>
              <a:gd name="connsiteX922" fmla="*/ 1191070 w 1491135"/>
              <a:gd name="connsiteY922" fmla="*/ 58134 h 549157"/>
              <a:gd name="connsiteX923" fmla="*/ 1192604 w 1491135"/>
              <a:gd name="connsiteY923" fmla="*/ 58134 h 549157"/>
              <a:gd name="connsiteX924" fmla="*/ 1197208 w 1491135"/>
              <a:gd name="connsiteY924" fmla="*/ 58134 h 549157"/>
              <a:gd name="connsiteX925" fmla="*/ 1197208 w 1491135"/>
              <a:gd name="connsiteY925" fmla="*/ 53752 h 549157"/>
              <a:gd name="connsiteX926" fmla="*/ 1198742 w 1491135"/>
              <a:gd name="connsiteY926" fmla="*/ 53752 h 549157"/>
              <a:gd name="connsiteX927" fmla="*/ 1200288 w 1491135"/>
              <a:gd name="connsiteY927" fmla="*/ 53752 h 549157"/>
              <a:gd name="connsiteX928" fmla="*/ 1201778 w 1491135"/>
              <a:gd name="connsiteY928" fmla="*/ 53752 h 549157"/>
              <a:gd name="connsiteX929" fmla="*/ 1203313 w 1491135"/>
              <a:gd name="connsiteY929" fmla="*/ 53752 h 549157"/>
              <a:gd name="connsiteX930" fmla="*/ 1204847 w 1491135"/>
              <a:gd name="connsiteY930" fmla="*/ 53752 h 549157"/>
              <a:gd name="connsiteX931" fmla="*/ 1204847 w 1491135"/>
              <a:gd name="connsiteY931" fmla="*/ 49103 h 549157"/>
              <a:gd name="connsiteX932" fmla="*/ 1206371 w 1491135"/>
              <a:gd name="connsiteY932" fmla="*/ 49103 h 549157"/>
              <a:gd name="connsiteX933" fmla="*/ 1206371 w 1491135"/>
              <a:gd name="connsiteY933" fmla="*/ 44477 h 549157"/>
              <a:gd name="connsiteX934" fmla="*/ 1207916 w 1491135"/>
              <a:gd name="connsiteY934" fmla="*/ 44477 h 549157"/>
              <a:gd name="connsiteX935" fmla="*/ 1209451 w 1491135"/>
              <a:gd name="connsiteY935" fmla="*/ 44477 h 549157"/>
              <a:gd name="connsiteX936" fmla="*/ 1210974 w 1491135"/>
              <a:gd name="connsiteY936" fmla="*/ 44477 h 549157"/>
              <a:gd name="connsiteX937" fmla="*/ 1212509 w 1491135"/>
              <a:gd name="connsiteY937" fmla="*/ 44477 h 549157"/>
              <a:gd name="connsiteX938" fmla="*/ 1214055 w 1491135"/>
              <a:gd name="connsiteY938" fmla="*/ 44477 h 549157"/>
              <a:gd name="connsiteX939" fmla="*/ 1214055 w 1491135"/>
              <a:gd name="connsiteY939" fmla="*/ 39639 h 549157"/>
              <a:gd name="connsiteX940" fmla="*/ 1218614 w 1491135"/>
              <a:gd name="connsiteY940" fmla="*/ 39639 h 549157"/>
              <a:gd name="connsiteX941" fmla="*/ 1220149 w 1491135"/>
              <a:gd name="connsiteY941" fmla="*/ 39639 h 549157"/>
              <a:gd name="connsiteX942" fmla="*/ 1221683 w 1491135"/>
              <a:gd name="connsiteY942" fmla="*/ 39639 h 549157"/>
              <a:gd name="connsiteX943" fmla="*/ 1223218 w 1491135"/>
              <a:gd name="connsiteY943" fmla="*/ 39639 h 549157"/>
              <a:gd name="connsiteX944" fmla="*/ 1224752 w 1491135"/>
              <a:gd name="connsiteY944" fmla="*/ 39639 h 549157"/>
              <a:gd name="connsiteX945" fmla="*/ 1229356 w 1491135"/>
              <a:gd name="connsiteY945" fmla="*/ 39639 h 549157"/>
              <a:gd name="connsiteX946" fmla="*/ 1230880 w 1491135"/>
              <a:gd name="connsiteY946" fmla="*/ 39639 h 549157"/>
              <a:gd name="connsiteX947" fmla="*/ 1230880 w 1491135"/>
              <a:gd name="connsiteY947" fmla="*/ 34500 h 549157"/>
              <a:gd name="connsiteX948" fmla="*/ 1232414 w 1491135"/>
              <a:gd name="connsiteY948" fmla="*/ 34500 h 549157"/>
              <a:gd name="connsiteX949" fmla="*/ 1233960 w 1491135"/>
              <a:gd name="connsiteY949" fmla="*/ 34500 h 549157"/>
              <a:gd name="connsiteX950" fmla="*/ 1235495 w 1491135"/>
              <a:gd name="connsiteY950" fmla="*/ 34500 h 549157"/>
              <a:gd name="connsiteX951" fmla="*/ 1240065 w 1491135"/>
              <a:gd name="connsiteY951" fmla="*/ 34500 h 549157"/>
              <a:gd name="connsiteX952" fmla="*/ 1241588 w 1491135"/>
              <a:gd name="connsiteY952" fmla="*/ 34500 h 549157"/>
              <a:gd name="connsiteX953" fmla="*/ 1241588 w 1491135"/>
              <a:gd name="connsiteY953" fmla="*/ 29084 h 549157"/>
              <a:gd name="connsiteX954" fmla="*/ 1243123 w 1491135"/>
              <a:gd name="connsiteY954" fmla="*/ 29084 h 549157"/>
              <a:gd name="connsiteX955" fmla="*/ 1244658 w 1491135"/>
              <a:gd name="connsiteY955" fmla="*/ 29084 h 549157"/>
              <a:gd name="connsiteX956" fmla="*/ 1246192 w 1491135"/>
              <a:gd name="connsiteY956" fmla="*/ 29084 h 549157"/>
              <a:gd name="connsiteX957" fmla="*/ 1250785 w 1491135"/>
              <a:gd name="connsiteY957" fmla="*/ 29084 h 549157"/>
              <a:gd name="connsiteX958" fmla="*/ 1252330 w 1491135"/>
              <a:gd name="connsiteY958" fmla="*/ 29084 h 549157"/>
              <a:gd name="connsiteX959" fmla="*/ 1252330 w 1491135"/>
              <a:gd name="connsiteY959" fmla="*/ 17039 h 549157"/>
              <a:gd name="connsiteX960" fmla="*/ 1253832 w 1491135"/>
              <a:gd name="connsiteY960" fmla="*/ 17039 h 549157"/>
              <a:gd name="connsiteX961" fmla="*/ 1255366 w 1491135"/>
              <a:gd name="connsiteY961" fmla="*/ 17039 h 549157"/>
              <a:gd name="connsiteX962" fmla="*/ 1256890 w 1491135"/>
              <a:gd name="connsiteY962" fmla="*/ 17039 h 549157"/>
              <a:gd name="connsiteX963" fmla="*/ 1261493 w 1491135"/>
              <a:gd name="connsiteY963" fmla="*/ 17039 h 549157"/>
              <a:gd name="connsiteX964" fmla="*/ 1263028 w 1491135"/>
              <a:gd name="connsiteY964" fmla="*/ 17039 h 549157"/>
              <a:gd name="connsiteX965" fmla="*/ 1264562 w 1491135"/>
              <a:gd name="connsiteY965" fmla="*/ 17039 h 549157"/>
              <a:gd name="connsiteX966" fmla="*/ 1266097 w 1491135"/>
              <a:gd name="connsiteY966" fmla="*/ 17039 h 549157"/>
              <a:gd name="connsiteX967" fmla="*/ 1267632 w 1491135"/>
              <a:gd name="connsiteY967" fmla="*/ 17039 h 549157"/>
              <a:gd name="connsiteX968" fmla="*/ 1269166 w 1491135"/>
              <a:gd name="connsiteY968" fmla="*/ 17039 h 549157"/>
              <a:gd name="connsiteX969" fmla="*/ 1272191 w 1491135"/>
              <a:gd name="connsiteY969" fmla="*/ 17039 h 549157"/>
              <a:gd name="connsiteX970" fmla="*/ 1273737 w 1491135"/>
              <a:gd name="connsiteY970" fmla="*/ 17039 h 549157"/>
              <a:gd name="connsiteX971" fmla="*/ 1275271 w 1491135"/>
              <a:gd name="connsiteY971" fmla="*/ 17039 h 549157"/>
              <a:gd name="connsiteX972" fmla="*/ 1278329 w 1491135"/>
              <a:gd name="connsiteY972" fmla="*/ 17039 h 549157"/>
              <a:gd name="connsiteX973" fmla="*/ 1279875 w 1491135"/>
              <a:gd name="connsiteY973" fmla="*/ 17039 h 549157"/>
              <a:gd name="connsiteX974" fmla="*/ 1279875 w 1491135"/>
              <a:gd name="connsiteY974" fmla="*/ 9654 h 549157"/>
              <a:gd name="connsiteX975" fmla="*/ 1282933 w 1491135"/>
              <a:gd name="connsiteY975" fmla="*/ 9654 h 549157"/>
              <a:gd name="connsiteX976" fmla="*/ 1284468 w 1491135"/>
              <a:gd name="connsiteY976" fmla="*/ 9654 h 549157"/>
              <a:gd name="connsiteX977" fmla="*/ 1286002 w 1491135"/>
              <a:gd name="connsiteY977" fmla="*/ 9654 h 549157"/>
              <a:gd name="connsiteX978" fmla="*/ 1287537 w 1491135"/>
              <a:gd name="connsiteY978" fmla="*/ 9654 h 549157"/>
              <a:gd name="connsiteX979" fmla="*/ 1289071 w 1491135"/>
              <a:gd name="connsiteY979" fmla="*/ 9654 h 549157"/>
              <a:gd name="connsiteX980" fmla="*/ 1290573 w 1491135"/>
              <a:gd name="connsiteY980" fmla="*/ 9654 h 549157"/>
              <a:gd name="connsiteX981" fmla="*/ 1293642 w 1491135"/>
              <a:gd name="connsiteY981" fmla="*/ 9654 h 549157"/>
              <a:gd name="connsiteX982" fmla="*/ 1295177 w 1491135"/>
              <a:gd name="connsiteY982" fmla="*/ 9654 h 549157"/>
              <a:gd name="connsiteX983" fmla="*/ 1296700 w 1491135"/>
              <a:gd name="connsiteY983" fmla="*/ 9654 h 549157"/>
              <a:gd name="connsiteX984" fmla="*/ 1298246 w 1491135"/>
              <a:gd name="connsiteY984" fmla="*/ 9654 h 549157"/>
              <a:gd name="connsiteX985" fmla="*/ 1299780 w 1491135"/>
              <a:gd name="connsiteY985" fmla="*/ 9654 h 549157"/>
              <a:gd name="connsiteX986" fmla="*/ 1304384 w 1491135"/>
              <a:gd name="connsiteY986" fmla="*/ 9654 h 549157"/>
              <a:gd name="connsiteX987" fmla="*/ 1305918 w 1491135"/>
              <a:gd name="connsiteY987" fmla="*/ 9654 h 549157"/>
              <a:gd name="connsiteX988" fmla="*/ 1307408 w 1491135"/>
              <a:gd name="connsiteY988" fmla="*/ 9654 h 549157"/>
              <a:gd name="connsiteX989" fmla="*/ 1307408 w 1491135"/>
              <a:gd name="connsiteY989" fmla="*/ 0 h 549157"/>
              <a:gd name="connsiteX990" fmla="*/ 1491136 w 1491135"/>
              <a:gd name="connsiteY990" fmla="*/ 0 h 549157"/>
              <a:gd name="connsiteX0" fmla="*/ 0 w 1487868"/>
              <a:gd name="connsiteY0" fmla="*/ 549157 h 549157"/>
              <a:gd name="connsiteX1" fmla="*/ 7662 w 1487868"/>
              <a:gd name="connsiteY1" fmla="*/ 549157 h 549157"/>
              <a:gd name="connsiteX2" fmla="*/ 7662 w 1487868"/>
              <a:gd name="connsiteY2" fmla="*/ 548367 h 549157"/>
              <a:gd name="connsiteX3" fmla="*/ 9196 w 1487868"/>
              <a:gd name="connsiteY3" fmla="*/ 548367 h 549157"/>
              <a:gd name="connsiteX4" fmla="*/ 9196 w 1487868"/>
              <a:gd name="connsiteY4" fmla="*/ 547600 h 549157"/>
              <a:gd name="connsiteX5" fmla="*/ 10742 w 1487868"/>
              <a:gd name="connsiteY5" fmla="*/ 547600 h 549157"/>
              <a:gd name="connsiteX6" fmla="*/ 10742 w 1487868"/>
              <a:gd name="connsiteY6" fmla="*/ 546810 h 549157"/>
              <a:gd name="connsiteX7" fmla="*/ 12277 w 1487868"/>
              <a:gd name="connsiteY7" fmla="*/ 546810 h 549157"/>
              <a:gd name="connsiteX8" fmla="*/ 16836 w 1487868"/>
              <a:gd name="connsiteY8" fmla="*/ 546810 h 549157"/>
              <a:gd name="connsiteX9" fmla="*/ 16836 w 1487868"/>
              <a:gd name="connsiteY9" fmla="*/ 545253 h 549157"/>
              <a:gd name="connsiteX10" fmla="*/ 18371 w 1487868"/>
              <a:gd name="connsiteY10" fmla="*/ 545253 h 549157"/>
              <a:gd name="connsiteX11" fmla="*/ 19905 w 1487868"/>
              <a:gd name="connsiteY11" fmla="*/ 545253 h 549157"/>
              <a:gd name="connsiteX12" fmla="*/ 19905 w 1487868"/>
              <a:gd name="connsiteY12" fmla="*/ 542150 h 549157"/>
              <a:gd name="connsiteX13" fmla="*/ 21440 w 1487868"/>
              <a:gd name="connsiteY13" fmla="*/ 542150 h 549157"/>
              <a:gd name="connsiteX14" fmla="*/ 21440 w 1487868"/>
              <a:gd name="connsiteY14" fmla="*/ 541361 h 549157"/>
              <a:gd name="connsiteX15" fmla="*/ 24509 w 1487868"/>
              <a:gd name="connsiteY15" fmla="*/ 541361 h 549157"/>
              <a:gd name="connsiteX16" fmla="*/ 24509 w 1487868"/>
              <a:gd name="connsiteY16" fmla="*/ 539804 h 549157"/>
              <a:gd name="connsiteX17" fmla="*/ 27567 w 1487868"/>
              <a:gd name="connsiteY17" fmla="*/ 539804 h 549157"/>
              <a:gd name="connsiteX18" fmla="*/ 27567 w 1487868"/>
              <a:gd name="connsiteY18" fmla="*/ 538258 h 549157"/>
              <a:gd name="connsiteX19" fmla="*/ 32148 w 1487868"/>
              <a:gd name="connsiteY19" fmla="*/ 538258 h 549157"/>
              <a:gd name="connsiteX20" fmla="*/ 32148 w 1487868"/>
              <a:gd name="connsiteY20" fmla="*/ 536667 h 549157"/>
              <a:gd name="connsiteX21" fmla="*/ 33672 w 1487868"/>
              <a:gd name="connsiteY21" fmla="*/ 536667 h 549157"/>
              <a:gd name="connsiteX22" fmla="*/ 33672 w 1487868"/>
              <a:gd name="connsiteY22" fmla="*/ 535911 h 549157"/>
              <a:gd name="connsiteX23" fmla="*/ 35206 w 1487868"/>
              <a:gd name="connsiteY23" fmla="*/ 535911 h 549157"/>
              <a:gd name="connsiteX24" fmla="*/ 35206 w 1487868"/>
              <a:gd name="connsiteY24" fmla="*/ 535110 h 549157"/>
              <a:gd name="connsiteX25" fmla="*/ 36752 w 1487868"/>
              <a:gd name="connsiteY25" fmla="*/ 535110 h 549157"/>
              <a:gd name="connsiteX26" fmla="*/ 38275 w 1487868"/>
              <a:gd name="connsiteY26" fmla="*/ 535110 h 549157"/>
              <a:gd name="connsiteX27" fmla="*/ 38275 w 1487868"/>
              <a:gd name="connsiteY27" fmla="*/ 532763 h 549157"/>
              <a:gd name="connsiteX28" fmla="*/ 39810 w 1487868"/>
              <a:gd name="connsiteY28" fmla="*/ 532763 h 549157"/>
              <a:gd name="connsiteX29" fmla="*/ 39810 w 1487868"/>
              <a:gd name="connsiteY29" fmla="*/ 531217 h 549157"/>
              <a:gd name="connsiteX30" fmla="*/ 41345 w 1487868"/>
              <a:gd name="connsiteY30" fmla="*/ 531217 h 549157"/>
              <a:gd name="connsiteX31" fmla="*/ 42879 w 1487868"/>
              <a:gd name="connsiteY31" fmla="*/ 531217 h 549157"/>
              <a:gd name="connsiteX32" fmla="*/ 42879 w 1487868"/>
              <a:gd name="connsiteY32" fmla="*/ 529660 h 549157"/>
              <a:gd name="connsiteX33" fmla="*/ 47483 w 1487868"/>
              <a:gd name="connsiteY33" fmla="*/ 529660 h 549157"/>
              <a:gd name="connsiteX34" fmla="*/ 47483 w 1487868"/>
              <a:gd name="connsiteY34" fmla="*/ 528871 h 549157"/>
              <a:gd name="connsiteX35" fmla="*/ 50519 w 1487868"/>
              <a:gd name="connsiteY35" fmla="*/ 528871 h 549157"/>
              <a:gd name="connsiteX36" fmla="*/ 50519 w 1487868"/>
              <a:gd name="connsiteY36" fmla="*/ 527314 h 549157"/>
              <a:gd name="connsiteX37" fmla="*/ 52053 w 1487868"/>
              <a:gd name="connsiteY37" fmla="*/ 527314 h 549157"/>
              <a:gd name="connsiteX38" fmla="*/ 52053 w 1487868"/>
              <a:gd name="connsiteY38" fmla="*/ 525734 h 549157"/>
              <a:gd name="connsiteX39" fmla="*/ 53577 w 1487868"/>
              <a:gd name="connsiteY39" fmla="*/ 525734 h 549157"/>
              <a:gd name="connsiteX40" fmla="*/ 53577 w 1487868"/>
              <a:gd name="connsiteY40" fmla="*/ 524967 h 549157"/>
              <a:gd name="connsiteX41" fmla="*/ 55111 w 1487868"/>
              <a:gd name="connsiteY41" fmla="*/ 524967 h 549157"/>
              <a:gd name="connsiteX42" fmla="*/ 55111 w 1487868"/>
              <a:gd name="connsiteY42" fmla="*/ 523388 h 549157"/>
              <a:gd name="connsiteX43" fmla="*/ 58181 w 1487868"/>
              <a:gd name="connsiteY43" fmla="*/ 523388 h 549157"/>
              <a:gd name="connsiteX44" fmla="*/ 58181 w 1487868"/>
              <a:gd name="connsiteY44" fmla="*/ 521830 h 549157"/>
              <a:gd name="connsiteX45" fmla="*/ 61250 w 1487868"/>
              <a:gd name="connsiteY45" fmla="*/ 521830 h 549157"/>
              <a:gd name="connsiteX46" fmla="*/ 61250 w 1487868"/>
              <a:gd name="connsiteY46" fmla="*/ 521041 h 549157"/>
              <a:gd name="connsiteX47" fmla="*/ 62784 w 1487868"/>
              <a:gd name="connsiteY47" fmla="*/ 521041 h 549157"/>
              <a:gd name="connsiteX48" fmla="*/ 62784 w 1487868"/>
              <a:gd name="connsiteY48" fmla="*/ 520273 h 549157"/>
              <a:gd name="connsiteX49" fmla="*/ 65854 w 1487868"/>
              <a:gd name="connsiteY49" fmla="*/ 520273 h 549157"/>
              <a:gd name="connsiteX50" fmla="*/ 65854 w 1487868"/>
              <a:gd name="connsiteY50" fmla="*/ 519484 h 549157"/>
              <a:gd name="connsiteX51" fmla="*/ 67355 w 1487868"/>
              <a:gd name="connsiteY51" fmla="*/ 519484 h 549157"/>
              <a:gd name="connsiteX52" fmla="*/ 67355 w 1487868"/>
              <a:gd name="connsiteY52" fmla="*/ 518694 h 549157"/>
              <a:gd name="connsiteX53" fmla="*/ 68878 w 1487868"/>
              <a:gd name="connsiteY53" fmla="*/ 518694 h 549157"/>
              <a:gd name="connsiteX54" fmla="*/ 68878 w 1487868"/>
              <a:gd name="connsiteY54" fmla="*/ 517927 h 549157"/>
              <a:gd name="connsiteX55" fmla="*/ 70424 w 1487868"/>
              <a:gd name="connsiteY55" fmla="*/ 517927 h 549157"/>
              <a:gd name="connsiteX56" fmla="*/ 70424 w 1487868"/>
              <a:gd name="connsiteY56" fmla="*/ 517137 h 549157"/>
              <a:gd name="connsiteX57" fmla="*/ 75017 w 1487868"/>
              <a:gd name="connsiteY57" fmla="*/ 517137 h 549157"/>
              <a:gd name="connsiteX58" fmla="*/ 75017 w 1487868"/>
              <a:gd name="connsiteY58" fmla="*/ 516347 h 549157"/>
              <a:gd name="connsiteX59" fmla="*/ 76562 w 1487868"/>
              <a:gd name="connsiteY59" fmla="*/ 516347 h 549157"/>
              <a:gd name="connsiteX60" fmla="*/ 76562 w 1487868"/>
              <a:gd name="connsiteY60" fmla="*/ 515580 h 549157"/>
              <a:gd name="connsiteX61" fmla="*/ 78086 w 1487868"/>
              <a:gd name="connsiteY61" fmla="*/ 515580 h 549157"/>
              <a:gd name="connsiteX62" fmla="*/ 78086 w 1487868"/>
              <a:gd name="connsiteY62" fmla="*/ 513244 h 549157"/>
              <a:gd name="connsiteX63" fmla="*/ 79620 w 1487868"/>
              <a:gd name="connsiteY63" fmla="*/ 513244 h 549157"/>
              <a:gd name="connsiteX64" fmla="*/ 79620 w 1487868"/>
              <a:gd name="connsiteY64" fmla="*/ 512444 h 549157"/>
              <a:gd name="connsiteX65" fmla="*/ 81155 w 1487868"/>
              <a:gd name="connsiteY65" fmla="*/ 512444 h 549157"/>
              <a:gd name="connsiteX66" fmla="*/ 81155 w 1487868"/>
              <a:gd name="connsiteY66" fmla="*/ 510097 h 549157"/>
              <a:gd name="connsiteX67" fmla="*/ 82700 w 1487868"/>
              <a:gd name="connsiteY67" fmla="*/ 510097 h 549157"/>
              <a:gd name="connsiteX68" fmla="*/ 82700 w 1487868"/>
              <a:gd name="connsiteY68" fmla="*/ 509307 h 549157"/>
              <a:gd name="connsiteX69" fmla="*/ 84224 w 1487868"/>
              <a:gd name="connsiteY69" fmla="*/ 509307 h 549157"/>
              <a:gd name="connsiteX70" fmla="*/ 84224 w 1487868"/>
              <a:gd name="connsiteY70" fmla="*/ 508551 h 549157"/>
              <a:gd name="connsiteX71" fmla="*/ 85725 w 1487868"/>
              <a:gd name="connsiteY71" fmla="*/ 508551 h 549157"/>
              <a:gd name="connsiteX72" fmla="*/ 85725 w 1487868"/>
              <a:gd name="connsiteY72" fmla="*/ 507750 h 549157"/>
              <a:gd name="connsiteX73" fmla="*/ 88794 w 1487868"/>
              <a:gd name="connsiteY73" fmla="*/ 507750 h 549157"/>
              <a:gd name="connsiteX74" fmla="*/ 88794 w 1487868"/>
              <a:gd name="connsiteY74" fmla="*/ 506204 h 549157"/>
              <a:gd name="connsiteX75" fmla="*/ 91864 w 1487868"/>
              <a:gd name="connsiteY75" fmla="*/ 506204 h 549157"/>
              <a:gd name="connsiteX76" fmla="*/ 91864 w 1487868"/>
              <a:gd name="connsiteY76" fmla="*/ 504614 h 549157"/>
              <a:gd name="connsiteX77" fmla="*/ 94933 w 1487868"/>
              <a:gd name="connsiteY77" fmla="*/ 504614 h 549157"/>
              <a:gd name="connsiteX78" fmla="*/ 94933 w 1487868"/>
              <a:gd name="connsiteY78" fmla="*/ 503846 h 549157"/>
              <a:gd name="connsiteX79" fmla="*/ 96467 w 1487868"/>
              <a:gd name="connsiteY79" fmla="*/ 503846 h 549157"/>
              <a:gd name="connsiteX80" fmla="*/ 96467 w 1487868"/>
              <a:gd name="connsiteY80" fmla="*/ 502267 h 549157"/>
              <a:gd name="connsiteX81" fmla="*/ 98002 w 1487868"/>
              <a:gd name="connsiteY81" fmla="*/ 502267 h 549157"/>
              <a:gd name="connsiteX82" fmla="*/ 98002 w 1487868"/>
              <a:gd name="connsiteY82" fmla="*/ 499153 h 549157"/>
              <a:gd name="connsiteX83" fmla="*/ 99525 w 1487868"/>
              <a:gd name="connsiteY83" fmla="*/ 499153 h 549157"/>
              <a:gd name="connsiteX84" fmla="*/ 99525 w 1487868"/>
              <a:gd name="connsiteY84" fmla="*/ 498363 h 549157"/>
              <a:gd name="connsiteX85" fmla="*/ 102572 w 1487868"/>
              <a:gd name="connsiteY85" fmla="*/ 498363 h 549157"/>
              <a:gd name="connsiteX86" fmla="*/ 104096 w 1487868"/>
              <a:gd name="connsiteY86" fmla="*/ 498363 h 549157"/>
              <a:gd name="connsiteX87" fmla="*/ 104096 w 1487868"/>
              <a:gd name="connsiteY87" fmla="*/ 496784 h 549157"/>
              <a:gd name="connsiteX88" fmla="*/ 105630 w 1487868"/>
              <a:gd name="connsiteY88" fmla="*/ 496784 h 549157"/>
              <a:gd name="connsiteX89" fmla="*/ 105630 w 1487868"/>
              <a:gd name="connsiteY89" fmla="*/ 496016 h 549157"/>
              <a:gd name="connsiteX90" fmla="*/ 107165 w 1487868"/>
              <a:gd name="connsiteY90" fmla="*/ 496016 h 549157"/>
              <a:gd name="connsiteX91" fmla="*/ 107165 w 1487868"/>
              <a:gd name="connsiteY91" fmla="*/ 494437 h 549157"/>
              <a:gd name="connsiteX92" fmla="*/ 110234 w 1487868"/>
              <a:gd name="connsiteY92" fmla="*/ 494437 h 549157"/>
              <a:gd name="connsiteX93" fmla="*/ 110234 w 1487868"/>
              <a:gd name="connsiteY93" fmla="*/ 493670 h 549157"/>
              <a:gd name="connsiteX94" fmla="*/ 113292 w 1487868"/>
              <a:gd name="connsiteY94" fmla="*/ 493670 h 549157"/>
              <a:gd name="connsiteX95" fmla="*/ 113292 w 1487868"/>
              <a:gd name="connsiteY95" fmla="*/ 492090 h 549157"/>
              <a:gd name="connsiteX96" fmla="*/ 114838 w 1487868"/>
              <a:gd name="connsiteY96" fmla="*/ 492090 h 549157"/>
              <a:gd name="connsiteX97" fmla="*/ 114838 w 1487868"/>
              <a:gd name="connsiteY97" fmla="*/ 491323 h 549157"/>
              <a:gd name="connsiteX98" fmla="*/ 116372 w 1487868"/>
              <a:gd name="connsiteY98" fmla="*/ 491323 h 549157"/>
              <a:gd name="connsiteX99" fmla="*/ 116372 w 1487868"/>
              <a:gd name="connsiteY99" fmla="*/ 488187 h 549157"/>
              <a:gd name="connsiteX100" fmla="*/ 117907 w 1487868"/>
              <a:gd name="connsiteY100" fmla="*/ 488187 h 549157"/>
              <a:gd name="connsiteX101" fmla="*/ 117907 w 1487868"/>
              <a:gd name="connsiteY101" fmla="*/ 487397 h 549157"/>
              <a:gd name="connsiteX102" fmla="*/ 119430 w 1487868"/>
              <a:gd name="connsiteY102" fmla="*/ 487397 h 549157"/>
              <a:gd name="connsiteX103" fmla="*/ 120932 w 1487868"/>
              <a:gd name="connsiteY103" fmla="*/ 487397 h 549157"/>
              <a:gd name="connsiteX104" fmla="*/ 120932 w 1487868"/>
              <a:gd name="connsiteY104" fmla="*/ 486596 h 549157"/>
              <a:gd name="connsiteX105" fmla="*/ 124001 w 1487868"/>
              <a:gd name="connsiteY105" fmla="*/ 486596 h 549157"/>
              <a:gd name="connsiteX106" fmla="*/ 124001 w 1487868"/>
              <a:gd name="connsiteY106" fmla="*/ 485840 h 549157"/>
              <a:gd name="connsiteX107" fmla="*/ 125536 w 1487868"/>
              <a:gd name="connsiteY107" fmla="*/ 485840 h 549157"/>
              <a:gd name="connsiteX108" fmla="*/ 125536 w 1487868"/>
              <a:gd name="connsiteY108" fmla="*/ 485050 h 549157"/>
              <a:gd name="connsiteX109" fmla="*/ 127070 w 1487868"/>
              <a:gd name="connsiteY109" fmla="*/ 485050 h 549157"/>
              <a:gd name="connsiteX110" fmla="*/ 127070 w 1487868"/>
              <a:gd name="connsiteY110" fmla="*/ 484249 h 549157"/>
              <a:gd name="connsiteX111" fmla="*/ 128605 w 1487868"/>
              <a:gd name="connsiteY111" fmla="*/ 484249 h 549157"/>
              <a:gd name="connsiteX112" fmla="*/ 128605 w 1487868"/>
              <a:gd name="connsiteY112" fmla="*/ 483460 h 549157"/>
              <a:gd name="connsiteX113" fmla="*/ 130139 w 1487868"/>
              <a:gd name="connsiteY113" fmla="*/ 483460 h 549157"/>
              <a:gd name="connsiteX114" fmla="*/ 130139 w 1487868"/>
              <a:gd name="connsiteY114" fmla="*/ 481903 h 549157"/>
              <a:gd name="connsiteX115" fmla="*/ 131674 w 1487868"/>
              <a:gd name="connsiteY115" fmla="*/ 481903 h 549157"/>
              <a:gd name="connsiteX116" fmla="*/ 131674 w 1487868"/>
              <a:gd name="connsiteY116" fmla="*/ 479556 h 549157"/>
              <a:gd name="connsiteX117" fmla="*/ 133208 w 1487868"/>
              <a:gd name="connsiteY117" fmla="*/ 479556 h 549157"/>
              <a:gd name="connsiteX118" fmla="*/ 133208 w 1487868"/>
              <a:gd name="connsiteY118" fmla="*/ 477977 h 549157"/>
              <a:gd name="connsiteX119" fmla="*/ 134743 w 1487868"/>
              <a:gd name="connsiteY119" fmla="*/ 477977 h 549157"/>
              <a:gd name="connsiteX120" fmla="*/ 134743 w 1487868"/>
              <a:gd name="connsiteY120" fmla="*/ 477176 h 549157"/>
              <a:gd name="connsiteX121" fmla="*/ 136278 w 1487868"/>
              <a:gd name="connsiteY121" fmla="*/ 477176 h 549157"/>
              <a:gd name="connsiteX122" fmla="*/ 136278 w 1487868"/>
              <a:gd name="connsiteY122" fmla="*/ 476420 h 549157"/>
              <a:gd name="connsiteX123" fmla="*/ 140848 w 1487868"/>
              <a:gd name="connsiteY123" fmla="*/ 476420 h 549157"/>
              <a:gd name="connsiteX124" fmla="*/ 140848 w 1487868"/>
              <a:gd name="connsiteY124" fmla="*/ 475630 h 549157"/>
              <a:gd name="connsiteX125" fmla="*/ 142382 w 1487868"/>
              <a:gd name="connsiteY125" fmla="*/ 475630 h 549157"/>
              <a:gd name="connsiteX126" fmla="*/ 142382 w 1487868"/>
              <a:gd name="connsiteY126" fmla="*/ 473283 h 549157"/>
              <a:gd name="connsiteX127" fmla="*/ 143906 w 1487868"/>
              <a:gd name="connsiteY127" fmla="*/ 473283 h 549157"/>
              <a:gd name="connsiteX128" fmla="*/ 146986 w 1487868"/>
              <a:gd name="connsiteY128" fmla="*/ 473283 h 549157"/>
              <a:gd name="connsiteX129" fmla="*/ 146986 w 1487868"/>
              <a:gd name="connsiteY129" fmla="*/ 471693 h 549157"/>
              <a:gd name="connsiteX130" fmla="*/ 148510 w 1487868"/>
              <a:gd name="connsiteY130" fmla="*/ 471693 h 549157"/>
              <a:gd name="connsiteX131" fmla="*/ 148510 w 1487868"/>
              <a:gd name="connsiteY131" fmla="*/ 470892 h 549157"/>
              <a:gd name="connsiteX132" fmla="*/ 151579 w 1487868"/>
              <a:gd name="connsiteY132" fmla="*/ 470892 h 549157"/>
              <a:gd name="connsiteX133" fmla="*/ 151579 w 1487868"/>
              <a:gd name="connsiteY133" fmla="*/ 468545 h 549157"/>
              <a:gd name="connsiteX134" fmla="*/ 156149 w 1487868"/>
              <a:gd name="connsiteY134" fmla="*/ 468545 h 549157"/>
              <a:gd name="connsiteX135" fmla="*/ 156149 w 1487868"/>
              <a:gd name="connsiteY135" fmla="*/ 467756 h 549157"/>
              <a:gd name="connsiteX136" fmla="*/ 160753 w 1487868"/>
              <a:gd name="connsiteY136" fmla="*/ 467756 h 549157"/>
              <a:gd name="connsiteX137" fmla="*/ 160753 w 1487868"/>
              <a:gd name="connsiteY137" fmla="*/ 466210 h 549157"/>
              <a:gd name="connsiteX138" fmla="*/ 162288 w 1487868"/>
              <a:gd name="connsiteY138" fmla="*/ 466210 h 549157"/>
              <a:gd name="connsiteX139" fmla="*/ 162288 w 1487868"/>
              <a:gd name="connsiteY139" fmla="*/ 465409 h 549157"/>
              <a:gd name="connsiteX140" fmla="*/ 163811 w 1487868"/>
              <a:gd name="connsiteY140" fmla="*/ 465409 h 549157"/>
              <a:gd name="connsiteX141" fmla="*/ 163811 w 1487868"/>
              <a:gd name="connsiteY141" fmla="*/ 464619 h 549157"/>
              <a:gd name="connsiteX142" fmla="*/ 165346 w 1487868"/>
              <a:gd name="connsiteY142" fmla="*/ 464619 h 549157"/>
              <a:gd name="connsiteX143" fmla="*/ 165346 w 1487868"/>
              <a:gd name="connsiteY143" fmla="*/ 462272 h 549157"/>
              <a:gd name="connsiteX144" fmla="*/ 166891 w 1487868"/>
              <a:gd name="connsiteY144" fmla="*/ 462272 h 549157"/>
              <a:gd name="connsiteX145" fmla="*/ 166891 w 1487868"/>
              <a:gd name="connsiteY145" fmla="*/ 461483 h 549157"/>
              <a:gd name="connsiteX146" fmla="*/ 169949 w 1487868"/>
              <a:gd name="connsiteY146" fmla="*/ 461483 h 549157"/>
              <a:gd name="connsiteX147" fmla="*/ 171484 w 1487868"/>
              <a:gd name="connsiteY147" fmla="*/ 461483 h 549157"/>
              <a:gd name="connsiteX148" fmla="*/ 171484 w 1487868"/>
              <a:gd name="connsiteY148" fmla="*/ 458302 h 549157"/>
              <a:gd name="connsiteX149" fmla="*/ 173030 w 1487868"/>
              <a:gd name="connsiteY149" fmla="*/ 458302 h 549157"/>
              <a:gd name="connsiteX150" fmla="*/ 173030 w 1487868"/>
              <a:gd name="connsiteY150" fmla="*/ 455955 h 549157"/>
              <a:gd name="connsiteX151" fmla="*/ 174520 w 1487868"/>
              <a:gd name="connsiteY151" fmla="*/ 455955 h 549157"/>
              <a:gd name="connsiteX152" fmla="*/ 174520 w 1487868"/>
              <a:gd name="connsiteY152" fmla="*/ 455166 h 549157"/>
              <a:gd name="connsiteX153" fmla="*/ 177589 w 1487868"/>
              <a:gd name="connsiteY153" fmla="*/ 455166 h 549157"/>
              <a:gd name="connsiteX154" fmla="*/ 177589 w 1487868"/>
              <a:gd name="connsiteY154" fmla="*/ 452029 h 549157"/>
              <a:gd name="connsiteX155" fmla="*/ 179112 w 1487868"/>
              <a:gd name="connsiteY155" fmla="*/ 452029 h 549157"/>
              <a:gd name="connsiteX156" fmla="*/ 179112 w 1487868"/>
              <a:gd name="connsiteY156" fmla="*/ 450439 h 549157"/>
              <a:gd name="connsiteX157" fmla="*/ 183716 w 1487868"/>
              <a:gd name="connsiteY157" fmla="*/ 450439 h 549157"/>
              <a:gd name="connsiteX158" fmla="*/ 183716 w 1487868"/>
              <a:gd name="connsiteY158" fmla="*/ 448882 h 549157"/>
              <a:gd name="connsiteX159" fmla="*/ 185251 w 1487868"/>
              <a:gd name="connsiteY159" fmla="*/ 448882 h 549157"/>
              <a:gd name="connsiteX160" fmla="*/ 185251 w 1487868"/>
              <a:gd name="connsiteY160" fmla="*/ 448092 h 549157"/>
              <a:gd name="connsiteX161" fmla="*/ 189855 w 1487868"/>
              <a:gd name="connsiteY161" fmla="*/ 448092 h 549157"/>
              <a:gd name="connsiteX162" fmla="*/ 189855 w 1487868"/>
              <a:gd name="connsiteY162" fmla="*/ 445712 h 549157"/>
              <a:gd name="connsiteX163" fmla="*/ 191356 w 1487868"/>
              <a:gd name="connsiteY163" fmla="*/ 445712 h 549157"/>
              <a:gd name="connsiteX164" fmla="*/ 191356 w 1487868"/>
              <a:gd name="connsiteY164" fmla="*/ 444155 h 549157"/>
              <a:gd name="connsiteX165" fmla="*/ 194425 w 1487868"/>
              <a:gd name="connsiteY165" fmla="*/ 444155 h 549157"/>
              <a:gd name="connsiteX166" fmla="*/ 194425 w 1487868"/>
              <a:gd name="connsiteY166" fmla="*/ 443365 h 549157"/>
              <a:gd name="connsiteX167" fmla="*/ 195960 w 1487868"/>
              <a:gd name="connsiteY167" fmla="*/ 443365 h 549157"/>
              <a:gd name="connsiteX168" fmla="*/ 195960 w 1487868"/>
              <a:gd name="connsiteY168" fmla="*/ 441775 h 549157"/>
              <a:gd name="connsiteX169" fmla="*/ 199028 w 1487868"/>
              <a:gd name="connsiteY169" fmla="*/ 441775 h 549157"/>
              <a:gd name="connsiteX170" fmla="*/ 200563 w 1487868"/>
              <a:gd name="connsiteY170" fmla="*/ 441775 h 549157"/>
              <a:gd name="connsiteX171" fmla="*/ 202098 w 1487868"/>
              <a:gd name="connsiteY171" fmla="*/ 441775 h 549157"/>
              <a:gd name="connsiteX172" fmla="*/ 202098 w 1487868"/>
              <a:gd name="connsiteY172" fmla="*/ 440985 h 549157"/>
              <a:gd name="connsiteX173" fmla="*/ 203632 w 1487868"/>
              <a:gd name="connsiteY173" fmla="*/ 440985 h 549157"/>
              <a:gd name="connsiteX174" fmla="*/ 203632 w 1487868"/>
              <a:gd name="connsiteY174" fmla="*/ 440229 h 549157"/>
              <a:gd name="connsiteX175" fmla="*/ 206701 w 1487868"/>
              <a:gd name="connsiteY175" fmla="*/ 440229 h 549157"/>
              <a:gd name="connsiteX176" fmla="*/ 206701 w 1487868"/>
              <a:gd name="connsiteY176" fmla="*/ 439428 h 549157"/>
              <a:gd name="connsiteX177" fmla="*/ 208236 w 1487868"/>
              <a:gd name="connsiteY177" fmla="*/ 439428 h 549157"/>
              <a:gd name="connsiteX178" fmla="*/ 209726 w 1487868"/>
              <a:gd name="connsiteY178" fmla="*/ 439428 h 549157"/>
              <a:gd name="connsiteX179" fmla="*/ 209726 w 1487868"/>
              <a:gd name="connsiteY179" fmla="*/ 437838 h 549157"/>
              <a:gd name="connsiteX180" fmla="*/ 211261 w 1487868"/>
              <a:gd name="connsiteY180" fmla="*/ 437838 h 549157"/>
              <a:gd name="connsiteX181" fmla="*/ 212806 w 1487868"/>
              <a:gd name="connsiteY181" fmla="*/ 437838 h 549157"/>
              <a:gd name="connsiteX182" fmla="*/ 212806 w 1487868"/>
              <a:gd name="connsiteY182" fmla="*/ 437048 h 549157"/>
              <a:gd name="connsiteX183" fmla="*/ 215864 w 1487868"/>
              <a:gd name="connsiteY183" fmla="*/ 437048 h 549157"/>
              <a:gd name="connsiteX184" fmla="*/ 215864 w 1487868"/>
              <a:gd name="connsiteY184" fmla="*/ 436258 h 549157"/>
              <a:gd name="connsiteX185" fmla="*/ 217399 w 1487868"/>
              <a:gd name="connsiteY185" fmla="*/ 436258 h 549157"/>
              <a:gd name="connsiteX186" fmla="*/ 217399 w 1487868"/>
              <a:gd name="connsiteY186" fmla="*/ 434701 h 549157"/>
              <a:gd name="connsiteX187" fmla="*/ 218934 w 1487868"/>
              <a:gd name="connsiteY187" fmla="*/ 434701 h 549157"/>
              <a:gd name="connsiteX188" fmla="*/ 218934 w 1487868"/>
              <a:gd name="connsiteY188" fmla="*/ 433111 h 549157"/>
              <a:gd name="connsiteX189" fmla="*/ 222003 w 1487868"/>
              <a:gd name="connsiteY189" fmla="*/ 433111 h 549157"/>
              <a:gd name="connsiteX190" fmla="*/ 222003 w 1487868"/>
              <a:gd name="connsiteY190" fmla="*/ 431531 h 549157"/>
              <a:gd name="connsiteX191" fmla="*/ 223537 w 1487868"/>
              <a:gd name="connsiteY191" fmla="*/ 431531 h 549157"/>
              <a:gd name="connsiteX192" fmla="*/ 223537 w 1487868"/>
              <a:gd name="connsiteY192" fmla="*/ 430731 h 549157"/>
              <a:gd name="connsiteX193" fmla="*/ 225072 w 1487868"/>
              <a:gd name="connsiteY193" fmla="*/ 430731 h 549157"/>
              <a:gd name="connsiteX194" fmla="*/ 226573 w 1487868"/>
              <a:gd name="connsiteY194" fmla="*/ 430731 h 549157"/>
              <a:gd name="connsiteX195" fmla="*/ 226573 w 1487868"/>
              <a:gd name="connsiteY195" fmla="*/ 429140 h 549157"/>
              <a:gd name="connsiteX196" fmla="*/ 228108 w 1487868"/>
              <a:gd name="connsiteY196" fmla="*/ 429140 h 549157"/>
              <a:gd name="connsiteX197" fmla="*/ 228108 w 1487868"/>
              <a:gd name="connsiteY197" fmla="*/ 428384 h 549157"/>
              <a:gd name="connsiteX198" fmla="*/ 229631 w 1487868"/>
              <a:gd name="connsiteY198" fmla="*/ 428384 h 549157"/>
              <a:gd name="connsiteX199" fmla="*/ 229631 w 1487868"/>
              <a:gd name="connsiteY199" fmla="*/ 427594 h 549157"/>
              <a:gd name="connsiteX200" fmla="*/ 231166 w 1487868"/>
              <a:gd name="connsiteY200" fmla="*/ 427594 h 549157"/>
              <a:gd name="connsiteX201" fmla="*/ 231166 w 1487868"/>
              <a:gd name="connsiteY201" fmla="*/ 426805 h 549157"/>
              <a:gd name="connsiteX202" fmla="*/ 232712 w 1487868"/>
              <a:gd name="connsiteY202" fmla="*/ 426805 h 549157"/>
              <a:gd name="connsiteX203" fmla="*/ 232712 w 1487868"/>
              <a:gd name="connsiteY203" fmla="*/ 426004 h 549157"/>
              <a:gd name="connsiteX204" fmla="*/ 234235 w 1487868"/>
              <a:gd name="connsiteY204" fmla="*/ 426004 h 549157"/>
              <a:gd name="connsiteX205" fmla="*/ 235770 w 1487868"/>
              <a:gd name="connsiteY205" fmla="*/ 426004 h 549157"/>
              <a:gd name="connsiteX206" fmla="*/ 235770 w 1487868"/>
              <a:gd name="connsiteY206" fmla="*/ 425214 h 549157"/>
              <a:gd name="connsiteX207" fmla="*/ 237304 w 1487868"/>
              <a:gd name="connsiteY207" fmla="*/ 425214 h 549157"/>
              <a:gd name="connsiteX208" fmla="*/ 237304 w 1487868"/>
              <a:gd name="connsiteY208" fmla="*/ 423624 h 549157"/>
              <a:gd name="connsiteX209" fmla="*/ 238850 w 1487868"/>
              <a:gd name="connsiteY209" fmla="*/ 423624 h 549157"/>
              <a:gd name="connsiteX210" fmla="*/ 240373 w 1487868"/>
              <a:gd name="connsiteY210" fmla="*/ 423624 h 549157"/>
              <a:gd name="connsiteX211" fmla="*/ 240373 w 1487868"/>
              <a:gd name="connsiteY211" fmla="*/ 422834 h 549157"/>
              <a:gd name="connsiteX212" fmla="*/ 241908 w 1487868"/>
              <a:gd name="connsiteY212" fmla="*/ 422834 h 549157"/>
              <a:gd name="connsiteX213" fmla="*/ 241908 w 1487868"/>
              <a:gd name="connsiteY213" fmla="*/ 421244 h 549157"/>
              <a:gd name="connsiteX214" fmla="*/ 244933 w 1487868"/>
              <a:gd name="connsiteY214" fmla="*/ 421244 h 549157"/>
              <a:gd name="connsiteX215" fmla="*/ 244933 w 1487868"/>
              <a:gd name="connsiteY215" fmla="*/ 420487 h 549157"/>
              <a:gd name="connsiteX216" fmla="*/ 246478 w 1487868"/>
              <a:gd name="connsiteY216" fmla="*/ 420487 h 549157"/>
              <a:gd name="connsiteX217" fmla="*/ 249536 w 1487868"/>
              <a:gd name="connsiteY217" fmla="*/ 420487 h 549157"/>
              <a:gd name="connsiteX218" fmla="*/ 249536 w 1487868"/>
              <a:gd name="connsiteY218" fmla="*/ 418897 h 549157"/>
              <a:gd name="connsiteX219" fmla="*/ 251082 w 1487868"/>
              <a:gd name="connsiteY219" fmla="*/ 418897 h 549157"/>
              <a:gd name="connsiteX220" fmla="*/ 251082 w 1487868"/>
              <a:gd name="connsiteY220" fmla="*/ 418107 h 549157"/>
              <a:gd name="connsiteX221" fmla="*/ 254140 w 1487868"/>
              <a:gd name="connsiteY221" fmla="*/ 418107 h 549157"/>
              <a:gd name="connsiteX222" fmla="*/ 254140 w 1487868"/>
              <a:gd name="connsiteY222" fmla="*/ 417318 h 549157"/>
              <a:gd name="connsiteX223" fmla="*/ 255675 w 1487868"/>
              <a:gd name="connsiteY223" fmla="*/ 417318 h 549157"/>
              <a:gd name="connsiteX224" fmla="*/ 255675 w 1487868"/>
              <a:gd name="connsiteY224" fmla="*/ 416517 h 549157"/>
              <a:gd name="connsiteX225" fmla="*/ 258755 w 1487868"/>
              <a:gd name="connsiteY225" fmla="*/ 416517 h 549157"/>
              <a:gd name="connsiteX226" fmla="*/ 258755 w 1487868"/>
              <a:gd name="connsiteY226" fmla="*/ 414137 h 549157"/>
              <a:gd name="connsiteX227" fmla="*/ 260279 w 1487868"/>
              <a:gd name="connsiteY227" fmla="*/ 414137 h 549157"/>
              <a:gd name="connsiteX228" fmla="*/ 260279 w 1487868"/>
              <a:gd name="connsiteY228" fmla="*/ 413347 h 549157"/>
              <a:gd name="connsiteX229" fmla="*/ 261780 w 1487868"/>
              <a:gd name="connsiteY229" fmla="*/ 413347 h 549157"/>
              <a:gd name="connsiteX230" fmla="*/ 263314 w 1487868"/>
              <a:gd name="connsiteY230" fmla="*/ 413347 h 549157"/>
              <a:gd name="connsiteX231" fmla="*/ 263314 w 1487868"/>
              <a:gd name="connsiteY231" fmla="*/ 412546 h 549157"/>
              <a:gd name="connsiteX232" fmla="*/ 267918 w 1487868"/>
              <a:gd name="connsiteY232" fmla="*/ 412546 h 549157"/>
              <a:gd name="connsiteX233" fmla="*/ 269441 w 1487868"/>
              <a:gd name="connsiteY233" fmla="*/ 412546 h 549157"/>
              <a:gd name="connsiteX234" fmla="*/ 269441 w 1487868"/>
              <a:gd name="connsiteY234" fmla="*/ 411757 h 549157"/>
              <a:gd name="connsiteX235" fmla="*/ 270987 w 1487868"/>
              <a:gd name="connsiteY235" fmla="*/ 411757 h 549157"/>
              <a:gd name="connsiteX236" fmla="*/ 270987 w 1487868"/>
              <a:gd name="connsiteY236" fmla="*/ 410967 h 549157"/>
              <a:gd name="connsiteX237" fmla="*/ 272522 w 1487868"/>
              <a:gd name="connsiteY237" fmla="*/ 410967 h 549157"/>
              <a:gd name="connsiteX238" fmla="*/ 274056 w 1487868"/>
              <a:gd name="connsiteY238" fmla="*/ 410967 h 549157"/>
              <a:gd name="connsiteX239" fmla="*/ 274056 w 1487868"/>
              <a:gd name="connsiteY239" fmla="*/ 409376 h 549157"/>
              <a:gd name="connsiteX240" fmla="*/ 275580 w 1487868"/>
              <a:gd name="connsiteY240" fmla="*/ 409376 h 549157"/>
              <a:gd name="connsiteX241" fmla="*/ 275580 w 1487868"/>
              <a:gd name="connsiteY241" fmla="*/ 407786 h 549157"/>
              <a:gd name="connsiteX242" fmla="*/ 277125 w 1487868"/>
              <a:gd name="connsiteY242" fmla="*/ 407786 h 549157"/>
              <a:gd name="connsiteX243" fmla="*/ 277125 w 1487868"/>
              <a:gd name="connsiteY243" fmla="*/ 406196 h 549157"/>
              <a:gd name="connsiteX244" fmla="*/ 278660 w 1487868"/>
              <a:gd name="connsiteY244" fmla="*/ 406196 h 549157"/>
              <a:gd name="connsiteX245" fmla="*/ 278660 w 1487868"/>
              <a:gd name="connsiteY245" fmla="*/ 404605 h 549157"/>
              <a:gd name="connsiteX246" fmla="*/ 280150 w 1487868"/>
              <a:gd name="connsiteY246" fmla="*/ 404605 h 549157"/>
              <a:gd name="connsiteX247" fmla="*/ 281685 w 1487868"/>
              <a:gd name="connsiteY247" fmla="*/ 404605 h 549157"/>
              <a:gd name="connsiteX248" fmla="*/ 281685 w 1487868"/>
              <a:gd name="connsiteY248" fmla="*/ 403026 h 549157"/>
              <a:gd name="connsiteX249" fmla="*/ 284754 w 1487868"/>
              <a:gd name="connsiteY249" fmla="*/ 403026 h 549157"/>
              <a:gd name="connsiteX250" fmla="*/ 284754 w 1487868"/>
              <a:gd name="connsiteY250" fmla="*/ 401435 h 549157"/>
              <a:gd name="connsiteX251" fmla="*/ 286289 w 1487868"/>
              <a:gd name="connsiteY251" fmla="*/ 401435 h 549157"/>
              <a:gd name="connsiteX252" fmla="*/ 286289 w 1487868"/>
              <a:gd name="connsiteY252" fmla="*/ 400646 h 549157"/>
              <a:gd name="connsiteX253" fmla="*/ 287823 w 1487868"/>
              <a:gd name="connsiteY253" fmla="*/ 400646 h 549157"/>
              <a:gd name="connsiteX254" fmla="*/ 289358 w 1487868"/>
              <a:gd name="connsiteY254" fmla="*/ 400646 h 549157"/>
              <a:gd name="connsiteX255" fmla="*/ 290892 w 1487868"/>
              <a:gd name="connsiteY255" fmla="*/ 400646 h 549157"/>
              <a:gd name="connsiteX256" fmla="*/ 290892 w 1487868"/>
              <a:gd name="connsiteY256" fmla="*/ 399055 h 549157"/>
              <a:gd name="connsiteX257" fmla="*/ 292427 w 1487868"/>
              <a:gd name="connsiteY257" fmla="*/ 399055 h 549157"/>
              <a:gd name="connsiteX258" fmla="*/ 292427 w 1487868"/>
              <a:gd name="connsiteY258" fmla="*/ 396642 h 549157"/>
              <a:gd name="connsiteX259" fmla="*/ 293961 w 1487868"/>
              <a:gd name="connsiteY259" fmla="*/ 396642 h 549157"/>
              <a:gd name="connsiteX260" fmla="*/ 295485 w 1487868"/>
              <a:gd name="connsiteY260" fmla="*/ 396642 h 549157"/>
              <a:gd name="connsiteX261" fmla="*/ 297031 w 1487868"/>
              <a:gd name="connsiteY261" fmla="*/ 396642 h 549157"/>
              <a:gd name="connsiteX262" fmla="*/ 298532 w 1487868"/>
              <a:gd name="connsiteY262" fmla="*/ 396642 h 549157"/>
              <a:gd name="connsiteX263" fmla="*/ 298532 w 1487868"/>
              <a:gd name="connsiteY263" fmla="*/ 395852 h 549157"/>
              <a:gd name="connsiteX264" fmla="*/ 300055 w 1487868"/>
              <a:gd name="connsiteY264" fmla="*/ 395852 h 549157"/>
              <a:gd name="connsiteX265" fmla="*/ 301590 w 1487868"/>
              <a:gd name="connsiteY265" fmla="*/ 395852 h 549157"/>
              <a:gd name="connsiteX266" fmla="*/ 303125 w 1487868"/>
              <a:gd name="connsiteY266" fmla="*/ 395852 h 549157"/>
              <a:gd name="connsiteX267" fmla="*/ 303125 w 1487868"/>
              <a:gd name="connsiteY267" fmla="*/ 395018 h 549157"/>
              <a:gd name="connsiteX268" fmla="*/ 304659 w 1487868"/>
              <a:gd name="connsiteY268" fmla="*/ 395018 h 549157"/>
              <a:gd name="connsiteX269" fmla="*/ 304659 w 1487868"/>
              <a:gd name="connsiteY269" fmla="*/ 393394 h 549157"/>
              <a:gd name="connsiteX270" fmla="*/ 306194 w 1487868"/>
              <a:gd name="connsiteY270" fmla="*/ 393394 h 549157"/>
              <a:gd name="connsiteX271" fmla="*/ 306194 w 1487868"/>
              <a:gd name="connsiteY271" fmla="*/ 392571 h 549157"/>
              <a:gd name="connsiteX272" fmla="*/ 307728 w 1487868"/>
              <a:gd name="connsiteY272" fmla="*/ 392571 h 549157"/>
              <a:gd name="connsiteX273" fmla="*/ 307728 w 1487868"/>
              <a:gd name="connsiteY273" fmla="*/ 391737 h 549157"/>
              <a:gd name="connsiteX274" fmla="*/ 309274 w 1487868"/>
              <a:gd name="connsiteY274" fmla="*/ 391737 h 549157"/>
              <a:gd name="connsiteX275" fmla="*/ 310797 w 1487868"/>
              <a:gd name="connsiteY275" fmla="*/ 391737 h 549157"/>
              <a:gd name="connsiteX276" fmla="*/ 310797 w 1487868"/>
              <a:gd name="connsiteY276" fmla="*/ 390124 h 549157"/>
              <a:gd name="connsiteX277" fmla="*/ 312332 w 1487868"/>
              <a:gd name="connsiteY277" fmla="*/ 390124 h 549157"/>
              <a:gd name="connsiteX278" fmla="*/ 313867 w 1487868"/>
              <a:gd name="connsiteY278" fmla="*/ 390124 h 549157"/>
              <a:gd name="connsiteX279" fmla="*/ 313867 w 1487868"/>
              <a:gd name="connsiteY279" fmla="*/ 389257 h 549157"/>
              <a:gd name="connsiteX280" fmla="*/ 315357 w 1487868"/>
              <a:gd name="connsiteY280" fmla="*/ 389257 h 549157"/>
              <a:gd name="connsiteX281" fmla="*/ 315357 w 1487868"/>
              <a:gd name="connsiteY281" fmla="*/ 387600 h 549157"/>
              <a:gd name="connsiteX282" fmla="*/ 316902 w 1487868"/>
              <a:gd name="connsiteY282" fmla="*/ 387600 h 549157"/>
              <a:gd name="connsiteX283" fmla="*/ 316902 w 1487868"/>
              <a:gd name="connsiteY283" fmla="*/ 386766 h 549157"/>
              <a:gd name="connsiteX284" fmla="*/ 318437 w 1487868"/>
              <a:gd name="connsiteY284" fmla="*/ 386766 h 549157"/>
              <a:gd name="connsiteX285" fmla="*/ 318437 w 1487868"/>
              <a:gd name="connsiteY285" fmla="*/ 385943 h 549157"/>
              <a:gd name="connsiteX286" fmla="*/ 319960 w 1487868"/>
              <a:gd name="connsiteY286" fmla="*/ 385943 h 549157"/>
              <a:gd name="connsiteX287" fmla="*/ 319960 w 1487868"/>
              <a:gd name="connsiteY287" fmla="*/ 385086 h 549157"/>
              <a:gd name="connsiteX288" fmla="*/ 321495 w 1487868"/>
              <a:gd name="connsiteY288" fmla="*/ 385086 h 549157"/>
              <a:gd name="connsiteX289" fmla="*/ 323041 w 1487868"/>
              <a:gd name="connsiteY289" fmla="*/ 385086 h 549157"/>
              <a:gd name="connsiteX290" fmla="*/ 324564 w 1487868"/>
              <a:gd name="connsiteY290" fmla="*/ 385086 h 549157"/>
              <a:gd name="connsiteX291" fmla="*/ 327633 w 1487868"/>
              <a:gd name="connsiteY291" fmla="*/ 385086 h 549157"/>
              <a:gd name="connsiteX292" fmla="*/ 327633 w 1487868"/>
              <a:gd name="connsiteY292" fmla="*/ 384252 h 549157"/>
              <a:gd name="connsiteX293" fmla="*/ 329179 w 1487868"/>
              <a:gd name="connsiteY293" fmla="*/ 384252 h 549157"/>
              <a:gd name="connsiteX294" fmla="*/ 329179 w 1487868"/>
              <a:gd name="connsiteY294" fmla="*/ 383396 h 549157"/>
              <a:gd name="connsiteX295" fmla="*/ 330702 w 1487868"/>
              <a:gd name="connsiteY295" fmla="*/ 383396 h 549157"/>
              <a:gd name="connsiteX296" fmla="*/ 330702 w 1487868"/>
              <a:gd name="connsiteY296" fmla="*/ 381661 h 549157"/>
              <a:gd name="connsiteX297" fmla="*/ 332237 w 1487868"/>
              <a:gd name="connsiteY297" fmla="*/ 381661 h 549157"/>
              <a:gd name="connsiteX298" fmla="*/ 333738 w 1487868"/>
              <a:gd name="connsiteY298" fmla="*/ 381661 h 549157"/>
              <a:gd name="connsiteX299" fmla="*/ 335262 w 1487868"/>
              <a:gd name="connsiteY299" fmla="*/ 381661 h 549157"/>
              <a:gd name="connsiteX300" fmla="*/ 335262 w 1487868"/>
              <a:gd name="connsiteY300" fmla="*/ 380804 h 549157"/>
              <a:gd name="connsiteX301" fmla="*/ 336807 w 1487868"/>
              <a:gd name="connsiteY301" fmla="*/ 380804 h 549157"/>
              <a:gd name="connsiteX302" fmla="*/ 336807 w 1487868"/>
              <a:gd name="connsiteY302" fmla="*/ 379937 h 549157"/>
              <a:gd name="connsiteX303" fmla="*/ 338342 w 1487868"/>
              <a:gd name="connsiteY303" fmla="*/ 379937 h 549157"/>
              <a:gd name="connsiteX304" fmla="*/ 339865 w 1487868"/>
              <a:gd name="connsiteY304" fmla="*/ 379937 h 549157"/>
              <a:gd name="connsiteX305" fmla="*/ 339865 w 1487868"/>
              <a:gd name="connsiteY305" fmla="*/ 379080 h 549157"/>
              <a:gd name="connsiteX306" fmla="*/ 341400 w 1487868"/>
              <a:gd name="connsiteY306" fmla="*/ 379080 h 549157"/>
              <a:gd name="connsiteX307" fmla="*/ 342946 w 1487868"/>
              <a:gd name="connsiteY307" fmla="*/ 379080 h 549157"/>
              <a:gd name="connsiteX308" fmla="*/ 342946 w 1487868"/>
              <a:gd name="connsiteY308" fmla="*/ 377312 h 549157"/>
              <a:gd name="connsiteX309" fmla="*/ 344480 w 1487868"/>
              <a:gd name="connsiteY309" fmla="*/ 377312 h 549157"/>
              <a:gd name="connsiteX310" fmla="*/ 346004 w 1487868"/>
              <a:gd name="connsiteY310" fmla="*/ 377312 h 549157"/>
              <a:gd name="connsiteX311" fmla="*/ 346004 w 1487868"/>
              <a:gd name="connsiteY311" fmla="*/ 375555 h 549157"/>
              <a:gd name="connsiteX312" fmla="*/ 347538 w 1487868"/>
              <a:gd name="connsiteY312" fmla="*/ 375555 h 549157"/>
              <a:gd name="connsiteX313" fmla="*/ 347538 w 1487868"/>
              <a:gd name="connsiteY313" fmla="*/ 374698 h 549157"/>
              <a:gd name="connsiteX314" fmla="*/ 350574 w 1487868"/>
              <a:gd name="connsiteY314" fmla="*/ 374698 h 549157"/>
              <a:gd name="connsiteX315" fmla="*/ 352109 w 1487868"/>
              <a:gd name="connsiteY315" fmla="*/ 374698 h 549157"/>
              <a:gd name="connsiteX316" fmla="*/ 352109 w 1487868"/>
              <a:gd name="connsiteY316" fmla="*/ 373797 h 549157"/>
              <a:gd name="connsiteX317" fmla="*/ 353643 w 1487868"/>
              <a:gd name="connsiteY317" fmla="*/ 373797 h 549157"/>
              <a:gd name="connsiteX318" fmla="*/ 353643 w 1487868"/>
              <a:gd name="connsiteY318" fmla="*/ 372930 h 549157"/>
              <a:gd name="connsiteX319" fmla="*/ 355167 w 1487868"/>
              <a:gd name="connsiteY319" fmla="*/ 372930 h 549157"/>
              <a:gd name="connsiteX320" fmla="*/ 356713 w 1487868"/>
              <a:gd name="connsiteY320" fmla="*/ 372930 h 549157"/>
              <a:gd name="connsiteX321" fmla="*/ 356713 w 1487868"/>
              <a:gd name="connsiteY321" fmla="*/ 372040 h 549157"/>
              <a:gd name="connsiteX322" fmla="*/ 358247 w 1487868"/>
              <a:gd name="connsiteY322" fmla="*/ 372040 h 549157"/>
              <a:gd name="connsiteX323" fmla="*/ 359782 w 1487868"/>
              <a:gd name="connsiteY323" fmla="*/ 372040 h 549157"/>
              <a:gd name="connsiteX324" fmla="*/ 361316 w 1487868"/>
              <a:gd name="connsiteY324" fmla="*/ 372040 h 549157"/>
              <a:gd name="connsiteX325" fmla="*/ 362851 w 1487868"/>
              <a:gd name="connsiteY325" fmla="*/ 372040 h 549157"/>
              <a:gd name="connsiteX326" fmla="*/ 362851 w 1487868"/>
              <a:gd name="connsiteY326" fmla="*/ 371139 h 549157"/>
              <a:gd name="connsiteX327" fmla="*/ 364386 w 1487868"/>
              <a:gd name="connsiteY327" fmla="*/ 371139 h 549157"/>
              <a:gd name="connsiteX328" fmla="*/ 364386 w 1487868"/>
              <a:gd name="connsiteY328" fmla="*/ 368448 h 549157"/>
              <a:gd name="connsiteX329" fmla="*/ 365909 w 1487868"/>
              <a:gd name="connsiteY329" fmla="*/ 368448 h 549157"/>
              <a:gd name="connsiteX330" fmla="*/ 367455 w 1487868"/>
              <a:gd name="connsiteY330" fmla="*/ 368448 h 549157"/>
              <a:gd name="connsiteX331" fmla="*/ 367455 w 1487868"/>
              <a:gd name="connsiteY331" fmla="*/ 367513 h 549157"/>
              <a:gd name="connsiteX332" fmla="*/ 368956 w 1487868"/>
              <a:gd name="connsiteY332" fmla="*/ 367513 h 549157"/>
              <a:gd name="connsiteX333" fmla="*/ 370479 w 1487868"/>
              <a:gd name="connsiteY333" fmla="*/ 367513 h 549157"/>
              <a:gd name="connsiteX334" fmla="*/ 372014 w 1487868"/>
              <a:gd name="connsiteY334" fmla="*/ 367513 h 549157"/>
              <a:gd name="connsiteX335" fmla="*/ 373548 w 1487868"/>
              <a:gd name="connsiteY335" fmla="*/ 367513 h 549157"/>
              <a:gd name="connsiteX336" fmla="*/ 373548 w 1487868"/>
              <a:gd name="connsiteY336" fmla="*/ 365690 h 549157"/>
              <a:gd name="connsiteX337" fmla="*/ 375083 w 1487868"/>
              <a:gd name="connsiteY337" fmla="*/ 365690 h 549157"/>
              <a:gd name="connsiteX338" fmla="*/ 375083 w 1487868"/>
              <a:gd name="connsiteY338" fmla="*/ 364789 h 549157"/>
              <a:gd name="connsiteX339" fmla="*/ 376617 w 1487868"/>
              <a:gd name="connsiteY339" fmla="*/ 364789 h 549157"/>
              <a:gd name="connsiteX340" fmla="*/ 376617 w 1487868"/>
              <a:gd name="connsiteY340" fmla="*/ 362030 h 549157"/>
              <a:gd name="connsiteX341" fmla="*/ 378152 w 1487868"/>
              <a:gd name="connsiteY341" fmla="*/ 362030 h 549157"/>
              <a:gd name="connsiteX342" fmla="*/ 378152 w 1487868"/>
              <a:gd name="connsiteY342" fmla="*/ 359272 h 549157"/>
              <a:gd name="connsiteX343" fmla="*/ 382756 w 1487868"/>
              <a:gd name="connsiteY343" fmla="*/ 359272 h 549157"/>
              <a:gd name="connsiteX344" fmla="*/ 382756 w 1487868"/>
              <a:gd name="connsiteY344" fmla="*/ 358338 h 549157"/>
              <a:gd name="connsiteX345" fmla="*/ 384290 w 1487868"/>
              <a:gd name="connsiteY345" fmla="*/ 358338 h 549157"/>
              <a:gd name="connsiteX346" fmla="*/ 384290 w 1487868"/>
              <a:gd name="connsiteY346" fmla="*/ 357404 h 549157"/>
              <a:gd name="connsiteX347" fmla="*/ 385781 w 1487868"/>
              <a:gd name="connsiteY347" fmla="*/ 357404 h 549157"/>
              <a:gd name="connsiteX348" fmla="*/ 387315 w 1487868"/>
              <a:gd name="connsiteY348" fmla="*/ 357404 h 549157"/>
              <a:gd name="connsiteX349" fmla="*/ 388861 w 1487868"/>
              <a:gd name="connsiteY349" fmla="*/ 357404 h 549157"/>
              <a:gd name="connsiteX350" fmla="*/ 388861 w 1487868"/>
              <a:gd name="connsiteY350" fmla="*/ 356481 h 549157"/>
              <a:gd name="connsiteX351" fmla="*/ 391919 w 1487868"/>
              <a:gd name="connsiteY351" fmla="*/ 356481 h 549157"/>
              <a:gd name="connsiteX352" fmla="*/ 393453 w 1487868"/>
              <a:gd name="connsiteY352" fmla="*/ 356481 h 549157"/>
              <a:gd name="connsiteX353" fmla="*/ 393453 w 1487868"/>
              <a:gd name="connsiteY353" fmla="*/ 355546 h 549157"/>
              <a:gd name="connsiteX354" fmla="*/ 394999 w 1487868"/>
              <a:gd name="connsiteY354" fmla="*/ 355546 h 549157"/>
              <a:gd name="connsiteX355" fmla="*/ 396523 w 1487868"/>
              <a:gd name="connsiteY355" fmla="*/ 355546 h 549157"/>
              <a:gd name="connsiteX356" fmla="*/ 396523 w 1487868"/>
              <a:gd name="connsiteY356" fmla="*/ 354579 h 549157"/>
              <a:gd name="connsiteX357" fmla="*/ 398057 w 1487868"/>
              <a:gd name="connsiteY357" fmla="*/ 354579 h 549157"/>
              <a:gd name="connsiteX358" fmla="*/ 399592 w 1487868"/>
              <a:gd name="connsiteY358" fmla="*/ 354579 h 549157"/>
              <a:gd name="connsiteX359" fmla="*/ 401126 w 1487868"/>
              <a:gd name="connsiteY359" fmla="*/ 354579 h 549157"/>
              <a:gd name="connsiteX360" fmla="*/ 404162 w 1487868"/>
              <a:gd name="connsiteY360" fmla="*/ 354579 h 549157"/>
              <a:gd name="connsiteX361" fmla="*/ 404162 w 1487868"/>
              <a:gd name="connsiteY361" fmla="*/ 353644 h 549157"/>
              <a:gd name="connsiteX362" fmla="*/ 405686 w 1487868"/>
              <a:gd name="connsiteY362" fmla="*/ 353644 h 549157"/>
              <a:gd name="connsiteX363" fmla="*/ 407220 w 1487868"/>
              <a:gd name="connsiteY363" fmla="*/ 353644 h 549157"/>
              <a:gd name="connsiteX364" fmla="*/ 408766 w 1487868"/>
              <a:gd name="connsiteY364" fmla="*/ 353644 h 549157"/>
              <a:gd name="connsiteX365" fmla="*/ 410289 w 1487868"/>
              <a:gd name="connsiteY365" fmla="*/ 353644 h 549157"/>
              <a:gd name="connsiteX366" fmla="*/ 410289 w 1487868"/>
              <a:gd name="connsiteY366" fmla="*/ 351720 h 549157"/>
              <a:gd name="connsiteX367" fmla="*/ 411824 w 1487868"/>
              <a:gd name="connsiteY367" fmla="*/ 351720 h 549157"/>
              <a:gd name="connsiteX368" fmla="*/ 413359 w 1487868"/>
              <a:gd name="connsiteY368" fmla="*/ 351720 h 549157"/>
              <a:gd name="connsiteX369" fmla="*/ 413359 w 1487868"/>
              <a:gd name="connsiteY369" fmla="*/ 349785 h 549157"/>
              <a:gd name="connsiteX370" fmla="*/ 416428 w 1487868"/>
              <a:gd name="connsiteY370" fmla="*/ 349785 h 549157"/>
              <a:gd name="connsiteX371" fmla="*/ 417962 w 1487868"/>
              <a:gd name="connsiteY371" fmla="*/ 349785 h 549157"/>
              <a:gd name="connsiteX372" fmla="*/ 419508 w 1487868"/>
              <a:gd name="connsiteY372" fmla="*/ 349785 h 549157"/>
              <a:gd name="connsiteX373" fmla="*/ 419508 w 1487868"/>
              <a:gd name="connsiteY373" fmla="*/ 348784 h 549157"/>
              <a:gd name="connsiteX374" fmla="*/ 421032 w 1487868"/>
              <a:gd name="connsiteY374" fmla="*/ 348784 h 549157"/>
              <a:gd name="connsiteX375" fmla="*/ 424067 w 1487868"/>
              <a:gd name="connsiteY375" fmla="*/ 348784 h 549157"/>
              <a:gd name="connsiteX376" fmla="*/ 424067 w 1487868"/>
              <a:gd name="connsiteY376" fmla="*/ 347817 h 549157"/>
              <a:gd name="connsiteX377" fmla="*/ 425591 w 1487868"/>
              <a:gd name="connsiteY377" fmla="*/ 347817 h 549157"/>
              <a:gd name="connsiteX378" fmla="*/ 425591 w 1487868"/>
              <a:gd name="connsiteY378" fmla="*/ 346816 h 549157"/>
              <a:gd name="connsiteX379" fmla="*/ 427136 w 1487868"/>
              <a:gd name="connsiteY379" fmla="*/ 346816 h 549157"/>
              <a:gd name="connsiteX380" fmla="*/ 427136 w 1487868"/>
              <a:gd name="connsiteY380" fmla="*/ 345848 h 549157"/>
              <a:gd name="connsiteX381" fmla="*/ 428671 w 1487868"/>
              <a:gd name="connsiteY381" fmla="*/ 345848 h 549157"/>
              <a:gd name="connsiteX382" fmla="*/ 430206 w 1487868"/>
              <a:gd name="connsiteY382" fmla="*/ 345848 h 549157"/>
              <a:gd name="connsiteX383" fmla="*/ 431729 w 1487868"/>
              <a:gd name="connsiteY383" fmla="*/ 345848 h 549157"/>
              <a:gd name="connsiteX384" fmla="*/ 431729 w 1487868"/>
              <a:gd name="connsiteY384" fmla="*/ 344847 h 549157"/>
              <a:gd name="connsiteX385" fmla="*/ 433275 w 1487868"/>
              <a:gd name="connsiteY385" fmla="*/ 344847 h 549157"/>
              <a:gd name="connsiteX386" fmla="*/ 433275 w 1487868"/>
              <a:gd name="connsiteY386" fmla="*/ 343846 h 549157"/>
              <a:gd name="connsiteX387" fmla="*/ 436333 w 1487868"/>
              <a:gd name="connsiteY387" fmla="*/ 343846 h 549157"/>
              <a:gd name="connsiteX388" fmla="*/ 436333 w 1487868"/>
              <a:gd name="connsiteY388" fmla="*/ 342845 h 549157"/>
              <a:gd name="connsiteX389" fmla="*/ 437868 w 1487868"/>
              <a:gd name="connsiteY389" fmla="*/ 342845 h 549157"/>
              <a:gd name="connsiteX390" fmla="*/ 439369 w 1487868"/>
              <a:gd name="connsiteY390" fmla="*/ 342845 h 549157"/>
              <a:gd name="connsiteX391" fmla="*/ 440903 w 1487868"/>
              <a:gd name="connsiteY391" fmla="*/ 342845 h 549157"/>
              <a:gd name="connsiteX392" fmla="*/ 442438 w 1487868"/>
              <a:gd name="connsiteY392" fmla="*/ 342845 h 549157"/>
              <a:gd name="connsiteX393" fmla="*/ 442438 w 1487868"/>
              <a:gd name="connsiteY393" fmla="*/ 341844 h 549157"/>
              <a:gd name="connsiteX394" fmla="*/ 443972 w 1487868"/>
              <a:gd name="connsiteY394" fmla="*/ 341844 h 549157"/>
              <a:gd name="connsiteX395" fmla="*/ 443972 w 1487868"/>
              <a:gd name="connsiteY395" fmla="*/ 340843 h 549157"/>
              <a:gd name="connsiteX396" fmla="*/ 447042 w 1487868"/>
              <a:gd name="connsiteY396" fmla="*/ 340843 h 549157"/>
              <a:gd name="connsiteX397" fmla="*/ 448576 w 1487868"/>
              <a:gd name="connsiteY397" fmla="*/ 340843 h 549157"/>
              <a:gd name="connsiteX398" fmla="*/ 448576 w 1487868"/>
              <a:gd name="connsiteY398" fmla="*/ 339809 h 549157"/>
              <a:gd name="connsiteX399" fmla="*/ 450111 w 1487868"/>
              <a:gd name="connsiteY399" fmla="*/ 339809 h 549157"/>
              <a:gd name="connsiteX400" fmla="*/ 450111 w 1487868"/>
              <a:gd name="connsiteY400" fmla="*/ 337773 h 549157"/>
              <a:gd name="connsiteX401" fmla="*/ 451634 w 1487868"/>
              <a:gd name="connsiteY401" fmla="*/ 337773 h 549157"/>
              <a:gd name="connsiteX402" fmla="*/ 451634 w 1487868"/>
              <a:gd name="connsiteY402" fmla="*/ 336772 h 549157"/>
              <a:gd name="connsiteX403" fmla="*/ 453180 w 1487868"/>
              <a:gd name="connsiteY403" fmla="*/ 336772 h 549157"/>
              <a:gd name="connsiteX404" fmla="*/ 454714 w 1487868"/>
              <a:gd name="connsiteY404" fmla="*/ 336772 h 549157"/>
              <a:gd name="connsiteX405" fmla="*/ 456238 w 1487868"/>
              <a:gd name="connsiteY405" fmla="*/ 336772 h 549157"/>
              <a:gd name="connsiteX406" fmla="*/ 456238 w 1487868"/>
              <a:gd name="connsiteY406" fmla="*/ 335738 h 549157"/>
              <a:gd name="connsiteX407" fmla="*/ 457739 w 1487868"/>
              <a:gd name="connsiteY407" fmla="*/ 335738 h 549157"/>
              <a:gd name="connsiteX408" fmla="*/ 459274 w 1487868"/>
              <a:gd name="connsiteY408" fmla="*/ 335738 h 549157"/>
              <a:gd name="connsiteX409" fmla="*/ 459274 w 1487868"/>
              <a:gd name="connsiteY409" fmla="*/ 334704 h 549157"/>
              <a:gd name="connsiteX410" fmla="*/ 460808 w 1487868"/>
              <a:gd name="connsiteY410" fmla="*/ 334704 h 549157"/>
              <a:gd name="connsiteX411" fmla="*/ 462343 w 1487868"/>
              <a:gd name="connsiteY411" fmla="*/ 334704 h 549157"/>
              <a:gd name="connsiteX412" fmla="*/ 463878 w 1487868"/>
              <a:gd name="connsiteY412" fmla="*/ 334704 h 549157"/>
              <a:gd name="connsiteX413" fmla="*/ 463878 w 1487868"/>
              <a:gd name="connsiteY413" fmla="*/ 331590 h 549157"/>
              <a:gd name="connsiteX414" fmla="*/ 466947 w 1487868"/>
              <a:gd name="connsiteY414" fmla="*/ 331590 h 549157"/>
              <a:gd name="connsiteX415" fmla="*/ 466947 w 1487868"/>
              <a:gd name="connsiteY415" fmla="*/ 330566 h 549157"/>
              <a:gd name="connsiteX416" fmla="*/ 468481 w 1487868"/>
              <a:gd name="connsiteY416" fmla="*/ 330566 h 549157"/>
              <a:gd name="connsiteX417" fmla="*/ 468481 w 1487868"/>
              <a:gd name="connsiteY417" fmla="*/ 329521 h 549157"/>
              <a:gd name="connsiteX418" fmla="*/ 470016 w 1487868"/>
              <a:gd name="connsiteY418" fmla="*/ 329521 h 549157"/>
              <a:gd name="connsiteX419" fmla="*/ 471539 w 1487868"/>
              <a:gd name="connsiteY419" fmla="*/ 329521 h 549157"/>
              <a:gd name="connsiteX420" fmla="*/ 473085 w 1487868"/>
              <a:gd name="connsiteY420" fmla="*/ 329521 h 549157"/>
              <a:gd name="connsiteX421" fmla="*/ 473085 w 1487868"/>
              <a:gd name="connsiteY421" fmla="*/ 327452 h 549157"/>
              <a:gd name="connsiteX422" fmla="*/ 474586 w 1487868"/>
              <a:gd name="connsiteY422" fmla="*/ 327452 h 549157"/>
              <a:gd name="connsiteX423" fmla="*/ 474586 w 1487868"/>
              <a:gd name="connsiteY423" fmla="*/ 326418 h 549157"/>
              <a:gd name="connsiteX424" fmla="*/ 476110 w 1487868"/>
              <a:gd name="connsiteY424" fmla="*/ 326418 h 549157"/>
              <a:gd name="connsiteX425" fmla="*/ 476110 w 1487868"/>
              <a:gd name="connsiteY425" fmla="*/ 324316 h 549157"/>
              <a:gd name="connsiteX426" fmla="*/ 479190 w 1487868"/>
              <a:gd name="connsiteY426" fmla="*/ 324316 h 549157"/>
              <a:gd name="connsiteX427" fmla="*/ 480714 w 1487868"/>
              <a:gd name="connsiteY427" fmla="*/ 324316 h 549157"/>
              <a:gd name="connsiteX428" fmla="*/ 480714 w 1487868"/>
              <a:gd name="connsiteY428" fmla="*/ 322214 h 549157"/>
              <a:gd name="connsiteX429" fmla="*/ 482248 w 1487868"/>
              <a:gd name="connsiteY429" fmla="*/ 322214 h 549157"/>
              <a:gd name="connsiteX430" fmla="*/ 482248 w 1487868"/>
              <a:gd name="connsiteY430" fmla="*/ 317999 h 549157"/>
              <a:gd name="connsiteX431" fmla="*/ 483783 w 1487868"/>
              <a:gd name="connsiteY431" fmla="*/ 317999 h 549157"/>
              <a:gd name="connsiteX432" fmla="*/ 485328 w 1487868"/>
              <a:gd name="connsiteY432" fmla="*/ 317999 h 549157"/>
              <a:gd name="connsiteX433" fmla="*/ 488386 w 1487868"/>
              <a:gd name="connsiteY433" fmla="*/ 317999 h 549157"/>
              <a:gd name="connsiteX434" fmla="*/ 488386 w 1487868"/>
              <a:gd name="connsiteY434" fmla="*/ 315897 h 549157"/>
              <a:gd name="connsiteX435" fmla="*/ 489921 w 1487868"/>
              <a:gd name="connsiteY435" fmla="*/ 315897 h 549157"/>
              <a:gd name="connsiteX436" fmla="*/ 491456 w 1487868"/>
              <a:gd name="connsiteY436" fmla="*/ 315897 h 549157"/>
              <a:gd name="connsiteX437" fmla="*/ 491456 w 1487868"/>
              <a:gd name="connsiteY437" fmla="*/ 314829 h 549157"/>
              <a:gd name="connsiteX438" fmla="*/ 492957 w 1487868"/>
              <a:gd name="connsiteY438" fmla="*/ 314829 h 549157"/>
              <a:gd name="connsiteX439" fmla="*/ 492957 w 1487868"/>
              <a:gd name="connsiteY439" fmla="*/ 312727 h 549157"/>
              <a:gd name="connsiteX440" fmla="*/ 494491 w 1487868"/>
              <a:gd name="connsiteY440" fmla="*/ 312727 h 549157"/>
              <a:gd name="connsiteX441" fmla="*/ 494491 w 1487868"/>
              <a:gd name="connsiteY441" fmla="*/ 310580 h 549157"/>
              <a:gd name="connsiteX442" fmla="*/ 496015 w 1487868"/>
              <a:gd name="connsiteY442" fmla="*/ 310580 h 549157"/>
              <a:gd name="connsiteX443" fmla="*/ 496015 w 1487868"/>
              <a:gd name="connsiteY443" fmla="*/ 309513 h 549157"/>
              <a:gd name="connsiteX444" fmla="*/ 497549 w 1487868"/>
              <a:gd name="connsiteY444" fmla="*/ 309513 h 549157"/>
              <a:gd name="connsiteX445" fmla="*/ 497549 w 1487868"/>
              <a:gd name="connsiteY445" fmla="*/ 308412 h 549157"/>
              <a:gd name="connsiteX446" fmla="*/ 499095 w 1487868"/>
              <a:gd name="connsiteY446" fmla="*/ 308412 h 549157"/>
              <a:gd name="connsiteX447" fmla="*/ 499095 w 1487868"/>
              <a:gd name="connsiteY447" fmla="*/ 307344 h 549157"/>
              <a:gd name="connsiteX448" fmla="*/ 500630 w 1487868"/>
              <a:gd name="connsiteY448" fmla="*/ 307344 h 549157"/>
              <a:gd name="connsiteX449" fmla="*/ 502153 w 1487868"/>
              <a:gd name="connsiteY449" fmla="*/ 307344 h 549157"/>
              <a:gd name="connsiteX450" fmla="*/ 503688 w 1487868"/>
              <a:gd name="connsiteY450" fmla="*/ 307344 h 549157"/>
              <a:gd name="connsiteX451" fmla="*/ 503688 w 1487868"/>
              <a:gd name="connsiteY451" fmla="*/ 305197 h 549157"/>
              <a:gd name="connsiteX452" fmla="*/ 505233 w 1487868"/>
              <a:gd name="connsiteY452" fmla="*/ 305197 h 549157"/>
              <a:gd name="connsiteX453" fmla="*/ 506757 w 1487868"/>
              <a:gd name="connsiteY453" fmla="*/ 305197 h 549157"/>
              <a:gd name="connsiteX454" fmla="*/ 506757 w 1487868"/>
              <a:gd name="connsiteY454" fmla="*/ 304096 h 549157"/>
              <a:gd name="connsiteX455" fmla="*/ 509793 w 1487868"/>
              <a:gd name="connsiteY455" fmla="*/ 304096 h 549157"/>
              <a:gd name="connsiteX456" fmla="*/ 509793 w 1487868"/>
              <a:gd name="connsiteY456" fmla="*/ 301927 h 549157"/>
              <a:gd name="connsiteX457" fmla="*/ 511316 w 1487868"/>
              <a:gd name="connsiteY457" fmla="*/ 301927 h 549157"/>
              <a:gd name="connsiteX458" fmla="*/ 511316 w 1487868"/>
              <a:gd name="connsiteY458" fmla="*/ 299748 h 549157"/>
              <a:gd name="connsiteX459" fmla="*/ 512862 w 1487868"/>
              <a:gd name="connsiteY459" fmla="*/ 299748 h 549157"/>
              <a:gd name="connsiteX460" fmla="*/ 514396 w 1487868"/>
              <a:gd name="connsiteY460" fmla="*/ 299748 h 549157"/>
              <a:gd name="connsiteX461" fmla="*/ 514396 w 1487868"/>
              <a:gd name="connsiteY461" fmla="*/ 298646 h 549157"/>
              <a:gd name="connsiteX462" fmla="*/ 515931 w 1487868"/>
              <a:gd name="connsiteY462" fmla="*/ 298646 h 549157"/>
              <a:gd name="connsiteX463" fmla="*/ 517454 w 1487868"/>
              <a:gd name="connsiteY463" fmla="*/ 298646 h 549157"/>
              <a:gd name="connsiteX464" fmla="*/ 520535 w 1487868"/>
              <a:gd name="connsiteY464" fmla="*/ 298646 h 549157"/>
              <a:gd name="connsiteX465" fmla="*/ 520535 w 1487868"/>
              <a:gd name="connsiteY465" fmla="*/ 297534 h 549157"/>
              <a:gd name="connsiteX466" fmla="*/ 522058 w 1487868"/>
              <a:gd name="connsiteY466" fmla="*/ 297534 h 549157"/>
              <a:gd name="connsiteX467" fmla="*/ 522058 w 1487868"/>
              <a:gd name="connsiteY467" fmla="*/ 294231 h 549157"/>
              <a:gd name="connsiteX468" fmla="*/ 523593 w 1487868"/>
              <a:gd name="connsiteY468" fmla="*/ 294231 h 549157"/>
              <a:gd name="connsiteX469" fmla="*/ 525139 w 1487868"/>
              <a:gd name="connsiteY469" fmla="*/ 294231 h 549157"/>
              <a:gd name="connsiteX470" fmla="*/ 526662 w 1487868"/>
              <a:gd name="connsiteY470" fmla="*/ 294231 h 549157"/>
              <a:gd name="connsiteX471" fmla="*/ 528163 w 1487868"/>
              <a:gd name="connsiteY471" fmla="*/ 294231 h 549157"/>
              <a:gd name="connsiteX472" fmla="*/ 531232 w 1487868"/>
              <a:gd name="connsiteY472" fmla="*/ 294231 h 549157"/>
              <a:gd name="connsiteX473" fmla="*/ 531232 w 1487868"/>
              <a:gd name="connsiteY473" fmla="*/ 293086 h 549157"/>
              <a:gd name="connsiteX474" fmla="*/ 532767 w 1487868"/>
              <a:gd name="connsiteY474" fmla="*/ 293086 h 549157"/>
              <a:gd name="connsiteX475" fmla="*/ 534302 w 1487868"/>
              <a:gd name="connsiteY475" fmla="*/ 293086 h 549157"/>
              <a:gd name="connsiteX476" fmla="*/ 535836 w 1487868"/>
              <a:gd name="connsiteY476" fmla="*/ 293086 h 549157"/>
              <a:gd name="connsiteX477" fmla="*/ 537371 w 1487868"/>
              <a:gd name="connsiteY477" fmla="*/ 293086 h 549157"/>
              <a:gd name="connsiteX478" fmla="*/ 537371 w 1487868"/>
              <a:gd name="connsiteY478" fmla="*/ 291951 h 549157"/>
              <a:gd name="connsiteX479" fmla="*/ 538905 w 1487868"/>
              <a:gd name="connsiteY479" fmla="*/ 291951 h 549157"/>
              <a:gd name="connsiteX480" fmla="*/ 540440 w 1487868"/>
              <a:gd name="connsiteY480" fmla="*/ 291951 h 549157"/>
              <a:gd name="connsiteX481" fmla="*/ 540440 w 1487868"/>
              <a:gd name="connsiteY481" fmla="*/ 290805 h 549157"/>
              <a:gd name="connsiteX482" fmla="*/ 541963 w 1487868"/>
              <a:gd name="connsiteY482" fmla="*/ 290805 h 549157"/>
              <a:gd name="connsiteX483" fmla="*/ 543509 w 1487868"/>
              <a:gd name="connsiteY483" fmla="*/ 290805 h 549157"/>
              <a:gd name="connsiteX484" fmla="*/ 545044 w 1487868"/>
              <a:gd name="connsiteY484" fmla="*/ 290805 h 549157"/>
              <a:gd name="connsiteX485" fmla="*/ 546534 w 1487868"/>
              <a:gd name="connsiteY485" fmla="*/ 290805 h 549157"/>
              <a:gd name="connsiteX486" fmla="*/ 546534 w 1487868"/>
              <a:gd name="connsiteY486" fmla="*/ 289671 h 549157"/>
              <a:gd name="connsiteX487" fmla="*/ 548068 w 1487868"/>
              <a:gd name="connsiteY487" fmla="*/ 289671 h 549157"/>
              <a:gd name="connsiteX488" fmla="*/ 548068 w 1487868"/>
              <a:gd name="connsiteY488" fmla="*/ 288492 h 549157"/>
              <a:gd name="connsiteX489" fmla="*/ 549603 w 1487868"/>
              <a:gd name="connsiteY489" fmla="*/ 288492 h 549157"/>
              <a:gd name="connsiteX490" fmla="*/ 549603 w 1487868"/>
              <a:gd name="connsiteY490" fmla="*/ 287358 h 549157"/>
              <a:gd name="connsiteX491" fmla="*/ 554206 w 1487868"/>
              <a:gd name="connsiteY491" fmla="*/ 287358 h 549157"/>
              <a:gd name="connsiteX492" fmla="*/ 554206 w 1487868"/>
              <a:gd name="connsiteY492" fmla="*/ 285011 h 549157"/>
              <a:gd name="connsiteX493" fmla="*/ 555741 w 1487868"/>
              <a:gd name="connsiteY493" fmla="*/ 285011 h 549157"/>
              <a:gd name="connsiteX494" fmla="*/ 555741 w 1487868"/>
              <a:gd name="connsiteY494" fmla="*/ 283843 h 549157"/>
              <a:gd name="connsiteX495" fmla="*/ 557276 w 1487868"/>
              <a:gd name="connsiteY495" fmla="*/ 283843 h 549157"/>
              <a:gd name="connsiteX496" fmla="*/ 558810 w 1487868"/>
              <a:gd name="connsiteY496" fmla="*/ 283843 h 549157"/>
              <a:gd name="connsiteX497" fmla="*/ 558810 w 1487868"/>
              <a:gd name="connsiteY497" fmla="*/ 282675 h 549157"/>
              <a:gd name="connsiteX498" fmla="*/ 560345 w 1487868"/>
              <a:gd name="connsiteY498" fmla="*/ 282675 h 549157"/>
              <a:gd name="connsiteX499" fmla="*/ 564915 w 1487868"/>
              <a:gd name="connsiteY499" fmla="*/ 282675 h 549157"/>
              <a:gd name="connsiteX500" fmla="*/ 564915 w 1487868"/>
              <a:gd name="connsiteY500" fmla="*/ 281496 h 549157"/>
              <a:gd name="connsiteX501" fmla="*/ 566439 w 1487868"/>
              <a:gd name="connsiteY501" fmla="*/ 281496 h 549157"/>
              <a:gd name="connsiteX502" fmla="*/ 567973 w 1487868"/>
              <a:gd name="connsiteY502" fmla="*/ 281496 h 549157"/>
              <a:gd name="connsiteX503" fmla="*/ 567973 w 1487868"/>
              <a:gd name="connsiteY503" fmla="*/ 277937 h 549157"/>
              <a:gd name="connsiteX504" fmla="*/ 569508 w 1487868"/>
              <a:gd name="connsiteY504" fmla="*/ 277937 h 549157"/>
              <a:gd name="connsiteX505" fmla="*/ 571054 w 1487868"/>
              <a:gd name="connsiteY505" fmla="*/ 277937 h 549157"/>
              <a:gd name="connsiteX506" fmla="*/ 571054 w 1487868"/>
              <a:gd name="connsiteY506" fmla="*/ 276736 h 549157"/>
              <a:gd name="connsiteX507" fmla="*/ 575646 w 1487868"/>
              <a:gd name="connsiteY507" fmla="*/ 276736 h 549157"/>
              <a:gd name="connsiteX508" fmla="*/ 577181 w 1487868"/>
              <a:gd name="connsiteY508" fmla="*/ 276736 h 549157"/>
              <a:gd name="connsiteX509" fmla="*/ 577181 w 1487868"/>
              <a:gd name="connsiteY509" fmla="*/ 273144 h 549157"/>
              <a:gd name="connsiteX510" fmla="*/ 578715 w 1487868"/>
              <a:gd name="connsiteY510" fmla="*/ 273144 h 549157"/>
              <a:gd name="connsiteX511" fmla="*/ 580250 w 1487868"/>
              <a:gd name="connsiteY511" fmla="*/ 273144 h 549157"/>
              <a:gd name="connsiteX512" fmla="*/ 580250 w 1487868"/>
              <a:gd name="connsiteY512" fmla="*/ 270730 h 549157"/>
              <a:gd name="connsiteX513" fmla="*/ 581740 w 1487868"/>
              <a:gd name="connsiteY513" fmla="*/ 270730 h 549157"/>
              <a:gd name="connsiteX514" fmla="*/ 583286 w 1487868"/>
              <a:gd name="connsiteY514" fmla="*/ 270730 h 549157"/>
              <a:gd name="connsiteX515" fmla="*/ 583286 w 1487868"/>
              <a:gd name="connsiteY515" fmla="*/ 269485 h 549157"/>
              <a:gd name="connsiteX516" fmla="*/ 584821 w 1487868"/>
              <a:gd name="connsiteY516" fmla="*/ 269485 h 549157"/>
              <a:gd name="connsiteX517" fmla="*/ 584821 w 1487868"/>
              <a:gd name="connsiteY517" fmla="*/ 268284 h 549157"/>
              <a:gd name="connsiteX518" fmla="*/ 586355 w 1487868"/>
              <a:gd name="connsiteY518" fmla="*/ 268284 h 549157"/>
              <a:gd name="connsiteX519" fmla="*/ 587878 w 1487868"/>
              <a:gd name="connsiteY519" fmla="*/ 268284 h 549157"/>
              <a:gd name="connsiteX520" fmla="*/ 589424 w 1487868"/>
              <a:gd name="connsiteY520" fmla="*/ 268284 h 549157"/>
              <a:gd name="connsiteX521" fmla="*/ 590959 w 1487868"/>
              <a:gd name="connsiteY521" fmla="*/ 268284 h 549157"/>
              <a:gd name="connsiteX522" fmla="*/ 592482 w 1487868"/>
              <a:gd name="connsiteY522" fmla="*/ 268284 h 549157"/>
              <a:gd name="connsiteX523" fmla="*/ 592482 w 1487868"/>
              <a:gd name="connsiteY523" fmla="*/ 265792 h 549157"/>
              <a:gd name="connsiteX524" fmla="*/ 594017 w 1487868"/>
              <a:gd name="connsiteY524" fmla="*/ 265792 h 549157"/>
              <a:gd name="connsiteX525" fmla="*/ 594017 w 1487868"/>
              <a:gd name="connsiteY525" fmla="*/ 263312 h 549157"/>
              <a:gd name="connsiteX526" fmla="*/ 595563 w 1487868"/>
              <a:gd name="connsiteY526" fmla="*/ 263312 h 549157"/>
              <a:gd name="connsiteX527" fmla="*/ 595563 w 1487868"/>
              <a:gd name="connsiteY527" fmla="*/ 262066 h 549157"/>
              <a:gd name="connsiteX528" fmla="*/ 597086 w 1487868"/>
              <a:gd name="connsiteY528" fmla="*/ 262066 h 549157"/>
              <a:gd name="connsiteX529" fmla="*/ 598587 w 1487868"/>
              <a:gd name="connsiteY529" fmla="*/ 262066 h 549157"/>
              <a:gd name="connsiteX530" fmla="*/ 600122 w 1487868"/>
              <a:gd name="connsiteY530" fmla="*/ 262066 h 549157"/>
              <a:gd name="connsiteX531" fmla="*/ 600122 w 1487868"/>
              <a:gd name="connsiteY531" fmla="*/ 260787 h 549157"/>
              <a:gd name="connsiteX532" fmla="*/ 601645 w 1487868"/>
              <a:gd name="connsiteY532" fmla="*/ 260787 h 549157"/>
              <a:gd name="connsiteX533" fmla="*/ 601645 w 1487868"/>
              <a:gd name="connsiteY533" fmla="*/ 259542 h 549157"/>
              <a:gd name="connsiteX534" fmla="*/ 603191 w 1487868"/>
              <a:gd name="connsiteY534" fmla="*/ 259542 h 549157"/>
              <a:gd name="connsiteX535" fmla="*/ 606260 w 1487868"/>
              <a:gd name="connsiteY535" fmla="*/ 259542 h 549157"/>
              <a:gd name="connsiteX536" fmla="*/ 606260 w 1487868"/>
              <a:gd name="connsiteY536" fmla="*/ 258274 h 549157"/>
              <a:gd name="connsiteX537" fmla="*/ 607784 w 1487868"/>
              <a:gd name="connsiteY537" fmla="*/ 258274 h 549157"/>
              <a:gd name="connsiteX538" fmla="*/ 607784 w 1487868"/>
              <a:gd name="connsiteY538" fmla="*/ 256995 h 549157"/>
              <a:gd name="connsiteX539" fmla="*/ 609329 w 1487868"/>
              <a:gd name="connsiteY539" fmla="*/ 256995 h 549157"/>
              <a:gd name="connsiteX540" fmla="*/ 610864 w 1487868"/>
              <a:gd name="connsiteY540" fmla="*/ 256995 h 549157"/>
              <a:gd name="connsiteX541" fmla="*/ 612387 w 1487868"/>
              <a:gd name="connsiteY541" fmla="*/ 256995 h 549157"/>
              <a:gd name="connsiteX542" fmla="*/ 613922 w 1487868"/>
              <a:gd name="connsiteY542" fmla="*/ 256995 h 549157"/>
              <a:gd name="connsiteX543" fmla="*/ 613922 w 1487868"/>
              <a:gd name="connsiteY543" fmla="*/ 255716 h 549157"/>
              <a:gd name="connsiteX544" fmla="*/ 615467 w 1487868"/>
              <a:gd name="connsiteY544" fmla="*/ 255716 h 549157"/>
              <a:gd name="connsiteX545" fmla="*/ 615467 w 1487868"/>
              <a:gd name="connsiteY545" fmla="*/ 254414 h 549157"/>
              <a:gd name="connsiteX546" fmla="*/ 618492 w 1487868"/>
              <a:gd name="connsiteY546" fmla="*/ 254414 h 549157"/>
              <a:gd name="connsiteX547" fmla="*/ 620027 w 1487868"/>
              <a:gd name="connsiteY547" fmla="*/ 254414 h 549157"/>
              <a:gd name="connsiteX548" fmla="*/ 621561 w 1487868"/>
              <a:gd name="connsiteY548" fmla="*/ 254414 h 549157"/>
              <a:gd name="connsiteX549" fmla="*/ 623096 w 1487868"/>
              <a:gd name="connsiteY549" fmla="*/ 254414 h 549157"/>
              <a:gd name="connsiteX550" fmla="*/ 623096 w 1487868"/>
              <a:gd name="connsiteY550" fmla="*/ 253091 h 549157"/>
              <a:gd name="connsiteX551" fmla="*/ 624631 w 1487868"/>
              <a:gd name="connsiteY551" fmla="*/ 253091 h 549157"/>
              <a:gd name="connsiteX552" fmla="*/ 624631 w 1487868"/>
              <a:gd name="connsiteY552" fmla="*/ 251790 h 549157"/>
              <a:gd name="connsiteX553" fmla="*/ 626165 w 1487868"/>
              <a:gd name="connsiteY553" fmla="*/ 251790 h 549157"/>
              <a:gd name="connsiteX554" fmla="*/ 626165 w 1487868"/>
              <a:gd name="connsiteY554" fmla="*/ 250477 h 549157"/>
              <a:gd name="connsiteX555" fmla="*/ 627689 w 1487868"/>
              <a:gd name="connsiteY555" fmla="*/ 250477 h 549157"/>
              <a:gd name="connsiteX556" fmla="*/ 627689 w 1487868"/>
              <a:gd name="connsiteY556" fmla="*/ 249165 h 549157"/>
              <a:gd name="connsiteX557" fmla="*/ 629234 w 1487868"/>
              <a:gd name="connsiteY557" fmla="*/ 249165 h 549157"/>
              <a:gd name="connsiteX558" fmla="*/ 629234 w 1487868"/>
              <a:gd name="connsiteY558" fmla="*/ 247819 h 549157"/>
              <a:gd name="connsiteX559" fmla="*/ 630769 w 1487868"/>
              <a:gd name="connsiteY559" fmla="*/ 247819 h 549157"/>
              <a:gd name="connsiteX560" fmla="*/ 632292 w 1487868"/>
              <a:gd name="connsiteY560" fmla="*/ 247819 h 549157"/>
              <a:gd name="connsiteX561" fmla="*/ 633794 w 1487868"/>
              <a:gd name="connsiteY561" fmla="*/ 247819 h 549157"/>
              <a:gd name="connsiteX562" fmla="*/ 633794 w 1487868"/>
              <a:gd name="connsiteY562" fmla="*/ 246507 h 549157"/>
              <a:gd name="connsiteX563" fmla="*/ 635339 w 1487868"/>
              <a:gd name="connsiteY563" fmla="*/ 246507 h 549157"/>
              <a:gd name="connsiteX564" fmla="*/ 638397 w 1487868"/>
              <a:gd name="connsiteY564" fmla="*/ 246507 h 549157"/>
              <a:gd name="connsiteX565" fmla="*/ 638397 w 1487868"/>
              <a:gd name="connsiteY565" fmla="*/ 243815 h 549157"/>
              <a:gd name="connsiteX566" fmla="*/ 639932 w 1487868"/>
              <a:gd name="connsiteY566" fmla="*/ 243815 h 549157"/>
              <a:gd name="connsiteX567" fmla="*/ 641478 w 1487868"/>
              <a:gd name="connsiteY567" fmla="*/ 243815 h 549157"/>
              <a:gd name="connsiteX568" fmla="*/ 643001 w 1487868"/>
              <a:gd name="connsiteY568" fmla="*/ 243815 h 549157"/>
              <a:gd name="connsiteX569" fmla="*/ 644536 w 1487868"/>
              <a:gd name="connsiteY569" fmla="*/ 243815 h 549157"/>
              <a:gd name="connsiteX570" fmla="*/ 646070 w 1487868"/>
              <a:gd name="connsiteY570" fmla="*/ 243815 h 549157"/>
              <a:gd name="connsiteX571" fmla="*/ 649139 w 1487868"/>
              <a:gd name="connsiteY571" fmla="*/ 243815 h 549157"/>
              <a:gd name="connsiteX572" fmla="*/ 649139 w 1487868"/>
              <a:gd name="connsiteY572" fmla="*/ 242470 h 549157"/>
              <a:gd name="connsiteX573" fmla="*/ 650674 w 1487868"/>
              <a:gd name="connsiteY573" fmla="*/ 242470 h 549157"/>
              <a:gd name="connsiteX574" fmla="*/ 652164 w 1487868"/>
              <a:gd name="connsiteY574" fmla="*/ 242470 h 549157"/>
              <a:gd name="connsiteX575" fmla="*/ 653699 w 1487868"/>
              <a:gd name="connsiteY575" fmla="*/ 242470 h 549157"/>
              <a:gd name="connsiteX576" fmla="*/ 655244 w 1487868"/>
              <a:gd name="connsiteY576" fmla="*/ 242470 h 549157"/>
              <a:gd name="connsiteX577" fmla="*/ 656779 w 1487868"/>
              <a:gd name="connsiteY577" fmla="*/ 242470 h 549157"/>
              <a:gd name="connsiteX578" fmla="*/ 658303 w 1487868"/>
              <a:gd name="connsiteY578" fmla="*/ 242470 h 549157"/>
              <a:gd name="connsiteX579" fmla="*/ 658303 w 1487868"/>
              <a:gd name="connsiteY579" fmla="*/ 241090 h 549157"/>
              <a:gd name="connsiteX580" fmla="*/ 661383 w 1487868"/>
              <a:gd name="connsiteY580" fmla="*/ 241090 h 549157"/>
              <a:gd name="connsiteX581" fmla="*/ 661383 w 1487868"/>
              <a:gd name="connsiteY581" fmla="*/ 239711 h 549157"/>
              <a:gd name="connsiteX582" fmla="*/ 662906 w 1487868"/>
              <a:gd name="connsiteY582" fmla="*/ 239711 h 549157"/>
              <a:gd name="connsiteX583" fmla="*/ 662906 w 1487868"/>
              <a:gd name="connsiteY583" fmla="*/ 238332 h 549157"/>
              <a:gd name="connsiteX584" fmla="*/ 664441 w 1487868"/>
              <a:gd name="connsiteY584" fmla="*/ 238332 h 549157"/>
              <a:gd name="connsiteX585" fmla="*/ 664441 w 1487868"/>
              <a:gd name="connsiteY585" fmla="*/ 236953 h 549157"/>
              <a:gd name="connsiteX586" fmla="*/ 665975 w 1487868"/>
              <a:gd name="connsiteY586" fmla="*/ 236953 h 549157"/>
              <a:gd name="connsiteX587" fmla="*/ 667510 w 1487868"/>
              <a:gd name="connsiteY587" fmla="*/ 236953 h 549157"/>
              <a:gd name="connsiteX588" fmla="*/ 672080 w 1487868"/>
              <a:gd name="connsiteY588" fmla="*/ 236953 h 549157"/>
              <a:gd name="connsiteX589" fmla="*/ 672080 w 1487868"/>
              <a:gd name="connsiteY589" fmla="*/ 235529 h 549157"/>
              <a:gd name="connsiteX590" fmla="*/ 673604 w 1487868"/>
              <a:gd name="connsiteY590" fmla="*/ 235529 h 549157"/>
              <a:gd name="connsiteX591" fmla="*/ 675149 w 1487868"/>
              <a:gd name="connsiteY591" fmla="*/ 235529 h 549157"/>
              <a:gd name="connsiteX592" fmla="*/ 676684 w 1487868"/>
              <a:gd name="connsiteY592" fmla="*/ 235529 h 549157"/>
              <a:gd name="connsiteX593" fmla="*/ 678207 w 1487868"/>
              <a:gd name="connsiteY593" fmla="*/ 235529 h 549157"/>
              <a:gd name="connsiteX594" fmla="*/ 681288 w 1487868"/>
              <a:gd name="connsiteY594" fmla="*/ 235529 h 549157"/>
              <a:gd name="connsiteX595" fmla="*/ 681288 w 1487868"/>
              <a:gd name="connsiteY595" fmla="*/ 234117 h 549157"/>
              <a:gd name="connsiteX596" fmla="*/ 684346 w 1487868"/>
              <a:gd name="connsiteY596" fmla="*/ 234117 h 549157"/>
              <a:gd name="connsiteX597" fmla="*/ 685880 w 1487868"/>
              <a:gd name="connsiteY597" fmla="*/ 234117 h 549157"/>
              <a:gd name="connsiteX598" fmla="*/ 687370 w 1487868"/>
              <a:gd name="connsiteY598" fmla="*/ 234117 h 549157"/>
              <a:gd name="connsiteX599" fmla="*/ 687370 w 1487868"/>
              <a:gd name="connsiteY599" fmla="*/ 232671 h 549157"/>
              <a:gd name="connsiteX600" fmla="*/ 688916 w 1487868"/>
              <a:gd name="connsiteY600" fmla="*/ 232671 h 549157"/>
              <a:gd name="connsiteX601" fmla="*/ 690451 w 1487868"/>
              <a:gd name="connsiteY601" fmla="*/ 232671 h 549157"/>
              <a:gd name="connsiteX602" fmla="*/ 690451 w 1487868"/>
              <a:gd name="connsiteY602" fmla="*/ 231259 h 549157"/>
              <a:gd name="connsiteX603" fmla="*/ 691985 w 1487868"/>
              <a:gd name="connsiteY603" fmla="*/ 231259 h 549157"/>
              <a:gd name="connsiteX604" fmla="*/ 691985 w 1487868"/>
              <a:gd name="connsiteY604" fmla="*/ 229802 h 549157"/>
              <a:gd name="connsiteX605" fmla="*/ 693520 w 1487868"/>
              <a:gd name="connsiteY605" fmla="*/ 229802 h 549157"/>
              <a:gd name="connsiteX606" fmla="*/ 695055 w 1487868"/>
              <a:gd name="connsiteY606" fmla="*/ 229802 h 549157"/>
              <a:gd name="connsiteX607" fmla="*/ 696589 w 1487868"/>
              <a:gd name="connsiteY607" fmla="*/ 229802 h 549157"/>
              <a:gd name="connsiteX608" fmla="*/ 698113 w 1487868"/>
              <a:gd name="connsiteY608" fmla="*/ 229802 h 549157"/>
              <a:gd name="connsiteX609" fmla="*/ 699658 w 1487868"/>
              <a:gd name="connsiteY609" fmla="*/ 229802 h 549157"/>
              <a:gd name="connsiteX610" fmla="*/ 699658 w 1487868"/>
              <a:gd name="connsiteY610" fmla="*/ 226865 h 549157"/>
              <a:gd name="connsiteX611" fmla="*/ 704251 w 1487868"/>
              <a:gd name="connsiteY611" fmla="*/ 226865 h 549157"/>
              <a:gd name="connsiteX612" fmla="*/ 705752 w 1487868"/>
              <a:gd name="connsiteY612" fmla="*/ 226865 h 549157"/>
              <a:gd name="connsiteX613" fmla="*/ 707287 w 1487868"/>
              <a:gd name="connsiteY613" fmla="*/ 226865 h 549157"/>
              <a:gd name="connsiteX614" fmla="*/ 707287 w 1487868"/>
              <a:gd name="connsiteY614" fmla="*/ 225420 h 549157"/>
              <a:gd name="connsiteX615" fmla="*/ 708821 w 1487868"/>
              <a:gd name="connsiteY615" fmla="*/ 225420 h 549157"/>
              <a:gd name="connsiteX616" fmla="*/ 710356 w 1487868"/>
              <a:gd name="connsiteY616" fmla="*/ 225420 h 549157"/>
              <a:gd name="connsiteX617" fmla="*/ 711891 w 1487868"/>
              <a:gd name="connsiteY617" fmla="*/ 225420 h 549157"/>
              <a:gd name="connsiteX618" fmla="*/ 711891 w 1487868"/>
              <a:gd name="connsiteY618" fmla="*/ 223940 h 549157"/>
              <a:gd name="connsiteX619" fmla="*/ 713425 w 1487868"/>
              <a:gd name="connsiteY619" fmla="*/ 223940 h 549157"/>
              <a:gd name="connsiteX620" fmla="*/ 713425 w 1487868"/>
              <a:gd name="connsiteY620" fmla="*/ 222450 h 549157"/>
              <a:gd name="connsiteX621" fmla="*/ 714960 w 1487868"/>
              <a:gd name="connsiteY621" fmla="*/ 222450 h 549157"/>
              <a:gd name="connsiteX622" fmla="*/ 716494 w 1487868"/>
              <a:gd name="connsiteY622" fmla="*/ 222450 h 549157"/>
              <a:gd name="connsiteX623" fmla="*/ 718018 w 1487868"/>
              <a:gd name="connsiteY623" fmla="*/ 222450 h 549157"/>
              <a:gd name="connsiteX624" fmla="*/ 719564 w 1487868"/>
              <a:gd name="connsiteY624" fmla="*/ 222450 h 549157"/>
              <a:gd name="connsiteX625" fmla="*/ 719564 w 1487868"/>
              <a:gd name="connsiteY625" fmla="*/ 220971 h 549157"/>
              <a:gd name="connsiteX626" fmla="*/ 721098 w 1487868"/>
              <a:gd name="connsiteY626" fmla="*/ 220971 h 549157"/>
              <a:gd name="connsiteX627" fmla="*/ 722588 w 1487868"/>
              <a:gd name="connsiteY627" fmla="*/ 220971 h 549157"/>
              <a:gd name="connsiteX628" fmla="*/ 722588 w 1487868"/>
              <a:gd name="connsiteY628" fmla="*/ 219480 h 549157"/>
              <a:gd name="connsiteX629" fmla="*/ 724123 w 1487868"/>
              <a:gd name="connsiteY629" fmla="*/ 219480 h 549157"/>
              <a:gd name="connsiteX630" fmla="*/ 724123 w 1487868"/>
              <a:gd name="connsiteY630" fmla="*/ 217968 h 549157"/>
              <a:gd name="connsiteX631" fmla="*/ 725657 w 1487868"/>
              <a:gd name="connsiteY631" fmla="*/ 217968 h 549157"/>
              <a:gd name="connsiteX632" fmla="*/ 725657 w 1487868"/>
              <a:gd name="connsiteY632" fmla="*/ 216489 h 549157"/>
              <a:gd name="connsiteX633" fmla="*/ 727203 w 1487868"/>
              <a:gd name="connsiteY633" fmla="*/ 216489 h 549157"/>
              <a:gd name="connsiteX634" fmla="*/ 728726 w 1487868"/>
              <a:gd name="connsiteY634" fmla="*/ 216489 h 549157"/>
              <a:gd name="connsiteX635" fmla="*/ 730261 w 1487868"/>
              <a:gd name="connsiteY635" fmla="*/ 216489 h 549157"/>
              <a:gd name="connsiteX636" fmla="*/ 731795 w 1487868"/>
              <a:gd name="connsiteY636" fmla="*/ 216489 h 549157"/>
              <a:gd name="connsiteX637" fmla="*/ 731795 w 1487868"/>
              <a:gd name="connsiteY637" fmla="*/ 214932 h 549157"/>
              <a:gd name="connsiteX638" fmla="*/ 733330 w 1487868"/>
              <a:gd name="connsiteY638" fmla="*/ 214932 h 549157"/>
              <a:gd name="connsiteX639" fmla="*/ 734865 w 1487868"/>
              <a:gd name="connsiteY639" fmla="*/ 214932 h 549157"/>
              <a:gd name="connsiteX640" fmla="*/ 734865 w 1487868"/>
              <a:gd name="connsiteY640" fmla="*/ 213419 h 549157"/>
              <a:gd name="connsiteX641" fmla="*/ 736399 w 1487868"/>
              <a:gd name="connsiteY641" fmla="*/ 213419 h 549157"/>
              <a:gd name="connsiteX642" fmla="*/ 737923 w 1487868"/>
              <a:gd name="connsiteY642" fmla="*/ 213419 h 549157"/>
              <a:gd name="connsiteX643" fmla="*/ 739468 w 1487868"/>
              <a:gd name="connsiteY643" fmla="*/ 213419 h 549157"/>
              <a:gd name="connsiteX644" fmla="*/ 739468 w 1487868"/>
              <a:gd name="connsiteY644" fmla="*/ 211862 h 549157"/>
              <a:gd name="connsiteX645" fmla="*/ 740970 w 1487868"/>
              <a:gd name="connsiteY645" fmla="*/ 211862 h 549157"/>
              <a:gd name="connsiteX646" fmla="*/ 740970 w 1487868"/>
              <a:gd name="connsiteY646" fmla="*/ 208792 h 549157"/>
              <a:gd name="connsiteX647" fmla="*/ 742504 w 1487868"/>
              <a:gd name="connsiteY647" fmla="*/ 208792 h 549157"/>
              <a:gd name="connsiteX648" fmla="*/ 744028 w 1487868"/>
              <a:gd name="connsiteY648" fmla="*/ 208792 h 549157"/>
              <a:gd name="connsiteX649" fmla="*/ 744028 w 1487868"/>
              <a:gd name="connsiteY649" fmla="*/ 207235 h 549157"/>
              <a:gd name="connsiteX650" fmla="*/ 747108 w 1487868"/>
              <a:gd name="connsiteY650" fmla="*/ 207235 h 549157"/>
              <a:gd name="connsiteX651" fmla="*/ 748631 w 1487868"/>
              <a:gd name="connsiteY651" fmla="*/ 207235 h 549157"/>
              <a:gd name="connsiteX652" fmla="*/ 750166 w 1487868"/>
              <a:gd name="connsiteY652" fmla="*/ 207235 h 549157"/>
              <a:gd name="connsiteX653" fmla="*/ 750166 w 1487868"/>
              <a:gd name="connsiteY653" fmla="*/ 205689 h 549157"/>
              <a:gd name="connsiteX654" fmla="*/ 751712 w 1487868"/>
              <a:gd name="connsiteY654" fmla="*/ 205689 h 549157"/>
              <a:gd name="connsiteX655" fmla="*/ 751712 w 1487868"/>
              <a:gd name="connsiteY655" fmla="*/ 204099 h 549157"/>
              <a:gd name="connsiteX656" fmla="*/ 753235 w 1487868"/>
              <a:gd name="connsiteY656" fmla="*/ 204099 h 549157"/>
              <a:gd name="connsiteX657" fmla="*/ 757795 w 1487868"/>
              <a:gd name="connsiteY657" fmla="*/ 204099 h 549157"/>
              <a:gd name="connsiteX658" fmla="*/ 757795 w 1487868"/>
              <a:gd name="connsiteY658" fmla="*/ 202542 h 549157"/>
              <a:gd name="connsiteX659" fmla="*/ 759340 w 1487868"/>
              <a:gd name="connsiteY659" fmla="*/ 202542 h 549157"/>
              <a:gd name="connsiteX660" fmla="*/ 759340 w 1487868"/>
              <a:gd name="connsiteY660" fmla="*/ 200951 h 549157"/>
              <a:gd name="connsiteX661" fmla="*/ 760875 w 1487868"/>
              <a:gd name="connsiteY661" fmla="*/ 200951 h 549157"/>
              <a:gd name="connsiteX662" fmla="*/ 762410 w 1487868"/>
              <a:gd name="connsiteY662" fmla="*/ 200951 h 549157"/>
              <a:gd name="connsiteX663" fmla="*/ 763933 w 1487868"/>
              <a:gd name="connsiteY663" fmla="*/ 200951 h 549157"/>
              <a:gd name="connsiteX664" fmla="*/ 765479 w 1487868"/>
              <a:gd name="connsiteY664" fmla="*/ 200951 h 549157"/>
              <a:gd name="connsiteX665" fmla="*/ 765479 w 1487868"/>
              <a:gd name="connsiteY665" fmla="*/ 196158 h 549157"/>
              <a:gd name="connsiteX666" fmla="*/ 768537 w 1487868"/>
              <a:gd name="connsiteY666" fmla="*/ 196158 h 549157"/>
              <a:gd name="connsiteX667" fmla="*/ 770071 w 1487868"/>
              <a:gd name="connsiteY667" fmla="*/ 196158 h 549157"/>
              <a:gd name="connsiteX668" fmla="*/ 771617 w 1487868"/>
              <a:gd name="connsiteY668" fmla="*/ 196158 h 549157"/>
              <a:gd name="connsiteX669" fmla="*/ 773140 w 1487868"/>
              <a:gd name="connsiteY669" fmla="*/ 196158 h 549157"/>
              <a:gd name="connsiteX670" fmla="*/ 774675 w 1487868"/>
              <a:gd name="connsiteY670" fmla="*/ 196158 h 549157"/>
              <a:gd name="connsiteX671" fmla="*/ 779245 w 1487868"/>
              <a:gd name="connsiteY671" fmla="*/ 196158 h 549157"/>
              <a:gd name="connsiteX672" fmla="*/ 780780 w 1487868"/>
              <a:gd name="connsiteY672" fmla="*/ 196158 h 549157"/>
              <a:gd name="connsiteX673" fmla="*/ 780780 w 1487868"/>
              <a:gd name="connsiteY673" fmla="*/ 194545 h 549157"/>
              <a:gd name="connsiteX674" fmla="*/ 782314 w 1487868"/>
              <a:gd name="connsiteY674" fmla="*/ 194545 h 549157"/>
              <a:gd name="connsiteX675" fmla="*/ 783838 w 1487868"/>
              <a:gd name="connsiteY675" fmla="*/ 194545 h 549157"/>
              <a:gd name="connsiteX676" fmla="*/ 785384 w 1487868"/>
              <a:gd name="connsiteY676" fmla="*/ 194545 h 549157"/>
              <a:gd name="connsiteX677" fmla="*/ 789976 w 1487868"/>
              <a:gd name="connsiteY677" fmla="*/ 194545 h 549157"/>
              <a:gd name="connsiteX678" fmla="*/ 791522 w 1487868"/>
              <a:gd name="connsiteY678" fmla="*/ 194545 h 549157"/>
              <a:gd name="connsiteX679" fmla="*/ 793046 w 1487868"/>
              <a:gd name="connsiteY679" fmla="*/ 194545 h 549157"/>
              <a:gd name="connsiteX680" fmla="*/ 794547 w 1487868"/>
              <a:gd name="connsiteY680" fmla="*/ 194545 h 549157"/>
              <a:gd name="connsiteX681" fmla="*/ 796081 w 1487868"/>
              <a:gd name="connsiteY681" fmla="*/ 194545 h 549157"/>
              <a:gd name="connsiteX682" fmla="*/ 800685 w 1487868"/>
              <a:gd name="connsiteY682" fmla="*/ 194545 h 549157"/>
              <a:gd name="connsiteX683" fmla="*/ 802220 w 1487868"/>
              <a:gd name="connsiteY683" fmla="*/ 194545 h 549157"/>
              <a:gd name="connsiteX684" fmla="*/ 803754 w 1487868"/>
              <a:gd name="connsiteY684" fmla="*/ 194545 h 549157"/>
              <a:gd name="connsiteX685" fmla="*/ 805289 w 1487868"/>
              <a:gd name="connsiteY685" fmla="*/ 194545 h 549157"/>
              <a:gd name="connsiteX686" fmla="*/ 805289 w 1487868"/>
              <a:gd name="connsiteY686" fmla="*/ 192888 h 549157"/>
              <a:gd name="connsiteX687" fmla="*/ 806823 w 1487868"/>
              <a:gd name="connsiteY687" fmla="*/ 192888 h 549157"/>
              <a:gd name="connsiteX688" fmla="*/ 806823 w 1487868"/>
              <a:gd name="connsiteY688" fmla="*/ 191186 h 549157"/>
              <a:gd name="connsiteX689" fmla="*/ 808347 w 1487868"/>
              <a:gd name="connsiteY689" fmla="*/ 191186 h 549157"/>
              <a:gd name="connsiteX690" fmla="*/ 808347 w 1487868"/>
              <a:gd name="connsiteY690" fmla="*/ 189507 h 549157"/>
              <a:gd name="connsiteX691" fmla="*/ 809892 w 1487868"/>
              <a:gd name="connsiteY691" fmla="*/ 189507 h 549157"/>
              <a:gd name="connsiteX692" fmla="*/ 811394 w 1487868"/>
              <a:gd name="connsiteY692" fmla="*/ 189507 h 549157"/>
              <a:gd name="connsiteX693" fmla="*/ 812928 w 1487868"/>
              <a:gd name="connsiteY693" fmla="*/ 189507 h 549157"/>
              <a:gd name="connsiteX694" fmla="*/ 814452 w 1487868"/>
              <a:gd name="connsiteY694" fmla="*/ 189507 h 549157"/>
              <a:gd name="connsiteX695" fmla="*/ 814452 w 1487868"/>
              <a:gd name="connsiteY695" fmla="*/ 186115 h 549157"/>
              <a:gd name="connsiteX696" fmla="*/ 815986 w 1487868"/>
              <a:gd name="connsiteY696" fmla="*/ 186115 h 549157"/>
              <a:gd name="connsiteX697" fmla="*/ 815986 w 1487868"/>
              <a:gd name="connsiteY697" fmla="*/ 184435 h 549157"/>
              <a:gd name="connsiteX698" fmla="*/ 822125 w 1487868"/>
              <a:gd name="connsiteY698" fmla="*/ 184435 h 549157"/>
              <a:gd name="connsiteX699" fmla="*/ 825194 w 1487868"/>
              <a:gd name="connsiteY699" fmla="*/ 184435 h 549157"/>
              <a:gd name="connsiteX700" fmla="*/ 826728 w 1487868"/>
              <a:gd name="connsiteY700" fmla="*/ 184435 h 549157"/>
              <a:gd name="connsiteX701" fmla="*/ 828252 w 1487868"/>
              <a:gd name="connsiteY701" fmla="*/ 184435 h 549157"/>
              <a:gd name="connsiteX702" fmla="*/ 831299 w 1487868"/>
              <a:gd name="connsiteY702" fmla="*/ 184435 h 549157"/>
              <a:gd name="connsiteX703" fmla="*/ 831299 w 1487868"/>
              <a:gd name="connsiteY703" fmla="*/ 182700 h 549157"/>
              <a:gd name="connsiteX704" fmla="*/ 832833 w 1487868"/>
              <a:gd name="connsiteY704" fmla="*/ 182700 h 549157"/>
              <a:gd name="connsiteX705" fmla="*/ 834357 w 1487868"/>
              <a:gd name="connsiteY705" fmla="*/ 182700 h 549157"/>
              <a:gd name="connsiteX706" fmla="*/ 835892 w 1487868"/>
              <a:gd name="connsiteY706" fmla="*/ 182700 h 549157"/>
              <a:gd name="connsiteX707" fmla="*/ 838961 w 1487868"/>
              <a:gd name="connsiteY707" fmla="*/ 182700 h 549157"/>
              <a:gd name="connsiteX708" fmla="*/ 838961 w 1487868"/>
              <a:gd name="connsiteY708" fmla="*/ 180976 h 549157"/>
              <a:gd name="connsiteX709" fmla="*/ 843564 w 1487868"/>
              <a:gd name="connsiteY709" fmla="*/ 180976 h 549157"/>
              <a:gd name="connsiteX710" fmla="*/ 845099 w 1487868"/>
              <a:gd name="connsiteY710" fmla="*/ 180976 h 549157"/>
              <a:gd name="connsiteX711" fmla="*/ 846600 w 1487868"/>
              <a:gd name="connsiteY711" fmla="*/ 180976 h 549157"/>
              <a:gd name="connsiteX712" fmla="*/ 848135 w 1487868"/>
              <a:gd name="connsiteY712" fmla="*/ 180976 h 549157"/>
              <a:gd name="connsiteX713" fmla="*/ 849658 w 1487868"/>
              <a:gd name="connsiteY713" fmla="*/ 180976 h 549157"/>
              <a:gd name="connsiteX714" fmla="*/ 852738 w 1487868"/>
              <a:gd name="connsiteY714" fmla="*/ 180976 h 549157"/>
              <a:gd name="connsiteX715" fmla="*/ 854262 w 1487868"/>
              <a:gd name="connsiteY715" fmla="*/ 180976 h 549157"/>
              <a:gd name="connsiteX716" fmla="*/ 855796 w 1487868"/>
              <a:gd name="connsiteY716" fmla="*/ 180976 h 549157"/>
              <a:gd name="connsiteX717" fmla="*/ 857342 w 1487868"/>
              <a:gd name="connsiteY717" fmla="*/ 180976 h 549157"/>
              <a:gd name="connsiteX718" fmla="*/ 858866 w 1487868"/>
              <a:gd name="connsiteY718" fmla="*/ 180976 h 549157"/>
              <a:gd name="connsiteX719" fmla="*/ 860400 w 1487868"/>
              <a:gd name="connsiteY719" fmla="*/ 180976 h 549157"/>
              <a:gd name="connsiteX720" fmla="*/ 864971 w 1487868"/>
              <a:gd name="connsiteY720" fmla="*/ 180976 h 549157"/>
              <a:gd name="connsiteX721" fmla="*/ 866505 w 1487868"/>
              <a:gd name="connsiteY721" fmla="*/ 180976 h 549157"/>
              <a:gd name="connsiteX722" fmla="*/ 866505 w 1487868"/>
              <a:gd name="connsiteY722" fmla="*/ 179186 h 549157"/>
              <a:gd name="connsiteX723" fmla="*/ 868040 w 1487868"/>
              <a:gd name="connsiteY723" fmla="*/ 179186 h 549157"/>
              <a:gd name="connsiteX724" fmla="*/ 869574 w 1487868"/>
              <a:gd name="connsiteY724" fmla="*/ 179186 h 549157"/>
              <a:gd name="connsiteX725" fmla="*/ 871109 w 1487868"/>
              <a:gd name="connsiteY725" fmla="*/ 179186 h 549157"/>
              <a:gd name="connsiteX726" fmla="*/ 874167 w 1487868"/>
              <a:gd name="connsiteY726" fmla="*/ 179186 h 549157"/>
              <a:gd name="connsiteX727" fmla="*/ 874167 w 1487868"/>
              <a:gd name="connsiteY727" fmla="*/ 177317 h 549157"/>
              <a:gd name="connsiteX728" fmla="*/ 875713 w 1487868"/>
              <a:gd name="connsiteY728" fmla="*/ 177317 h 549157"/>
              <a:gd name="connsiteX729" fmla="*/ 877247 w 1487868"/>
              <a:gd name="connsiteY729" fmla="*/ 177317 h 549157"/>
              <a:gd name="connsiteX730" fmla="*/ 878771 w 1487868"/>
              <a:gd name="connsiteY730" fmla="*/ 177317 h 549157"/>
              <a:gd name="connsiteX731" fmla="*/ 880305 w 1487868"/>
              <a:gd name="connsiteY731" fmla="*/ 177317 h 549157"/>
              <a:gd name="connsiteX732" fmla="*/ 881807 w 1487868"/>
              <a:gd name="connsiteY732" fmla="*/ 177317 h 549157"/>
              <a:gd name="connsiteX733" fmla="*/ 886410 w 1487868"/>
              <a:gd name="connsiteY733" fmla="*/ 177317 h 549157"/>
              <a:gd name="connsiteX734" fmla="*/ 886410 w 1487868"/>
              <a:gd name="connsiteY734" fmla="*/ 175460 h 549157"/>
              <a:gd name="connsiteX735" fmla="*/ 887945 w 1487868"/>
              <a:gd name="connsiteY735" fmla="*/ 175460 h 549157"/>
              <a:gd name="connsiteX736" fmla="*/ 889480 w 1487868"/>
              <a:gd name="connsiteY736" fmla="*/ 175460 h 549157"/>
              <a:gd name="connsiteX737" fmla="*/ 891014 w 1487868"/>
              <a:gd name="connsiteY737" fmla="*/ 175460 h 549157"/>
              <a:gd name="connsiteX738" fmla="*/ 892549 w 1487868"/>
              <a:gd name="connsiteY738" fmla="*/ 175460 h 549157"/>
              <a:gd name="connsiteX739" fmla="*/ 898676 w 1487868"/>
              <a:gd name="connsiteY739" fmla="*/ 175460 h 549157"/>
              <a:gd name="connsiteX740" fmla="*/ 898676 w 1487868"/>
              <a:gd name="connsiteY740" fmla="*/ 173525 h 549157"/>
              <a:gd name="connsiteX741" fmla="*/ 900177 w 1487868"/>
              <a:gd name="connsiteY741" fmla="*/ 173525 h 549157"/>
              <a:gd name="connsiteX742" fmla="*/ 903257 w 1487868"/>
              <a:gd name="connsiteY742" fmla="*/ 173525 h 549157"/>
              <a:gd name="connsiteX743" fmla="*/ 906315 w 1487868"/>
              <a:gd name="connsiteY743" fmla="*/ 173525 h 549157"/>
              <a:gd name="connsiteX744" fmla="*/ 906315 w 1487868"/>
              <a:gd name="connsiteY744" fmla="*/ 169621 h 549157"/>
              <a:gd name="connsiteX745" fmla="*/ 907850 w 1487868"/>
              <a:gd name="connsiteY745" fmla="*/ 169621 h 549157"/>
              <a:gd name="connsiteX746" fmla="*/ 909384 w 1487868"/>
              <a:gd name="connsiteY746" fmla="*/ 169621 h 549157"/>
              <a:gd name="connsiteX747" fmla="*/ 910919 w 1487868"/>
              <a:gd name="connsiteY747" fmla="*/ 169621 h 549157"/>
              <a:gd name="connsiteX748" fmla="*/ 910919 w 1487868"/>
              <a:gd name="connsiteY748" fmla="*/ 167663 h 549157"/>
              <a:gd name="connsiteX749" fmla="*/ 912454 w 1487868"/>
              <a:gd name="connsiteY749" fmla="*/ 167663 h 549157"/>
              <a:gd name="connsiteX750" fmla="*/ 913988 w 1487868"/>
              <a:gd name="connsiteY750" fmla="*/ 167663 h 549157"/>
              <a:gd name="connsiteX751" fmla="*/ 918559 w 1487868"/>
              <a:gd name="connsiteY751" fmla="*/ 167663 h 549157"/>
              <a:gd name="connsiteX752" fmla="*/ 918559 w 1487868"/>
              <a:gd name="connsiteY752" fmla="*/ 165695 h 549157"/>
              <a:gd name="connsiteX753" fmla="*/ 920082 w 1487868"/>
              <a:gd name="connsiteY753" fmla="*/ 165695 h 549157"/>
              <a:gd name="connsiteX754" fmla="*/ 920082 w 1487868"/>
              <a:gd name="connsiteY754" fmla="*/ 163693 h 549157"/>
              <a:gd name="connsiteX755" fmla="*/ 921628 w 1487868"/>
              <a:gd name="connsiteY755" fmla="*/ 163693 h 549157"/>
              <a:gd name="connsiteX756" fmla="*/ 923162 w 1487868"/>
              <a:gd name="connsiteY756" fmla="*/ 163693 h 549157"/>
              <a:gd name="connsiteX757" fmla="*/ 923162 w 1487868"/>
              <a:gd name="connsiteY757" fmla="*/ 161691 h 549157"/>
              <a:gd name="connsiteX758" fmla="*/ 924686 w 1487868"/>
              <a:gd name="connsiteY758" fmla="*/ 161691 h 549157"/>
              <a:gd name="connsiteX759" fmla="*/ 924686 w 1487868"/>
              <a:gd name="connsiteY759" fmla="*/ 159656 h 549157"/>
              <a:gd name="connsiteX760" fmla="*/ 929290 w 1487868"/>
              <a:gd name="connsiteY760" fmla="*/ 159656 h 549157"/>
              <a:gd name="connsiteX761" fmla="*/ 930824 w 1487868"/>
              <a:gd name="connsiteY761" fmla="*/ 159656 h 549157"/>
              <a:gd name="connsiteX762" fmla="*/ 930824 w 1487868"/>
              <a:gd name="connsiteY762" fmla="*/ 155585 h 549157"/>
              <a:gd name="connsiteX763" fmla="*/ 932359 w 1487868"/>
              <a:gd name="connsiteY763" fmla="*/ 155585 h 549157"/>
              <a:gd name="connsiteX764" fmla="*/ 933893 w 1487868"/>
              <a:gd name="connsiteY764" fmla="*/ 155585 h 549157"/>
              <a:gd name="connsiteX765" fmla="*/ 935395 w 1487868"/>
              <a:gd name="connsiteY765" fmla="*/ 155585 h 549157"/>
              <a:gd name="connsiteX766" fmla="*/ 939987 w 1487868"/>
              <a:gd name="connsiteY766" fmla="*/ 155585 h 549157"/>
              <a:gd name="connsiteX767" fmla="*/ 941533 w 1487868"/>
              <a:gd name="connsiteY767" fmla="*/ 155585 h 549157"/>
              <a:gd name="connsiteX768" fmla="*/ 943068 w 1487868"/>
              <a:gd name="connsiteY768" fmla="*/ 155585 h 549157"/>
              <a:gd name="connsiteX769" fmla="*/ 943068 w 1487868"/>
              <a:gd name="connsiteY769" fmla="*/ 153516 h 549157"/>
              <a:gd name="connsiteX770" fmla="*/ 944591 w 1487868"/>
              <a:gd name="connsiteY770" fmla="*/ 153516 h 549157"/>
              <a:gd name="connsiteX771" fmla="*/ 946126 w 1487868"/>
              <a:gd name="connsiteY771" fmla="*/ 153516 h 549157"/>
              <a:gd name="connsiteX772" fmla="*/ 947671 w 1487868"/>
              <a:gd name="connsiteY772" fmla="*/ 153516 h 549157"/>
              <a:gd name="connsiteX773" fmla="*/ 950729 w 1487868"/>
              <a:gd name="connsiteY773" fmla="*/ 153516 h 549157"/>
              <a:gd name="connsiteX774" fmla="*/ 952264 w 1487868"/>
              <a:gd name="connsiteY774" fmla="*/ 153516 h 549157"/>
              <a:gd name="connsiteX775" fmla="*/ 953765 w 1487868"/>
              <a:gd name="connsiteY775" fmla="*/ 153516 h 549157"/>
              <a:gd name="connsiteX776" fmla="*/ 955300 w 1487868"/>
              <a:gd name="connsiteY776" fmla="*/ 153516 h 549157"/>
              <a:gd name="connsiteX777" fmla="*/ 956834 w 1487868"/>
              <a:gd name="connsiteY777" fmla="*/ 153516 h 549157"/>
              <a:gd name="connsiteX778" fmla="*/ 958369 w 1487868"/>
              <a:gd name="connsiteY778" fmla="*/ 153516 h 549157"/>
              <a:gd name="connsiteX779" fmla="*/ 958369 w 1487868"/>
              <a:gd name="connsiteY779" fmla="*/ 149168 h 549157"/>
              <a:gd name="connsiteX780" fmla="*/ 961438 w 1487868"/>
              <a:gd name="connsiteY780" fmla="*/ 149168 h 549157"/>
              <a:gd name="connsiteX781" fmla="*/ 961438 w 1487868"/>
              <a:gd name="connsiteY781" fmla="*/ 144852 h 549157"/>
              <a:gd name="connsiteX782" fmla="*/ 962973 w 1487868"/>
              <a:gd name="connsiteY782" fmla="*/ 144852 h 549157"/>
              <a:gd name="connsiteX783" fmla="*/ 962973 w 1487868"/>
              <a:gd name="connsiteY783" fmla="*/ 142683 h 549157"/>
              <a:gd name="connsiteX784" fmla="*/ 964496 w 1487868"/>
              <a:gd name="connsiteY784" fmla="*/ 142683 h 549157"/>
              <a:gd name="connsiteX785" fmla="*/ 966031 w 1487868"/>
              <a:gd name="connsiteY785" fmla="*/ 142683 h 549157"/>
              <a:gd name="connsiteX786" fmla="*/ 966031 w 1487868"/>
              <a:gd name="connsiteY786" fmla="*/ 140470 h 549157"/>
              <a:gd name="connsiteX787" fmla="*/ 967576 w 1487868"/>
              <a:gd name="connsiteY787" fmla="*/ 140470 h 549157"/>
              <a:gd name="connsiteX788" fmla="*/ 972136 w 1487868"/>
              <a:gd name="connsiteY788" fmla="*/ 140470 h 549157"/>
              <a:gd name="connsiteX789" fmla="*/ 973681 w 1487868"/>
              <a:gd name="connsiteY789" fmla="*/ 140470 h 549157"/>
              <a:gd name="connsiteX790" fmla="*/ 975205 w 1487868"/>
              <a:gd name="connsiteY790" fmla="*/ 140470 h 549157"/>
              <a:gd name="connsiteX791" fmla="*/ 976739 w 1487868"/>
              <a:gd name="connsiteY791" fmla="*/ 140470 h 549157"/>
              <a:gd name="connsiteX792" fmla="*/ 976739 w 1487868"/>
              <a:gd name="connsiteY792" fmla="*/ 133741 h 549157"/>
              <a:gd name="connsiteX793" fmla="*/ 978274 w 1487868"/>
              <a:gd name="connsiteY793" fmla="*/ 133741 h 549157"/>
              <a:gd name="connsiteX794" fmla="*/ 978274 w 1487868"/>
              <a:gd name="connsiteY794" fmla="*/ 131461 h 549157"/>
              <a:gd name="connsiteX795" fmla="*/ 982878 w 1487868"/>
              <a:gd name="connsiteY795" fmla="*/ 131461 h 549157"/>
              <a:gd name="connsiteX796" fmla="*/ 984401 w 1487868"/>
              <a:gd name="connsiteY796" fmla="*/ 131461 h 549157"/>
              <a:gd name="connsiteX797" fmla="*/ 985947 w 1487868"/>
              <a:gd name="connsiteY797" fmla="*/ 131461 h 549157"/>
              <a:gd name="connsiteX798" fmla="*/ 987481 w 1487868"/>
              <a:gd name="connsiteY798" fmla="*/ 131461 h 549157"/>
              <a:gd name="connsiteX799" fmla="*/ 988983 w 1487868"/>
              <a:gd name="connsiteY799" fmla="*/ 131461 h 549157"/>
              <a:gd name="connsiteX800" fmla="*/ 993587 w 1487868"/>
              <a:gd name="connsiteY800" fmla="*/ 131461 h 549157"/>
              <a:gd name="connsiteX801" fmla="*/ 995110 w 1487868"/>
              <a:gd name="connsiteY801" fmla="*/ 131461 h 549157"/>
              <a:gd name="connsiteX802" fmla="*/ 996645 w 1487868"/>
              <a:gd name="connsiteY802" fmla="*/ 131461 h 549157"/>
              <a:gd name="connsiteX803" fmla="*/ 998179 w 1487868"/>
              <a:gd name="connsiteY803" fmla="*/ 131461 h 549157"/>
              <a:gd name="connsiteX804" fmla="*/ 999714 w 1487868"/>
              <a:gd name="connsiteY804" fmla="*/ 131461 h 549157"/>
              <a:gd name="connsiteX805" fmla="*/ 1002783 w 1487868"/>
              <a:gd name="connsiteY805" fmla="*/ 131461 h 549157"/>
              <a:gd name="connsiteX806" fmla="*/ 1005808 w 1487868"/>
              <a:gd name="connsiteY806" fmla="*/ 131461 h 549157"/>
              <a:gd name="connsiteX807" fmla="*/ 1007353 w 1487868"/>
              <a:gd name="connsiteY807" fmla="*/ 131461 h 549157"/>
              <a:gd name="connsiteX808" fmla="*/ 1008888 w 1487868"/>
              <a:gd name="connsiteY808" fmla="*/ 131461 h 549157"/>
              <a:gd name="connsiteX809" fmla="*/ 1008888 w 1487868"/>
              <a:gd name="connsiteY809" fmla="*/ 129081 h 549157"/>
              <a:gd name="connsiteX810" fmla="*/ 1010411 w 1487868"/>
              <a:gd name="connsiteY810" fmla="*/ 129081 h 549157"/>
              <a:gd name="connsiteX811" fmla="*/ 1010411 w 1487868"/>
              <a:gd name="connsiteY811" fmla="*/ 124254 h 549157"/>
              <a:gd name="connsiteX812" fmla="*/ 1015015 w 1487868"/>
              <a:gd name="connsiteY812" fmla="*/ 124254 h 549157"/>
              <a:gd name="connsiteX813" fmla="*/ 1015015 w 1487868"/>
              <a:gd name="connsiteY813" fmla="*/ 121841 h 549157"/>
              <a:gd name="connsiteX814" fmla="*/ 1016550 w 1487868"/>
              <a:gd name="connsiteY814" fmla="*/ 121841 h 549157"/>
              <a:gd name="connsiteX815" fmla="*/ 1018084 w 1487868"/>
              <a:gd name="connsiteY815" fmla="*/ 121841 h 549157"/>
              <a:gd name="connsiteX816" fmla="*/ 1019619 w 1487868"/>
              <a:gd name="connsiteY816" fmla="*/ 121841 h 549157"/>
              <a:gd name="connsiteX817" fmla="*/ 1021153 w 1487868"/>
              <a:gd name="connsiteY817" fmla="*/ 121841 h 549157"/>
              <a:gd name="connsiteX818" fmla="*/ 1021153 w 1487868"/>
              <a:gd name="connsiteY818" fmla="*/ 119383 h 549157"/>
              <a:gd name="connsiteX819" fmla="*/ 1022688 w 1487868"/>
              <a:gd name="connsiteY819" fmla="*/ 119383 h 549157"/>
              <a:gd name="connsiteX820" fmla="*/ 1025724 w 1487868"/>
              <a:gd name="connsiteY820" fmla="*/ 119383 h 549157"/>
              <a:gd name="connsiteX821" fmla="*/ 1027258 w 1487868"/>
              <a:gd name="connsiteY821" fmla="*/ 119383 h 549157"/>
              <a:gd name="connsiteX822" fmla="*/ 1028793 w 1487868"/>
              <a:gd name="connsiteY822" fmla="*/ 119383 h 549157"/>
              <a:gd name="connsiteX823" fmla="*/ 1030316 w 1487868"/>
              <a:gd name="connsiteY823" fmla="*/ 119383 h 549157"/>
              <a:gd name="connsiteX824" fmla="*/ 1031862 w 1487868"/>
              <a:gd name="connsiteY824" fmla="*/ 119383 h 549157"/>
              <a:gd name="connsiteX825" fmla="*/ 1036455 w 1487868"/>
              <a:gd name="connsiteY825" fmla="*/ 119383 h 549157"/>
              <a:gd name="connsiteX826" fmla="*/ 1036455 w 1487868"/>
              <a:gd name="connsiteY826" fmla="*/ 116825 h 549157"/>
              <a:gd name="connsiteX827" fmla="*/ 1038000 w 1487868"/>
              <a:gd name="connsiteY827" fmla="*/ 116825 h 549157"/>
              <a:gd name="connsiteX828" fmla="*/ 1039524 w 1487868"/>
              <a:gd name="connsiteY828" fmla="*/ 116825 h 549157"/>
              <a:gd name="connsiteX829" fmla="*/ 1039524 w 1487868"/>
              <a:gd name="connsiteY829" fmla="*/ 114278 h 549157"/>
              <a:gd name="connsiteX830" fmla="*/ 1041058 w 1487868"/>
              <a:gd name="connsiteY830" fmla="*/ 114278 h 549157"/>
              <a:gd name="connsiteX831" fmla="*/ 1042560 w 1487868"/>
              <a:gd name="connsiteY831" fmla="*/ 114278 h 549157"/>
              <a:gd name="connsiteX832" fmla="*/ 1044094 w 1487868"/>
              <a:gd name="connsiteY832" fmla="*/ 114278 h 549157"/>
              <a:gd name="connsiteX833" fmla="*/ 1047163 w 1487868"/>
              <a:gd name="connsiteY833" fmla="*/ 114278 h 549157"/>
              <a:gd name="connsiteX834" fmla="*/ 1050221 w 1487868"/>
              <a:gd name="connsiteY834" fmla="*/ 114278 h 549157"/>
              <a:gd name="connsiteX835" fmla="*/ 1051767 w 1487868"/>
              <a:gd name="connsiteY835" fmla="*/ 114278 h 549157"/>
              <a:gd name="connsiteX836" fmla="*/ 1051767 w 1487868"/>
              <a:gd name="connsiteY836" fmla="*/ 111620 h 549157"/>
              <a:gd name="connsiteX837" fmla="*/ 1053302 w 1487868"/>
              <a:gd name="connsiteY837" fmla="*/ 111620 h 549157"/>
              <a:gd name="connsiteX838" fmla="*/ 1054825 w 1487868"/>
              <a:gd name="connsiteY838" fmla="*/ 111620 h 549157"/>
              <a:gd name="connsiteX839" fmla="*/ 1054825 w 1487868"/>
              <a:gd name="connsiteY839" fmla="*/ 108962 h 549157"/>
              <a:gd name="connsiteX840" fmla="*/ 1056360 w 1487868"/>
              <a:gd name="connsiteY840" fmla="*/ 108962 h 549157"/>
              <a:gd name="connsiteX841" fmla="*/ 1057906 w 1487868"/>
              <a:gd name="connsiteY841" fmla="*/ 108962 h 549157"/>
              <a:gd name="connsiteX842" fmla="*/ 1057906 w 1487868"/>
              <a:gd name="connsiteY842" fmla="*/ 106304 h 549157"/>
              <a:gd name="connsiteX843" fmla="*/ 1059407 w 1487868"/>
              <a:gd name="connsiteY843" fmla="*/ 106304 h 549157"/>
              <a:gd name="connsiteX844" fmla="*/ 1060930 w 1487868"/>
              <a:gd name="connsiteY844" fmla="*/ 106304 h 549157"/>
              <a:gd name="connsiteX845" fmla="*/ 1060930 w 1487868"/>
              <a:gd name="connsiteY845" fmla="*/ 103612 h 549157"/>
              <a:gd name="connsiteX846" fmla="*/ 1062465 w 1487868"/>
              <a:gd name="connsiteY846" fmla="*/ 103612 h 549157"/>
              <a:gd name="connsiteX847" fmla="*/ 1063999 w 1487868"/>
              <a:gd name="connsiteY847" fmla="*/ 103612 h 549157"/>
              <a:gd name="connsiteX848" fmla="*/ 1068603 w 1487868"/>
              <a:gd name="connsiteY848" fmla="*/ 103612 h 549157"/>
              <a:gd name="connsiteX849" fmla="*/ 1070127 w 1487868"/>
              <a:gd name="connsiteY849" fmla="*/ 103612 h 549157"/>
              <a:gd name="connsiteX850" fmla="*/ 1071672 w 1487868"/>
              <a:gd name="connsiteY850" fmla="*/ 103612 h 549157"/>
              <a:gd name="connsiteX851" fmla="*/ 1073207 w 1487868"/>
              <a:gd name="connsiteY851" fmla="*/ 103612 h 549157"/>
              <a:gd name="connsiteX852" fmla="*/ 1073207 w 1487868"/>
              <a:gd name="connsiteY852" fmla="*/ 100820 h 549157"/>
              <a:gd name="connsiteX853" fmla="*/ 1074730 w 1487868"/>
              <a:gd name="connsiteY853" fmla="*/ 100820 h 549157"/>
              <a:gd name="connsiteX854" fmla="*/ 1076265 w 1487868"/>
              <a:gd name="connsiteY854" fmla="*/ 100820 h 549157"/>
              <a:gd name="connsiteX855" fmla="*/ 1076265 w 1487868"/>
              <a:gd name="connsiteY855" fmla="*/ 98029 h 549157"/>
              <a:gd name="connsiteX856" fmla="*/ 1079312 w 1487868"/>
              <a:gd name="connsiteY856" fmla="*/ 98029 h 549157"/>
              <a:gd name="connsiteX857" fmla="*/ 1080835 w 1487868"/>
              <a:gd name="connsiteY857" fmla="*/ 98029 h 549157"/>
              <a:gd name="connsiteX858" fmla="*/ 1082370 w 1487868"/>
              <a:gd name="connsiteY858" fmla="*/ 98029 h 549157"/>
              <a:gd name="connsiteX859" fmla="*/ 1082370 w 1487868"/>
              <a:gd name="connsiteY859" fmla="*/ 95193 h 549157"/>
              <a:gd name="connsiteX860" fmla="*/ 1083916 w 1487868"/>
              <a:gd name="connsiteY860" fmla="*/ 95193 h 549157"/>
              <a:gd name="connsiteX861" fmla="*/ 1085439 w 1487868"/>
              <a:gd name="connsiteY861" fmla="*/ 95193 h 549157"/>
              <a:gd name="connsiteX862" fmla="*/ 1086973 w 1487868"/>
              <a:gd name="connsiteY862" fmla="*/ 95193 h 549157"/>
              <a:gd name="connsiteX863" fmla="*/ 1086973 w 1487868"/>
              <a:gd name="connsiteY863" fmla="*/ 92301 h 549157"/>
              <a:gd name="connsiteX864" fmla="*/ 1090043 w 1487868"/>
              <a:gd name="connsiteY864" fmla="*/ 92301 h 549157"/>
              <a:gd name="connsiteX865" fmla="*/ 1091577 w 1487868"/>
              <a:gd name="connsiteY865" fmla="*/ 92301 h 549157"/>
              <a:gd name="connsiteX866" fmla="*/ 1093112 w 1487868"/>
              <a:gd name="connsiteY866" fmla="*/ 92301 h 549157"/>
              <a:gd name="connsiteX867" fmla="*/ 1094613 w 1487868"/>
              <a:gd name="connsiteY867" fmla="*/ 92301 h 549157"/>
              <a:gd name="connsiteX868" fmla="*/ 1096137 w 1487868"/>
              <a:gd name="connsiteY868" fmla="*/ 92301 h 549157"/>
              <a:gd name="connsiteX869" fmla="*/ 1099217 w 1487868"/>
              <a:gd name="connsiteY869" fmla="*/ 92301 h 549157"/>
              <a:gd name="connsiteX870" fmla="*/ 1102275 w 1487868"/>
              <a:gd name="connsiteY870" fmla="*/ 92301 h 549157"/>
              <a:gd name="connsiteX871" fmla="*/ 1103821 w 1487868"/>
              <a:gd name="connsiteY871" fmla="*/ 92301 h 549157"/>
              <a:gd name="connsiteX872" fmla="*/ 1105344 w 1487868"/>
              <a:gd name="connsiteY872" fmla="*/ 92301 h 549157"/>
              <a:gd name="connsiteX873" fmla="*/ 1105344 w 1487868"/>
              <a:gd name="connsiteY873" fmla="*/ 89265 h 549157"/>
              <a:gd name="connsiteX874" fmla="*/ 1106879 w 1487868"/>
              <a:gd name="connsiteY874" fmla="*/ 89265 h 549157"/>
              <a:gd name="connsiteX875" fmla="*/ 1111482 w 1487868"/>
              <a:gd name="connsiteY875" fmla="*/ 89265 h 549157"/>
              <a:gd name="connsiteX876" fmla="*/ 1111482 w 1487868"/>
              <a:gd name="connsiteY876" fmla="*/ 86162 h 549157"/>
              <a:gd name="connsiteX877" fmla="*/ 1112984 w 1487868"/>
              <a:gd name="connsiteY877" fmla="*/ 86162 h 549157"/>
              <a:gd name="connsiteX878" fmla="*/ 1114518 w 1487868"/>
              <a:gd name="connsiteY878" fmla="*/ 86162 h 549157"/>
              <a:gd name="connsiteX879" fmla="*/ 1114518 w 1487868"/>
              <a:gd name="connsiteY879" fmla="*/ 83048 h 549157"/>
              <a:gd name="connsiteX880" fmla="*/ 1116042 w 1487868"/>
              <a:gd name="connsiteY880" fmla="*/ 83048 h 549157"/>
              <a:gd name="connsiteX881" fmla="*/ 1117588 w 1487868"/>
              <a:gd name="connsiteY881" fmla="*/ 83048 h 549157"/>
              <a:gd name="connsiteX882" fmla="*/ 1120646 w 1487868"/>
              <a:gd name="connsiteY882" fmla="*/ 83048 h 549157"/>
              <a:gd name="connsiteX883" fmla="*/ 1123726 w 1487868"/>
              <a:gd name="connsiteY883" fmla="*/ 83048 h 549157"/>
              <a:gd name="connsiteX884" fmla="*/ 1125249 w 1487868"/>
              <a:gd name="connsiteY884" fmla="*/ 83048 h 549157"/>
              <a:gd name="connsiteX885" fmla="*/ 1126784 w 1487868"/>
              <a:gd name="connsiteY885" fmla="*/ 83048 h 549157"/>
              <a:gd name="connsiteX886" fmla="*/ 1128318 w 1487868"/>
              <a:gd name="connsiteY886" fmla="*/ 83048 h 549157"/>
              <a:gd name="connsiteX887" fmla="*/ 1128318 w 1487868"/>
              <a:gd name="connsiteY887" fmla="*/ 79767 h 549157"/>
              <a:gd name="connsiteX888" fmla="*/ 1132889 w 1487868"/>
              <a:gd name="connsiteY888" fmla="*/ 79767 h 549157"/>
              <a:gd name="connsiteX889" fmla="*/ 1132889 w 1487868"/>
              <a:gd name="connsiteY889" fmla="*/ 69835 h 549157"/>
              <a:gd name="connsiteX890" fmla="*/ 1134423 w 1487868"/>
              <a:gd name="connsiteY890" fmla="*/ 69835 h 549157"/>
              <a:gd name="connsiteX891" fmla="*/ 1135958 w 1487868"/>
              <a:gd name="connsiteY891" fmla="*/ 69835 h 549157"/>
              <a:gd name="connsiteX892" fmla="*/ 1137492 w 1487868"/>
              <a:gd name="connsiteY892" fmla="*/ 69835 h 549157"/>
              <a:gd name="connsiteX893" fmla="*/ 1139027 w 1487868"/>
              <a:gd name="connsiteY893" fmla="*/ 69835 h 549157"/>
              <a:gd name="connsiteX894" fmla="*/ 1143631 w 1487868"/>
              <a:gd name="connsiteY894" fmla="*/ 69835 h 549157"/>
              <a:gd name="connsiteX895" fmla="*/ 1145154 w 1487868"/>
              <a:gd name="connsiteY895" fmla="*/ 69835 h 549157"/>
              <a:gd name="connsiteX896" fmla="*/ 1146689 w 1487868"/>
              <a:gd name="connsiteY896" fmla="*/ 69835 h 549157"/>
              <a:gd name="connsiteX897" fmla="*/ 1148190 w 1487868"/>
              <a:gd name="connsiteY897" fmla="*/ 69835 h 549157"/>
              <a:gd name="connsiteX898" fmla="*/ 1149736 w 1487868"/>
              <a:gd name="connsiteY898" fmla="*/ 69835 h 549157"/>
              <a:gd name="connsiteX899" fmla="*/ 1151259 w 1487868"/>
              <a:gd name="connsiteY899" fmla="*/ 69835 h 549157"/>
              <a:gd name="connsiteX900" fmla="*/ 1151259 w 1487868"/>
              <a:gd name="connsiteY900" fmla="*/ 66209 h 549157"/>
              <a:gd name="connsiteX901" fmla="*/ 1154328 w 1487868"/>
              <a:gd name="connsiteY901" fmla="*/ 66209 h 549157"/>
              <a:gd name="connsiteX902" fmla="*/ 1155863 w 1487868"/>
              <a:gd name="connsiteY902" fmla="*/ 66209 h 549157"/>
              <a:gd name="connsiteX903" fmla="*/ 1157398 w 1487868"/>
              <a:gd name="connsiteY903" fmla="*/ 66209 h 549157"/>
              <a:gd name="connsiteX904" fmla="*/ 1158932 w 1487868"/>
              <a:gd name="connsiteY904" fmla="*/ 66209 h 549157"/>
              <a:gd name="connsiteX905" fmla="*/ 1160456 w 1487868"/>
              <a:gd name="connsiteY905" fmla="*/ 66209 h 549157"/>
              <a:gd name="connsiteX906" fmla="*/ 1165071 w 1487868"/>
              <a:gd name="connsiteY906" fmla="*/ 66209 h 549157"/>
              <a:gd name="connsiteX907" fmla="*/ 1166561 w 1487868"/>
              <a:gd name="connsiteY907" fmla="*/ 66209 h 549157"/>
              <a:gd name="connsiteX908" fmla="*/ 1168095 w 1487868"/>
              <a:gd name="connsiteY908" fmla="*/ 66209 h 549157"/>
              <a:gd name="connsiteX909" fmla="*/ 1168095 w 1487868"/>
              <a:gd name="connsiteY909" fmla="*/ 62316 h 549157"/>
              <a:gd name="connsiteX910" fmla="*/ 1169641 w 1487868"/>
              <a:gd name="connsiteY910" fmla="*/ 62316 h 549157"/>
              <a:gd name="connsiteX911" fmla="*/ 1171164 w 1487868"/>
              <a:gd name="connsiteY911" fmla="*/ 62316 h 549157"/>
              <a:gd name="connsiteX912" fmla="*/ 1174234 w 1487868"/>
              <a:gd name="connsiteY912" fmla="*/ 62316 h 549157"/>
              <a:gd name="connsiteX913" fmla="*/ 1175768 w 1487868"/>
              <a:gd name="connsiteY913" fmla="*/ 62316 h 549157"/>
              <a:gd name="connsiteX914" fmla="*/ 1177303 w 1487868"/>
              <a:gd name="connsiteY914" fmla="*/ 62316 h 549157"/>
              <a:gd name="connsiteX915" fmla="*/ 1178837 w 1487868"/>
              <a:gd name="connsiteY915" fmla="*/ 62316 h 549157"/>
              <a:gd name="connsiteX916" fmla="*/ 1180361 w 1487868"/>
              <a:gd name="connsiteY916" fmla="*/ 62316 h 549157"/>
              <a:gd name="connsiteX917" fmla="*/ 1181907 w 1487868"/>
              <a:gd name="connsiteY917" fmla="*/ 62316 h 549157"/>
              <a:gd name="connsiteX918" fmla="*/ 1181907 w 1487868"/>
              <a:gd name="connsiteY918" fmla="*/ 58134 h 549157"/>
              <a:gd name="connsiteX919" fmla="*/ 1186466 w 1487868"/>
              <a:gd name="connsiteY919" fmla="*/ 58134 h 549157"/>
              <a:gd name="connsiteX920" fmla="*/ 1188011 w 1487868"/>
              <a:gd name="connsiteY920" fmla="*/ 58134 h 549157"/>
              <a:gd name="connsiteX921" fmla="*/ 1189546 w 1487868"/>
              <a:gd name="connsiteY921" fmla="*/ 58134 h 549157"/>
              <a:gd name="connsiteX922" fmla="*/ 1191070 w 1487868"/>
              <a:gd name="connsiteY922" fmla="*/ 58134 h 549157"/>
              <a:gd name="connsiteX923" fmla="*/ 1192604 w 1487868"/>
              <a:gd name="connsiteY923" fmla="*/ 58134 h 549157"/>
              <a:gd name="connsiteX924" fmla="*/ 1197208 w 1487868"/>
              <a:gd name="connsiteY924" fmla="*/ 58134 h 549157"/>
              <a:gd name="connsiteX925" fmla="*/ 1197208 w 1487868"/>
              <a:gd name="connsiteY925" fmla="*/ 53752 h 549157"/>
              <a:gd name="connsiteX926" fmla="*/ 1198742 w 1487868"/>
              <a:gd name="connsiteY926" fmla="*/ 53752 h 549157"/>
              <a:gd name="connsiteX927" fmla="*/ 1200288 w 1487868"/>
              <a:gd name="connsiteY927" fmla="*/ 53752 h 549157"/>
              <a:gd name="connsiteX928" fmla="*/ 1201778 w 1487868"/>
              <a:gd name="connsiteY928" fmla="*/ 53752 h 549157"/>
              <a:gd name="connsiteX929" fmla="*/ 1203313 w 1487868"/>
              <a:gd name="connsiteY929" fmla="*/ 53752 h 549157"/>
              <a:gd name="connsiteX930" fmla="*/ 1204847 w 1487868"/>
              <a:gd name="connsiteY930" fmla="*/ 53752 h 549157"/>
              <a:gd name="connsiteX931" fmla="*/ 1204847 w 1487868"/>
              <a:gd name="connsiteY931" fmla="*/ 49103 h 549157"/>
              <a:gd name="connsiteX932" fmla="*/ 1206371 w 1487868"/>
              <a:gd name="connsiteY932" fmla="*/ 49103 h 549157"/>
              <a:gd name="connsiteX933" fmla="*/ 1206371 w 1487868"/>
              <a:gd name="connsiteY933" fmla="*/ 44477 h 549157"/>
              <a:gd name="connsiteX934" fmla="*/ 1207916 w 1487868"/>
              <a:gd name="connsiteY934" fmla="*/ 44477 h 549157"/>
              <a:gd name="connsiteX935" fmla="*/ 1209451 w 1487868"/>
              <a:gd name="connsiteY935" fmla="*/ 44477 h 549157"/>
              <a:gd name="connsiteX936" fmla="*/ 1210974 w 1487868"/>
              <a:gd name="connsiteY936" fmla="*/ 44477 h 549157"/>
              <a:gd name="connsiteX937" fmla="*/ 1212509 w 1487868"/>
              <a:gd name="connsiteY937" fmla="*/ 44477 h 549157"/>
              <a:gd name="connsiteX938" fmla="*/ 1214055 w 1487868"/>
              <a:gd name="connsiteY938" fmla="*/ 44477 h 549157"/>
              <a:gd name="connsiteX939" fmla="*/ 1214055 w 1487868"/>
              <a:gd name="connsiteY939" fmla="*/ 39639 h 549157"/>
              <a:gd name="connsiteX940" fmla="*/ 1218614 w 1487868"/>
              <a:gd name="connsiteY940" fmla="*/ 39639 h 549157"/>
              <a:gd name="connsiteX941" fmla="*/ 1220149 w 1487868"/>
              <a:gd name="connsiteY941" fmla="*/ 39639 h 549157"/>
              <a:gd name="connsiteX942" fmla="*/ 1221683 w 1487868"/>
              <a:gd name="connsiteY942" fmla="*/ 39639 h 549157"/>
              <a:gd name="connsiteX943" fmla="*/ 1223218 w 1487868"/>
              <a:gd name="connsiteY943" fmla="*/ 39639 h 549157"/>
              <a:gd name="connsiteX944" fmla="*/ 1224752 w 1487868"/>
              <a:gd name="connsiteY944" fmla="*/ 39639 h 549157"/>
              <a:gd name="connsiteX945" fmla="*/ 1229356 w 1487868"/>
              <a:gd name="connsiteY945" fmla="*/ 39639 h 549157"/>
              <a:gd name="connsiteX946" fmla="*/ 1230880 w 1487868"/>
              <a:gd name="connsiteY946" fmla="*/ 39639 h 549157"/>
              <a:gd name="connsiteX947" fmla="*/ 1230880 w 1487868"/>
              <a:gd name="connsiteY947" fmla="*/ 34500 h 549157"/>
              <a:gd name="connsiteX948" fmla="*/ 1232414 w 1487868"/>
              <a:gd name="connsiteY948" fmla="*/ 34500 h 549157"/>
              <a:gd name="connsiteX949" fmla="*/ 1233960 w 1487868"/>
              <a:gd name="connsiteY949" fmla="*/ 34500 h 549157"/>
              <a:gd name="connsiteX950" fmla="*/ 1235495 w 1487868"/>
              <a:gd name="connsiteY950" fmla="*/ 34500 h 549157"/>
              <a:gd name="connsiteX951" fmla="*/ 1240065 w 1487868"/>
              <a:gd name="connsiteY951" fmla="*/ 34500 h 549157"/>
              <a:gd name="connsiteX952" fmla="*/ 1241588 w 1487868"/>
              <a:gd name="connsiteY952" fmla="*/ 34500 h 549157"/>
              <a:gd name="connsiteX953" fmla="*/ 1241588 w 1487868"/>
              <a:gd name="connsiteY953" fmla="*/ 29084 h 549157"/>
              <a:gd name="connsiteX954" fmla="*/ 1243123 w 1487868"/>
              <a:gd name="connsiteY954" fmla="*/ 29084 h 549157"/>
              <a:gd name="connsiteX955" fmla="*/ 1244658 w 1487868"/>
              <a:gd name="connsiteY955" fmla="*/ 29084 h 549157"/>
              <a:gd name="connsiteX956" fmla="*/ 1246192 w 1487868"/>
              <a:gd name="connsiteY956" fmla="*/ 29084 h 549157"/>
              <a:gd name="connsiteX957" fmla="*/ 1250785 w 1487868"/>
              <a:gd name="connsiteY957" fmla="*/ 29084 h 549157"/>
              <a:gd name="connsiteX958" fmla="*/ 1252330 w 1487868"/>
              <a:gd name="connsiteY958" fmla="*/ 29084 h 549157"/>
              <a:gd name="connsiteX959" fmla="*/ 1252330 w 1487868"/>
              <a:gd name="connsiteY959" fmla="*/ 17039 h 549157"/>
              <a:gd name="connsiteX960" fmla="*/ 1253832 w 1487868"/>
              <a:gd name="connsiteY960" fmla="*/ 17039 h 549157"/>
              <a:gd name="connsiteX961" fmla="*/ 1255366 w 1487868"/>
              <a:gd name="connsiteY961" fmla="*/ 17039 h 549157"/>
              <a:gd name="connsiteX962" fmla="*/ 1256890 w 1487868"/>
              <a:gd name="connsiteY962" fmla="*/ 17039 h 549157"/>
              <a:gd name="connsiteX963" fmla="*/ 1261493 w 1487868"/>
              <a:gd name="connsiteY963" fmla="*/ 17039 h 549157"/>
              <a:gd name="connsiteX964" fmla="*/ 1263028 w 1487868"/>
              <a:gd name="connsiteY964" fmla="*/ 17039 h 549157"/>
              <a:gd name="connsiteX965" fmla="*/ 1264562 w 1487868"/>
              <a:gd name="connsiteY965" fmla="*/ 17039 h 549157"/>
              <a:gd name="connsiteX966" fmla="*/ 1266097 w 1487868"/>
              <a:gd name="connsiteY966" fmla="*/ 17039 h 549157"/>
              <a:gd name="connsiteX967" fmla="*/ 1267632 w 1487868"/>
              <a:gd name="connsiteY967" fmla="*/ 17039 h 549157"/>
              <a:gd name="connsiteX968" fmla="*/ 1269166 w 1487868"/>
              <a:gd name="connsiteY968" fmla="*/ 17039 h 549157"/>
              <a:gd name="connsiteX969" fmla="*/ 1272191 w 1487868"/>
              <a:gd name="connsiteY969" fmla="*/ 17039 h 549157"/>
              <a:gd name="connsiteX970" fmla="*/ 1273737 w 1487868"/>
              <a:gd name="connsiteY970" fmla="*/ 17039 h 549157"/>
              <a:gd name="connsiteX971" fmla="*/ 1275271 w 1487868"/>
              <a:gd name="connsiteY971" fmla="*/ 17039 h 549157"/>
              <a:gd name="connsiteX972" fmla="*/ 1278329 w 1487868"/>
              <a:gd name="connsiteY972" fmla="*/ 17039 h 549157"/>
              <a:gd name="connsiteX973" fmla="*/ 1279875 w 1487868"/>
              <a:gd name="connsiteY973" fmla="*/ 17039 h 549157"/>
              <a:gd name="connsiteX974" fmla="*/ 1279875 w 1487868"/>
              <a:gd name="connsiteY974" fmla="*/ 9654 h 549157"/>
              <a:gd name="connsiteX975" fmla="*/ 1282933 w 1487868"/>
              <a:gd name="connsiteY975" fmla="*/ 9654 h 549157"/>
              <a:gd name="connsiteX976" fmla="*/ 1284468 w 1487868"/>
              <a:gd name="connsiteY976" fmla="*/ 9654 h 549157"/>
              <a:gd name="connsiteX977" fmla="*/ 1286002 w 1487868"/>
              <a:gd name="connsiteY977" fmla="*/ 9654 h 549157"/>
              <a:gd name="connsiteX978" fmla="*/ 1287537 w 1487868"/>
              <a:gd name="connsiteY978" fmla="*/ 9654 h 549157"/>
              <a:gd name="connsiteX979" fmla="*/ 1289071 w 1487868"/>
              <a:gd name="connsiteY979" fmla="*/ 9654 h 549157"/>
              <a:gd name="connsiteX980" fmla="*/ 1290573 w 1487868"/>
              <a:gd name="connsiteY980" fmla="*/ 9654 h 549157"/>
              <a:gd name="connsiteX981" fmla="*/ 1293642 w 1487868"/>
              <a:gd name="connsiteY981" fmla="*/ 9654 h 549157"/>
              <a:gd name="connsiteX982" fmla="*/ 1295177 w 1487868"/>
              <a:gd name="connsiteY982" fmla="*/ 9654 h 549157"/>
              <a:gd name="connsiteX983" fmla="*/ 1296700 w 1487868"/>
              <a:gd name="connsiteY983" fmla="*/ 9654 h 549157"/>
              <a:gd name="connsiteX984" fmla="*/ 1298246 w 1487868"/>
              <a:gd name="connsiteY984" fmla="*/ 9654 h 549157"/>
              <a:gd name="connsiteX985" fmla="*/ 1299780 w 1487868"/>
              <a:gd name="connsiteY985" fmla="*/ 9654 h 549157"/>
              <a:gd name="connsiteX986" fmla="*/ 1304384 w 1487868"/>
              <a:gd name="connsiteY986" fmla="*/ 9654 h 549157"/>
              <a:gd name="connsiteX987" fmla="*/ 1305918 w 1487868"/>
              <a:gd name="connsiteY987" fmla="*/ 9654 h 549157"/>
              <a:gd name="connsiteX988" fmla="*/ 1307408 w 1487868"/>
              <a:gd name="connsiteY988" fmla="*/ 9654 h 549157"/>
              <a:gd name="connsiteX989" fmla="*/ 1307408 w 1487868"/>
              <a:gd name="connsiteY989" fmla="*/ 0 h 549157"/>
              <a:gd name="connsiteX990" fmla="*/ 1487868 w 1487868"/>
              <a:gd name="connsiteY990" fmla="*/ 1227 h 549157"/>
              <a:gd name="connsiteX0" fmla="*/ 0 w 1487868"/>
              <a:gd name="connsiteY0" fmla="*/ 549157 h 549157"/>
              <a:gd name="connsiteX1" fmla="*/ 7662 w 1487868"/>
              <a:gd name="connsiteY1" fmla="*/ 549157 h 549157"/>
              <a:gd name="connsiteX2" fmla="*/ 7662 w 1487868"/>
              <a:gd name="connsiteY2" fmla="*/ 548367 h 549157"/>
              <a:gd name="connsiteX3" fmla="*/ 9196 w 1487868"/>
              <a:gd name="connsiteY3" fmla="*/ 548367 h 549157"/>
              <a:gd name="connsiteX4" fmla="*/ 9196 w 1487868"/>
              <a:gd name="connsiteY4" fmla="*/ 547600 h 549157"/>
              <a:gd name="connsiteX5" fmla="*/ 10742 w 1487868"/>
              <a:gd name="connsiteY5" fmla="*/ 547600 h 549157"/>
              <a:gd name="connsiteX6" fmla="*/ 10742 w 1487868"/>
              <a:gd name="connsiteY6" fmla="*/ 546810 h 549157"/>
              <a:gd name="connsiteX7" fmla="*/ 12277 w 1487868"/>
              <a:gd name="connsiteY7" fmla="*/ 546810 h 549157"/>
              <a:gd name="connsiteX8" fmla="*/ 16836 w 1487868"/>
              <a:gd name="connsiteY8" fmla="*/ 546810 h 549157"/>
              <a:gd name="connsiteX9" fmla="*/ 16836 w 1487868"/>
              <a:gd name="connsiteY9" fmla="*/ 545253 h 549157"/>
              <a:gd name="connsiteX10" fmla="*/ 18371 w 1487868"/>
              <a:gd name="connsiteY10" fmla="*/ 545253 h 549157"/>
              <a:gd name="connsiteX11" fmla="*/ 19905 w 1487868"/>
              <a:gd name="connsiteY11" fmla="*/ 545253 h 549157"/>
              <a:gd name="connsiteX12" fmla="*/ 19905 w 1487868"/>
              <a:gd name="connsiteY12" fmla="*/ 542150 h 549157"/>
              <a:gd name="connsiteX13" fmla="*/ 21440 w 1487868"/>
              <a:gd name="connsiteY13" fmla="*/ 542150 h 549157"/>
              <a:gd name="connsiteX14" fmla="*/ 21440 w 1487868"/>
              <a:gd name="connsiteY14" fmla="*/ 541361 h 549157"/>
              <a:gd name="connsiteX15" fmla="*/ 24509 w 1487868"/>
              <a:gd name="connsiteY15" fmla="*/ 541361 h 549157"/>
              <a:gd name="connsiteX16" fmla="*/ 24509 w 1487868"/>
              <a:gd name="connsiteY16" fmla="*/ 539804 h 549157"/>
              <a:gd name="connsiteX17" fmla="*/ 27567 w 1487868"/>
              <a:gd name="connsiteY17" fmla="*/ 539804 h 549157"/>
              <a:gd name="connsiteX18" fmla="*/ 27567 w 1487868"/>
              <a:gd name="connsiteY18" fmla="*/ 538258 h 549157"/>
              <a:gd name="connsiteX19" fmla="*/ 32148 w 1487868"/>
              <a:gd name="connsiteY19" fmla="*/ 538258 h 549157"/>
              <a:gd name="connsiteX20" fmla="*/ 32148 w 1487868"/>
              <a:gd name="connsiteY20" fmla="*/ 536667 h 549157"/>
              <a:gd name="connsiteX21" fmla="*/ 33672 w 1487868"/>
              <a:gd name="connsiteY21" fmla="*/ 536667 h 549157"/>
              <a:gd name="connsiteX22" fmla="*/ 33672 w 1487868"/>
              <a:gd name="connsiteY22" fmla="*/ 535911 h 549157"/>
              <a:gd name="connsiteX23" fmla="*/ 35206 w 1487868"/>
              <a:gd name="connsiteY23" fmla="*/ 535911 h 549157"/>
              <a:gd name="connsiteX24" fmla="*/ 35206 w 1487868"/>
              <a:gd name="connsiteY24" fmla="*/ 535110 h 549157"/>
              <a:gd name="connsiteX25" fmla="*/ 36752 w 1487868"/>
              <a:gd name="connsiteY25" fmla="*/ 535110 h 549157"/>
              <a:gd name="connsiteX26" fmla="*/ 38275 w 1487868"/>
              <a:gd name="connsiteY26" fmla="*/ 535110 h 549157"/>
              <a:gd name="connsiteX27" fmla="*/ 38275 w 1487868"/>
              <a:gd name="connsiteY27" fmla="*/ 532763 h 549157"/>
              <a:gd name="connsiteX28" fmla="*/ 39810 w 1487868"/>
              <a:gd name="connsiteY28" fmla="*/ 532763 h 549157"/>
              <a:gd name="connsiteX29" fmla="*/ 39810 w 1487868"/>
              <a:gd name="connsiteY29" fmla="*/ 531217 h 549157"/>
              <a:gd name="connsiteX30" fmla="*/ 41345 w 1487868"/>
              <a:gd name="connsiteY30" fmla="*/ 531217 h 549157"/>
              <a:gd name="connsiteX31" fmla="*/ 42879 w 1487868"/>
              <a:gd name="connsiteY31" fmla="*/ 531217 h 549157"/>
              <a:gd name="connsiteX32" fmla="*/ 42879 w 1487868"/>
              <a:gd name="connsiteY32" fmla="*/ 529660 h 549157"/>
              <a:gd name="connsiteX33" fmla="*/ 47483 w 1487868"/>
              <a:gd name="connsiteY33" fmla="*/ 529660 h 549157"/>
              <a:gd name="connsiteX34" fmla="*/ 47483 w 1487868"/>
              <a:gd name="connsiteY34" fmla="*/ 528871 h 549157"/>
              <a:gd name="connsiteX35" fmla="*/ 50519 w 1487868"/>
              <a:gd name="connsiteY35" fmla="*/ 528871 h 549157"/>
              <a:gd name="connsiteX36" fmla="*/ 50519 w 1487868"/>
              <a:gd name="connsiteY36" fmla="*/ 527314 h 549157"/>
              <a:gd name="connsiteX37" fmla="*/ 52053 w 1487868"/>
              <a:gd name="connsiteY37" fmla="*/ 527314 h 549157"/>
              <a:gd name="connsiteX38" fmla="*/ 52053 w 1487868"/>
              <a:gd name="connsiteY38" fmla="*/ 525734 h 549157"/>
              <a:gd name="connsiteX39" fmla="*/ 53577 w 1487868"/>
              <a:gd name="connsiteY39" fmla="*/ 525734 h 549157"/>
              <a:gd name="connsiteX40" fmla="*/ 53577 w 1487868"/>
              <a:gd name="connsiteY40" fmla="*/ 524967 h 549157"/>
              <a:gd name="connsiteX41" fmla="*/ 55111 w 1487868"/>
              <a:gd name="connsiteY41" fmla="*/ 524967 h 549157"/>
              <a:gd name="connsiteX42" fmla="*/ 55111 w 1487868"/>
              <a:gd name="connsiteY42" fmla="*/ 523388 h 549157"/>
              <a:gd name="connsiteX43" fmla="*/ 58181 w 1487868"/>
              <a:gd name="connsiteY43" fmla="*/ 523388 h 549157"/>
              <a:gd name="connsiteX44" fmla="*/ 58181 w 1487868"/>
              <a:gd name="connsiteY44" fmla="*/ 521830 h 549157"/>
              <a:gd name="connsiteX45" fmla="*/ 61250 w 1487868"/>
              <a:gd name="connsiteY45" fmla="*/ 521830 h 549157"/>
              <a:gd name="connsiteX46" fmla="*/ 61250 w 1487868"/>
              <a:gd name="connsiteY46" fmla="*/ 521041 h 549157"/>
              <a:gd name="connsiteX47" fmla="*/ 62784 w 1487868"/>
              <a:gd name="connsiteY47" fmla="*/ 521041 h 549157"/>
              <a:gd name="connsiteX48" fmla="*/ 62784 w 1487868"/>
              <a:gd name="connsiteY48" fmla="*/ 520273 h 549157"/>
              <a:gd name="connsiteX49" fmla="*/ 65854 w 1487868"/>
              <a:gd name="connsiteY49" fmla="*/ 520273 h 549157"/>
              <a:gd name="connsiteX50" fmla="*/ 65854 w 1487868"/>
              <a:gd name="connsiteY50" fmla="*/ 519484 h 549157"/>
              <a:gd name="connsiteX51" fmla="*/ 67355 w 1487868"/>
              <a:gd name="connsiteY51" fmla="*/ 519484 h 549157"/>
              <a:gd name="connsiteX52" fmla="*/ 67355 w 1487868"/>
              <a:gd name="connsiteY52" fmla="*/ 518694 h 549157"/>
              <a:gd name="connsiteX53" fmla="*/ 68878 w 1487868"/>
              <a:gd name="connsiteY53" fmla="*/ 518694 h 549157"/>
              <a:gd name="connsiteX54" fmla="*/ 68878 w 1487868"/>
              <a:gd name="connsiteY54" fmla="*/ 517927 h 549157"/>
              <a:gd name="connsiteX55" fmla="*/ 70424 w 1487868"/>
              <a:gd name="connsiteY55" fmla="*/ 517927 h 549157"/>
              <a:gd name="connsiteX56" fmla="*/ 70424 w 1487868"/>
              <a:gd name="connsiteY56" fmla="*/ 517137 h 549157"/>
              <a:gd name="connsiteX57" fmla="*/ 75017 w 1487868"/>
              <a:gd name="connsiteY57" fmla="*/ 517137 h 549157"/>
              <a:gd name="connsiteX58" fmla="*/ 75017 w 1487868"/>
              <a:gd name="connsiteY58" fmla="*/ 516347 h 549157"/>
              <a:gd name="connsiteX59" fmla="*/ 76562 w 1487868"/>
              <a:gd name="connsiteY59" fmla="*/ 516347 h 549157"/>
              <a:gd name="connsiteX60" fmla="*/ 76562 w 1487868"/>
              <a:gd name="connsiteY60" fmla="*/ 515580 h 549157"/>
              <a:gd name="connsiteX61" fmla="*/ 78086 w 1487868"/>
              <a:gd name="connsiteY61" fmla="*/ 515580 h 549157"/>
              <a:gd name="connsiteX62" fmla="*/ 78086 w 1487868"/>
              <a:gd name="connsiteY62" fmla="*/ 513244 h 549157"/>
              <a:gd name="connsiteX63" fmla="*/ 79620 w 1487868"/>
              <a:gd name="connsiteY63" fmla="*/ 513244 h 549157"/>
              <a:gd name="connsiteX64" fmla="*/ 79620 w 1487868"/>
              <a:gd name="connsiteY64" fmla="*/ 512444 h 549157"/>
              <a:gd name="connsiteX65" fmla="*/ 81155 w 1487868"/>
              <a:gd name="connsiteY65" fmla="*/ 512444 h 549157"/>
              <a:gd name="connsiteX66" fmla="*/ 81155 w 1487868"/>
              <a:gd name="connsiteY66" fmla="*/ 510097 h 549157"/>
              <a:gd name="connsiteX67" fmla="*/ 82700 w 1487868"/>
              <a:gd name="connsiteY67" fmla="*/ 510097 h 549157"/>
              <a:gd name="connsiteX68" fmla="*/ 82700 w 1487868"/>
              <a:gd name="connsiteY68" fmla="*/ 509307 h 549157"/>
              <a:gd name="connsiteX69" fmla="*/ 84224 w 1487868"/>
              <a:gd name="connsiteY69" fmla="*/ 509307 h 549157"/>
              <a:gd name="connsiteX70" fmla="*/ 84224 w 1487868"/>
              <a:gd name="connsiteY70" fmla="*/ 508551 h 549157"/>
              <a:gd name="connsiteX71" fmla="*/ 85725 w 1487868"/>
              <a:gd name="connsiteY71" fmla="*/ 508551 h 549157"/>
              <a:gd name="connsiteX72" fmla="*/ 85725 w 1487868"/>
              <a:gd name="connsiteY72" fmla="*/ 507750 h 549157"/>
              <a:gd name="connsiteX73" fmla="*/ 88794 w 1487868"/>
              <a:gd name="connsiteY73" fmla="*/ 507750 h 549157"/>
              <a:gd name="connsiteX74" fmla="*/ 88794 w 1487868"/>
              <a:gd name="connsiteY74" fmla="*/ 506204 h 549157"/>
              <a:gd name="connsiteX75" fmla="*/ 91864 w 1487868"/>
              <a:gd name="connsiteY75" fmla="*/ 506204 h 549157"/>
              <a:gd name="connsiteX76" fmla="*/ 91864 w 1487868"/>
              <a:gd name="connsiteY76" fmla="*/ 504614 h 549157"/>
              <a:gd name="connsiteX77" fmla="*/ 94933 w 1487868"/>
              <a:gd name="connsiteY77" fmla="*/ 504614 h 549157"/>
              <a:gd name="connsiteX78" fmla="*/ 94933 w 1487868"/>
              <a:gd name="connsiteY78" fmla="*/ 503846 h 549157"/>
              <a:gd name="connsiteX79" fmla="*/ 96467 w 1487868"/>
              <a:gd name="connsiteY79" fmla="*/ 503846 h 549157"/>
              <a:gd name="connsiteX80" fmla="*/ 96467 w 1487868"/>
              <a:gd name="connsiteY80" fmla="*/ 502267 h 549157"/>
              <a:gd name="connsiteX81" fmla="*/ 98002 w 1487868"/>
              <a:gd name="connsiteY81" fmla="*/ 502267 h 549157"/>
              <a:gd name="connsiteX82" fmla="*/ 98002 w 1487868"/>
              <a:gd name="connsiteY82" fmla="*/ 499153 h 549157"/>
              <a:gd name="connsiteX83" fmla="*/ 99525 w 1487868"/>
              <a:gd name="connsiteY83" fmla="*/ 499153 h 549157"/>
              <a:gd name="connsiteX84" fmla="*/ 99525 w 1487868"/>
              <a:gd name="connsiteY84" fmla="*/ 498363 h 549157"/>
              <a:gd name="connsiteX85" fmla="*/ 102572 w 1487868"/>
              <a:gd name="connsiteY85" fmla="*/ 498363 h 549157"/>
              <a:gd name="connsiteX86" fmla="*/ 104096 w 1487868"/>
              <a:gd name="connsiteY86" fmla="*/ 498363 h 549157"/>
              <a:gd name="connsiteX87" fmla="*/ 104096 w 1487868"/>
              <a:gd name="connsiteY87" fmla="*/ 496784 h 549157"/>
              <a:gd name="connsiteX88" fmla="*/ 105630 w 1487868"/>
              <a:gd name="connsiteY88" fmla="*/ 496784 h 549157"/>
              <a:gd name="connsiteX89" fmla="*/ 105630 w 1487868"/>
              <a:gd name="connsiteY89" fmla="*/ 496016 h 549157"/>
              <a:gd name="connsiteX90" fmla="*/ 107165 w 1487868"/>
              <a:gd name="connsiteY90" fmla="*/ 496016 h 549157"/>
              <a:gd name="connsiteX91" fmla="*/ 107165 w 1487868"/>
              <a:gd name="connsiteY91" fmla="*/ 494437 h 549157"/>
              <a:gd name="connsiteX92" fmla="*/ 110234 w 1487868"/>
              <a:gd name="connsiteY92" fmla="*/ 494437 h 549157"/>
              <a:gd name="connsiteX93" fmla="*/ 110234 w 1487868"/>
              <a:gd name="connsiteY93" fmla="*/ 493670 h 549157"/>
              <a:gd name="connsiteX94" fmla="*/ 113292 w 1487868"/>
              <a:gd name="connsiteY94" fmla="*/ 493670 h 549157"/>
              <a:gd name="connsiteX95" fmla="*/ 113292 w 1487868"/>
              <a:gd name="connsiteY95" fmla="*/ 492090 h 549157"/>
              <a:gd name="connsiteX96" fmla="*/ 114838 w 1487868"/>
              <a:gd name="connsiteY96" fmla="*/ 492090 h 549157"/>
              <a:gd name="connsiteX97" fmla="*/ 114838 w 1487868"/>
              <a:gd name="connsiteY97" fmla="*/ 491323 h 549157"/>
              <a:gd name="connsiteX98" fmla="*/ 116372 w 1487868"/>
              <a:gd name="connsiteY98" fmla="*/ 491323 h 549157"/>
              <a:gd name="connsiteX99" fmla="*/ 116372 w 1487868"/>
              <a:gd name="connsiteY99" fmla="*/ 488187 h 549157"/>
              <a:gd name="connsiteX100" fmla="*/ 117907 w 1487868"/>
              <a:gd name="connsiteY100" fmla="*/ 488187 h 549157"/>
              <a:gd name="connsiteX101" fmla="*/ 117907 w 1487868"/>
              <a:gd name="connsiteY101" fmla="*/ 487397 h 549157"/>
              <a:gd name="connsiteX102" fmla="*/ 119430 w 1487868"/>
              <a:gd name="connsiteY102" fmla="*/ 487397 h 549157"/>
              <a:gd name="connsiteX103" fmla="*/ 120932 w 1487868"/>
              <a:gd name="connsiteY103" fmla="*/ 487397 h 549157"/>
              <a:gd name="connsiteX104" fmla="*/ 120932 w 1487868"/>
              <a:gd name="connsiteY104" fmla="*/ 486596 h 549157"/>
              <a:gd name="connsiteX105" fmla="*/ 124001 w 1487868"/>
              <a:gd name="connsiteY105" fmla="*/ 486596 h 549157"/>
              <a:gd name="connsiteX106" fmla="*/ 124001 w 1487868"/>
              <a:gd name="connsiteY106" fmla="*/ 485840 h 549157"/>
              <a:gd name="connsiteX107" fmla="*/ 125536 w 1487868"/>
              <a:gd name="connsiteY107" fmla="*/ 485840 h 549157"/>
              <a:gd name="connsiteX108" fmla="*/ 125536 w 1487868"/>
              <a:gd name="connsiteY108" fmla="*/ 485050 h 549157"/>
              <a:gd name="connsiteX109" fmla="*/ 127070 w 1487868"/>
              <a:gd name="connsiteY109" fmla="*/ 485050 h 549157"/>
              <a:gd name="connsiteX110" fmla="*/ 127070 w 1487868"/>
              <a:gd name="connsiteY110" fmla="*/ 484249 h 549157"/>
              <a:gd name="connsiteX111" fmla="*/ 128605 w 1487868"/>
              <a:gd name="connsiteY111" fmla="*/ 484249 h 549157"/>
              <a:gd name="connsiteX112" fmla="*/ 128605 w 1487868"/>
              <a:gd name="connsiteY112" fmla="*/ 483460 h 549157"/>
              <a:gd name="connsiteX113" fmla="*/ 130139 w 1487868"/>
              <a:gd name="connsiteY113" fmla="*/ 483460 h 549157"/>
              <a:gd name="connsiteX114" fmla="*/ 130139 w 1487868"/>
              <a:gd name="connsiteY114" fmla="*/ 481903 h 549157"/>
              <a:gd name="connsiteX115" fmla="*/ 131674 w 1487868"/>
              <a:gd name="connsiteY115" fmla="*/ 481903 h 549157"/>
              <a:gd name="connsiteX116" fmla="*/ 131674 w 1487868"/>
              <a:gd name="connsiteY116" fmla="*/ 479556 h 549157"/>
              <a:gd name="connsiteX117" fmla="*/ 133208 w 1487868"/>
              <a:gd name="connsiteY117" fmla="*/ 479556 h 549157"/>
              <a:gd name="connsiteX118" fmla="*/ 133208 w 1487868"/>
              <a:gd name="connsiteY118" fmla="*/ 477977 h 549157"/>
              <a:gd name="connsiteX119" fmla="*/ 134743 w 1487868"/>
              <a:gd name="connsiteY119" fmla="*/ 477977 h 549157"/>
              <a:gd name="connsiteX120" fmla="*/ 134743 w 1487868"/>
              <a:gd name="connsiteY120" fmla="*/ 477176 h 549157"/>
              <a:gd name="connsiteX121" fmla="*/ 136278 w 1487868"/>
              <a:gd name="connsiteY121" fmla="*/ 477176 h 549157"/>
              <a:gd name="connsiteX122" fmla="*/ 136278 w 1487868"/>
              <a:gd name="connsiteY122" fmla="*/ 476420 h 549157"/>
              <a:gd name="connsiteX123" fmla="*/ 140848 w 1487868"/>
              <a:gd name="connsiteY123" fmla="*/ 476420 h 549157"/>
              <a:gd name="connsiteX124" fmla="*/ 140848 w 1487868"/>
              <a:gd name="connsiteY124" fmla="*/ 475630 h 549157"/>
              <a:gd name="connsiteX125" fmla="*/ 142382 w 1487868"/>
              <a:gd name="connsiteY125" fmla="*/ 475630 h 549157"/>
              <a:gd name="connsiteX126" fmla="*/ 142382 w 1487868"/>
              <a:gd name="connsiteY126" fmla="*/ 473283 h 549157"/>
              <a:gd name="connsiteX127" fmla="*/ 143906 w 1487868"/>
              <a:gd name="connsiteY127" fmla="*/ 473283 h 549157"/>
              <a:gd name="connsiteX128" fmla="*/ 146986 w 1487868"/>
              <a:gd name="connsiteY128" fmla="*/ 473283 h 549157"/>
              <a:gd name="connsiteX129" fmla="*/ 146986 w 1487868"/>
              <a:gd name="connsiteY129" fmla="*/ 471693 h 549157"/>
              <a:gd name="connsiteX130" fmla="*/ 148510 w 1487868"/>
              <a:gd name="connsiteY130" fmla="*/ 471693 h 549157"/>
              <a:gd name="connsiteX131" fmla="*/ 148510 w 1487868"/>
              <a:gd name="connsiteY131" fmla="*/ 470892 h 549157"/>
              <a:gd name="connsiteX132" fmla="*/ 151579 w 1487868"/>
              <a:gd name="connsiteY132" fmla="*/ 470892 h 549157"/>
              <a:gd name="connsiteX133" fmla="*/ 151579 w 1487868"/>
              <a:gd name="connsiteY133" fmla="*/ 468545 h 549157"/>
              <a:gd name="connsiteX134" fmla="*/ 156149 w 1487868"/>
              <a:gd name="connsiteY134" fmla="*/ 468545 h 549157"/>
              <a:gd name="connsiteX135" fmla="*/ 156149 w 1487868"/>
              <a:gd name="connsiteY135" fmla="*/ 467756 h 549157"/>
              <a:gd name="connsiteX136" fmla="*/ 160753 w 1487868"/>
              <a:gd name="connsiteY136" fmla="*/ 467756 h 549157"/>
              <a:gd name="connsiteX137" fmla="*/ 160753 w 1487868"/>
              <a:gd name="connsiteY137" fmla="*/ 466210 h 549157"/>
              <a:gd name="connsiteX138" fmla="*/ 162288 w 1487868"/>
              <a:gd name="connsiteY138" fmla="*/ 466210 h 549157"/>
              <a:gd name="connsiteX139" fmla="*/ 162288 w 1487868"/>
              <a:gd name="connsiteY139" fmla="*/ 465409 h 549157"/>
              <a:gd name="connsiteX140" fmla="*/ 163811 w 1487868"/>
              <a:gd name="connsiteY140" fmla="*/ 465409 h 549157"/>
              <a:gd name="connsiteX141" fmla="*/ 163811 w 1487868"/>
              <a:gd name="connsiteY141" fmla="*/ 464619 h 549157"/>
              <a:gd name="connsiteX142" fmla="*/ 165346 w 1487868"/>
              <a:gd name="connsiteY142" fmla="*/ 464619 h 549157"/>
              <a:gd name="connsiteX143" fmla="*/ 165346 w 1487868"/>
              <a:gd name="connsiteY143" fmla="*/ 462272 h 549157"/>
              <a:gd name="connsiteX144" fmla="*/ 166891 w 1487868"/>
              <a:gd name="connsiteY144" fmla="*/ 462272 h 549157"/>
              <a:gd name="connsiteX145" fmla="*/ 166891 w 1487868"/>
              <a:gd name="connsiteY145" fmla="*/ 461483 h 549157"/>
              <a:gd name="connsiteX146" fmla="*/ 169949 w 1487868"/>
              <a:gd name="connsiteY146" fmla="*/ 461483 h 549157"/>
              <a:gd name="connsiteX147" fmla="*/ 171484 w 1487868"/>
              <a:gd name="connsiteY147" fmla="*/ 461483 h 549157"/>
              <a:gd name="connsiteX148" fmla="*/ 171484 w 1487868"/>
              <a:gd name="connsiteY148" fmla="*/ 458302 h 549157"/>
              <a:gd name="connsiteX149" fmla="*/ 173030 w 1487868"/>
              <a:gd name="connsiteY149" fmla="*/ 458302 h 549157"/>
              <a:gd name="connsiteX150" fmla="*/ 173030 w 1487868"/>
              <a:gd name="connsiteY150" fmla="*/ 455955 h 549157"/>
              <a:gd name="connsiteX151" fmla="*/ 174520 w 1487868"/>
              <a:gd name="connsiteY151" fmla="*/ 455955 h 549157"/>
              <a:gd name="connsiteX152" fmla="*/ 174520 w 1487868"/>
              <a:gd name="connsiteY152" fmla="*/ 455166 h 549157"/>
              <a:gd name="connsiteX153" fmla="*/ 177589 w 1487868"/>
              <a:gd name="connsiteY153" fmla="*/ 455166 h 549157"/>
              <a:gd name="connsiteX154" fmla="*/ 177589 w 1487868"/>
              <a:gd name="connsiteY154" fmla="*/ 452029 h 549157"/>
              <a:gd name="connsiteX155" fmla="*/ 179112 w 1487868"/>
              <a:gd name="connsiteY155" fmla="*/ 452029 h 549157"/>
              <a:gd name="connsiteX156" fmla="*/ 179112 w 1487868"/>
              <a:gd name="connsiteY156" fmla="*/ 450439 h 549157"/>
              <a:gd name="connsiteX157" fmla="*/ 183716 w 1487868"/>
              <a:gd name="connsiteY157" fmla="*/ 450439 h 549157"/>
              <a:gd name="connsiteX158" fmla="*/ 183716 w 1487868"/>
              <a:gd name="connsiteY158" fmla="*/ 448882 h 549157"/>
              <a:gd name="connsiteX159" fmla="*/ 185251 w 1487868"/>
              <a:gd name="connsiteY159" fmla="*/ 448882 h 549157"/>
              <a:gd name="connsiteX160" fmla="*/ 185251 w 1487868"/>
              <a:gd name="connsiteY160" fmla="*/ 448092 h 549157"/>
              <a:gd name="connsiteX161" fmla="*/ 189855 w 1487868"/>
              <a:gd name="connsiteY161" fmla="*/ 448092 h 549157"/>
              <a:gd name="connsiteX162" fmla="*/ 189855 w 1487868"/>
              <a:gd name="connsiteY162" fmla="*/ 445712 h 549157"/>
              <a:gd name="connsiteX163" fmla="*/ 191356 w 1487868"/>
              <a:gd name="connsiteY163" fmla="*/ 445712 h 549157"/>
              <a:gd name="connsiteX164" fmla="*/ 191356 w 1487868"/>
              <a:gd name="connsiteY164" fmla="*/ 444155 h 549157"/>
              <a:gd name="connsiteX165" fmla="*/ 194425 w 1487868"/>
              <a:gd name="connsiteY165" fmla="*/ 444155 h 549157"/>
              <a:gd name="connsiteX166" fmla="*/ 194425 w 1487868"/>
              <a:gd name="connsiteY166" fmla="*/ 443365 h 549157"/>
              <a:gd name="connsiteX167" fmla="*/ 195960 w 1487868"/>
              <a:gd name="connsiteY167" fmla="*/ 443365 h 549157"/>
              <a:gd name="connsiteX168" fmla="*/ 195960 w 1487868"/>
              <a:gd name="connsiteY168" fmla="*/ 441775 h 549157"/>
              <a:gd name="connsiteX169" fmla="*/ 199028 w 1487868"/>
              <a:gd name="connsiteY169" fmla="*/ 441775 h 549157"/>
              <a:gd name="connsiteX170" fmla="*/ 200563 w 1487868"/>
              <a:gd name="connsiteY170" fmla="*/ 441775 h 549157"/>
              <a:gd name="connsiteX171" fmla="*/ 202098 w 1487868"/>
              <a:gd name="connsiteY171" fmla="*/ 441775 h 549157"/>
              <a:gd name="connsiteX172" fmla="*/ 202098 w 1487868"/>
              <a:gd name="connsiteY172" fmla="*/ 440985 h 549157"/>
              <a:gd name="connsiteX173" fmla="*/ 203632 w 1487868"/>
              <a:gd name="connsiteY173" fmla="*/ 440985 h 549157"/>
              <a:gd name="connsiteX174" fmla="*/ 203632 w 1487868"/>
              <a:gd name="connsiteY174" fmla="*/ 440229 h 549157"/>
              <a:gd name="connsiteX175" fmla="*/ 206701 w 1487868"/>
              <a:gd name="connsiteY175" fmla="*/ 440229 h 549157"/>
              <a:gd name="connsiteX176" fmla="*/ 206701 w 1487868"/>
              <a:gd name="connsiteY176" fmla="*/ 439428 h 549157"/>
              <a:gd name="connsiteX177" fmla="*/ 208236 w 1487868"/>
              <a:gd name="connsiteY177" fmla="*/ 439428 h 549157"/>
              <a:gd name="connsiteX178" fmla="*/ 209726 w 1487868"/>
              <a:gd name="connsiteY178" fmla="*/ 439428 h 549157"/>
              <a:gd name="connsiteX179" fmla="*/ 209726 w 1487868"/>
              <a:gd name="connsiteY179" fmla="*/ 437838 h 549157"/>
              <a:gd name="connsiteX180" fmla="*/ 211261 w 1487868"/>
              <a:gd name="connsiteY180" fmla="*/ 437838 h 549157"/>
              <a:gd name="connsiteX181" fmla="*/ 212806 w 1487868"/>
              <a:gd name="connsiteY181" fmla="*/ 437838 h 549157"/>
              <a:gd name="connsiteX182" fmla="*/ 212806 w 1487868"/>
              <a:gd name="connsiteY182" fmla="*/ 437048 h 549157"/>
              <a:gd name="connsiteX183" fmla="*/ 215864 w 1487868"/>
              <a:gd name="connsiteY183" fmla="*/ 437048 h 549157"/>
              <a:gd name="connsiteX184" fmla="*/ 215864 w 1487868"/>
              <a:gd name="connsiteY184" fmla="*/ 436258 h 549157"/>
              <a:gd name="connsiteX185" fmla="*/ 217399 w 1487868"/>
              <a:gd name="connsiteY185" fmla="*/ 436258 h 549157"/>
              <a:gd name="connsiteX186" fmla="*/ 217399 w 1487868"/>
              <a:gd name="connsiteY186" fmla="*/ 434701 h 549157"/>
              <a:gd name="connsiteX187" fmla="*/ 218934 w 1487868"/>
              <a:gd name="connsiteY187" fmla="*/ 434701 h 549157"/>
              <a:gd name="connsiteX188" fmla="*/ 218934 w 1487868"/>
              <a:gd name="connsiteY188" fmla="*/ 433111 h 549157"/>
              <a:gd name="connsiteX189" fmla="*/ 222003 w 1487868"/>
              <a:gd name="connsiteY189" fmla="*/ 433111 h 549157"/>
              <a:gd name="connsiteX190" fmla="*/ 222003 w 1487868"/>
              <a:gd name="connsiteY190" fmla="*/ 431531 h 549157"/>
              <a:gd name="connsiteX191" fmla="*/ 223537 w 1487868"/>
              <a:gd name="connsiteY191" fmla="*/ 431531 h 549157"/>
              <a:gd name="connsiteX192" fmla="*/ 223537 w 1487868"/>
              <a:gd name="connsiteY192" fmla="*/ 430731 h 549157"/>
              <a:gd name="connsiteX193" fmla="*/ 225072 w 1487868"/>
              <a:gd name="connsiteY193" fmla="*/ 430731 h 549157"/>
              <a:gd name="connsiteX194" fmla="*/ 226573 w 1487868"/>
              <a:gd name="connsiteY194" fmla="*/ 430731 h 549157"/>
              <a:gd name="connsiteX195" fmla="*/ 226573 w 1487868"/>
              <a:gd name="connsiteY195" fmla="*/ 429140 h 549157"/>
              <a:gd name="connsiteX196" fmla="*/ 228108 w 1487868"/>
              <a:gd name="connsiteY196" fmla="*/ 429140 h 549157"/>
              <a:gd name="connsiteX197" fmla="*/ 228108 w 1487868"/>
              <a:gd name="connsiteY197" fmla="*/ 428384 h 549157"/>
              <a:gd name="connsiteX198" fmla="*/ 229631 w 1487868"/>
              <a:gd name="connsiteY198" fmla="*/ 428384 h 549157"/>
              <a:gd name="connsiteX199" fmla="*/ 229631 w 1487868"/>
              <a:gd name="connsiteY199" fmla="*/ 427594 h 549157"/>
              <a:gd name="connsiteX200" fmla="*/ 231166 w 1487868"/>
              <a:gd name="connsiteY200" fmla="*/ 427594 h 549157"/>
              <a:gd name="connsiteX201" fmla="*/ 231166 w 1487868"/>
              <a:gd name="connsiteY201" fmla="*/ 426805 h 549157"/>
              <a:gd name="connsiteX202" fmla="*/ 232712 w 1487868"/>
              <a:gd name="connsiteY202" fmla="*/ 426805 h 549157"/>
              <a:gd name="connsiteX203" fmla="*/ 232712 w 1487868"/>
              <a:gd name="connsiteY203" fmla="*/ 426004 h 549157"/>
              <a:gd name="connsiteX204" fmla="*/ 234235 w 1487868"/>
              <a:gd name="connsiteY204" fmla="*/ 426004 h 549157"/>
              <a:gd name="connsiteX205" fmla="*/ 235770 w 1487868"/>
              <a:gd name="connsiteY205" fmla="*/ 426004 h 549157"/>
              <a:gd name="connsiteX206" fmla="*/ 235770 w 1487868"/>
              <a:gd name="connsiteY206" fmla="*/ 425214 h 549157"/>
              <a:gd name="connsiteX207" fmla="*/ 237304 w 1487868"/>
              <a:gd name="connsiteY207" fmla="*/ 425214 h 549157"/>
              <a:gd name="connsiteX208" fmla="*/ 237304 w 1487868"/>
              <a:gd name="connsiteY208" fmla="*/ 423624 h 549157"/>
              <a:gd name="connsiteX209" fmla="*/ 238850 w 1487868"/>
              <a:gd name="connsiteY209" fmla="*/ 423624 h 549157"/>
              <a:gd name="connsiteX210" fmla="*/ 240373 w 1487868"/>
              <a:gd name="connsiteY210" fmla="*/ 423624 h 549157"/>
              <a:gd name="connsiteX211" fmla="*/ 240373 w 1487868"/>
              <a:gd name="connsiteY211" fmla="*/ 422834 h 549157"/>
              <a:gd name="connsiteX212" fmla="*/ 241908 w 1487868"/>
              <a:gd name="connsiteY212" fmla="*/ 422834 h 549157"/>
              <a:gd name="connsiteX213" fmla="*/ 241908 w 1487868"/>
              <a:gd name="connsiteY213" fmla="*/ 421244 h 549157"/>
              <a:gd name="connsiteX214" fmla="*/ 244933 w 1487868"/>
              <a:gd name="connsiteY214" fmla="*/ 421244 h 549157"/>
              <a:gd name="connsiteX215" fmla="*/ 244933 w 1487868"/>
              <a:gd name="connsiteY215" fmla="*/ 420487 h 549157"/>
              <a:gd name="connsiteX216" fmla="*/ 246478 w 1487868"/>
              <a:gd name="connsiteY216" fmla="*/ 420487 h 549157"/>
              <a:gd name="connsiteX217" fmla="*/ 249536 w 1487868"/>
              <a:gd name="connsiteY217" fmla="*/ 420487 h 549157"/>
              <a:gd name="connsiteX218" fmla="*/ 249536 w 1487868"/>
              <a:gd name="connsiteY218" fmla="*/ 418897 h 549157"/>
              <a:gd name="connsiteX219" fmla="*/ 251082 w 1487868"/>
              <a:gd name="connsiteY219" fmla="*/ 418897 h 549157"/>
              <a:gd name="connsiteX220" fmla="*/ 251082 w 1487868"/>
              <a:gd name="connsiteY220" fmla="*/ 418107 h 549157"/>
              <a:gd name="connsiteX221" fmla="*/ 254140 w 1487868"/>
              <a:gd name="connsiteY221" fmla="*/ 418107 h 549157"/>
              <a:gd name="connsiteX222" fmla="*/ 254140 w 1487868"/>
              <a:gd name="connsiteY222" fmla="*/ 417318 h 549157"/>
              <a:gd name="connsiteX223" fmla="*/ 255675 w 1487868"/>
              <a:gd name="connsiteY223" fmla="*/ 417318 h 549157"/>
              <a:gd name="connsiteX224" fmla="*/ 255675 w 1487868"/>
              <a:gd name="connsiteY224" fmla="*/ 416517 h 549157"/>
              <a:gd name="connsiteX225" fmla="*/ 258755 w 1487868"/>
              <a:gd name="connsiteY225" fmla="*/ 416517 h 549157"/>
              <a:gd name="connsiteX226" fmla="*/ 258755 w 1487868"/>
              <a:gd name="connsiteY226" fmla="*/ 414137 h 549157"/>
              <a:gd name="connsiteX227" fmla="*/ 260279 w 1487868"/>
              <a:gd name="connsiteY227" fmla="*/ 414137 h 549157"/>
              <a:gd name="connsiteX228" fmla="*/ 260279 w 1487868"/>
              <a:gd name="connsiteY228" fmla="*/ 413347 h 549157"/>
              <a:gd name="connsiteX229" fmla="*/ 261780 w 1487868"/>
              <a:gd name="connsiteY229" fmla="*/ 413347 h 549157"/>
              <a:gd name="connsiteX230" fmla="*/ 263314 w 1487868"/>
              <a:gd name="connsiteY230" fmla="*/ 413347 h 549157"/>
              <a:gd name="connsiteX231" fmla="*/ 263314 w 1487868"/>
              <a:gd name="connsiteY231" fmla="*/ 412546 h 549157"/>
              <a:gd name="connsiteX232" fmla="*/ 267918 w 1487868"/>
              <a:gd name="connsiteY232" fmla="*/ 412546 h 549157"/>
              <a:gd name="connsiteX233" fmla="*/ 269441 w 1487868"/>
              <a:gd name="connsiteY233" fmla="*/ 412546 h 549157"/>
              <a:gd name="connsiteX234" fmla="*/ 269441 w 1487868"/>
              <a:gd name="connsiteY234" fmla="*/ 411757 h 549157"/>
              <a:gd name="connsiteX235" fmla="*/ 270987 w 1487868"/>
              <a:gd name="connsiteY235" fmla="*/ 411757 h 549157"/>
              <a:gd name="connsiteX236" fmla="*/ 270987 w 1487868"/>
              <a:gd name="connsiteY236" fmla="*/ 410967 h 549157"/>
              <a:gd name="connsiteX237" fmla="*/ 272522 w 1487868"/>
              <a:gd name="connsiteY237" fmla="*/ 410967 h 549157"/>
              <a:gd name="connsiteX238" fmla="*/ 274056 w 1487868"/>
              <a:gd name="connsiteY238" fmla="*/ 410967 h 549157"/>
              <a:gd name="connsiteX239" fmla="*/ 274056 w 1487868"/>
              <a:gd name="connsiteY239" fmla="*/ 409376 h 549157"/>
              <a:gd name="connsiteX240" fmla="*/ 275580 w 1487868"/>
              <a:gd name="connsiteY240" fmla="*/ 409376 h 549157"/>
              <a:gd name="connsiteX241" fmla="*/ 275580 w 1487868"/>
              <a:gd name="connsiteY241" fmla="*/ 407786 h 549157"/>
              <a:gd name="connsiteX242" fmla="*/ 277125 w 1487868"/>
              <a:gd name="connsiteY242" fmla="*/ 407786 h 549157"/>
              <a:gd name="connsiteX243" fmla="*/ 277125 w 1487868"/>
              <a:gd name="connsiteY243" fmla="*/ 406196 h 549157"/>
              <a:gd name="connsiteX244" fmla="*/ 278660 w 1487868"/>
              <a:gd name="connsiteY244" fmla="*/ 406196 h 549157"/>
              <a:gd name="connsiteX245" fmla="*/ 278660 w 1487868"/>
              <a:gd name="connsiteY245" fmla="*/ 404605 h 549157"/>
              <a:gd name="connsiteX246" fmla="*/ 280150 w 1487868"/>
              <a:gd name="connsiteY246" fmla="*/ 404605 h 549157"/>
              <a:gd name="connsiteX247" fmla="*/ 281685 w 1487868"/>
              <a:gd name="connsiteY247" fmla="*/ 404605 h 549157"/>
              <a:gd name="connsiteX248" fmla="*/ 281685 w 1487868"/>
              <a:gd name="connsiteY248" fmla="*/ 403026 h 549157"/>
              <a:gd name="connsiteX249" fmla="*/ 284754 w 1487868"/>
              <a:gd name="connsiteY249" fmla="*/ 403026 h 549157"/>
              <a:gd name="connsiteX250" fmla="*/ 284754 w 1487868"/>
              <a:gd name="connsiteY250" fmla="*/ 401435 h 549157"/>
              <a:gd name="connsiteX251" fmla="*/ 286289 w 1487868"/>
              <a:gd name="connsiteY251" fmla="*/ 401435 h 549157"/>
              <a:gd name="connsiteX252" fmla="*/ 286289 w 1487868"/>
              <a:gd name="connsiteY252" fmla="*/ 400646 h 549157"/>
              <a:gd name="connsiteX253" fmla="*/ 287823 w 1487868"/>
              <a:gd name="connsiteY253" fmla="*/ 400646 h 549157"/>
              <a:gd name="connsiteX254" fmla="*/ 289358 w 1487868"/>
              <a:gd name="connsiteY254" fmla="*/ 400646 h 549157"/>
              <a:gd name="connsiteX255" fmla="*/ 290892 w 1487868"/>
              <a:gd name="connsiteY255" fmla="*/ 400646 h 549157"/>
              <a:gd name="connsiteX256" fmla="*/ 290892 w 1487868"/>
              <a:gd name="connsiteY256" fmla="*/ 399055 h 549157"/>
              <a:gd name="connsiteX257" fmla="*/ 292427 w 1487868"/>
              <a:gd name="connsiteY257" fmla="*/ 399055 h 549157"/>
              <a:gd name="connsiteX258" fmla="*/ 292427 w 1487868"/>
              <a:gd name="connsiteY258" fmla="*/ 396642 h 549157"/>
              <a:gd name="connsiteX259" fmla="*/ 293961 w 1487868"/>
              <a:gd name="connsiteY259" fmla="*/ 396642 h 549157"/>
              <a:gd name="connsiteX260" fmla="*/ 295485 w 1487868"/>
              <a:gd name="connsiteY260" fmla="*/ 396642 h 549157"/>
              <a:gd name="connsiteX261" fmla="*/ 297031 w 1487868"/>
              <a:gd name="connsiteY261" fmla="*/ 396642 h 549157"/>
              <a:gd name="connsiteX262" fmla="*/ 298532 w 1487868"/>
              <a:gd name="connsiteY262" fmla="*/ 396642 h 549157"/>
              <a:gd name="connsiteX263" fmla="*/ 298532 w 1487868"/>
              <a:gd name="connsiteY263" fmla="*/ 395852 h 549157"/>
              <a:gd name="connsiteX264" fmla="*/ 300055 w 1487868"/>
              <a:gd name="connsiteY264" fmla="*/ 395852 h 549157"/>
              <a:gd name="connsiteX265" fmla="*/ 301590 w 1487868"/>
              <a:gd name="connsiteY265" fmla="*/ 395852 h 549157"/>
              <a:gd name="connsiteX266" fmla="*/ 303125 w 1487868"/>
              <a:gd name="connsiteY266" fmla="*/ 395852 h 549157"/>
              <a:gd name="connsiteX267" fmla="*/ 303125 w 1487868"/>
              <a:gd name="connsiteY267" fmla="*/ 395018 h 549157"/>
              <a:gd name="connsiteX268" fmla="*/ 304659 w 1487868"/>
              <a:gd name="connsiteY268" fmla="*/ 395018 h 549157"/>
              <a:gd name="connsiteX269" fmla="*/ 304659 w 1487868"/>
              <a:gd name="connsiteY269" fmla="*/ 393394 h 549157"/>
              <a:gd name="connsiteX270" fmla="*/ 306194 w 1487868"/>
              <a:gd name="connsiteY270" fmla="*/ 393394 h 549157"/>
              <a:gd name="connsiteX271" fmla="*/ 306194 w 1487868"/>
              <a:gd name="connsiteY271" fmla="*/ 392571 h 549157"/>
              <a:gd name="connsiteX272" fmla="*/ 307728 w 1487868"/>
              <a:gd name="connsiteY272" fmla="*/ 392571 h 549157"/>
              <a:gd name="connsiteX273" fmla="*/ 307728 w 1487868"/>
              <a:gd name="connsiteY273" fmla="*/ 391737 h 549157"/>
              <a:gd name="connsiteX274" fmla="*/ 309274 w 1487868"/>
              <a:gd name="connsiteY274" fmla="*/ 391737 h 549157"/>
              <a:gd name="connsiteX275" fmla="*/ 310797 w 1487868"/>
              <a:gd name="connsiteY275" fmla="*/ 391737 h 549157"/>
              <a:gd name="connsiteX276" fmla="*/ 310797 w 1487868"/>
              <a:gd name="connsiteY276" fmla="*/ 390124 h 549157"/>
              <a:gd name="connsiteX277" fmla="*/ 312332 w 1487868"/>
              <a:gd name="connsiteY277" fmla="*/ 390124 h 549157"/>
              <a:gd name="connsiteX278" fmla="*/ 313867 w 1487868"/>
              <a:gd name="connsiteY278" fmla="*/ 390124 h 549157"/>
              <a:gd name="connsiteX279" fmla="*/ 313867 w 1487868"/>
              <a:gd name="connsiteY279" fmla="*/ 389257 h 549157"/>
              <a:gd name="connsiteX280" fmla="*/ 315357 w 1487868"/>
              <a:gd name="connsiteY280" fmla="*/ 389257 h 549157"/>
              <a:gd name="connsiteX281" fmla="*/ 315357 w 1487868"/>
              <a:gd name="connsiteY281" fmla="*/ 387600 h 549157"/>
              <a:gd name="connsiteX282" fmla="*/ 316902 w 1487868"/>
              <a:gd name="connsiteY282" fmla="*/ 387600 h 549157"/>
              <a:gd name="connsiteX283" fmla="*/ 316902 w 1487868"/>
              <a:gd name="connsiteY283" fmla="*/ 386766 h 549157"/>
              <a:gd name="connsiteX284" fmla="*/ 318437 w 1487868"/>
              <a:gd name="connsiteY284" fmla="*/ 386766 h 549157"/>
              <a:gd name="connsiteX285" fmla="*/ 318437 w 1487868"/>
              <a:gd name="connsiteY285" fmla="*/ 385943 h 549157"/>
              <a:gd name="connsiteX286" fmla="*/ 319960 w 1487868"/>
              <a:gd name="connsiteY286" fmla="*/ 385943 h 549157"/>
              <a:gd name="connsiteX287" fmla="*/ 319960 w 1487868"/>
              <a:gd name="connsiteY287" fmla="*/ 385086 h 549157"/>
              <a:gd name="connsiteX288" fmla="*/ 321495 w 1487868"/>
              <a:gd name="connsiteY288" fmla="*/ 385086 h 549157"/>
              <a:gd name="connsiteX289" fmla="*/ 323041 w 1487868"/>
              <a:gd name="connsiteY289" fmla="*/ 385086 h 549157"/>
              <a:gd name="connsiteX290" fmla="*/ 324564 w 1487868"/>
              <a:gd name="connsiteY290" fmla="*/ 385086 h 549157"/>
              <a:gd name="connsiteX291" fmla="*/ 327633 w 1487868"/>
              <a:gd name="connsiteY291" fmla="*/ 385086 h 549157"/>
              <a:gd name="connsiteX292" fmla="*/ 327633 w 1487868"/>
              <a:gd name="connsiteY292" fmla="*/ 384252 h 549157"/>
              <a:gd name="connsiteX293" fmla="*/ 329179 w 1487868"/>
              <a:gd name="connsiteY293" fmla="*/ 384252 h 549157"/>
              <a:gd name="connsiteX294" fmla="*/ 329179 w 1487868"/>
              <a:gd name="connsiteY294" fmla="*/ 383396 h 549157"/>
              <a:gd name="connsiteX295" fmla="*/ 330702 w 1487868"/>
              <a:gd name="connsiteY295" fmla="*/ 383396 h 549157"/>
              <a:gd name="connsiteX296" fmla="*/ 330702 w 1487868"/>
              <a:gd name="connsiteY296" fmla="*/ 381661 h 549157"/>
              <a:gd name="connsiteX297" fmla="*/ 332237 w 1487868"/>
              <a:gd name="connsiteY297" fmla="*/ 381661 h 549157"/>
              <a:gd name="connsiteX298" fmla="*/ 333738 w 1487868"/>
              <a:gd name="connsiteY298" fmla="*/ 381661 h 549157"/>
              <a:gd name="connsiteX299" fmla="*/ 335262 w 1487868"/>
              <a:gd name="connsiteY299" fmla="*/ 381661 h 549157"/>
              <a:gd name="connsiteX300" fmla="*/ 335262 w 1487868"/>
              <a:gd name="connsiteY300" fmla="*/ 380804 h 549157"/>
              <a:gd name="connsiteX301" fmla="*/ 336807 w 1487868"/>
              <a:gd name="connsiteY301" fmla="*/ 380804 h 549157"/>
              <a:gd name="connsiteX302" fmla="*/ 336807 w 1487868"/>
              <a:gd name="connsiteY302" fmla="*/ 379937 h 549157"/>
              <a:gd name="connsiteX303" fmla="*/ 338342 w 1487868"/>
              <a:gd name="connsiteY303" fmla="*/ 379937 h 549157"/>
              <a:gd name="connsiteX304" fmla="*/ 339865 w 1487868"/>
              <a:gd name="connsiteY304" fmla="*/ 379937 h 549157"/>
              <a:gd name="connsiteX305" fmla="*/ 339865 w 1487868"/>
              <a:gd name="connsiteY305" fmla="*/ 379080 h 549157"/>
              <a:gd name="connsiteX306" fmla="*/ 341400 w 1487868"/>
              <a:gd name="connsiteY306" fmla="*/ 379080 h 549157"/>
              <a:gd name="connsiteX307" fmla="*/ 342946 w 1487868"/>
              <a:gd name="connsiteY307" fmla="*/ 379080 h 549157"/>
              <a:gd name="connsiteX308" fmla="*/ 342946 w 1487868"/>
              <a:gd name="connsiteY308" fmla="*/ 377312 h 549157"/>
              <a:gd name="connsiteX309" fmla="*/ 344480 w 1487868"/>
              <a:gd name="connsiteY309" fmla="*/ 377312 h 549157"/>
              <a:gd name="connsiteX310" fmla="*/ 346004 w 1487868"/>
              <a:gd name="connsiteY310" fmla="*/ 377312 h 549157"/>
              <a:gd name="connsiteX311" fmla="*/ 346004 w 1487868"/>
              <a:gd name="connsiteY311" fmla="*/ 375555 h 549157"/>
              <a:gd name="connsiteX312" fmla="*/ 347538 w 1487868"/>
              <a:gd name="connsiteY312" fmla="*/ 375555 h 549157"/>
              <a:gd name="connsiteX313" fmla="*/ 347538 w 1487868"/>
              <a:gd name="connsiteY313" fmla="*/ 374698 h 549157"/>
              <a:gd name="connsiteX314" fmla="*/ 350574 w 1487868"/>
              <a:gd name="connsiteY314" fmla="*/ 374698 h 549157"/>
              <a:gd name="connsiteX315" fmla="*/ 352109 w 1487868"/>
              <a:gd name="connsiteY315" fmla="*/ 374698 h 549157"/>
              <a:gd name="connsiteX316" fmla="*/ 352109 w 1487868"/>
              <a:gd name="connsiteY316" fmla="*/ 373797 h 549157"/>
              <a:gd name="connsiteX317" fmla="*/ 353643 w 1487868"/>
              <a:gd name="connsiteY317" fmla="*/ 373797 h 549157"/>
              <a:gd name="connsiteX318" fmla="*/ 353643 w 1487868"/>
              <a:gd name="connsiteY318" fmla="*/ 372930 h 549157"/>
              <a:gd name="connsiteX319" fmla="*/ 355167 w 1487868"/>
              <a:gd name="connsiteY319" fmla="*/ 372930 h 549157"/>
              <a:gd name="connsiteX320" fmla="*/ 356713 w 1487868"/>
              <a:gd name="connsiteY320" fmla="*/ 372930 h 549157"/>
              <a:gd name="connsiteX321" fmla="*/ 356713 w 1487868"/>
              <a:gd name="connsiteY321" fmla="*/ 372040 h 549157"/>
              <a:gd name="connsiteX322" fmla="*/ 358247 w 1487868"/>
              <a:gd name="connsiteY322" fmla="*/ 372040 h 549157"/>
              <a:gd name="connsiteX323" fmla="*/ 359782 w 1487868"/>
              <a:gd name="connsiteY323" fmla="*/ 372040 h 549157"/>
              <a:gd name="connsiteX324" fmla="*/ 361316 w 1487868"/>
              <a:gd name="connsiteY324" fmla="*/ 372040 h 549157"/>
              <a:gd name="connsiteX325" fmla="*/ 362851 w 1487868"/>
              <a:gd name="connsiteY325" fmla="*/ 372040 h 549157"/>
              <a:gd name="connsiteX326" fmla="*/ 362851 w 1487868"/>
              <a:gd name="connsiteY326" fmla="*/ 371139 h 549157"/>
              <a:gd name="connsiteX327" fmla="*/ 364386 w 1487868"/>
              <a:gd name="connsiteY327" fmla="*/ 371139 h 549157"/>
              <a:gd name="connsiteX328" fmla="*/ 364386 w 1487868"/>
              <a:gd name="connsiteY328" fmla="*/ 368448 h 549157"/>
              <a:gd name="connsiteX329" fmla="*/ 365909 w 1487868"/>
              <a:gd name="connsiteY329" fmla="*/ 368448 h 549157"/>
              <a:gd name="connsiteX330" fmla="*/ 367455 w 1487868"/>
              <a:gd name="connsiteY330" fmla="*/ 368448 h 549157"/>
              <a:gd name="connsiteX331" fmla="*/ 367455 w 1487868"/>
              <a:gd name="connsiteY331" fmla="*/ 367513 h 549157"/>
              <a:gd name="connsiteX332" fmla="*/ 368956 w 1487868"/>
              <a:gd name="connsiteY332" fmla="*/ 367513 h 549157"/>
              <a:gd name="connsiteX333" fmla="*/ 370479 w 1487868"/>
              <a:gd name="connsiteY333" fmla="*/ 367513 h 549157"/>
              <a:gd name="connsiteX334" fmla="*/ 372014 w 1487868"/>
              <a:gd name="connsiteY334" fmla="*/ 367513 h 549157"/>
              <a:gd name="connsiteX335" fmla="*/ 373548 w 1487868"/>
              <a:gd name="connsiteY335" fmla="*/ 367513 h 549157"/>
              <a:gd name="connsiteX336" fmla="*/ 373548 w 1487868"/>
              <a:gd name="connsiteY336" fmla="*/ 365690 h 549157"/>
              <a:gd name="connsiteX337" fmla="*/ 375083 w 1487868"/>
              <a:gd name="connsiteY337" fmla="*/ 365690 h 549157"/>
              <a:gd name="connsiteX338" fmla="*/ 375083 w 1487868"/>
              <a:gd name="connsiteY338" fmla="*/ 364789 h 549157"/>
              <a:gd name="connsiteX339" fmla="*/ 376617 w 1487868"/>
              <a:gd name="connsiteY339" fmla="*/ 364789 h 549157"/>
              <a:gd name="connsiteX340" fmla="*/ 376617 w 1487868"/>
              <a:gd name="connsiteY340" fmla="*/ 362030 h 549157"/>
              <a:gd name="connsiteX341" fmla="*/ 378152 w 1487868"/>
              <a:gd name="connsiteY341" fmla="*/ 362030 h 549157"/>
              <a:gd name="connsiteX342" fmla="*/ 378152 w 1487868"/>
              <a:gd name="connsiteY342" fmla="*/ 359272 h 549157"/>
              <a:gd name="connsiteX343" fmla="*/ 382756 w 1487868"/>
              <a:gd name="connsiteY343" fmla="*/ 359272 h 549157"/>
              <a:gd name="connsiteX344" fmla="*/ 382756 w 1487868"/>
              <a:gd name="connsiteY344" fmla="*/ 358338 h 549157"/>
              <a:gd name="connsiteX345" fmla="*/ 384290 w 1487868"/>
              <a:gd name="connsiteY345" fmla="*/ 358338 h 549157"/>
              <a:gd name="connsiteX346" fmla="*/ 384290 w 1487868"/>
              <a:gd name="connsiteY346" fmla="*/ 357404 h 549157"/>
              <a:gd name="connsiteX347" fmla="*/ 385781 w 1487868"/>
              <a:gd name="connsiteY347" fmla="*/ 357404 h 549157"/>
              <a:gd name="connsiteX348" fmla="*/ 387315 w 1487868"/>
              <a:gd name="connsiteY348" fmla="*/ 357404 h 549157"/>
              <a:gd name="connsiteX349" fmla="*/ 388861 w 1487868"/>
              <a:gd name="connsiteY349" fmla="*/ 357404 h 549157"/>
              <a:gd name="connsiteX350" fmla="*/ 388861 w 1487868"/>
              <a:gd name="connsiteY350" fmla="*/ 356481 h 549157"/>
              <a:gd name="connsiteX351" fmla="*/ 391919 w 1487868"/>
              <a:gd name="connsiteY351" fmla="*/ 356481 h 549157"/>
              <a:gd name="connsiteX352" fmla="*/ 393453 w 1487868"/>
              <a:gd name="connsiteY352" fmla="*/ 356481 h 549157"/>
              <a:gd name="connsiteX353" fmla="*/ 393453 w 1487868"/>
              <a:gd name="connsiteY353" fmla="*/ 355546 h 549157"/>
              <a:gd name="connsiteX354" fmla="*/ 394999 w 1487868"/>
              <a:gd name="connsiteY354" fmla="*/ 355546 h 549157"/>
              <a:gd name="connsiteX355" fmla="*/ 396523 w 1487868"/>
              <a:gd name="connsiteY355" fmla="*/ 355546 h 549157"/>
              <a:gd name="connsiteX356" fmla="*/ 396523 w 1487868"/>
              <a:gd name="connsiteY356" fmla="*/ 354579 h 549157"/>
              <a:gd name="connsiteX357" fmla="*/ 398057 w 1487868"/>
              <a:gd name="connsiteY357" fmla="*/ 354579 h 549157"/>
              <a:gd name="connsiteX358" fmla="*/ 399592 w 1487868"/>
              <a:gd name="connsiteY358" fmla="*/ 354579 h 549157"/>
              <a:gd name="connsiteX359" fmla="*/ 401126 w 1487868"/>
              <a:gd name="connsiteY359" fmla="*/ 354579 h 549157"/>
              <a:gd name="connsiteX360" fmla="*/ 404162 w 1487868"/>
              <a:gd name="connsiteY360" fmla="*/ 354579 h 549157"/>
              <a:gd name="connsiteX361" fmla="*/ 404162 w 1487868"/>
              <a:gd name="connsiteY361" fmla="*/ 353644 h 549157"/>
              <a:gd name="connsiteX362" fmla="*/ 405686 w 1487868"/>
              <a:gd name="connsiteY362" fmla="*/ 353644 h 549157"/>
              <a:gd name="connsiteX363" fmla="*/ 407220 w 1487868"/>
              <a:gd name="connsiteY363" fmla="*/ 353644 h 549157"/>
              <a:gd name="connsiteX364" fmla="*/ 408766 w 1487868"/>
              <a:gd name="connsiteY364" fmla="*/ 353644 h 549157"/>
              <a:gd name="connsiteX365" fmla="*/ 410289 w 1487868"/>
              <a:gd name="connsiteY365" fmla="*/ 353644 h 549157"/>
              <a:gd name="connsiteX366" fmla="*/ 410289 w 1487868"/>
              <a:gd name="connsiteY366" fmla="*/ 351720 h 549157"/>
              <a:gd name="connsiteX367" fmla="*/ 411824 w 1487868"/>
              <a:gd name="connsiteY367" fmla="*/ 351720 h 549157"/>
              <a:gd name="connsiteX368" fmla="*/ 413359 w 1487868"/>
              <a:gd name="connsiteY368" fmla="*/ 351720 h 549157"/>
              <a:gd name="connsiteX369" fmla="*/ 413359 w 1487868"/>
              <a:gd name="connsiteY369" fmla="*/ 349785 h 549157"/>
              <a:gd name="connsiteX370" fmla="*/ 416428 w 1487868"/>
              <a:gd name="connsiteY370" fmla="*/ 349785 h 549157"/>
              <a:gd name="connsiteX371" fmla="*/ 417962 w 1487868"/>
              <a:gd name="connsiteY371" fmla="*/ 349785 h 549157"/>
              <a:gd name="connsiteX372" fmla="*/ 419508 w 1487868"/>
              <a:gd name="connsiteY372" fmla="*/ 349785 h 549157"/>
              <a:gd name="connsiteX373" fmla="*/ 419508 w 1487868"/>
              <a:gd name="connsiteY373" fmla="*/ 348784 h 549157"/>
              <a:gd name="connsiteX374" fmla="*/ 421032 w 1487868"/>
              <a:gd name="connsiteY374" fmla="*/ 348784 h 549157"/>
              <a:gd name="connsiteX375" fmla="*/ 424067 w 1487868"/>
              <a:gd name="connsiteY375" fmla="*/ 348784 h 549157"/>
              <a:gd name="connsiteX376" fmla="*/ 424067 w 1487868"/>
              <a:gd name="connsiteY376" fmla="*/ 347817 h 549157"/>
              <a:gd name="connsiteX377" fmla="*/ 425591 w 1487868"/>
              <a:gd name="connsiteY377" fmla="*/ 347817 h 549157"/>
              <a:gd name="connsiteX378" fmla="*/ 425591 w 1487868"/>
              <a:gd name="connsiteY378" fmla="*/ 346816 h 549157"/>
              <a:gd name="connsiteX379" fmla="*/ 427136 w 1487868"/>
              <a:gd name="connsiteY379" fmla="*/ 346816 h 549157"/>
              <a:gd name="connsiteX380" fmla="*/ 427136 w 1487868"/>
              <a:gd name="connsiteY380" fmla="*/ 345848 h 549157"/>
              <a:gd name="connsiteX381" fmla="*/ 428671 w 1487868"/>
              <a:gd name="connsiteY381" fmla="*/ 345848 h 549157"/>
              <a:gd name="connsiteX382" fmla="*/ 430206 w 1487868"/>
              <a:gd name="connsiteY382" fmla="*/ 345848 h 549157"/>
              <a:gd name="connsiteX383" fmla="*/ 431729 w 1487868"/>
              <a:gd name="connsiteY383" fmla="*/ 345848 h 549157"/>
              <a:gd name="connsiteX384" fmla="*/ 431729 w 1487868"/>
              <a:gd name="connsiteY384" fmla="*/ 344847 h 549157"/>
              <a:gd name="connsiteX385" fmla="*/ 433275 w 1487868"/>
              <a:gd name="connsiteY385" fmla="*/ 344847 h 549157"/>
              <a:gd name="connsiteX386" fmla="*/ 433275 w 1487868"/>
              <a:gd name="connsiteY386" fmla="*/ 343846 h 549157"/>
              <a:gd name="connsiteX387" fmla="*/ 436333 w 1487868"/>
              <a:gd name="connsiteY387" fmla="*/ 343846 h 549157"/>
              <a:gd name="connsiteX388" fmla="*/ 436333 w 1487868"/>
              <a:gd name="connsiteY388" fmla="*/ 342845 h 549157"/>
              <a:gd name="connsiteX389" fmla="*/ 437868 w 1487868"/>
              <a:gd name="connsiteY389" fmla="*/ 342845 h 549157"/>
              <a:gd name="connsiteX390" fmla="*/ 439369 w 1487868"/>
              <a:gd name="connsiteY390" fmla="*/ 342845 h 549157"/>
              <a:gd name="connsiteX391" fmla="*/ 440903 w 1487868"/>
              <a:gd name="connsiteY391" fmla="*/ 342845 h 549157"/>
              <a:gd name="connsiteX392" fmla="*/ 442438 w 1487868"/>
              <a:gd name="connsiteY392" fmla="*/ 342845 h 549157"/>
              <a:gd name="connsiteX393" fmla="*/ 442438 w 1487868"/>
              <a:gd name="connsiteY393" fmla="*/ 341844 h 549157"/>
              <a:gd name="connsiteX394" fmla="*/ 443972 w 1487868"/>
              <a:gd name="connsiteY394" fmla="*/ 341844 h 549157"/>
              <a:gd name="connsiteX395" fmla="*/ 443972 w 1487868"/>
              <a:gd name="connsiteY395" fmla="*/ 340843 h 549157"/>
              <a:gd name="connsiteX396" fmla="*/ 447042 w 1487868"/>
              <a:gd name="connsiteY396" fmla="*/ 340843 h 549157"/>
              <a:gd name="connsiteX397" fmla="*/ 448576 w 1487868"/>
              <a:gd name="connsiteY397" fmla="*/ 340843 h 549157"/>
              <a:gd name="connsiteX398" fmla="*/ 448576 w 1487868"/>
              <a:gd name="connsiteY398" fmla="*/ 339809 h 549157"/>
              <a:gd name="connsiteX399" fmla="*/ 450111 w 1487868"/>
              <a:gd name="connsiteY399" fmla="*/ 339809 h 549157"/>
              <a:gd name="connsiteX400" fmla="*/ 450111 w 1487868"/>
              <a:gd name="connsiteY400" fmla="*/ 337773 h 549157"/>
              <a:gd name="connsiteX401" fmla="*/ 451634 w 1487868"/>
              <a:gd name="connsiteY401" fmla="*/ 337773 h 549157"/>
              <a:gd name="connsiteX402" fmla="*/ 451634 w 1487868"/>
              <a:gd name="connsiteY402" fmla="*/ 336772 h 549157"/>
              <a:gd name="connsiteX403" fmla="*/ 453180 w 1487868"/>
              <a:gd name="connsiteY403" fmla="*/ 336772 h 549157"/>
              <a:gd name="connsiteX404" fmla="*/ 454714 w 1487868"/>
              <a:gd name="connsiteY404" fmla="*/ 336772 h 549157"/>
              <a:gd name="connsiteX405" fmla="*/ 456238 w 1487868"/>
              <a:gd name="connsiteY405" fmla="*/ 336772 h 549157"/>
              <a:gd name="connsiteX406" fmla="*/ 456238 w 1487868"/>
              <a:gd name="connsiteY406" fmla="*/ 335738 h 549157"/>
              <a:gd name="connsiteX407" fmla="*/ 457739 w 1487868"/>
              <a:gd name="connsiteY407" fmla="*/ 335738 h 549157"/>
              <a:gd name="connsiteX408" fmla="*/ 459274 w 1487868"/>
              <a:gd name="connsiteY408" fmla="*/ 335738 h 549157"/>
              <a:gd name="connsiteX409" fmla="*/ 459274 w 1487868"/>
              <a:gd name="connsiteY409" fmla="*/ 334704 h 549157"/>
              <a:gd name="connsiteX410" fmla="*/ 460808 w 1487868"/>
              <a:gd name="connsiteY410" fmla="*/ 334704 h 549157"/>
              <a:gd name="connsiteX411" fmla="*/ 462343 w 1487868"/>
              <a:gd name="connsiteY411" fmla="*/ 334704 h 549157"/>
              <a:gd name="connsiteX412" fmla="*/ 463878 w 1487868"/>
              <a:gd name="connsiteY412" fmla="*/ 334704 h 549157"/>
              <a:gd name="connsiteX413" fmla="*/ 463878 w 1487868"/>
              <a:gd name="connsiteY413" fmla="*/ 331590 h 549157"/>
              <a:gd name="connsiteX414" fmla="*/ 466947 w 1487868"/>
              <a:gd name="connsiteY414" fmla="*/ 331590 h 549157"/>
              <a:gd name="connsiteX415" fmla="*/ 466947 w 1487868"/>
              <a:gd name="connsiteY415" fmla="*/ 330566 h 549157"/>
              <a:gd name="connsiteX416" fmla="*/ 468481 w 1487868"/>
              <a:gd name="connsiteY416" fmla="*/ 330566 h 549157"/>
              <a:gd name="connsiteX417" fmla="*/ 468481 w 1487868"/>
              <a:gd name="connsiteY417" fmla="*/ 329521 h 549157"/>
              <a:gd name="connsiteX418" fmla="*/ 470016 w 1487868"/>
              <a:gd name="connsiteY418" fmla="*/ 329521 h 549157"/>
              <a:gd name="connsiteX419" fmla="*/ 471539 w 1487868"/>
              <a:gd name="connsiteY419" fmla="*/ 329521 h 549157"/>
              <a:gd name="connsiteX420" fmla="*/ 473085 w 1487868"/>
              <a:gd name="connsiteY420" fmla="*/ 329521 h 549157"/>
              <a:gd name="connsiteX421" fmla="*/ 473085 w 1487868"/>
              <a:gd name="connsiteY421" fmla="*/ 327452 h 549157"/>
              <a:gd name="connsiteX422" fmla="*/ 474586 w 1487868"/>
              <a:gd name="connsiteY422" fmla="*/ 327452 h 549157"/>
              <a:gd name="connsiteX423" fmla="*/ 474586 w 1487868"/>
              <a:gd name="connsiteY423" fmla="*/ 326418 h 549157"/>
              <a:gd name="connsiteX424" fmla="*/ 476110 w 1487868"/>
              <a:gd name="connsiteY424" fmla="*/ 326418 h 549157"/>
              <a:gd name="connsiteX425" fmla="*/ 476110 w 1487868"/>
              <a:gd name="connsiteY425" fmla="*/ 324316 h 549157"/>
              <a:gd name="connsiteX426" fmla="*/ 479190 w 1487868"/>
              <a:gd name="connsiteY426" fmla="*/ 324316 h 549157"/>
              <a:gd name="connsiteX427" fmla="*/ 480714 w 1487868"/>
              <a:gd name="connsiteY427" fmla="*/ 324316 h 549157"/>
              <a:gd name="connsiteX428" fmla="*/ 480714 w 1487868"/>
              <a:gd name="connsiteY428" fmla="*/ 322214 h 549157"/>
              <a:gd name="connsiteX429" fmla="*/ 482248 w 1487868"/>
              <a:gd name="connsiteY429" fmla="*/ 322214 h 549157"/>
              <a:gd name="connsiteX430" fmla="*/ 482248 w 1487868"/>
              <a:gd name="connsiteY430" fmla="*/ 317999 h 549157"/>
              <a:gd name="connsiteX431" fmla="*/ 483783 w 1487868"/>
              <a:gd name="connsiteY431" fmla="*/ 317999 h 549157"/>
              <a:gd name="connsiteX432" fmla="*/ 485328 w 1487868"/>
              <a:gd name="connsiteY432" fmla="*/ 317999 h 549157"/>
              <a:gd name="connsiteX433" fmla="*/ 488386 w 1487868"/>
              <a:gd name="connsiteY433" fmla="*/ 317999 h 549157"/>
              <a:gd name="connsiteX434" fmla="*/ 488386 w 1487868"/>
              <a:gd name="connsiteY434" fmla="*/ 315897 h 549157"/>
              <a:gd name="connsiteX435" fmla="*/ 489921 w 1487868"/>
              <a:gd name="connsiteY435" fmla="*/ 315897 h 549157"/>
              <a:gd name="connsiteX436" fmla="*/ 491456 w 1487868"/>
              <a:gd name="connsiteY436" fmla="*/ 315897 h 549157"/>
              <a:gd name="connsiteX437" fmla="*/ 491456 w 1487868"/>
              <a:gd name="connsiteY437" fmla="*/ 314829 h 549157"/>
              <a:gd name="connsiteX438" fmla="*/ 492957 w 1487868"/>
              <a:gd name="connsiteY438" fmla="*/ 314829 h 549157"/>
              <a:gd name="connsiteX439" fmla="*/ 492957 w 1487868"/>
              <a:gd name="connsiteY439" fmla="*/ 312727 h 549157"/>
              <a:gd name="connsiteX440" fmla="*/ 494491 w 1487868"/>
              <a:gd name="connsiteY440" fmla="*/ 312727 h 549157"/>
              <a:gd name="connsiteX441" fmla="*/ 494491 w 1487868"/>
              <a:gd name="connsiteY441" fmla="*/ 310580 h 549157"/>
              <a:gd name="connsiteX442" fmla="*/ 496015 w 1487868"/>
              <a:gd name="connsiteY442" fmla="*/ 310580 h 549157"/>
              <a:gd name="connsiteX443" fmla="*/ 496015 w 1487868"/>
              <a:gd name="connsiteY443" fmla="*/ 309513 h 549157"/>
              <a:gd name="connsiteX444" fmla="*/ 497549 w 1487868"/>
              <a:gd name="connsiteY444" fmla="*/ 309513 h 549157"/>
              <a:gd name="connsiteX445" fmla="*/ 497549 w 1487868"/>
              <a:gd name="connsiteY445" fmla="*/ 308412 h 549157"/>
              <a:gd name="connsiteX446" fmla="*/ 499095 w 1487868"/>
              <a:gd name="connsiteY446" fmla="*/ 308412 h 549157"/>
              <a:gd name="connsiteX447" fmla="*/ 499095 w 1487868"/>
              <a:gd name="connsiteY447" fmla="*/ 307344 h 549157"/>
              <a:gd name="connsiteX448" fmla="*/ 500630 w 1487868"/>
              <a:gd name="connsiteY448" fmla="*/ 307344 h 549157"/>
              <a:gd name="connsiteX449" fmla="*/ 502153 w 1487868"/>
              <a:gd name="connsiteY449" fmla="*/ 307344 h 549157"/>
              <a:gd name="connsiteX450" fmla="*/ 503688 w 1487868"/>
              <a:gd name="connsiteY450" fmla="*/ 307344 h 549157"/>
              <a:gd name="connsiteX451" fmla="*/ 503688 w 1487868"/>
              <a:gd name="connsiteY451" fmla="*/ 305197 h 549157"/>
              <a:gd name="connsiteX452" fmla="*/ 505233 w 1487868"/>
              <a:gd name="connsiteY452" fmla="*/ 305197 h 549157"/>
              <a:gd name="connsiteX453" fmla="*/ 506757 w 1487868"/>
              <a:gd name="connsiteY453" fmla="*/ 305197 h 549157"/>
              <a:gd name="connsiteX454" fmla="*/ 506757 w 1487868"/>
              <a:gd name="connsiteY454" fmla="*/ 304096 h 549157"/>
              <a:gd name="connsiteX455" fmla="*/ 509793 w 1487868"/>
              <a:gd name="connsiteY455" fmla="*/ 304096 h 549157"/>
              <a:gd name="connsiteX456" fmla="*/ 509793 w 1487868"/>
              <a:gd name="connsiteY456" fmla="*/ 301927 h 549157"/>
              <a:gd name="connsiteX457" fmla="*/ 511316 w 1487868"/>
              <a:gd name="connsiteY457" fmla="*/ 301927 h 549157"/>
              <a:gd name="connsiteX458" fmla="*/ 511316 w 1487868"/>
              <a:gd name="connsiteY458" fmla="*/ 299748 h 549157"/>
              <a:gd name="connsiteX459" fmla="*/ 512862 w 1487868"/>
              <a:gd name="connsiteY459" fmla="*/ 299748 h 549157"/>
              <a:gd name="connsiteX460" fmla="*/ 514396 w 1487868"/>
              <a:gd name="connsiteY460" fmla="*/ 299748 h 549157"/>
              <a:gd name="connsiteX461" fmla="*/ 514396 w 1487868"/>
              <a:gd name="connsiteY461" fmla="*/ 298646 h 549157"/>
              <a:gd name="connsiteX462" fmla="*/ 515931 w 1487868"/>
              <a:gd name="connsiteY462" fmla="*/ 298646 h 549157"/>
              <a:gd name="connsiteX463" fmla="*/ 517454 w 1487868"/>
              <a:gd name="connsiteY463" fmla="*/ 298646 h 549157"/>
              <a:gd name="connsiteX464" fmla="*/ 520535 w 1487868"/>
              <a:gd name="connsiteY464" fmla="*/ 298646 h 549157"/>
              <a:gd name="connsiteX465" fmla="*/ 520535 w 1487868"/>
              <a:gd name="connsiteY465" fmla="*/ 297534 h 549157"/>
              <a:gd name="connsiteX466" fmla="*/ 522058 w 1487868"/>
              <a:gd name="connsiteY466" fmla="*/ 297534 h 549157"/>
              <a:gd name="connsiteX467" fmla="*/ 522058 w 1487868"/>
              <a:gd name="connsiteY467" fmla="*/ 294231 h 549157"/>
              <a:gd name="connsiteX468" fmla="*/ 523593 w 1487868"/>
              <a:gd name="connsiteY468" fmla="*/ 294231 h 549157"/>
              <a:gd name="connsiteX469" fmla="*/ 525139 w 1487868"/>
              <a:gd name="connsiteY469" fmla="*/ 294231 h 549157"/>
              <a:gd name="connsiteX470" fmla="*/ 526662 w 1487868"/>
              <a:gd name="connsiteY470" fmla="*/ 294231 h 549157"/>
              <a:gd name="connsiteX471" fmla="*/ 528163 w 1487868"/>
              <a:gd name="connsiteY471" fmla="*/ 294231 h 549157"/>
              <a:gd name="connsiteX472" fmla="*/ 531232 w 1487868"/>
              <a:gd name="connsiteY472" fmla="*/ 294231 h 549157"/>
              <a:gd name="connsiteX473" fmla="*/ 531232 w 1487868"/>
              <a:gd name="connsiteY473" fmla="*/ 293086 h 549157"/>
              <a:gd name="connsiteX474" fmla="*/ 532767 w 1487868"/>
              <a:gd name="connsiteY474" fmla="*/ 293086 h 549157"/>
              <a:gd name="connsiteX475" fmla="*/ 534302 w 1487868"/>
              <a:gd name="connsiteY475" fmla="*/ 293086 h 549157"/>
              <a:gd name="connsiteX476" fmla="*/ 535836 w 1487868"/>
              <a:gd name="connsiteY476" fmla="*/ 293086 h 549157"/>
              <a:gd name="connsiteX477" fmla="*/ 537371 w 1487868"/>
              <a:gd name="connsiteY477" fmla="*/ 293086 h 549157"/>
              <a:gd name="connsiteX478" fmla="*/ 537371 w 1487868"/>
              <a:gd name="connsiteY478" fmla="*/ 291951 h 549157"/>
              <a:gd name="connsiteX479" fmla="*/ 538905 w 1487868"/>
              <a:gd name="connsiteY479" fmla="*/ 291951 h 549157"/>
              <a:gd name="connsiteX480" fmla="*/ 540440 w 1487868"/>
              <a:gd name="connsiteY480" fmla="*/ 291951 h 549157"/>
              <a:gd name="connsiteX481" fmla="*/ 540440 w 1487868"/>
              <a:gd name="connsiteY481" fmla="*/ 290805 h 549157"/>
              <a:gd name="connsiteX482" fmla="*/ 541963 w 1487868"/>
              <a:gd name="connsiteY482" fmla="*/ 290805 h 549157"/>
              <a:gd name="connsiteX483" fmla="*/ 543509 w 1487868"/>
              <a:gd name="connsiteY483" fmla="*/ 290805 h 549157"/>
              <a:gd name="connsiteX484" fmla="*/ 545044 w 1487868"/>
              <a:gd name="connsiteY484" fmla="*/ 290805 h 549157"/>
              <a:gd name="connsiteX485" fmla="*/ 546534 w 1487868"/>
              <a:gd name="connsiteY485" fmla="*/ 290805 h 549157"/>
              <a:gd name="connsiteX486" fmla="*/ 546534 w 1487868"/>
              <a:gd name="connsiteY486" fmla="*/ 289671 h 549157"/>
              <a:gd name="connsiteX487" fmla="*/ 548068 w 1487868"/>
              <a:gd name="connsiteY487" fmla="*/ 289671 h 549157"/>
              <a:gd name="connsiteX488" fmla="*/ 548068 w 1487868"/>
              <a:gd name="connsiteY488" fmla="*/ 288492 h 549157"/>
              <a:gd name="connsiteX489" fmla="*/ 549603 w 1487868"/>
              <a:gd name="connsiteY489" fmla="*/ 288492 h 549157"/>
              <a:gd name="connsiteX490" fmla="*/ 549603 w 1487868"/>
              <a:gd name="connsiteY490" fmla="*/ 287358 h 549157"/>
              <a:gd name="connsiteX491" fmla="*/ 554206 w 1487868"/>
              <a:gd name="connsiteY491" fmla="*/ 287358 h 549157"/>
              <a:gd name="connsiteX492" fmla="*/ 554206 w 1487868"/>
              <a:gd name="connsiteY492" fmla="*/ 285011 h 549157"/>
              <a:gd name="connsiteX493" fmla="*/ 555741 w 1487868"/>
              <a:gd name="connsiteY493" fmla="*/ 285011 h 549157"/>
              <a:gd name="connsiteX494" fmla="*/ 555741 w 1487868"/>
              <a:gd name="connsiteY494" fmla="*/ 283843 h 549157"/>
              <a:gd name="connsiteX495" fmla="*/ 557276 w 1487868"/>
              <a:gd name="connsiteY495" fmla="*/ 283843 h 549157"/>
              <a:gd name="connsiteX496" fmla="*/ 558810 w 1487868"/>
              <a:gd name="connsiteY496" fmla="*/ 283843 h 549157"/>
              <a:gd name="connsiteX497" fmla="*/ 558810 w 1487868"/>
              <a:gd name="connsiteY497" fmla="*/ 282675 h 549157"/>
              <a:gd name="connsiteX498" fmla="*/ 560345 w 1487868"/>
              <a:gd name="connsiteY498" fmla="*/ 282675 h 549157"/>
              <a:gd name="connsiteX499" fmla="*/ 564915 w 1487868"/>
              <a:gd name="connsiteY499" fmla="*/ 282675 h 549157"/>
              <a:gd name="connsiteX500" fmla="*/ 564915 w 1487868"/>
              <a:gd name="connsiteY500" fmla="*/ 281496 h 549157"/>
              <a:gd name="connsiteX501" fmla="*/ 566439 w 1487868"/>
              <a:gd name="connsiteY501" fmla="*/ 281496 h 549157"/>
              <a:gd name="connsiteX502" fmla="*/ 567973 w 1487868"/>
              <a:gd name="connsiteY502" fmla="*/ 281496 h 549157"/>
              <a:gd name="connsiteX503" fmla="*/ 567973 w 1487868"/>
              <a:gd name="connsiteY503" fmla="*/ 277937 h 549157"/>
              <a:gd name="connsiteX504" fmla="*/ 569508 w 1487868"/>
              <a:gd name="connsiteY504" fmla="*/ 277937 h 549157"/>
              <a:gd name="connsiteX505" fmla="*/ 571054 w 1487868"/>
              <a:gd name="connsiteY505" fmla="*/ 277937 h 549157"/>
              <a:gd name="connsiteX506" fmla="*/ 571054 w 1487868"/>
              <a:gd name="connsiteY506" fmla="*/ 276736 h 549157"/>
              <a:gd name="connsiteX507" fmla="*/ 575646 w 1487868"/>
              <a:gd name="connsiteY507" fmla="*/ 276736 h 549157"/>
              <a:gd name="connsiteX508" fmla="*/ 577181 w 1487868"/>
              <a:gd name="connsiteY508" fmla="*/ 276736 h 549157"/>
              <a:gd name="connsiteX509" fmla="*/ 577181 w 1487868"/>
              <a:gd name="connsiteY509" fmla="*/ 273144 h 549157"/>
              <a:gd name="connsiteX510" fmla="*/ 578715 w 1487868"/>
              <a:gd name="connsiteY510" fmla="*/ 273144 h 549157"/>
              <a:gd name="connsiteX511" fmla="*/ 580250 w 1487868"/>
              <a:gd name="connsiteY511" fmla="*/ 273144 h 549157"/>
              <a:gd name="connsiteX512" fmla="*/ 580250 w 1487868"/>
              <a:gd name="connsiteY512" fmla="*/ 270730 h 549157"/>
              <a:gd name="connsiteX513" fmla="*/ 581740 w 1487868"/>
              <a:gd name="connsiteY513" fmla="*/ 270730 h 549157"/>
              <a:gd name="connsiteX514" fmla="*/ 583286 w 1487868"/>
              <a:gd name="connsiteY514" fmla="*/ 270730 h 549157"/>
              <a:gd name="connsiteX515" fmla="*/ 583286 w 1487868"/>
              <a:gd name="connsiteY515" fmla="*/ 269485 h 549157"/>
              <a:gd name="connsiteX516" fmla="*/ 584821 w 1487868"/>
              <a:gd name="connsiteY516" fmla="*/ 269485 h 549157"/>
              <a:gd name="connsiteX517" fmla="*/ 584821 w 1487868"/>
              <a:gd name="connsiteY517" fmla="*/ 268284 h 549157"/>
              <a:gd name="connsiteX518" fmla="*/ 586355 w 1487868"/>
              <a:gd name="connsiteY518" fmla="*/ 268284 h 549157"/>
              <a:gd name="connsiteX519" fmla="*/ 587878 w 1487868"/>
              <a:gd name="connsiteY519" fmla="*/ 268284 h 549157"/>
              <a:gd name="connsiteX520" fmla="*/ 589424 w 1487868"/>
              <a:gd name="connsiteY520" fmla="*/ 268284 h 549157"/>
              <a:gd name="connsiteX521" fmla="*/ 590959 w 1487868"/>
              <a:gd name="connsiteY521" fmla="*/ 268284 h 549157"/>
              <a:gd name="connsiteX522" fmla="*/ 592482 w 1487868"/>
              <a:gd name="connsiteY522" fmla="*/ 268284 h 549157"/>
              <a:gd name="connsiteX523" fmla="*/ 592482 w 1487868"/>
              <a:gd name="connsiteY523" fmla="*/ 265792 h 549157"/>
              <a:gd name="connsiteX524" fmla="*/ 594017 w 1487868"/>
              <a:gd name="connsiteY524" fmla="*/ 265792 h 549157"/>
              <a:gd name="connsiteX525" fmla="*/ 594017 w 1487868"/>
              <a:gd name="connsiteY525" fmla="*/ 263312 h 549157"/>
              <a:gd name="connsiteX526" fmla="*/ 595563 w 1487868"/>
              <a:gd name="connsiteY526" fmla="*/ 263312 h 549157"/>
              <a:gd name="connsiteX527" fmla="*/ 595563 w 1487868"/>
              <a:gd name="connsiteY527" fmla="*/ 262066 h 549157"/>
              <a:gd name="connsiteX528" fmla="*/ 597086 w 1487868"/>
              <a:gd name="connsiteY528" fmla="*/ 262066 h 549157"/>
              <a:gd name="connsiteX529" fmla="*/ 598587 w 1487868"/>
              <a:gd name="connsiteY529" fmla="*/ 262066 h 549157"/>
              <a:gd name="connsiteX530" fmla="*/ 600122 w 1487868"/>
              <a:gd name="connsiteY530" fmla="*/ 262066 h 549157"/>
              <a:gd name="connsiteX531" fmla="*/ 600122 w 1487868"/>
              <a:gd name="connsiteY531" fmla="*/ 260787 h 549157"/>
              <a:gd name="connsiteX532" fmla="*/ 601645 w 1487868"/>
              <a:gd name="connsiteY532" fmla="*/ 260787 h 549157"/>
              <a:gd name="connsiteX533" fmla="*/ 601645 w 1487868"/>
              <a:gd name="connsiteY533" fmla="*/ 259542 h 549157"/>
              <a:gd name="connsiteX534" fmla="*/ 603191 w 1487868"/>
              <a:gd name="connsiteY534" fmla="*/ 259542 h 549157"/>
              <a:gd name="connsiteX535" fmla="*/ 606260 w 1487868"/>
              <a:gd name="connsiteY535" fmla="*/ 259542 h 549157"/>
              <a:gd name="connsiteX536" fmla="*/ 606260 w 1487868"/>
              <a:gd name="connsiteY536" fmla="*/ 258274 h 549157"/>
              <a:gd name="connsiteX537" fmla="*/ 607784 w 1487868"/>
              <a:gd name="connsiteY537" fmla="*/ 258274 h 549157"/>
              <a:gd name="connsiteX538" fmla="*/ 607784 w 1487868"/>
              <a:gd name="connsiteY538" fmla="*/ 256995 h 549157"/>
              <a:gd name="connsiteX539" fmla="*/ 609329 w 1487868"/>
              <a:gd name="connsiteY539" fmla="*/ 256995 h 549157"/>
              <a:gd name="connsiteX540" fmla="*/ 610864 w 1487868"/>
              <a:gd name="connsiteY540" fmla="*/ 256995 h 549157"/>
              <a:gd name="connsiteX541" fmla="*/ 612387 w 1487868"/>
              <a:gd name="connsiteY541" fmla="*/ 256995 h 549157"/>
              <a:gd name="connsiteX542" fmla="*/ 613922 w 1487868"/>
              <a:gd name="connsiteY542" fmla="*/ 256995 h 549157"/>
              <a:gd name="connsiteX543" fmla="*/ 613922 w 1487868"/>
              <a:gd name="connsiteY543" fmla="*/ 255716 h 549157"/>
              <a:gd name="connsiteX544" fmla="*/ 615467 w 1487868"/>
              <a:gd name="connsiteY544" fmla="*/ 255716 h 549157"/>
              <a:gd name="connsiteX545" fmla="*/ 615467 w 1487868"/>
              <a:gd name="connsiteY545" fmla="*/ 254414 h 549157"/>
              <a:gd name="connsiteX546" fmla="*/ 618492 w 1487868"/>
              <a:gd name="connsiteY546" fmla="*/ 254414 h 549157"/>
              <a:gd name="connsiteX547" fmla="*/ 620027 w 1487868"/>
              <a:gd name="connsiteY547" fmla="*/ 254414 h 549157"/>
              <a:gd name="connsiteX548" fmla="*/ 621561 w 1487868"/>
              <a:gd name="connsiteY548" fmla="*/ 254414 h 549157"/>
              <a:gd name="connsiteX549" fmla="*/ 623096 w 1487868"/>
              <a:gd name="connsiteY549" fmla="*/ 254414 h 549157"/>
              <a:gd name="connsiteX550" fmla="*/ 623096 w 1487868"/>
              <a:gd name="connsiteY550" fmla="*/ 253091 h 549157"/>
              <a:gd name="connsiteX551" fmla="*/ 624631 w 1487868"/>
              <a:gd name="connsiteY551" fmla="*/ 253091 h 549157"/>
              <a:gd name="connsiteX552" fmla="*/ 624631 w 1487868"/>
              <a:gd name="connsiteY552" fmla="*/ 251790 h 549157"/>
              <a:gd name="connsiteX553" fmla="*/ 626165 w 1487868"/>
              <a:gd name="connsiteY553" fmla="*/ 251790 h 549157"/>
              <a:gd name="connsiteX554" fmla="*/ 626165 w 1487868"/>
              <a:gd name="connsiteY554" fmla="*/ 250477 h 549157"/>
              <a:gd name="connsiteX555" fmla="*/ 627689 w 1487868"/>
              <a:gd name="connsiteY555" fmla="*/ 250477 h 549157"/>
              <a:gd name="connsiteX556" fmla="*/ 627689 w 1487868"/>
              <a:gd name="connsiteY556" fmla="*/ 249165 h 549157"/>
              <a:gd name="connsiteX557" fmla="*/ 629234 w 1487868"/>
              <a:gd name="connsiteY557" fmla="*/ 249165 h 549157"/>
              <a:gd name="connsiteX558" fmla="*/ 629234 w 1487868"/>
              <a:gd name="connsiteY558" fmla="*/ 247819 h 549157"/>
              <a:gd name="connsiteX559" fmla="*/ 630769 w 1487868"/>
              <a:gd name="connsiteY559" fmla="*/ 247819 h 549157"/>
              <a:gd name="connsiteX560" fmla="*/ 632292 w 1487868"/>
              <a:gd name="connsiteY560" fmla="*/ 247819 h 549157"/>
              <a:gd name="connsiteX561" fmla="*/ 633794 w 1487868"/>
              <a:gd name="connsiteY561" fmla="*/ 247819 h 549157"/>
              <a:gd name="connsiteX562" fmla="*/ 633794 w 1487868"/>
              <a:gd name="connsiteY562" fmla="*/ 246507 h 549157"/>
              <a:gd name="connsiteX563" fmla="*/ 635339 w 1487868"/>
              <a:gd name="connsiteY563" fmla="*/ 246507 h 549157"/>
              <a:gd name="connsiteX564" fmla="*/ 638397 w 1487868"/>
              <a:gd name="connsiteY564" fmla="*/ 246507 h 549157"/>
              <a:gd name="connsiteX565" fmla="*/ 638397 w 1487868"/>
              <a:gd name="connsiteY565" fmla="*/ 243815 h 549157"/>
              <a:gd name="connsiteX566" fmla="*/ 639932 w 1487868"/>
              <a:gd name="connsiteY566" fmla="*/ 243815 h 549157"/>
              <a:gd name="connsiteX567" fmla="*/ 641478 w 1487868"/>
              <a:gd name="connsiteY567" fmla="*/ 243815 h 549157"/>
              <a:gd name="connsiteX568" fmla="*/ 643001 w 1487868"/>
              <a:gd name="connsiteY568" fmla="*/ 243815 h 549157"/>
              <a:gd name="connsiteX569" fmla="*/ 644536 w 1487868"/>
              <a:gd name="connsiteY569" fmla="*/ 243815 h 549157"/>
              <a:gd name="connsiteX570" fmla="*/ 646070 w 1487868"/>
              <a:gd name="connsiteY570" fmla="*/ 243815 h 549157"/>
              <a:gd name="connsiteX571" fmla="*/ 649139 w 1487868"/>
              <a:gd name="connsiteY571" fmla="*/ 243815 h 549157"/>
              <a:gd name="connsiteX572" fmla="*/ 649139 w 1487868"/>
              <a:gd name="connsiteY572" fmla="*/ 242470 h 549157"/>
              <a:gd name="connsiteX573" fmla="*/ 650674 w 1487868"/>
              <a:gd name="connsiteY573" fmla="*/ 242470 h 549157"/>
              <a:gd name="connsiteX574" fmla="*/ 652164 w 1487868"/>
              <a:gd name="connsiteY574" fmla="*/ 242470 h 549157"/>
              <a:gd name="connsiteX575" fmla="*/ 653699 w 1487868"/>
              <a:gd name="connsiteY575" fmla="*/ 242470 h 549157"/>
              <a:gd name="connsiteX576" fmla="*/ 655244 w 1487868"/>
              <a:gd name="connsiteY576" fmla="*/ 242470 h 549157"/>
              <a:gd name="connsiteX577" fmla="*/ 656779 w 1487868"/>
              <a:gd name="connsiteY577" fmla="*/ 242470 h 549157"/>
              <a:gd name="connsiteX578" fmla="*/ 658303 w 1487868"/>
              <a:gd name="connsiteY578" fmla="*/ 242470 h 549157"/>
              <a:gd name="connsiteX579" fmla="*/ 658303 w 1487868"/>
              <a:gd name="connsiteY579" fmla="*/ 241090 h 549157"/>
              <a:gd name="connsiteX580" fmla="*/ 661383 w 1487868"/>
              <a:gd name="connsiteY580" fmla="*/ 241090 h 549157"/>
              <a:gd name="connsiteX581" fmla="*/ 661383 w 1487868"/>
              <a:gd name="connsiteY581" fmla="*/ 239711 h 549157"/>
              <a:gd name="connsiteX582" fmla="*/ 662906 w 1487868"/>
              <a:gd name="connsiteY582" fmla="*/ 239711 h 549157"/>
              <a:gd name="connsiteX583" fmla="*/ 662906 w 1487868"/>
              <a:gd name="connsiteY583" fmla="*/ 238332 h 549157"/>
              <a:gd name="connsiteX584" fmla="*/ 664441 w 1487868"/>
              <a:gd name="connsiteY584" fmla="*/ 238332 h 549157"/>
              <a:gd name="connsiteX585" fmla="*/ 664441 w 1487868"/>
              <a:gd name="connsiteY585" fmla="*/ 236953 h 549157"/>
              <a:gd name="connsiteX586" fmla="*/ 665975 w 1487868"/>
              <a:gd name="connsiteY586" fmla="*/ 236953 h 549157"/>
              <a:gd name="connsiteX587" fmla="*/ 667510 w 1487868"/>
              <a:gd name="connsiteY587" fmla="*/ 236953 h 549157"/>
              <a:gd name="connsiteX588" fmla="*/ 672080 w 1487868"/>
              <a:gd name="connsiteY588" fmla="*/ 236953 h 549157"/>
              <a:gd name="connsiteX589" fmla="*/ 672080 w 1487868"/>
              <a:gd name="connsiteY589" fmla="*/ 235529 h 549157"/>
              <a:gd name="connsiteX590" fmla="*/ 673604 w 1487868"/>
              <a:gd name="connsiteY590" fmla="*/ 235529 h 549157"/>
              <a:gd name="connsiteX591" fmla="*/ 675149 w 1487868"/>
              <a:gd name="connsiteY591" fmla="*/ 235529 h 549157"/>
              <a:gd name="connsiteX592" fmla="*/ 676684 w 1487868"/>
              <a:gd name="connsiteY592" fmla="*/ 235529 h 549157"/>
              <a:gd name="connsiteX593" fmla="*/ 678207 w 1487868"/>
              <a:gd name="connsiteY593" fmla="*/ 235529 h 549157"/>
              <a:gd name="connsiteX594" fmla="*/ 681288 w 1487868"/>
              <a:gd name="connsiteY594" fmla="*/ 235529 h 549157"/>
              <a:gd name="connsiteX595" fmla="*/ 681288 w 1487868"/>
              <a:gd name="connsiteY595" fmla="*/ 234117 h 549157"/>
              <a:gd name="connsiteX596" fmla="*/ 684346 w 1487868"/>
              <a:gd name="connsiteY596" fmla="*/ 234117 h 549157"/>
              <a:gd name="connsiteX597" fmla="*/ 685880 w 1487868"/>
              <a:gd name="connsiteY597" fmla="*/ 234117 h 549157"/>
              <a:gd name="connsiteX598" fmla="*/ 687370 w 1487868"/>
              <a:gd name="connsiteY598" fmla="*/ 234117 h 549157"/>
              <a:gd name="connsiteX599" fmla="*/ 687370 w 1487868"/>
              <a:gd name="connsiteY599" fmla="*/ 232671 h 549157"/>
              <a:gd name="connsiteX600" fmla="*/ 688916 w 1487868"/>
              <a:gd name="connsiteY600" fmla="*/ 232671 h 549157"/>
              <a:gd name="connsiteX601" fmla="*/ 690451 w 1487868"/>
              <a:gd name="connsiteY601" fmla="*/ 232671 h 549157"/>
              <a:gd name="connsiteX602" fmla="*/ 690451 w 1487868"/>
              <a:gd name="connsiteY602" fmla="*/ 231259 h 549157"/>
              <a:gd name="connsiteX603" fmla="*/ 691985 w 1487868"/>
              <a:gd name="connsiteY603" fmla="*/ 231259 h 549157"/>
              <a:gd name="connsiteX604" fmla="*/ 691985 w 1487868"/>
              <a:gd name="connsiteY604" fmla="*/ 229802 h 549157"/>
              <a:gd name="connsiteX605" fmla="*/ 693520 w 1487868"/>
              <a:gd name="connsiteY605" fmla="*/ 229802 h 549157"/>
              <a:gd name="connsiteX606" fmla="*/ 695055 w 1487868"/>
              <a:gd name="connsiteY606" fmla="*/ 229802 h 549157"/>
              <a:gd name="connsiteX607" fmla="*/ 696589 w 1487868"/>
              <a:gd name="connsiteY607" fmla="*/ 229802 h 549157"/>
              <a:gd name="connsiteX608" fmla="*/ 698113 w 1487868"/>
              <a:gd name="connsiteY608" fmla="*/ 229802 h 549157"/>
              <a:gd name="connsiteX609" fmla="*/ 699658 w 1487868"/>
              <a:gd name="connsiteY609" fmla="*/ 229802 h 549157"/>
              <a:gd name="connsiteX610" fmla="*/ 699658 w 1487868"/>
              <a:gd name="connsiteY610" fmla="*/ 226865 h 549157"/>
              <a:gd name="connsiteX611" fmla="*/ 704251 w 1487868"/>
              <a:gd name="connsiteY611" fmla="*/ 226865 h 549157"/>
              <a:gd name="connsiteX612" fmla="*/ 705752 w 1487868"/>
              <a:gd name="connsiteY612" fmla="*/ 226865 h 549157"/>
              <a:gd name="connsiteX613" fmla="*/ 707287 w 1487868"/>
              <a:gd name="connsiteY613" fmla="*/ 226865 h 549157"/>
              <a:gd name="connsiteX614" fmla="*/ 707287 w 1487868"/>
              <a:gd name="connsiteY614" fmla="*/ 225420 h 549157"/>
              <a:gd name="connsiteX615" fmla="*/ 708821 w 1487868"/>
              <a:gd name="connsiteY615" fmla="*/ 225420 h 549157"/>
              <a:gd name="connsiteX616" fmla="*/ 710356 w 1487868"/>
              <a:gd name="connsiteY616" fmla="*/ 225420 h 549157"/>
              <a:gd name="connsiteX617" fmla="*/ 711891 w 1487868"/>
              <a:gd name="connsiteY617" fmla="*/ 225420 h 549157"/>
              <a:gd name="connsiteX618" fmla="*/ 711891 w 1487868"/>
              <a:gd name="connsiteY618" fmla="*/ 223940 h 549157"/>
              <a:gd name="connsiteX619" fmla="*/ 713425 w 1487868"/>
              <a:gd name="connsiteY619" fmla="*/ 223940 h 549157"/>
              <a:gd name="connsiteX620" fmla="*/ 713425 w 1487868"/>
              <a:gd name="connsiteY620" fmla="*/ 222450 h 549157"/>
              <a:gd name="connsiteX621" fmla="*/ 714960 w 1487868"/>
              <a:gd name="connsiteY621" fmla="*/ 222450 h 549157"/>
              <a:gd name="connsiteX622" fmla="*/ 716494 w 1487868"/>
              <a:gd name="connsiteY622" fmla="*/ 222450 h 549157"/>
              <a:gd name="connsiteX623" fmla="*/ 718018 w 1487868"/>
              <a:gd name="connsiteY623" fmla="*/ 222450 h 549157"/>
              <a:gd name="connsiteX624" fmla="*/ 719564 w 1487868"/>
              <a:gd name="connsiteY624" fmla="*/ 222450 h 549157"/>
              <a:gd name="connsiteX625" fmla="*/ 719564 w 1487868"/>
              <a:gd name="connsiteY625" fmla="*/ 220971 h 549157"/>
              <a:gd name="connsiteX626" fmla="*/ 721098 w 1487868"/>
              <a:gd name="connsiteY626" fmla="*/ 220971 h 549157"/>
              <a:gd name="connsiteX627" fmla="*/ 722588 w 1487868"/>
              <a:gd name="connsiteY627" fmla="*/ 220971 h 549157"/>
              <a:gd name="connsiteX628" fmla="*/ 722588 w 1487868"/>
              <a:gd name="connsiteY628" fmla="*/ 219480 h 549157"/>
              <a:gd name="connsiteX629" fmla="*/ 724123 w 1487868"/>
              <a:gd name="connsiteY629" fmla="*/ 219480 h 549157"/>
              <a:gd name="connsiteX630" fmla="*/ 724123 w 1487868"/>
              <a:gd name="connsiteY630" fmla="*/ 217968 h 549157"/>
              <a:gd name="connsiteX631" fmla="*/ 725657 w 1487868"/>
              <a:gd name="connsiteY631" fmla="*/ 217968 h 549157"/>
              <a:gd name="connsiteX632" fmla="*/ 725657 w 1487868"/>
              <a:gd name="connsiteY632" fmla="*/ 216489 h 549157"/>
              <a:gd name="connsiteX633" fmla="*/ 727203 w 1487868"/>
              <a:gd name="connsiteY633" fmla="*/ 216489 h 549157"/>
              <a:gd name="connsiteX634" fmla="*/ 728726 w 1487868"/>
              <a:gd name="connsiteY634" fmla="*/ 216489 h 549157"/>
              <a:gd name="connsiteX635" fmla="*/ 730261 w 1487868"/>
              <a:gd name="connsiteY635" fmla="*/ 216489 h 549157"/>
              <a:gd name="connsiteX636" fmla="*/ 731795 w 1487868"/>
              <a:gd name="connsiteY636" fmla="*/ 216489 h 549157"/>
              <a:gd name="connsiteX637" fmla="*/ 731795 w 1487868"/>
              <a:gd name="connsiteY637" fmla="*/ 214932 h 549157"/>
              <a:gd name="connsiteX638" fmla="*/ 733330 w 1487868"/>
              <a:gd name="connsiteY638" fmla="*/ 214932 h 549157"/>
              <a:gd name="connsiteX639" fmla="*/ 734865 w 1487868"/>
              <a:gd name="connsiteY639" fmla="*/ 214932 h 549157"/>
              <a:gd name="connsiteX640" fmla="*/ 734865 w 1487868"/>
              <a:gd name="connsiteY640" fmla="*/ 213419 h 549157"/>
              <a:gd name="connsiteX641" fmla="*/ 736399 w 1487868"/>
              <a:gd name="connsiteY641" fmla="*/ 213419 h 549157"/>
              <a:gd name="connsiteX642" fmla="*/ 737923 w 1487868"/>
              <a:gd name="connsiteY642" fmla="*/ 213419 h 549157"/>
              <a:gd name="connsiteX643" fmla="*/ 739468 w 1487868"/>
              <a:gd name="connsiteY643" fmla="*/ 213419 h 549157"/>
              <a:gd name="connsiteX644" fmla="*/ 739468 w 1487868"/>
              <a:gd name="connsiteY644" fmla="*/ 211862 h 549157"/>
              <a:gd name="connsiteX645" fmla="*/ 740970 w 1487868"/>
              <a:gd name="connsiteY645" fmla="*/ 211862 h 549157"/>
              <a:gd name="connsiteX646" fmla="*/ 740970 w 1487868"/>
              <a:gd name="connsiteY646" fmla="*/ 208792 h 549157"/>
              <a:gd name="connsiteX647" fmla="*/ 742504 w 1487868"/>
              <a:gd name="connsiteY647" fmla="*/ 208792 h 549157"/>
              <a:gd name="connsiteX648" fmla="*/ 744028 w 1487868"/>
              <a:gd name="connsiteY648" fmla="*/ 208792 h 549157"/>
              <a:gd name="connsiteX649" fmla="*/ 744028 w 1487868"/>
              <a:gd name="connsiteY649" fmla="*/ 207235 h 549157"/>
              <a:gd name="connsiteX650" fmla="*/ 747108 w 1487868"/>
              <a:gd name="connsiteY650" fmla="*/ 207235 h 549157"/>
              <a:gd name="connsiteX651" fmla="*/ 748631 w 1487868"/>
              <a:gd name="connsiteY651" fmla="*/ 207235 h 549157"/>
              <a:gd name="connsiteX652" fmla="*/ 750166 w 1487868"/>
              <a:gd name="connsiteY652" fmla="*/ 207235 h 549157"/>
              <a:gd name="connsiteX653" fmla="*/ 750166 w 1487868"/>
              <a:gd name="connsiteY653" fmla="*/ 205689 h 549157"/>
              <a:gd name="connsiteX654" fmla="*/ 751712 w 1487868"/>
              <a:gd name="connsiteY654" fmla="*/ 205689 h 549157"/>
              <a:gd name="connsiteX655" fmla="*/ 751712 w 1487868"/>
              <a:gd name="connsiteY655" fmla="*/ 204099 h 549157"/>
              <a:gd name="connsiteX656" fmla="*/ 753235 w 1487868"/>
              <a:gd name="connsiteY656" fmla="*/ 204099 h 549157"/>
              <a:gd name="connsiteX657" fmla="*/ 757795 w 1487868"/>
              <a:gd name="connsiteY657" fmla="*/ 204099 h 549157"/>
              <a:gd name="connsiteX658" fmla="*/ 757795 w 1487868"/>
              <a:gd name="connsiteY658" fmla="*/ 202542 h 549157"/>
              <a:gd name="connsiteX659" fmla="*/ 759340 w 1487868"/>
              <a:gd name="connsiteY659" fmla="*/ 202542 h 549157"/>
              <a:gd name="connsiteX660" fmla="*/ 759340 w 1487868"/>
              <a:gd name="connsiteY660" fmla="*/ 200951 h 549157"/>
              <a:gd name="connsiteX661" fmla="*/ 760875 w 1487868"/>
              <a:gd name="connsiteY661" fmla="*/ 200951 h 549157"/>
              <a:gd name="connsiteX662" fmla="*/ 762410 w 1487868"/>
              <a:gd name="connsiteY662" fmla="*/ 200951 h 549157"/>
              <a:gd name="connsiteX663" fmla="*/ 763933 w 1487868"/>
              <a:gd name="connsiteY663" fmla="*/ 200951 h 549157"/>
              <a:gd name="connsiteX664" fmla="*/ 765479 w 1487868"/>
              <a:gd name="connsiteY664" fmla="*/ 200951 h 549157"/>
              <a:gd name="connsiteX665" fmla="*/ 765479 w 1487868"/>
              <a:gd name="connsiteY665" fmla="*/ 196158 h 549157"/>
              <a:gd name="connsiteX666" fmla="*/ 768537 w 1487868"/>
              <a:gd name="connsiteY666" fmla="*/ 196158 h 549157"/>
              <a:gd name="connsiteX667" fmla="*/ 770071 w 1487868"/>
              <a:gd name="connsiteY667" fmla="*/ 196158 h 549157"/>
              <a:gd name="connsiteX668" fmla="*/ 771617 w 1487868"/>
              <a:gd name="connsiteY668" fmla="*/ 196158 h 549157"/>
              <a:gd name="connsiteX669" fmla="*/ 773140 w 1487868"/>
              <a:gd name="connsiteY669" fmla="*/ 196158 h 549157"/>
              <a:gd name="connsiteX670" fmla="*/ 774675 w 1487868"/>
              <a:gd name="connsiteY670" fmla="*/ 196158 h 549157"/>
              <a:gd name="connsiteX671" fmla="*/ 779245 w 1487868"/>
              <a:gd name="connsiteY671" fmla="*/ 196158 h 549157"/>
              <a:gd name="connsiteX672" fmla="*/ 780780 w 1487868"/>
              <a:gd name="connsiteY672" fmla="*/ 196158 h 549157"/>
              <a:gd name="connsiteX673" fmla="*/ 780780 w 1487868"/>
              <a:gd name="connsiteY673" fmla="*/ 194545 h 549157"/>
              <a:gd name="connsiteX674" fmla="*/ 782314 w 1487868"/>
              <a:gd name="connsiteY674" fmla="*/ 194545 h 549157"/>
              <a:gd name="connsiteX675" fmla="*/ 783838 w 1487868"/>
              <a:gd name="connsiteY675" fmla="*/ 194545 h 549157"/>
              <a:gd name="connsiteX676" fmla="*/ 785384 w 1487868"/>
              <a:gd name="connsiteY676" fmla="*/ 194545 h 549157"/>
              <a:gd name="connsiteX677" fmla="*/ 789976 w 1487868"/>
              <a:gd name="connsiteY677" fmla="*/ 194545 h 549157"/>
              <a:gd name="connsiteX678" fmla="*/ 791522 w 1487868"/>
              <a:gd name="connsiteY678" fmla="*/ 194545 h 549157"/>
              <a:gd name="connsiteX679" fmla="*/ 793046 w 1487868"/>
              <a:gd name="connsiteY679" fmla="*/ 194545 h 549157"/>
              <a:gd name="connsiteX680" fmla="*/ 794547 w 1487868"/>
              <a:gd name="connsiteY680" fmla="*/ 194545 h 549157"/>
              <a:gd name="connsiteX681" fmla="*/ 796081 w 1487868"/>
              <a:gd name="connsiteY681" fmla="*/ 194545 h 549157"/>
              <a:gd name="connsiteX682" fmla="*/ 800685 w 1487868"/>
              <a:gd name="connsiteY682" fmla="*/ 194545 h 549157"/>
              <a:gd name="connsiteX683" fmla="*/ 802220 w 1487868"/>
              <a:gd name="connsiteY683" fmla="*/ 194545 h 549157"/>
              <a:gd name="connsiteX684" fmla="*/ 803754 w 1487868"/>
              <a:gd name="connsiteY684" fmla="*/ 194545 h 549157"/>
              <a:gd name="connsiteX685" fmla="*/ 805289 w 1487868"/>
              <a:gd name="connsiteY685" fmla="*/ 194545 h 549157"/>
              <a:gd name="connsiteX686" fmla="*/ 805289 w 1487868"/>
              <a:gd name="connsiteY686" fmla="*/ 192888 h 549157"/>
              <a:gd name="connsiteX687" fmla="*/ 806823 w 1487868"/>
              <a:gd name="connsiteY687" fmla="*/ 192888 h 549157"/>
              <a:gd name="connsiteX688" fmla="*/ 806823 w 1487868"/>
              <a:gd name="connsiteY688" fmla="*/ 191186 h 549157"/>
              <a:gd name="connsiteX689" fmla="*/ 808347 w 1487868"/>
              <a:gd name="connsiteY689" fmla="*/ 191186 h 549157"/>
              <a:gd name="connsiteX690" fmla="*/ 808347 w 1487868"/>
              <a:gd name="connsiteY690" fmla="*/ 189507 h 549157"/>
              <a:gd name="connsiteX691" fmla="*/ 809892 w 1487868"/>
              <a:gd name="connsiteY691" fmla="*/ 189507 h 549157"/>
              <a:gd name="connsiteX692" fmla="*/ 811394 w 1487868"/>
              <a:gd name="connsiteY692" fmla="*/ 189507 h 549157"/>
              <a:gd name="connsiteX693" fmla="*/ 812928 w 1487868"/>
              <a:gd name="connsiteY693" fmla="*/ 189507 h 549157"/>
              <a:gd name="connsiteX694" fmla="*/ 814452 w 1487868"/>
              <a:gd name="connsiteY694" fmla="*/ 189507 h 549157"/>
              <a:gd name="connsiteX695" fmla="*/ 814452 w 1487868"/>
              <a:gd name="connsiteY695" fmla="*/ 186115 h 549157"/>
              <a:gd name="connsiteX696" fmla="*/ 815986 w 1487868"/>
              <a:gd name="connsiteY696" fmla="*/ 186115 h 549157"/>
              <a:gd name="connsiteX697" fmla="*/ 815986 w 1487868"/>
              <a:gd name="connsiteY697" fmla="*/ 184435 h 549157"/>
              <a:gd name="connsiteX698" fmla="*/ 822125 w 1487868"/>
              <a:gd name="connsiteY698" fmla="*/ 184435 h 549157"/>
              <a:gd name="connsiteX699" fmla="*/ 825194 w 1487868"/>
              <a:gd name="connsiteY699" fmla="*/ 184435 h 549157"/>
              <a:gd name="connsiteX700" fmla="*/ 826728 w 1487868"/>
              <a:gd name="connsiteY700" fmla="*/ 184435 h 549157"/>
              <a:gd name="connsiteX701" fmla="*/ 828252 w 1487868"/>
              <a:gd name="connsiteY701" fmla="*/ 184435 h 549157"/>
              <a:gd name="connsiteX702" fmla="*/ 831299 w 1487868"/>
              <a:gd name="connsiteY702" fmla="*/ 184435 h 549157"/>
              <a:gd name="connsiteX703" fmla="*/ 831299 w 1487868"/>
              <a:gd name="connsiteY703" fmla="*/ 182700 h 549157"/>
              <a:gd name="connsiteX704" fmla="*/ 832833 w 1487868"/>
              <a:gd name="connsiteY704" fmla="*/ 182700 h 549157"/>
              <a:gd name="connsiteX705" fmla="*/ 834357 w 1487868"/>
              <a:gd name="connsiteY705" fmla="*/ 182700 h 549157"/>
              <a:gd name="connsiteX706" fmla="*/ 835892 w 1487868"/>
              <a:gd name="connsiteY706" fmla="*/ 182700 h 549157"/>
              <a:gd name="connsiteX707" fmla="*/ 838961 w 1487868"/>
              <a:gd name="connsiteY707" fmla="*/ 182700 h 549157"/>
              <a:gd name="connsiteX708" fmla="*/ 838961 w 1487868"/>
              <a:gd name="connsiteY708" fmla="*/ 180976 h 549157"/>
              <a:gd name="connsiteX709" fmla="*/ 843564 w 1487868"/>
              <a:gd name="connsiteY709" fmla="*/ 180976 h 549157"/>
              <a:gd name="connsiteX710" fmla="*/ 845099 w 1487868"/>
              <a:gd name="connsiteY710" fmla="*/ 180976 h 549157"/>
              <a:gd name="connsiteX711" fmla="*/ 846600 w 1487868"/>
              <a:gd name="connsiteY711" fmla="*/ 180976 h 549157"/>
              <a:gd name="connsiteX712" fmla="*/ 848135 w 1487868"/>
              <a:gd name="connsiteY712" fmla="*/ 180976 h 549157"/>
              <a:gd name="connsiteX713" fmla="*/ 849658 w 1487868"/>
              <a:gd name="connsiteY713" fmla="*/ 180976 h 549157"/>
              <a:gd name="connsiteX714" fmla="*/ 852738 w 1487868"/>
              <a:gd name="connsiteY714" fmla="*/ 180976 h 549157"/>
              <a:gd name="connsiteX715" fmla="*/ 854262 w 1487868"/>
              <a:gd name="connsiteY715" fmla="*/ 180976 h 549157"/>
              <a:gd name="connsiteX716" fmla="*/ 855796 w 1487868"/>
              <a:gd name="connsiteY716" fmla="*/ 180976 h 549157"/>
              <a:gd name="connsiteX717" fmla="*/ 857342 w 1487868"/>
              <a:gd name="connsiteY717" fmla="*/ 180976 h 549157"/>
              <a:gd name="connsiteX718" fmla="*/ 858866 w 1487868"/>
              <a:gd name="connsiteY718" fmla="*/ 180976 h 549157"/>
              <a:gd name="connsiteX719" fmla="*/ 860400 w 1487868"/>
              <a:gd name="connsiteY719" fmla="*/ 180976 h 549157"/>
              <a:gd name="connsiteX720" fmla="*/ 864971 w 1487868"/>
              <a:gd name="connsiteY720" fmla="*/ 180976 h 549157"/>
              <a:gd name="connsiteX721" fmla="*/ 866505 w 1487868"/>
              <a:gd name="connsiteY721" fmla="*/ 180976 h 549157"/>
              <a:gd name="connsiteX722" fmla="*/ 866505 w 1487868"/>
              <a:gd name="connsiteY722" fmla="*/ 179186 h 549157"/>
              <a:gd name="connsiteX723" fmla="*/ 868040 w 1487868"/>
              <a:gd name="connsiteY723" fmla="*/ 179186 h 549157"/>
              <a:gd name="connsiteX724" fmla="*/ 869574 w 1487868"/>
              <a:gd name="connsiteY724" fmla="*/ 179186 h 549157"/>
              <a:gd name="connsiteX725" fmla="*/ 871109 w 1487868"/>
              <a:gd name="connsiteY725" fmla="*/ 179186 h 549157"/>
              <a:gd name="connsiteX726" fmla="*/ 874167 w 1487868"/>
              <a:gd name="connsiteY726" fmla="*/ 179186 h 549157"/>
              <a:gd name="connsiteX727" fmla="*/ 874167 w 1487868"/>
              <a:gd name="connsiteY727" fmla="*/ 177317 h 549157"/>
              <a:gd name="connsiteX728" fmla="*/ 875713 w 1487868"/>
              <a:gd name="connsiteY728" fmla="*/ 177317 h 549157"/>
              <a:gd name="connsiteX729" fmla="*/ 877247 w 1487868"/>
              <a:gd name="connsiteY729" fmla="*/ 177317 h 549157"/>
              <a:gd name="connsiteX730" fmla="*/ 878771 w 1487868"/>
              <a:gd name="connsiteY730" fmla="*/ 177317 h 549157"/>
              <a:gd name="connsiteX731" fmla="*/ 880305 w 1487868"/>
              <a:gd name="connsiteY731" fmla="*/ 177317 h 549157"/>
              <a:gd name="connsiteX732" fmla="*/ 881807 w 1487868"/>
              <a:gd name="connsiteY732" fmla="*/ 177317 h 549157"/>
              <a:gd name="connsiteX733" fmla="*/ 886410 w 1487868"/>
              <a:gd name="connsiteY733" fmla="*/ 177317 h 549157"/>
              <a:gd name="connsiteX734" fmla="*/ 886410 w 1487868"/>
              <a:gd name="connsiteY734" fmla="*/ 175460 h 549157"/>
              <a:gd name="connsiteX735" fmla="*/ 887945 w 1487868"/>
              <a:gd name="connsiteY735" fmla="*/ 175460 h 549157"/>
              <a:gd name="connsiteX736" fmla="*/ 889480 w 1487868"/>
              <a:gd name="connsiteY736" fmla="*/ 175460 h 549157"/>
              <a:gd name="connsiteX737" fmla="*/ 891014 w 1487868"/>
              <a:gd name="connsiteY737" fmla="*/ 175460 h 549157"/>
              <a:gd name="connsiteX738" fmla="*/ 892549 w 1487868"/>
              <a:gd name="connsiteY738" fmla="*/ 175460 h 549157"/>
              <a:gd name="connsiteX739" fmla="*/ 898676 w 1487868"/>
              <a:gd name="connsiteY739" fmla="*/ 175460 h 549157"/>
              <a:gd name="connsiteX740" fmla="*/ 898676 w 1487868"/>
              <a:gd name="connsiteY740" fmla="*/ 173525 h 549157"/>
              <a:gd name="connsiteX741" fmla="*/ 900177 w 1487868"/>
              <a:gd name="connsiteY741" fmla="*/ 173525 h 549157"/>
              <a:gd name="connsiteX742" fmla="*/ 903257 w 1487868"/>
              <a:gd name="connsiteY742" fmla="*/ 173525 h 549157"/>
              <a:gd name="connsiteX743" fmla="*/ 906315 w 1487868"/>
              <a:gd name="connsiteY743" fmla="*/ 173525 h 549157"/>
              <a:gd name="connsiteX744" fmla="*/ 906315 w 1487868"/>
              <a:gd name="connsiteY744" fmla="*/ 169621 h 549157"/>
              <a:gd name="connsiteX745" fmla="*/ 907850 w 1487868"/>
              <a:gd name="connsiteY745" fmla="*/ 169621 h 549157"/>
              <a:gd name="connsiteX746" fmla="*/ 909384 w 1487868"/>
              <a:gd name="connsiteY746" fmla="*/ 169621 h 549157"/>
              <a:gd name="connsiteX747" fmla="*/ 910919 w 1487868"/>
              <a:gd name="connsiteY747" fmla="*/ 169621 h 549157"/>
              <a:gd name="connsiteX748" fmla="*/ 910919 w 1487868"/>
              <a:gd name="connsiteY748" fmla="*/ 167663 h 549157"/>
              <a:gd name="connsiteX749" fmla="*/ 912454 w 1487868"/>
              <a:gd name="connsiteY749" fmla="*/ 167663 h 549157"/>
              <a:gd name="connsiteX750" fmla="*/ 913988 w 1487868"/>
              <a:gd name="connsiteY750" fmla="*/ 167663 h 549157"/>
              <a:gd name="connsiteX751" fmla="*/ 918559 w 1487868"/>
              <a:gd name="connsiteY751" fmla="*/ 167663 h 549157"/>
              <a:gd name="connsiteX752" fmla="*/ 918559 w 1487868"/>
              <a:gd name="connsiteY752" fmla="*/ 165695 h 549157"/>
              <a:gd name="connsiteX753" fmla="*/ 920082 w 1487868"/>
              <a:gd name="connsiteY753" fmla="*/ 165695 h 549157"/>
              <a:gd name="connsiteX754" fmla="*/ 920082 w 1487868"/>
              <a:gd name="connsiteY754" fmla="*/ 163693 h 549157"/>
              <a:gd name="connsiteX755" fmla="*/ 921628 w 1487868"/>
              <a:gd name="connsiteY755" fmla="*/ 163693 h 549157"/>
              <a:gd name="connsiteX756" fmla="*/ 923162 w 1487868"/>
              <a:gd name="connsiteY756" fmla="*/ 163693 h 549157"/>
              <a:gd name="connsiteX757" fmla="*/ 923162 w 1487868"/>
              <a:gd name="connsiteY757" fmla="*/ 161691 h 549157"/>
              <a:gd name="connsiteX758" fmla="*/ 924686 w 1487868"/>
              <a:gd name="connsiteY758" fmla="*/ 161691 h 549157"/>
              <a:gd name="connsiteX759" fmla="*/ 924686 w 1487868"/>
              <a:gd name="connsiteY759" fmla="*/ 159656 h 549157"/>
              <a:gd name="connsiteX760" fmla="*/ 929290 w 1487868"/>
              <a:gd name="connsiteY760" fmla="*/ 159656 h 549157"/>
              <a:gd name="connsiteX761" fmla="*/ 930824 w 1487868"/>
              <a:gd name="connsiteY761" fmla="*/ 159656 h 549157"/>
              <a:gd name="connsiteX762" fmla="*/ 930824 w 1487868"/>
              <a:gd name="connsiteY762" fmla="*/ 155585 h 549157"/>
              <a:gd name="connsiteX763" fmla="*/ 932359 w 1487868"/>
              <a:gd name="connsiteY763" fmla="*/ 155585 h 549157"/>
              <a:gd name="connsiteX764" fmla="*/ 933893 w 1487868"/>
              <a:gd name="connsiteY764" fmla="*/ 155585 h 549157"/>
              <a:gd name="connsiteX765" fmla="*/ 935395 w 1487868"/>
              <a:gd name="connsiteY765" fmla="*/ 155585 h 549157"/>
              <a:gd name="connsiteX766" fmla="*/ 939987 w 1487868"/>
              <a:gd name="connsiteY766" fmla="*/ 155585 h 549157"/>
              <a:gd name="connsiteX767" fmla="*/ 941533 w 1487868"/>
              <a:gd name="connsiteY767" fmla="*/ 155585 h 549157"/>
              <a:gd name="connsiteX768" fmla="*/ 943068 w 1487868"/>
              <a:gd name="connsiteY768" fmla="*/ 155585 h 549157"/>
              <a:gd name="connsiteX769" fmla="*/ 943068 w 1487868"/>
              <a:gd name="connsiteY769" fmla="*/ 153516 h 549157"/>
              <a:gd name="connsiteX770" fmla="*/ 944591 w 1487868"/>
              <a:gd name="connsiteY770" fmla="*/ 153516 h 549157"/>
              <a:gd name="connsiteX771" fmla="*/ 946126 w 1487868"/>
              <a:gd name="connsiteY771" fmla="*/ 153516 h 549157"/>
              <a:gd name="connsiteX772" fmla="*/ 947671 w 1487868"/>
              <a:gd name="connsiteY772" fmla="*/ 153516 h 549157"/>
              <a:gd name="connsiteX773" fmla="*/ 950729 w 1487868"/>
              <a:gd name="connsiteY773" fmla="*/ 153516 h 549157"/>
              <a:gd name="connsiteX774" fmla="*/ 952264 w 1487868"/>
              <a:gd name="connsiteY774" fmla="*/ 153516 h 549157"/>
              <a:gd name="connsiteX775" fmla="*/ 953765 w 1487868"/>
              <a:gd name="connsiteY775" fmla="*/ 153516 h 549157"/>
              <a:gd name="connsiteX776" fmla="*/ 955300 w 1487868"/>
              <a:gd name="connsiteY776" fmla="*/ 153516 h 549157"/>
              <a:gd name="connsiteX777" fmla="*/ 956834 w 1487868"/>
              <a:gd name="connsiteY777" fmla="*/ 153516 h 549157"/>
              <a:gd name="connsiteX778" fmla="*/ 958369 w 1487868"/>
              <a:gd name="connsiteY778" fmla="*/ 153516 h 549157"/>
              <a:gd name="connsiteX779" fmla="*/ 958369 w 1487868"/>
              <a:gd name="connsiteY779" fmla="*/ 149168 h 549157"/>
              <a:gd name="connsiteX780" fmla="*/ 961438 w 1487868"/>
              <a:gd name="connsiteY780" fmla="*/ 149168 h 549157"/>
              <a:gd name="connsiteX781" fmla="*/ 961438 w 1487868"/>
              <a:gd name="connsiteY781" fmla="*/ 144852 h 549157"/>
              <a:gd name="connsiteX782" fmla="*/ 962973 w 1487868"/>
              <a:gd name="connsiteY782" fmla="*/ 144852 h 549157"/>
              <a:gd name="connsiteX783" fmla="*/ 962973 w 1487868"/>
              <a:gd name="connsiteY783" fmla="*/ 142683 h 549157"/>
              <a:gd name="connsiteX784" fmla="*/ 964496 w 1487868"/>
              <a:gd name="connsiteY784" fmla="*/ 142683 h 549157"/>
              <a:gd name="connsiteX785" fmla="*/ 966031 w 1487868"/>
              <a:gd name="connsiteY785" fmla="*/ 142683 h 549157"/>
              <a:gd name="connsiteX786" fmla="*/ 966031 w 1487868"/>
              <a:gd name="connsiteY786" fmla="*/ 140470 h 549157"/>
              <a:gd name="connsiteX787" fmla="*/ 967576 w 1487868"/>
              <a:gd name="connsiteY787" fmla="*/ 140470 h 549157"/>
              <a:gd name="connsiteX788" fmla="*/ 972136 w 1487868"/>
              <a:gd name="connsiteY788" fmla="*/ 140470 h 549157"/>
              <a:gd name="connsiteX789" fmla="*/ 973681 w 1487868"/>
              <a:gd name="connsiteY789" fmla="*/ 140470 h 549157"/>
              <a:gd name="connsiteX790" fmla="*/ 975205 w 1487868"/>
              <a:gd name="connsiteY790" fmla="*/ 140470 h 549157"/>
              <a:gd name="connsiteX791" fmla="*/ 976739 w 1487868"/>
              <a:gd name="connsiteY791" fmla="*/ 140470 h 549157"/>
              <a:gd name="connsiteX792" fmla="*/ 976739 w 1487868"/>
              <a:gd name="connsiteY792" fmla="*/ 133741 h 549157"/>
              <a:gd name="connsiteX793" fmla="*/ 978274 w 1487868"/>
              <a:gd name="connsiteY793" fmla="*/ 133741 h 549157"/>
              <a:gd name="connsiteX794" fmla="*/ 978274 w 1487868"/>
              <a:gd name="connsiteY794" fmla="*/ 131461 h 549157"/>
              <a:gd name="connsiteX795" fmla="*/ 982878 w 1487868"/>
              <a:gd name="connsiteY795" fmla="*/ 131461 h 549157"/>
              <a:gd name="connsiteX796" fmla="*/ 984401 w 1487868"/>
              <a:gd name="connsiteY796" fmla="*/ 131461 h 549157"/>
              <a:gd name="connsiteX797" fmla="*/ 985947 w 1487868"/>
              <a:gd name="connsiteY797" fmla="*/ 131461 h 549157"/>
              <a:gd name="connsiteX798" fmla="*/ 987481 w 1487868"/>
              <a:gd name="connsiteY798" fmla="*/ 131461 h 549157"/>
              <a:gd name="connsiteX799" fmla="*/ 988983 w 1487868"/>
              <a:gd name="connsiteY799" fmla="*/ 131461 h 549157"/>
              <a:gd name="connsiteX800" fmla="*/ 993587 w 1487868"/>
              <a:gd name="connsiteY800" fmla="*/ 131461 h 549157"/>
              <a:gd name="connsiteX801" fmla="*/ 995110 w 1487868"/>
              <a:gd name="connsiteY801" fmla="*/ 131461 h 549157"/>
              <a:gd name="connsiteX802" fmla="*/ 996645 w 1487868"/>
              <a:gd name="connsiteY802" fmla="*/ 131461 h 549157"/>
              <a:gd name="connsiteX803" fmla="*/ 998179 w 1487868"/>
              <a:gd name="connsiteY803" fmla="*/ 131461 h 549157"/>
              <a:gd name="connsiteX804" fmla="*/ 999714 w 1487868"/>
              <a:gd name="connsiteY804" fmla="*/ 131461 h 549157"/>
              <a:gd name="connsiteX805" fmla="*/ 1002783 w 1487868"/>
              <a:gd name="connsiteY805" fmla="*/ 131461 h 549157"/>
              <a:gd name="connsiteX806" fmla="*/ 1005808 w 1487868"/>
              <a:gd name="connsiteY806" fmla="*/ 131461 h 549157"/>
              <a:gd name="connsiteX807" fmla="*/ 1007353 w 1487868"/>
              <a:gd name="connsiteY807" fmla="*/ 131461 h 549157"/>
              <a:gd name="connsiteX808" fmla="*/ 1008888 w 1487868"/>
              <a:gd name="connsiteY808" fmla="*/ 131461 h 549157"/>
              <a:gd name="connsiteX809" fmla="*/ 1008888 w 1487868"/>
              <a:gd name="connsiteY809" fmla="*/ 129081 h 549157"/>
              <a:gd name="connsiteX810" fmla="*/ 1010411 w 1487868"/>
              <a:gd name="connsiteY810" fmla="*/ 129081 h 549157"/>
              <a:gd name="connsiteX811" fmla="*/ 1010411 w 1487868"/>
              <a:gd name="connsiteY811" fmla="*/ 124254 h 549157"/>
              <a:gd name="connsiteX812" fmla="*/ 1015015 w 1487868"/>
              <a:gd name="connsiteY812" fmla="*/ 124254 h 549157"/>
              <a:gd name="connsiteX813" fmla="*/ 1015015 w 1487868"/>
              <a:gd name="connsiteY813" fmla="*/ 121841 h 549157"/>
              <a:gd name="connsiteX814" fmla="*/ 1016550 w 1487868"/>
              <a:gd name="connsiteY814" fmla="*/ 121841 h 549157"/>
              <a:gd name="connsiteX815" fmla="*/ 1018084 w 1487868"/>
              <a:gd name="connsiteY815" fmla="*/ 121841 h 549157"/>
              <a:gd name="connsiteX816" fmla="*/ 1019619 w 1487868"/>
              <a:gd name="connsiteY816" fmla="*/ 121841 h 549157"/>
              <a:gd name="connsiteX817" fmla="*/ 1021153 w 1487868"/>
              <a:gd name="connsiteY817" fmla="*/ 121841 h 549157"/>
              <a:gd name="connsiteX818" fmla="*/ 1021153 w 1487868"/>
              <a:gd name="connsiteY818" fmla="*/ 119383 h 549157"/>
              <a:gd name="connsiteX819" fmla="*/ 1022688 w 1487868"/>
              <a:gd name="connsiteY819" fmla="*/ 119383 h 549157"/>
              <a:gd name="connsiteX820" fmla="*/ 1025724 w 1487868"/>
              <a:gd name="connsiteY820" fmla="*/ 119383 h 549157"/>
              <a:gd name="connsiteX821" fmla="*/ 1027258 w 1487868"/>
              <a:gd name="connsiteY821" fmla="*/ 119383 h 549157"/>
              <a:gd name="connsiteX822" fmla="*/ 1028793 w 1487868"/>
              <a:gd name="connsiteY822" fmla="*/ 119383 h 549157"/>
              <a:gd name="connsiteX823" fmla="*/ 1030316 w 1487868"/>
              <a:gd name="connsiteY823" fmla="*/ 119383 h 549157"/>
              <a:gd name="connsiteX824" fmla="*/ 1031862 w 1487868"/>
              <a:gd name="connsiteY824" fmla="*/ 119383 h 549157"/>
              <a:gd name="connsiteX825" fmla="*/ 1036455 w 1487868"/>
              <a:gd name="connsiteY825" fmla="*/ 119383 h 549157"/>
              <a:gd name="connsiteX826" fmla="*/ 1036455 w 1487868"/>
              <a:gd name="connsiteY826" fmla="*/ 116825 h 549157"/>
              <a:gd name="connsiteX827" fmla="*/ 1038000 w 1487868"/>
              <a:gd name="connsiteY827" fmla="*/ 116825 h 549157"/>
              <a:gd name="connsiteX828" fmla="*/ 1039524 w 1487868"/>
              <a:gd name="connsiteY828" fmla="*/ 116825 h 549157"/>
              <a:gd name="connsiteX829" fmla="*/ 1039524 w 1487868"/>
              <a:gd name="connsiteY829" fmla="*/ 114278 h 549157"/>
              <a:gd name="connsiteX830" fmla="*/ 1041058 w 1487868"/>
              <a:gd name="connsiteY830" fmla="*/ 114278 h 549157"/>
              <a:gd name="connsiteX831" fmla="*/ 1042560 w 1487868"/>
              <a:gd name="connsiteY831" fmla="*/ 114278 h 549157"/>
              <a:gd name="connsiteX832" fmla="*/ 1044094 w 1487868"/>
              <a:gd name="connsiteY832" fmla="*/ 114278 h 549157"/>
              <a:gd name="connsiteX833" fmla="*/ 1047163 w 1487868"/>
              <a:gd name="connsiteY833" fmla="*/ 114278 h 549157"/>
              <a:gd name="connsiteX834" fmla="*/ 1050221 w 1487868"/>
              <a:gd name="connsiteY834" fmla="*/ 114278 h 549157"/>
              <a:gd name="connsiteX835" fmla="*/ 1051767 w 1487868"/>
              <a:gd name="connsiteY835" fmla="*/ 114278 h 549157"/>
              <a:gd name="connsiteX836" fmla="*/ 1051767 w 1487868"/>
              <a:gd name="connsiteY836" fmla="*/ 111620 h 549157"/>
              <a:gd name="connsiteX837" fmla="*/ 1053302 w 1487868"/>
              <a:gd name="connsiteY837" fmla="*/ 111620 h 549157"/>
              <a:gd name="connsiteX838" fmla="*/ 1054825 w 1487868"/>
              <a:gd name="connsiteY838" fmla="*/ 111620 h 549157"/>
              <a:gd name="connsiteX839" fmla="*/ 1054825 w 1487868"/>
              <a:gd name="connsiteY839" fmla="*/ 108962 h 549157"/>
              <a:gd name="connsiteX840" fmla="*/ 1056360 w 1487868"/>
              <a:gd name="connsiteY840" fmla="*/ 108962 h 549157"/>
              <a:gd name="connsiteX841" fmla="*/ 1057906 w 1487868"/>
              <a:gd name="connsiteY841" fmla="*/ 108962 h 549157"/>
              <a:gd name="connsiteX842" fmla="*/ 1057906 w 1487868"/>
              <a:gd name="connsiteY842" fmla="*/ 106304 h 549157"/>
              <a:gd name="connsiteX843" fmla="*/ 1059407 w 1487868"/>
              <a:gd name="connsiteY843" fmla="*/ 106304 h 549157"/>
              <a:gd name="connsiteX844" fmla="*/ 1060930 w 1487868"/>
              <a:gd name="connsiteY844" fmla="*/ 106304 h 549157"/>
              <a:gd name="connsiteX845" fmla="*/ 1060930 w 1487868"/>
              <a:gd name="connsiteY845" fmla="*/ 103612 h 549157"/>
              <a:gd name="connsiteX846" fmla="*/ 1062465 w 1487868"/>
              <a:gd name="connsiteY846" fmla="*/ 103612 h 549157"/>
              <a:gd name="connsiteX847" fmla="*/ 1063999 w 1487868"/>
              <a:gd name="connsiteY847" fmla="*/ 103612 h 549157"/>
              <a:gd name="connsiteX848" fmla="*/ 1068603 w 1487868"/>
              <a:gd name="connsiteY848" fmla="*/ 103612 h 549157"/>
              <a:gd name="connsiteX849" fmla="*/ 1070127 w 1487868"/>
              <a:gd name="connsiteY849" fmla="*/ 103612 h 549157"/>
              <a:gd name="connsiteX850" fmla="*/ 1071672 w 1487868"/>
              <a:gd name="connsiteY850" fmla="*/ 103612 h 549157"/>
              <a:gd name="connsiteX851" fmla="*/ 1073207 w 1487868"/>
              <a:gd name="connsiteY851" fmla="*/ 103612 h 549157"/>
              <a:gd name="connsiteX852" fmla="*/ 1073207 w 1487868"/>
              <a:gd name="connsiteY852" fmla="*/ 100820 h 549157"/>
              <a:gd name="connsiteX853" fmla="*/ 1074730 w 1487868"/>
              <a:gd name="connsiteY853" fmla="*/ 100820 h 549157"/>
              <a:gd name="connsiteX854" fmla="*/ 1076265 w 1487868"/>
              <a:gd name="connsiteY854" fmla="*/ 100820 h 549157"/>
              <a:gd name="connsiteX855" fmla="*/ 1076265 w 1487868"/>
              <a:gd name="connsiteY855" fmla="*/ 98029 h 549157"/>
              <a:gd name="connsiteX856" fmla="*/ 1079312 w 1487868"/>
              <a:gd name="connsiteY856" fmla="*/ 98029 h 549157"/>
              <a:gd name="connsiteX857" fmla="*/ 1080835 w 1487868"/>
              <a:gd name="connsiteY857" fmla="*/ 98029 h 549157"/>
              <a:gd name="connsiteX858" fmla="*/ 1082370 w 1487868"/>
              <a:gd name="connsiteY858" fmla="*/ 98029 h 549157"/>
              <a:gd name="connsiteX859" fmla="*/ 1082370 w 1487868"/>
              <a:gd name="connsiteY859" fmla="*/ 95193 h 549157"/>
              <a:gd name="connsiteX860" fmla="*/ 1083916 w 1487868"/>
              <a:gd name="connsiteY860" fmla="*/ 95193 h 549157"/>
              <a:gd name="connsiteX861" fmla="*/ 1085439 w 1487868"/>
              <a:gd name="connsiteY861" fmla="*/ 95193 h 549157"/>
              <a:gd name="connsiteX862" fmla="*/ 1086973 w 1487868"/>
              <a:gd name="connsiteY862" fmla="*/ 95193 h 549157"/>
              <a:gd name="connsiteX863" fmla="*/ 1086973 w 1487868"/>
              <a:gd name="connsiteY863" fmla="*/ 92301 h 549157"/>
              <a:gd name="connsiteX864" fmla="*/ 1090043 w 1487868"/>
              <a:gd name="connsiteY864" fmla="*/ 92301 h 549157"/>
              <a:gd name="connsiteX865" fmla="*/ 1091577 w 1487868"/>
              <a:gd name="connsiteY865" fmla="*/ 92301 h 549157"/>
              <a:gd name="connsiteX866" fmla="*/ 1093112 w 1487868"/>
              <a:gd name="connsiteY866" fmla="*/ 92301 h 549157"/>
              <a:gd name="connsiteX867" fmla="*/ 1094613 w 1487868"/>
              <a:gd name="connsiteY867" fmla="*/ 92301 h 549157"/>
              <a:gd name="connsiteX868" fmla="*/ 1096137 w 1487868"/>
              <a:gd name="connsiteY868" fmla="*/ 92301 h 549157"/>
              <a:gd name="connsiteX869" fmla="*/ 1099217 w 1487868"/>
              <a:gd name="connsiteY869" fmla="*/ 92301 h 549157"/>
              <a:gd name="connsiteX870" fmla="*/ 1102275 w 1487868"/>
              <a:gd name="connsiteY870" fmla="*/ 92301 h 549157"/>
              <a:gd name="connsiteX871" fmla="*/ 1103821 w 1487868"/>
              <a:gd name="connsiteY871" fmla="*/ 92301 h 549157"/>
              <a:gd name="connsiteX872" fmla="*/ 1105344 w 1487868"/>
              <a:gd name="connsiteY872" fmla="*/ 92301 h 549157"/>
              <a:gd name="connsiteX873" fmla="*/ 1105344 w 1487868"/>
              <a:gd name="connsiteY873" fmla="*/ 89265 h 549157"/>
              <a:gd name="connsiteX874" fmla="*/ 1106879 w 1487868"/>
              <a:gd name="connsiteY874" fmla="*/ 89265 h 549157"/>
              <a:gd name="connsiteX875" fmla="*/ 1111482 w 1487868"/>
              <a:gd name="connsiteY875" fmla="*/ 89265 h 549157"/>
              <a:gd name="connsiteX876" fmla="*/ 1111482 w 1487868"/>
              <a:gd name="connsiteY876" fmla="*/ 86162 h 549157"/>
              <a:gd name="connsiteX877" fmla="*/ 1112984 w 1487868"/>
              <a:gd name="connsiteY877" fmla="*/ 86162 h 549157"/>
              <a:gd name="connsiteX878" fmla="*/ 1114518 w 1487868"/>
              <a:gd name="connsiteY878" fmla="*/ 86162 h 549157"/>
              <a:gd name="connsiteX879" fmla="*/ 1114518 w 1487868"/>
              <a:gd name="connsiteY879" fmla="*/ 83048 h 549157"/>
              <a:gd name="connsiteX880" fmla="*/ 1116042 w 1487868"/>
              <a:gd name="connsiteY880" fmla="*/ 83048 h 549157"/>
              <a:gd name="connsiteX881" fmla="*/ 1117588 w 1487868"/>
              <a:gd name="connsiteY881" fmla="*/ 83048 h 549157"/>
              <a:gd name="connsiteX882" fmla="*/ 1120646 w 1487868"/>
              <a:gd name="connsiteY882" fmla="*/ 83048 h 549157"/>
              <a:gd name="connsiteX883" fmla="*/ 1123726 w 1487868"/>
              <a:gd name="connsiteY883" fmla="*/ 83048 h 549157"/>
              <a:gd name="connsiteX884" fmla="*/ 1125249 w 1487868"/>
              <a:gd name="connsiteY884" fmla="*/ 83048 h 549157"/>
              <a:gd name="connsiteX885" fmla="*/ 1126784 w 1487868"/>
              <a:gd name="connsiteY885" fmla="*/ 83048 h 549157"/>
              <a:gd name="connsiteX886" fmla="*/ 1128318 w 1487868"/>
              <a:gd name="connsiteY886" fmla="*/ 83048 h 549157"/>
              <a:gd name="connsiteX887" fmla="*/ 1128318 w 1487868"/>
              <a:gd name="connsiteY887" fmla="*/ 79767 h 549157"/>
              <a:gd name="connsiteX888" fmla="*/ 1132889 w 1487868"/>
              <a:gd name="connsiteY888" fmla="*/ 79767 h 549157"/>
              <a:gd name="connsiteX889" fmla="*/ 1132889 w 1487868"/>
              <a:gd name="connsiteY889" fmla="*/ 69835 h 549157"/>
              <a:gd name="connsiteX890" fmla="*/ 1134423 w 1487868"/>
              <a:gd name="connsiteY890" fmla="*/ 69835 h 549157"/>
              <a:gd name="connsiteX891" fmla="*/ 1135958 w 1487868"/>
              <a:gd name="connsiteY891" fmla="*/ 69835 h 549157"/>
              <a:gd name="connsiteX892" fmla="*/ 1137492 w 1487868"/>
              <a:gd name="connsiteY892" fmla="*/ 69835 h 549157"/>
              <a:gd name="connsiteX893" fmla="*/ 1139027 w 1487868"/>
              <a:gd name="connsiteY893" fmla="*/ 69835 h 549157"/>
              <a:gd name="connsiteX894" fmla="*/ 1143631 w 1487868"/>
              <a:gd name="connsiteY894" fmla="*/ 69835 h 549157"/>
              <a:gd name="connsiteX895" fmla="*/ 1145154 w 1487868"/>
              <a:gd name="connsiteY895" fmla="*/ 69835 h 549157"/>
              <a:gd name="connsiteX896" fmla="*/ 1146689 w 1487868"/>
              <a:gd name="connsiteY896" fmla="*/ 69835 h 549157"/>
              <a:gd name="connsiteX897" fmla="*/ 1148190 w 1487868"/>
              <a:gd name="connsiteY897" fmla="*/ 69835 h 549157"/>
              <a:gd name="connsiteX898" fmla="*/ 1149736 w 1487868"/>
              <a:gd name="connsiteY898" fmla="*/ 69835 h 549157"/>
              <a:gd name="connsiteX899" fmla="*/ 1151259 w 1487868"/>
              <a:gd name="connsiteY899" fmla="*/ 69835 h 549157"/>
              <a:gd name="connsiteX900" fmla="*/ 1151259 w 1487868"/>
              <a:gd name="connsiteY900" fmla="*/ 66209 h 549157"/>
              <a:gd name="connsiteX901" fmla="*/ 1154328 w 1487868"/>
              <a:gd name="connsiteY901" fmla="*/ 66209 h 549157"/>
              <a:gd name="connsiteX902" fmla="*/ 1155863 w 1487868"/>
              <a:gd name="connsiteY902" fmla="*/ 66209 h 549157"/>
              <a:gd name="connsiteX903" fmla="*/ 1157398 w 1487868"/>
              <a:gd name="connsiteY903" fmla="*/ 66209 h 549157"/>
              <a:gd name="connsiteX904" fmla="*/ 1158932 w 1487868"/>
              <a:gd name="connsiteY904" fmla="*/ 66209 h 549157"/>
              <a:gd name="connsiteX905" fmla="*/ 1160456 w 1487868"/>
              <a:gd name="connsiteY905" fmla="*/ 66209 h 549157"/>
              <a:gd name="connsiteX906" fmla="*/ 1165071 w 1487868"/>
              <a:gd name="connsiteY906" fmla="*/ 66209 h 549157"/>
              <a:gd name="connsiteX907" fmla="*/ 1166561 w 1487868"/>
              <a:gd name="connsiteY907" fmla="*/ 66209 h 549157"/>
              <a:gd name="connsiteX908" fmla="*/ 1168095 w 1487868"/>
              <a:gd name="connsiteY908" fmla="*/ 66209 h 549157"/>
              <a:gd name="connsiteX909" fmla="*/ 1168095 w 1487868"/>
              <a:gd name="connsiteY909" fmla="*/ 62316 h 549157"/>
              <a:gd name="connsiteX910" fmla="*/ 1169641 w 1487868"/>
              <a:gd name="connsiteY910" fmla="*/ 62316 h 549157"/>
              <a:gd name="connsiteX911" fmla="*/ 1171164 w 1487868"/>
              <a:gd name="connsiteY911" fmla="*/ 62316 h 549157"/>
              <a:gd name="connsiteX912" fmla="*/ 1174234 w 1487868"/>
              <a:gd name="connsiteY912" fmla="*/ 62316 h 549157"/>
              <a:gd name="connsiteX913" fmla="*/ 1175768 w 1487868"/>
              <a:gd name="connsiteY913" fmla="*/ 62316 h 549157"/>
              <a:gd name="connsiteX914" fmla="*/ 1177303 w 1487868"/>
              <a:gd name="connsiteY914" fmla="*/ 62316 h 549157"/>
              <a:gd name="connsiteX915" fmla="*/ 1178837 w 1487868"/>
              <a:gd name="connsiteY915" fmla="*/ 62316 h 549157"/>
              <a:gd name="connsiteX916" fmla="*/ 1180361 w 1487868"/>
              <a:gd name="connsiteY916" fmla="*/ 62316 h 549157"/>
              <a:gd name="connsiteX917" fmla="*/ 1181907 w 1487868"/>
              <a:gd name="connsiteY917" fmla="*/ 62316 h 549157"/>
              <a:gd name="connsiteX918" fmla="*/ 1181907 w 1487868"/>
              <a:gd name="connsiteY918" fmla="*/ 58134 h 549157"/>
              <a:gd name="connsiteX919" fmla="*/ 1186466 w 1487868"/>
              <a:gd name="connsiteY919" fmla="*/ 58134 h 549157"/>
              <a:gd name="connsiteX920" fmla="*/ 1188011 w 1487868"/>
              <a:gd name="connsiteY920" fmla="*/ 58134 h 549157"/>
              <a:gd name="connsiteX921" fmla="*/ 1189546 w 1487868"/>
              <a:gd name="connsiteY921" fmla="*/ 58134 h 549157"/>
              <a:gd name="connsiteX922" fmla="*/ 1191070 w 1487868"/>
              <a:gd name="connsiteY922" fmla="*/ 58134 h 549157"/>
              <a:gd name="connsiteX923" fmla="*/ 1192604 w 1487868"/>
              <a:gd name="connsiteY923" fmla="*/ 58134 h 549157"/>
              <a:gd name="connsiteX924" fmla="*/ 1197208 w 1487868"/>
              <a:gd name="connsiteY924" fmla="*/ 58134 h 549157"/>
              <a:gd name="connsiteX925" fmla="*/ 1197208 w 1487868"/>
              <a:gd name="connsiteY925" fmla="*/ 53752 h 549157"/>
              <a:gd name="connsiteX926" fmla="*/ 1198742 w 1487868"/>
              <a:gd name="connsiteY926" fmla="*/ 53752 h 549157"/>
              <a:gd name="connsiteX927" fmla="*/ 1200288 w 1487868"/>
              <a:gd name="connsiteY927" fmla="*/ 53752 h 549157"/>
              <a:gd name="connsiteX928" fmla="*/ 1201778 w 1487868"/>
              <a:gd name="connsiteY928" fmla="*/ 53752 h 549157"/>
              <a:gd name="connsiteX929" fmla="*/ 1203313 w 1487868"/>
              <a:gd name="connsiteY929" fmla="*/ 53752 h 549157"/>
              <a:gd name="connsiteX930" fmla="*/ 1204847 w 1487868"/>
              <a:gd name="connsiteY930" fmla="*/ 53752 h 549157"/>
              <a:gd name="connsiteX931" fmla="*/ 1204847 w 1487868"/>
              <a:gd name="connsiteY931" fmla="*/ 49103 h 549157"/>
              <a:gd name="connsiteX932" fmla="*/ 1206371 w 1487868"/>
              <a:gd name="connsiteY932" fmla="*/ 49103 h 549157"/>
              <a:gd name="connsiteX933" fmla="*/ 1206371 w 1487868"/>
              <a:gd name="connsiteY933" fmla="*/ 44477 h 549157"/>
              <a:gd name="connsiteX934" fmla="*/ 1207916 w 1487868"/>
              <a:gd name="connsiteY934" fmla="*/ 44477 h 549157"/>
              <a:gd name="connsiteX935" fmla="*/ 1209451 w 1487868"/>
              <a:gd name="connsiteY935" fmla="*/ 44477 h 549157"/>
              <a:gd name="connsiteX936" fmla="*/ 1210974 w 1487868"/>
              <a:gd name="connsiteY936" fmla="*/ 44477 h 549157"/>
              <a:gd name="connsiteX937" fmla="*/ 1212509 w 1487868"/>
              <a:gd name="connsiteY937" fmla="*/ 44477 h 549157"/>
              <a:gd name="connsiteX938" fmla="*/ 1214055 w 1487868"/>
              <a:gd name="connsiteY938" fmla="*/ 44477 h 549157"/>
              <a:gd name="connsiteX939" fmla="*/ 1214055 w 1487868"/>
              <a:gd name="connsiteY939" fmla="*/ 39639 h 549157"/>
              <a:gd name="connsiteX940" fmla="*/ 1218614 w 1487868"/>
              <a:gd name="connsiteY940" fmla="*/ 39639 h 549157"/>
              <a:gd name="connsiteX941" fmla="*/ 1220149 w 1487868"/>
              <a:gd name="connsiteY941" fmla="*/ 39639 h 549157"/>
              <a:gd name="connsiteX942" fmla="*/ 1221683 w 1487868"/>
              <a:gd name="connsiteY942" fmla="*/ 39639 h 549157"/>
              <a:gd name="connsiteX943" fmla="*/ 1223218 w 1487868"/>
              <a:gd name="connsiteY943" fmla="*/ 39639 h 549157"/>
              <a:gd name="connsiteX944" fmla="*/ 1224752 w 1487868"/>
              <a:gd name="connsiteY944" fmla="*/ 39639 h 549157"/>
              <a:gd name="connsiteX945" fmla="*/ 1229356 w 1487868"/>
              <a:gd name="connsiteY945" fmla="*/ 39639 h 549157"/>
              <a:gd name="connsiteX946" fmla="*/ 1230880 w 1487868"/>
              <a:gd name="connsiteY946" fmla="*/ 39639 h 549157"/>
              <a:gd name="connsiteX947" fmla="*/ 1230880 w 1487868"/>
              <a:gd name="connsiteY947" fmla="*/ 34500 h 549157"/>
              <a:gd name="connsiteX948" fmla="*/ 1232414 w 1487868"/>
              <a:gd name="connsiteY948" fmla="*/ 34500 h 549157"/>
              <a:gd name="connsiteX949" fmla="*/ 1233960 w 1487868"/>
              <a:gd name="connsiteY949" fmla="*/ 34500 h 549157"/>
              <a:gd name="connsiteX950" fmla="*/ 1235495 w 1487868"/>
              <a:gd name="connsiteY950" fmla="*/ 34500 h 549157"/>
              <a:gd name="connsiteX951" fmla="*/ 1240065 w 1487868"/>
              <a:gd name="connsiteY951" fmla="*/ 34500 h 549157"/>
              <a:gd name="connsiteX952" fmla="*/ 1241588 w 1487868"/>
              <a:gd name="connsiteY952" fmla="*/ 34500 h 549157"/>
              <a:gd name="connsiteX953" fmla="*/ 1241588 w 1487868"/>
              <a:gd name="connsiteY953" fmla="*/ 29084 h 549157"/>
              <a:gd name="connsiteX954" fmla="*/ 1243123 w 1487868"/>
              <a:gd name="connsiteY954" fmla="*/ 29084 h 549157"/>
              <a:gd name="connsiteX955" fmla="*/ 1244658 w 1487868"/>
              <a:gd name="connsiteY955" fmla="*/ 29084 h 549157"/>
              <a:gd name="connsiteX956" fmla="*/ 1246192 w 1487868"/>
              <a:gd name="connsiteY956" fmla="*/ 29084 h 549157"/>
              <a:gd name="connsiteX957" fmla="*/ 1250785 w 1487868"/>
              <a:gd name="connsiteY957" fmla="*/ 29084 h 549157"/>
              <a:gd name="connsiteX958" fmla="*/ 1252330 w 1487868"/>
              <a:gd name="connsiteY958" fmla="*/ 29084 h 549157"/>
              <a:gd name="connsiteX959" fmla="*/ 1252330 w 1487868"/>
              <a:gd name="connsiteY959" fmla="*/ 17039 h 549157"/>
              <a:gd name="connsiteX960" fmla="*/ 1253832 w 1487868"/>
              <a:gd name="connsiteY960" fmla="*/ 17039 h 549157"/>
              <a:gd name="connsiteX961" fmla="*/ 1255366 w 1487868"/>
              <a:gd name="connsiteY961" fmla="*/ 17039 h 549157"/>
              <a:gd name="connsiteX962" fmla="*/ 1256890 w 1487868"/>
              <a:gd name="connsiteY962" fmla="*/ 17039 h 549157"/>
              <a:gd name="connsiteX963" fmla="*/ 1261493 w 1487868"/>
              <a:gd name="connsiteY963" fmla="*/ 17039 h 549157"/>
              <a:gd name="connsiteX964" fmla="*/ 1263028 w 1487868"/>
              <a:gd name="connsiteY964" fmla="*/ 17039 h 549157"/>
              <a:gd name="connsiteX965" fmla="*/ 1264562 w 1487868"/>
              <a:gd name="connsiteY965" fmla="*/ 17039 h 549157"/>
              <a:gd name="connsiteX966" fmla="*/ 1266097 w 1487868"/>
              <a:gd name="connsiteY966" fmla="*/ 17039 h 549157"/>
              <a:gd name="connsiteX967" fmla="*/ 1267632 w 1487868"/>
              <a:gd name="connsiteY967" fmla="*/ 17039 h 549157"/>
              <a:gd name="connsiteX968" fmla="*/ 1269166 w 1487868"/>
              <a:gd name="connsiteY968" fmla="*/ 17039 h 549157"/>
              <a:gd name="connsiteX969" fmla="*/ 1272191 w 1487868"/>
              <a:gd name="connsiteY969" fmla="*/ 17039 h 549157"/>
              <a:gd name="connsiteX970" fmla="*/ 1273737 w 1487868"/>
              <a:gd name="connsiteY970" fmla="*/ 17039 h 549157"/>
              <a:gd name="connsiteX971" fmla="*/ 1275271 w 1487868"/>
              <a:gd name="connsiteY971" fmla="*/ 17039 h 549157"/>
              <a:gd name="connsiteX972" fmla="*/ 1278329 w 1487868"/>
              <a:gd name="connsiteY972" fmla="*/ 17039 h 549157"/>
              <a:gd name="connsiteX973" fmla="*/ 1279875 w 1487868"/>
              <a:gd name="connsiteY973" fmla="*/ 17039 h 549157"/>
              <a:gd name="connsiteX974" fmla="*/ 1279875 w 1487868"/>
              <a:gd name="connsiteY974" fmla="*/ 9654 h 549157"/>
              <a:gd name="connsiteX975" fmla="*/ 1282933 w 1487868"/>
              <a:gd name="connsiteY975" fmla="*/ 9654 h 549157"/>
              <a:gd name="connsiteX976" fmla="*/ 1284468 w 1487868"/>
              <a:gd name="connsiteY976" fmla="*/ 9654 h 549157"/>
              <a:gd name="connsiteX977" fmla="*/ 1286002 w 1487868"/>
              <a:gd name="connsiteY977" fmla="*/ 9654 h 549157"/>
              <a:gd name="connsiteX978" fmla="*/ 1287537 w 1487868"/>
              <a:gd name="connsiteY978" fmla="*/ 9654 h 549157"/>
              <a:gd name="connsiteX979" fmla="*/ 1289071 w 1487868"/>
              <a:gd name="connsiteY979" fmla="*/ 9654 h 549157"/>
              <a:gd name="connsiteX980" fmla="*/ 1290573 w 1487868"/>
              <a:gd name="connsiteY980" fmla="*/ 9654 h 549157"/>
              <a:gd name="connsiteX981" fmla="*/ 1293642 w 1487868"/>
              <a:gd name="connsiteY981" fmla="*/ 9654 h 549157"/>
              <a:gd name="connsiteX982" fmla="*/ 1295177 w 1487868"/>
              <a:gd name="connsiteY982" fmla="*/ 9654 h 549157"/>
              <a:gd name="connsiteX983" fmla="*/ 1296700 w 1487868"/>
              <a:gd name="connsiteY983" fmla="*/ 9654 h 549157"/>
              <a:gd name="connsiteX984" fmla="*/ 1298246 w 1487868"/>
              <a:gd name="connsiteY984" fmla="*/ 9654 h 549157"/>
              <a:gd name="connsiteX985" fmla="*/ 1299780 w 1487868"/>
              <a:gd name="connsiteY985" fmla="*/ 9654 h 549157"/>
              <a:gd name="connsiteX986" fmla="*/ 1304384 w 1487868"/>
              <a:gd name="connsiteY986" fmla="*/ 9654 h 549157"/>
              <a:gd name="connsiteX987" fmla="*/ 1305918 w 1487868"/>
              <a:gd name="connsiteY987" fmla="*/ 9654 h 549157"/>
              <a:gd name="connsiteX988" fmla="*/ 1307408 w 1487868"/>
              <a:gd name="connsiteY988" fmla="*/ 9654 h 549157"/>
              <a:gd name="connsiteX989" fmla="*/ 1307408 w 1487868"/>
              <a:gd name="connsiteY989" fmla="*/ 0 h 549157"/>
              <a:gd name="connsiteX990" fmla="*/ 1487868 w 1487868"/>
              <a:gd name="connsiteY990" fmla="*/ 0 h 54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1487868" h="549157">
                <a:moveTo>
                  <a:pt x="0" y="549157"/>
                </a:moveTo>
                <a:lnTo>
                  <a:pt x="7662" y="549157"/>
                </a:lnTo>
                <a:lnTo>
                  <a:pt x="7662" y="548367"/>
                </a:lnTo>
                <a:lnTo>
                  <a:pt x="9196" y="548367"/>
                </a:lnTo>
                <a:lnTo>
                  <a:pt x="9196" y="547600"/>
                </a:lnTo>
                <a:lnTo>
                  <a:pt x="10742" y="547600"/>
                </a:lnTo>
                <a:lnTo>
                  <a:pt x="10742" y="546810"/>
                </a:lnTo>
                <a:lnTo>
                  <a:pt x="12277" y="546810"/>
                </a:lnTo>
                <a:lnTo>
                  <a:pt x="16836" y="546810"/>
                </a:lnTo>
                <a:lnTo>
                  <a:pt x="16836" y="545253"/>
                </a:lnTo>
                <a:lnTo>
                  <a:pt x="18371" y="545253"/>
                </a:lnTo>
                <a:lnTo>
                  <a:pt x="19905" y="545253"/>
                </a:lnTo>
                <a:lnTo>
                  <a:pt x="19905" y="542150"/>
                </a:lnTo>
                <a:lnTo>
                  <a:pt x="21440" y="542150"/>
                </a:lnTo>
                <a:lnTo>
                  <a:pt x="21440" y="541361"/>
                </a:lnTo>
                <a:lnTo>
                  <a:pt x="24509" y="541361"/>
                </a:lnTo>
                <a:lnTo>
                  <a:pt x="24509" y="539804"/>
                </a:lnTo>
                <a:lnTo>
                  <a:pt x="27567" y="539804"/>
                </a:lnTo>
                <a:lnTo>
                  <a:pt x="27567" y="538258"/>
                </a:lnTo>
                <a:lnTo>
                  <a:pt x="32148" y="538258"/>
                </a:lnTo>
                <a:lnTo>
                  <a:pt x="32148" y="536667"/>
                </a:lnTo>
                <a:lnTo>
                  <a:pt x="33672" y="536667"/>
                </a:lnTo>
                <a:lnTo>
                  <a:pt x="33672" y="535911"/>
                </a:lnTo>
                <a:lnTo>
                  <a:pt x="35206" y="535911"/>
                </a:lnTo>
                <a:lnTo>
                  <a:pt x="35206" y="535110"/>
                </a:lnTo>
                <a:lnTo>
                  <a:pt x="36752" y="535110"/>
                </a:lnTo>
                <a:lnTo>
                  <a:pt x="38275" y="535110"/>
                </a:lnTo>
                <a:lnTo>
                  <a:pt x="38275" y="532763"/>
                </a:lnTo>
                <a:lnTo>
                  <a:pt x="39810" y="532763"/>
                </a:lnTo>
                <a:lnTo>
                  <a:pt x="39810" y="531217"/>
                </a:lnTo>
                <a:lnTo>
                  <a:pt x="41345" y="531217"/>
                </a:lnTo>
                <a:lnTo>
                  <a:pt x="42879" y="531217"/>
                </a:lnTo>
                <a:lnTo>
                  <a:pt x="42879" y="529660"/>
                </a:lnTo>
                <a:lnTo>
                  <a:pt x="47483" y="529660"/>
                </a:lnTo>
                <a:lnTo>
                  <a:pt x="47483" y="528871"/>
                </a:lnTo>
                <a:lnTo>
                  <a:pt x="50519" y="528871"/>
                </a:lnTo>
                <a:lnTo>
                  <a:pt x="50519" y="527314"/>
                </a:lnTo>
                <a:lnTo>
                  <a:pt x="52053" y="527314"/>
                </a:lnTo>
                <a:lnTo>
                  <a:pt x="52053" y="525734"/>
                </a:lnTo>
                <a:lnTo>
                  <a:pt x="53577" y="525734"/>
                </a:lnTo>
                <a:lnTo>
                  <a:pt x="53577" y="524967"/>
                </a:lnTo>
                <a:lnTo>
                  <a:pt x="55111" y="524967"/>
                </a:lnTo>
                <a:lnTo>
                  <a:pt x="55111" y="523388"/>
                </a:lnTo>
                <a:lnTo>
                  <a:pt x="58181" y="523388"/>
                </a:lnTo>
                <a:lnTo>
                  <a:pt x="58181" y="521830"/>
                </a:lnTo>
                <a:lnTo>
                  <a:pt x="61250" y="521830"/>
                </a:lnTo>
                <a:lnTo>
                  <a:pt x="61250" y="521041"/>
                </a:lnTo>
                <a:lnTo>
                  <a:pt x="62784" y="521041"/>
                </a:lnTo>
                <a:lnTo>
                  <a:pt x="62784" y="520273"/>
                </a:lnTo>
                <a:lnTo>
                  <a:pt x="65854" y="520273"/>
                </a:lnTo>
                <a:lnTo>
                  <a:pt x="65854" y="519484"/>
                </a:lnTo>
                <a:lnTo>
                  <a:pt x="67355" y="519484"/>
                </a:lnTo>
                <a:lnTo>
                  <a:pt x="67355" y="518694"/>
                </a:lnTo>
                <a:lnTo>
                  <a:pt x="68878" y="518694"/>
                </a:lnTo>
                <a:lnTo>
                  <a:pt x="68878" y="517927"/>
                </a:lnTo>
                <a:lnTo>
                  <a:pt x="70424" y="517927"/>
                </a:lnTo>
                <a:lnTo>
                  <a:pt x="70424" y="517137"/>
                </a:lnTo>
                <a:lnTo>
                  <a:pt x="75017" y="517137"/>
                </a:lnTo>
                <a:lnTo>
                  <a:pt x="75017" y="516347"/>
                </a:lnTo>
                <a:lnTo>
                  <a:pt x="76562" y="516347"/>
                </a:lnTo>
                <a:lnTo>
                  <a:pt x="76562" y="515580"/>
                </a:lnTo>
                <a:lnTo>
                  <a:pt x="78086" y="515580"/>
                </a:lnTo>
                <a:lnTo>
                  <a:pt x="78086" y="513244"/>
                </a:lnTo>
                <a:lnTo>
                  <a:pt x="79620" y="513244"/>
                </a:lnTo>
                <a:lnTo>
                  <a:pt x="79620" y="512444"/>
                </a:lnTo>
                <a:lnTo>
                  <a:pt x="81155" y="512444"/>
                </a:lnTo>
                <a:lnTo>
                  <a:pt x="81155" y="510097"/>
                </a:lnTo>
                <a:lnTo>
                  <a:pt x="82700" y="510097"/>
                </a:lnTo>
                <a:lnTo>
                  <a:pt x="82700" y="509307"/>
                </a:lnTo>
                <a:lnTo>
                  <a:pt x="84224" y="509307"/>
                </a:lnTo>
                <a:lnTo>
                  <a:pt x="84224" y="508551"/>
                </a:lnTo>
                <a:lnTo>
                  <a:pt x="85725" y="508551"/>
                </a:lnTo>
                <a:lnTo>
                  <a:pt x="85725" y="507750"/>
                </a:lnTo>
                <a:lnTo>
                  <a:pt x="88794" y="507750"/>
                </a:lnTo>
                <a:lnTo>
                  <a:pt x="88794" y="506204"/>
                </a:lnTo>
                <a:lnTo>
                  <a:pt x="91864" y="506204"/>
                </a:lnTo>
                <a:lnTo>
                  <a:pt x="91864" y="504614"/>
                </a:lnTo>
                <a:lnTo>
                  <a:pt x="94933" y="504614"/>
                </a:lnTo>
                <a:lnTo>
                  <a:pt x="94933" y="503846"/>
                </a:lnTo>
                <a:lnTo>
                  <a:pt x="96467" y="503846"/>
                </a:lnTo>
                <a:lnTo>
                  <a:pt x="96467" y="502267"/>
                </a:lnTo>
                <a:lnTo>
                  <a:pt x="98002" y="502267"/>
                </a:lnTo>
                <a:lnTo>
                  <a:pt x="98002" y="499153"/>
                </a:lnTo>
                <a:lnTo>
                  <a:pt x="99525" y="499153"/>
                </a:lnTo>
                <a:lnTo>
                  <a:pt x="99525" y="498363"/>
                </a:lnTo>
                <a:lnTo>
                  <a:pt x="102572" y="498363"/>
                </a:lnTo>
                <a:lnTo>
                  <a:pt x="104096" y="498363"/>
                </a:lnTo>
                <a:lnTo>
                  <a:pt x="104096" y="496784"/>
                </a:lnTo>
                <a:lnTo>
                  <a:pt x="105630" y="496784"/>
                </a:lnTo>
                <a:lnTo>
                  <a:pt x="105630" y="496016"/>
                </a:lnTo>
                <a:lnTo>
                  <a:pt x="107165" y="496016"/>
                </a:lnTo>
                <a:lnTo>
                  <a:pt x="107165" y="494437"/>
                </a:lnTo>
                <a:lnTo>
                  <a:pt x="110234" y="494437"/>
                </a:lnTo>
                <a:lnTo>
                  <a:pt x="110234" y="493670"/>
                </a:lnTo>
                <a:lnTo>
                  <a:pt x="113292" y="493670"/>
                </a:lnTo>
                <a:lnTo>
                  <a:pt x="113292" y="492090"/>
                </a:lnTo>
                <a:lnTo>
                  <a:pt x="114838" y="492090"/>
                </a:lnTo>
                <a:lnTo>
                  <a:pt x="114838" y="491323"/>
                </a:lnTo>
                <a:lnTo>
                  <a:pt x="116372" y="491323"/>
                </a:lnTo>
                <a:lnTo>
                  <a:pt x="116372" y="488187"/>
                </a:lnTo>
                <a:lnTo>
                  <a:pt x="117907" y="488187"/>
                </a:lnTo>
                <a:lnTo>
                  <a:pt x="117907" y="487397"/>
                </a:lnTo>
                <a:lnTo>
                  <a:pt x="119430" y="487397"/>
                </a:lnTo>
                <a:lnTo>
                  <a:pt x="120932" y="487397"/>
                </a:lnTo>
                <a:lnTo>
                  <a:pt x="120932" y="486596"/>
                </a:lnTo>
                <a:lnTo>
                  <a:pt x="124001" y="486596"/>
                </a:lnTo>
                <a:lnTo>
                  <a:pt x="124001" y="485840"/>
                </a:lnTo>
                <a:lnTo>
                  <a:pt x="125536" y="485840"/>
                </a:lnTo>
                <a:lnTo>
                  <a:pt x="125536" y="485050"/>
                </a:lnTo>
                <a:lnTo>
                  <a:pt x="127070" y="485050"/>
                </a:lnTo>
                <a:lnTo>
                  <a:pt x="127070" y="484249"/>
                </a:lnTo>
                <a:lnTo>
                  <a:pt x="128605" y="484249"/>
                </a:lnTo>
                <a:lnTo>
                  <a:pt x="128605" y="483460"/>
                </a:lnTo>
                <a:lnTo>
                  <a:pt x="130139" y="483460"/>
                </a:lnTo>
                <a:lnTo>
                  <a:pt x="130139" y="481903"/>
                </a:lnTo>
                <a:lnTo>
                  <a:pt x="131674" y="481903"/>
                </a:lnTo>
                <a:lnTo>
                  <a:pt x="131674" y="479556"/>
                </a:lnTo>
                <a:lnTo>
                  <a:pt x="133208" y="479556"/>
                </a:lnTo>
                <a:lnTo>
                  <a:pt x="133208" y="477977"/>
                </a:lnTo>
                <a:lnTo>
                  <a:pt x="134743" y="477977"/>
                </a:lnTo>
                <a:lnTo>
                  <a:pt x="134743" y="477176"/>
                </a:lnTo>
                <a:lnTo>
                  <a:pt x="136278" y="477176"/>
                </a:lnTo>
                <a:lnTo>
                  <a:pt x="136278" y="476420"/>
                </a:lnTo>
                <a:lnTo>
                  <a:pt x="140848" y="476420"/>
                </a:lnTo>
                <a:lnTo>
                  <a:pt x="140848" y="475630"/>
                </a:lnTo>
                <a:lnTo>
                  <a:pt x="142382" y="475630"/>
                </a:lnTo>
                <a:lnTo>
                  <a:pt x="142382" y="473283"/>
                </a:lnTo>
                <a:lnTo>
                  <a:pt x="143906" y="473283"/>
                </a:lnTo>
                <a:lnTo>
                  <a:pt x="146986" y="473283"/>
                </a:lnTo>
                <a:lnTo>
                  <a:pt x="146986" y="471693"/>
                </a:lnTo>
                <a:lnTo>
                  <a:pt x="148510" y="471693"/>
                </a:lnTo>
                <a:lnTo>
                  <a:pt x="148510" y="470892"/>
                </a:lnTo>
                <a:lnTo>
                  <a:pt x="151579" y="470892"/>
                </a:lnTo>
                <a:lnTo>
                  <a:pt x="151579" y="468545"/>
                </a:lnTo>
                <a:lnTo>
                  <a:pt x="156149" y="468545"/>
                </a:lnTo>
                <a:lnTo>
                  <a:pt x="156149" y="467756"/>
                </a:lnTo>
                <a:lnTo>
                  <a:pt x="160753" y="467756"/>
                </a:lnTo>
                <a:lnTo>
                  <a:pt x="160753" y="466210"/>
                </a:lnTo>
                <a:lnTo>
                  <a:pt x="162288" y="466210"/>
                </a:lnTo>
                <a:lnTo>
                  <a:pt x="162288" y="465409"/>
                </a:lnTo>
                <a:lnTo>
                  <a:pt x="163811" y="465409"/>
                </a:lnTo>
                <a:lnTo>
                  <a:pt x="163811" y="464619"/>
                </a:lnTo>
                <a:lnTo>
                  <a:pt x="165346" y="464619"/>
                </a:lnTo>
                <a:lnTo>
                  <a:pt x="165346" y="462272"/>
                </a:lnTo>
                <a:lnTo>
                  <a:pt x="166891" y="462272"/>
                </a:lnTo>
                <a:lnTo>
                  <a:pt x="166891" y="461483"/>
                </a:lnTo>
                <a:lnTo>
                  <a:pt x="169949" y="461483"/>
                </a:lnTo>
                <a:lnTo>
                  <a:pt x="171484" y="461483"/>
                </a:lnTo>
                <a:lnTo>
                  <a:pt x="171484" y="458302"/>
                </a:lnTo>
                <a:lnTo>
                  <a:pt x="173030" y="458302"/>
                </a:lnTo>
                <a:lnTo>
                  <a:pt x="173030" y="455955"/>
                </a:lnTo>
                <a:lnTo>
                  <a:pt x="174520" y="455955"/>
                </a:lnTo>
                <a:lnTo>
                  <a:pt x="174520" y="455166"/>
                </a:lnTo>
                <a:lnTo>
                  <a:pt x="177589" y="455166"/>
                </a:lnTo>
                <a:lnTo>
                  <a:pt x="177589" y="452029"/>
                </a:lnTo>
                <a:lnTo>
                  <a:pt x="179112" y="452029"/>
                </a:lnTo>
                <a:lnTo>
                  <a:pt x="179112" y="450439"/>
                </a:lnTo>
                <a:lnTo>
                  <a:pt x="183716" y="450439"/>
                </a:lnTo>
                <a:lnTo>
                  <a:pt x="183716" y="448882"/>
                </a:lnTo>
                <a:lnTo>
                  <a:pt x="185251" y="448882"/>
                </a:lnTo>
                <a:lnTo>
                  <a:pt x="185251" y="448092"/>
                </a:lnTo>
                <a:lnTo>
                  <a:pt x="189855" y="448092"/>
                </a:lnTo>
                <a:lnTo>
                  <a:pt x="189855" y="445712"/>
                </a:lnTo>
                <a:lnTo>
                  <a:pt x="191356" y="445712"/>
                </a:lnTo>
                <a:lnTo>
                  <a:pt x="191356" y="444155"/>
                </a:lnTo>
                <a:lnTo>
                  <a:pt x="194425" y="444155"/>
                </a:lnTo>
                <a:lnTo>
                  <a:pt x="194425" y="443365"/>
                </a:lnTo>
                <a:lnTo>
                  <a:pt x="195960" y="443365"/>
                </a:lnTo>
                <a:lnTo>
                  <a:pt x="195960" y="441775"/>
                </a:lnTo>
                <a:lnTo>
                  <a:pt x="199028" y="441775"/>
                </a:lnTo>
                <a:lnTo>
                  <a:pt x="200563" y="441775"/>
                </a:lnTo>
                <a:lnTo>
                  <a:pt x="202098" y="441775"/>
                </a:lnTo>
                <a:lnTo>
                  <a:pt x="202098" y="440985"/>
                </a:lnTo>
                <a:lnTo>
                  <a:pt x="203632" y="440985"/>
                </a:lnTo>
                <a:lnTo>
                  <a:pt x="203632" y="440229"/>
                </a:lnTo>
                <a:lnTo>
                  <a:pt x="206701" y="440229"/>
                </a:lnTo>
                <a:lnTo>
                  <a:pt x="206701" y="439428"/>
                </a:lnTo>
                <a:lnTo>
                  <a:pt x="208236" y="439428"/>
                </a:lnTo>
                <a:lnTo>
                  <a:pt x="209726" y="439428"/>
                </a:lnTo>
                <a:lnTo>
                  <a:pt x="209726" y="437838"/>
                </a:lnTo>
                <a:lnTo>
                  <a:pt x="211261" y="437838"/>
                </a:lnTo>
                <a:lnTo>
                  <a:pt x="212806" y="437838"/>
                </a:lnTo>
                <a:lnTo>
                  <a:pt x="212806" y="437048"/>
                </a:lnTo>
                <a:lnTo>
                  <a:pt x="215864" y="437048"/>
                </a:lnTo>
                <a:lnTo>
                  <a:pt x="215864" y="436258"/>
                </a:lnTo>
                <a:lnTo>
                  <a:pt x="217399" y="436258"/>
                </a:lnTo>
                <a:lnTo>
                  <a:pt x="217399" y="434701"/>
                </a:lnTo>
                <a:lnTo>
                  <a:pt x="218934" y="434701"/>
                </a:lnTo>
                <a:lnTo>
                  <a:pt x="218934" y="433111"/>
                </a:lnTo>
                <a:lnTo>
                  <a:pt x="222003" y="433111"/>
                </a:lnTo>
                <a:lnTo>
                  <a:pt x="222003" y="431531"/>
                </a:lnTo>
                <a:lnTo>
                  <a:pt x="223537" y="431531"/>
                </a:lnTo>
                <a:lnTo>
                  <a:pt x="223537" y="430731"/>
                </a:lnTo>
                <a:lnTo>
                  <a:pt x="225072" y="430731"/>
                </a:lnTo>
                <a:lnTo>
                  <a:pt x="226573" y="430731"/>
                </a:lnTo>
                <a:lnTo>
                  <a:pt x="226573" y="429140"/>
                </a:lnTo>
                <a:lnTo>
                  <a:pt x="228108" y="429140"/>
                </a:lnTo>
                <a:lnTo>
                  <a:pt x="228108" y="428384"/>
                </a:lnTo>
                <a:lnTo>
                  <a:pt x="229631" y="428384"/>
                </a:lnTo>
                <a:lnTo>
                  <a:pt x="229631" y="427594"/>
                </a:lnTo>
                <a:lnTo>
                  <a:pt x="231166" y="427594"/>
                </a:lnTo>
                <a:lnTo>
                  <a:pt x="231166" y="426805"/>
                </a:lnTo>
                <a:lnTo>
                  <a:pt x="232712" y="426805"/>
                </a:lnTo>
                <a:lnTo>
                  <a:pt x="232712" y="426004"/>
                </a:lnTo>
                <a:lnTo>
                  <a:pt x="234235" y="426004"/>
                </a:lnTo>
                <a:lnTo>
                  <a:pt x="235770" y="426004"/>
                </a:lnTo>
                <a:lnTo>
                  <a:pt x="235770" y="425214"/>
                </a:lnTo>
                <a:lnTo>
                  <a:pt x="237304" y="425214"/>
                </a:lnTo>
                <a:lnTo>
                  <a:pt x="237304" y="423624"/>
                </a:lnTo>
                <a:lnTo>
                  <a:pt x="238850" y="423624"/>
                </a:lnTo>
                <a:lnTo>
                  <a:pt x="240373" y="423624"/>
                </a:lnTo>
                <a:lnTo>
                  <a:pt x="240373" y="422834"/>
                </a:lnTo>
                <a:lnTo>
                  <a:pt x="241908" y="422834"/>
                </a:lnTo>
                <a:lnTo>
                  <a:pt x="241908" y="421244"/>
                </a:lnTo>
                <a:lnTo>
                  <a:pt x="244933" y="421244"/>
                </a:lnTo>
                <a:lnTo>
                  <a:pt x="244933" y="420487"/>
                </a:lnTo>
                <a:lnTo>
                  <a:pt x="246478" y="420487"/>
                </a:lnTo>
                <a:lnTo>
                  <a:pt x="249536" y="420487"/>
                </a:lnTo>
                <a:lnTo>
                  <a:pt x="249536" y="418897"/>
                </a:lnTo>
                <a:lnTo>
                  <a:pt x="251082" y="418897"/>
                </a:lnTo>
                <a:lnTo>
                  <a:pt x="251082" y="418107"/>
                </a:lnTo>
                <a:lnTo>
                  <a:pt x="254140" y="418107"/>
                </a:lnTo>
                <a:lnTo>
                  <a:pt x="254140" y="417318"/>
                </a:lnTo>
                <a:lnTo>
                  <a:pt x="255675" y="417318"/>
                </a:lnTo>
                <a:lnTo>
                  <a:pt x="255675" y="416517"/>
                </a:lnTo>
                <a:lnTo>
                  <a:pt x="258755" y="416517"/>
                </a:lnTo>
                <a:lnTo>
                  <a:pt x="258755" y="414137"/>
                </a:lnTo>
                <a:lnTo>
                  <a:pt x="260279" y="414137"/>
                </a:lnTo>
                <a:lnTo>
                  <a:pt x="260279" y="413347"/>
                </a:lnTo>
                <a:lnTo>
                  <a:pt x="261780" y="413347"/>
                </a:lnTo>
                <a:lnTo>
                  <a:pt x="263314" y="413347"/>
                </a:lnTo>
                <a:lnTo>
                  <a:pt x="263314" y="412546"/>
                </a:lnTo>
                <a:lnTo>
                  <a:pt x="267918" y="412546"/>
                </a:lnTo>
                <a:lnTo>
                  <a:pt x="269441" y="412546"/>
                </a:lnTo>
                <a:lnTo>
                  <a:pt x="269441" y="411757"/>
                </a:lnTo>
                <a:lnTo>
                  <a:pt x="270987" y="411757"/>
                </a:lnTo>
                <a:lnTo>
                  <a:pt x="270987" y="410967"/>
                </a:lnTo>
                <a:lnTo>
                  <a:pt x="272522" y="410967"/>
                </a:lnTo>
                <a:lnTo>
                  <a:pt x="274056" y="410967"/>
                </a:lnTo>
                <a:lnTo>
                  <a:pt x="274056" y="409376"/>
                </a:lnTo>
                <a:lnTo>
                  <a:pt x="275580" y="409376"/>
                </a:lnTo>
                <a:lnTo>
                  <a:pt x="275580" y="407786"/>
                </a:lnTo>
                <a:lnTo>
                  <a:pt x="277125" y="407786"/>
                </a:lnTo>
                <a:lnTo>
                  <a:pt x="277125" y="406196"/>
                </a:lnTo>
                <a:lnTo>
                  <a:pt x="278660" y="406196"/>
                </a:lnTo>
                <a:lnTo>
                  <a:pt x="278660" y="404605"/>
                </a:lnTo>
                <a:lnTo>
                  <a:pt x="280150" y="404605"/>
                </a:lnTo>
                <a:lnTo>
                  <a:pt x="281685" y="404605"/>
                </a:lnTo>
                <a:lnTo>
                  <a:pt x="281685" y="403026"/>
                </a:lnTo>
                <a:lnTo>
                  <a:pt x="284754" y="403026"/>
                </a:lnTo>
                <a:lnTo>
                  <a:pt x="284754" y="401435"/>
                </a:lnTo>
                <a:lnTo>
                  <a:pt x="286289" y="401435"/>
                </a:lnTo>
                <a:lnTo>
                  <a:pt x="286289" y="400646"/>
                </a:lnTo>
                <a:lnTo>
                  <a:pt x="287823" y="400646"/>
                </a:lnTo>
                <a:lnTo>
                  <a:pt x="289358" y="400646"/>
                </a:lnTo>
                <a:lnTo>
                  <a:pt x="290892" y="400646"/>
                </a:lnTo>
                <a:lnTo>
                  <a:pt x="290892" y="399055"/>
                </a:lnTo>
                <a:lnTo>
                  <a:pt x="292427" y="399055"/>
                </a:lnTo>
                <a:lnTo>
                  <a:pt x="292427" y="396642"/>
                </a:lnTo>
                <a:lnTo>
                  <a:pt x="293961" y="396642"/>
                </a:lnTo>
                <a:lnTo>
                  <a:pt x="295485" y="396642"/>
                </a:lnTo>
                <a:lnTo>
                  <a:pt x="297031" y="396642"/>
                </a:lnTo>
                <a:lnTo>
                  <a:pt x="298532" y="396642"/>
                </a:lnTo>
                <a:lnTo>
                  <a:pt x="298532" y="395852"/>
                </a:lnTo>
                <a:lnTo>
                  <a:pt x="300055" y="395852"/>
                </a:lnTo>
                <a:lnTo>
                  <a:pt x="301590" y="395852"/>
                </a:lnTo>
                <a:lnTo>
                  <a:pt x="303125" y="395852"/>
                </a:lnTo>
                <a:lnTo>
                  <a:pt x="303125" y="395018"/>
                </a:lnTo>
                <a:lnTo>
                  <a:pt x="304659" y="395018"/>
                </a:lnTo>
                <a:lnTo>
                  <a:pt x="304659" y="393394"/>
                </a:lnTo>
                <a:lnTo>
                  <a:pt x="306194" y="393394"/>
                </a:lnTo>
                <a:lnTo>
                  <a:pt x="306194" y="392571"/>
                </a:lnTo>
                <a:lnTo>
                  <a:pt x="307728" y="392571"/>
                </a:lnTo>
                <a:lnTo>
                  <a:pt x="307728" y="391737"/>
                </a:lnTo>
                <a:lnTo>
                  <a:pt x="309274" y="391737"/>
                </a:lnTo>
                <a:lnTo>
                  <a:pt x="310797" y="391737"/>
                </a:lnTo>
                <a:lnTo>
                  <a:pt x="310797" y="390124"/>
                </a:lnTo>
                <a:lnTo>
                  <a:pt x="312332" y="390124"/>
                </a:lnTo>
                <a:lnTo>
                  <a:pt x="313867" y="390124"/>
                </a:lnTo>
                <a:lnTo>
                  <a:pt x="313867" y="389257"/>
                </a:lnTo>
                <a:lnTo>
                  <a:pt x="315357" y="389257"/>
                </a:lnTo>
                <a:lnTo>
                  <a:pt x="315357" y="387600"/>
                </a:lnTo>
                <a:lnTo>
                  <a:pt x="316902" y="387600"/>
                </a:lnTo>
                <a:lnTo>
                  <a:pt x="316902" y="386766"/>
                </a:lnTo>
                <a:lnTo>
                  <a:pt x="318437" y="386766"/>
                </a:lnTo>
                <a:lnTo>
                  <a:pt x="318437" y="385943"/>
                </a:lnTo>
                <a:lnTo>
                  <a:pt x="319960" y="385943"/>
                </a:lnTo>
                <a:lnTo>
                  <a:pt x="319960" y="385086"/>
                </a:lnTo>
                <a:lnTo>
                  <a:pt x="321495" y="385086"/>
                </a:lnTo>
                <a:lnTo>
                  <a:pt x="323041" y="385086"/>
                </a:lnTo>
                <a:lnTo>
                  <a:pt x="324564" y="385086"/>
                </a:lnTo>
                <a:lnTo>
                  <a:pt x="327633" y="385086"/>
                </a:lnTo>
                <a:lnTo>
                  <a:pt x="327633" y="384252"/>
                </a:lnTo>
                <a:lnTo>
                  <a:pt x="329179" y="384252"/>
                </a:lnTo>
                <a:lnTo>
                  <a:pt x="329179" y="383396"/>
                </a:lnTo>
                <a:lnTo>
                  <a:pt x="330702" y="383396"/>
                </a:lnTo>
                <a:lnTo>
                  <a:pt x="330702" y="381661"/>
                </a:lnTo>
                <a:lnTo>
                  <a:pt x="332237" y="381661"/>
                </a:lnTo>
                <a:lnTo>
                  <a:pt x="333738" y="381661"/>
                </a:lnTo>
                <a:lnTo>
                  <a:pt x="335262" y="381661"/>
                </a:lnTo>
                <a:lnTo>
                  <a:pt x="335262" y="380804"/>
                </a:lnTo>
                <a:lnTo>
                  <a:pt x="336807" y="380804"/>
                </a:lnTo>
                <a:lnTo>
                  <a:pt x="336807" y="379937"/>
                </a:lnTo>
                <a:lnTo>
                  <a:pt x="338342" y="379937"/>
                </a:lnTo>
                <a:lnTo>
                  <a:pt x="339865" y="379937"/>
                </a:lnTo>
                <a:lnTo>
                  <a:pt x="339865" y="379080"/>
                </a:lnTo>
                <a:lnTo>
                  <a:pt x="341400" y="379080"/>
                </a:lnTo>
                <a:lnTo>
                  <a:pt x="342946" y="379080"/>
                </a:lnTo>
                <a:lnTo>
                  <a:pt x="342946" y="377312"/>
                </a:lnTo>
                <a:lnTo>
                  <a:pt x="344480" y="377312"/>
                </a:lnTo>
                <a:lnTo>
                  <a:pt x="346004" y="377312"/>
                </a:lnTo>
                <a:lnTo>
                  <a:pt x="346004" y="375555"/>
                </a:lnTo>
                <a:lnTo>
                  <a:pt x="347538" y="375555"/>
                </a:lnTo>
                <a:lnTo>
                  <a:pt x="347538" y="374698"/>
                </a:lnTo>
                <a:lnTo>
                  <a:pt x="350574" y="374698"/>
                </a:lnTo>
                <a:lnTo>
                  <a:pt x="352109" y="374698"/>
                </a:lnTo>
                <a:lnTo>
                  <a:pt x="352109" y="373797"/>
                </a:lnTo>
                <a:lnTo>
                  <a:pt x="353643" y="373797"/>
                </a:lnTo>
                <a:lnTo>
                  <a:pt x="353643" y="372930"/>
                </a:lnTo>
                <a:lnTo>
                  <a:pt x="355167" y="372930"/>
                </a:lnTo>
                <a:lnTo>
                  <a:pt x="356713" y="372930"/>
                </a:lnTo>
                <a:lnTo>
                  <a:pt x="356713" y="372040"/>
                </a:lnTo>
                <a:lnTo>
                  <a:pt x="358247" y="372040"/>
                </a:lnTo>
                <a:lnTo>
                  <a:pt x="359782" y="372040"/>
                </a:lnTo>
                <a:lnTo>
                  <a:pt x="361316" y="372040"/>
                </a:lnTo>
                <a:lnTo>
                  <a:pt x="362851" y="372040"/>
                </a:lnTo>
                <a:lnTo>
                  <a:pt x="362851" y="371139"/>
                </a:lnTo>
                <a:lnTo>
                  <a:pt x="364386" y="371139"/>
                </a:lnTo>
                <a:lnTo>
                  <a:pt x="364386" y="368448"/>
                </a:lnTo>
                <a:lnTo>
                  <a:pt x="365909" y="368448"/>
                </a:lnTo>
                <a:lnTo>
                  <a:pt x="367455" y="368448"/>
                </a:lnTo>
                <a:lnTo>
                  <a:pt x="367455" y="367513"/>
                </a:lnTo>
                <a:lnTo>
                  <a:pt x="368956" y="367513"/>
                </a:lnTo>
                <a:lnTo>
                  <a:pt x="370479" y="367513"/>
                </a:lnTo>
                <a:lnTo>
                  <a:pt x="372014" y="367513"/>
                </a:lnTo>
                <a:lnTo>
                  <a:pt x="373548" y="367513"/>
                </a:lnTo>
                <a:lnTo>
                  <a:pt x="373548" y="365690"/>
                </a:lnTo>
                <a:lnTo>
                  <a:pt x="375083" y="365690"/>
                </a:lnTo>
                <a:lnTo>
                  <a:pt x="375083" y="364789"/>
                </a:lnTo>
                <a:lnTo>
                  <a:pt x="376617" y="364789"/>
                </a:lnTo>
                <a:lnTo>
                  <a:pt x="376617" y="362030"/>
                </a:lnTo>
                <a:lnTo>
                  <a:pt x="378152" y="362030"/>
                </a:lnTo>
                <a:lnTo>
                  <a:pt x="378152" y="359272"/>
                </a:lnTo>
                <a:lnTo>
                  <a:pt x="382756" y="359272"/>
                </a:lnTo>
                <a:lnTo>
                  <a:pt x="382756" y="358338"/>
                </a:lnTo>
                <a:lnTo>
                  <a:pt x="384290" y="358338"/>
                </a:lnTo>
                <a:lnTo>
                  <a:pt x="384290" y="357404"/>
                </a:lnTo>
                <a:lnTo>
                  <a:pt x="385781" y="357404"/>
                </a:lnTo>
                <a:lnTo>
                  <a:pt x="387315" y="357404"/>
                </a:lnTo>
                <a:lnTo>
                  <a:pt x="388861" y="357404"/>
                </a:lnTo>
                <a:lnTo>
                  <a:pt x="388861" y="356481"/>
                </a:lnTo>
                <a:lnTo>
                  <a:pt x="391919" y="356481"/>
                </a:lnTo>
                <a:lnTo>
                  <a:pt x="393453" y="356481"/>
                </a:lnTo>
                <a:lnTo>
                  <a:pt x="393453" y="355546"/>
                </a:lnTo>
                <a:lnTo>
                  <a:pt x="394999" y="355546"/>
                </a:lnTo>
                <a:lnTo>
                  <a:pt x="396523" y="355546"/>
                </a:lnTo>
                <a:lnTo>
                  <a:pt x="396523" y="354579"/>
                </a:lnTo>
                <a:lnTo>
                  <a:pt x="398057" y="354579"/>
                </a:lnTo>
                <a:lnTo>
                  <a:pt x="399592" y="354579"/>
                </a:lnTo>
                <a:lnTo>
                  <a:pt x="401126" y="354579"/>
                </a:lnTo>
                <a:lnTo>
                  <a:pt x="404162" y="354579"/>
                </a:lnTo>
                <a:lnTo>
                  <a:pt x="404162" y="353644"/>
                </a:lnTo>
                <a:lnTo>
                  <a:pt x="405686" y="353644"/>
                </a:lnTo>
                <a:lnTo>
                  <a:pt x="407220" y="353644"/>
                </a:lnTo>
                <a:lnTo>
                  <a:pt x="408766" y="353644"/>
                </a:lnTo>
                <a:lnTo>
                  <a:pt x="410289" y="353644"/>
                </a:lnTo>
                <a:lnTo>
                  <a:pt x="410289" y="351720"/>
                </a:lnTo>
                <a:lnTo>
                  <a:pt x="411824" y="351720"/>
                </a:lnTo>
                <a:lnTo>
                  <a:pt x="413359" y="351720"/>
                </a:lnTo>
                <a:lnTo>
                  <a:pt x="413359" y="349785"/>
                </a:lnTo>
                <a:lnTo>
                  <a:pt x="416428" y="349785"/>
                </a:lnTo>
                <a:lnTo>
                  <a:pt x="417962" y="349785"/>
                </a:lnTo>
                <a:lnTo>
                  <a:pt x="419508" y="349785"/>
                </a:lnTo>
                <a:lnTo>
                  <a:pt x="419508" y="348784"/>
                </a:lnTo>
                <a:lnTo>
                  <a:pt x="421032" y="348784"/>
                </a:lnTo>
                <a:lnTo>
                  <a:pt x="424067" y="348784"/>
                </a:lnTo>
                <a:lnTo>
                  <a:pt x="424067" y="347817"/>
                </a:lnTo>
                <a:lnTo>
                  <a:pt x="425591" y="347817"/>
                </a:lnTo>
                <a:lnTo>
                  <a:pt x="425591" y="346816"/>
                </a:lnTo>
                <a:lnTo>
                  <a:pt x="427136" y="346816"/>
                </a:lnTo>
                <a:lnTo>
                  <a:pt x="427136" y="345848"/>
                </a:lnTo>
                <a:lnTo>
                  <a:pt x="428671" y="345848"/>
                </a:lnTo>
                <a:lnTo>
                  <a:pt x="430206" y="345848"/>
                </a:lnTo>
                <a:lnTo>
                  <a:pt x="431729" y="345848"/>
                </a:lnTo>
                <a:lnTo>
                  <a:pt x="431729" y="344847"/>
                </a:lnTo>
                <a:lnTo>
                  <a:pt x="433275" y="344847"/>
                </a:lnTo>
                <a:lnTo>
                  <a:pt x="433275" y="343846"/>
                </a:lnTo>
                <a:lnTo>
                  <a:pt x="436333" y="343846"/>
                </a:lnTo>
                <a:lnTo>
                  <a:pt x="436333" y="342845"/>
                </a:lnTo>
                <a:lnTo>
                  <a:pt x="437868" y="342845"/>
                </a:lnTo>
                <a:lnTo>
                  <a:pt x="439369" y="342845"/>
                </a:lnTo>
                <a:lnTo>
                  <a:pt x="440903" y="342845"/>
                </a:lnTo>
                <a:lnTo>
                  <a:pt x="442438" y="342845"/>
                </a:lnTo>
                <a:lnTo>
                  <a:pt x="442438" y="341844"/>
                </a:lnTo>
                <a:lnTo>
                  <a:pt x="443972" y="341844"/>
                </a:lnTo>
                <a:lnTo>
                  <a:pt x="443972" y="340843"/>
                </a:lnTo>
                <a:lnTo>
                  <a:pt x="447042" y="340843"/>
                </a:lnTo>
                <a:lnTo>
                  <a:pt x="448576" y="340843"/>
                </a:lnTo>
                <a:lnTo>
                  <a:pt x="448576" y="339809"/>
                </a:lnTo>
                <a:lnTo>
                  <a:pt x="450111" y="339809"/>
                </a:lnTo>
                <a:lnTo>
                  <a:pt x="450111" y="337773"/>
                </a:lnTo>
                <a:lnTo>
                  <a:pt x="451634" y="337773"/>
                </a:lnTo>
                <a:lnTo>
                  <a:pt x="451634" y="336772"/>
                </a:lnTo>
                <a:lnTo>
                  <a:pt x="453180" y="336772"/>
                </a:lnTo>
                <a:lnTo>
                  <a:pt x="454714" y="336772"/>
                </a:lnTo>
                <a:lnTo>
                  <a:pt x="456238" y="336772"/>
                </a:lnTo>
                <a:lnTo>
                  <a:pt x="456238" y="335738"/>
                </a:lnTo>
                <a:lnTo>
                  <a:pt x="457739" y="335738"/>
                </a:lnTo>
                <a:lnTo>
                  <a:pt x="459274" y="335738"/>
                </a:lnTo>
                <a:lnTo>
                  <a:pt x="459274" y="334704"/>
                </a:lnTo>
                <a:lnTo>
                  <a:pt x="460808" y="334704"/>
                </a:lnTo>
                <a:lnTo>
                  <a:pt x="462343" y="334704"/>
                </a:lnTo>
                <a:lnTo>
                  <a:pt x="463878" y="334704"/>
                </a:lnTo>
                <a:lnTo>
                  <a:pt x="463878" y="331590"/>
                </a:lnTo>
                <a:lnTo>
                  <a:pt x="466947" y="331590"/>
                </a:lnTo>
                <a:lnTo>
                  <a:pt x="466947" y="330566"/>
                </a:lnTo>
                <a:lnTo>
                  <a:pt x="468481" y="330566"/>
                </a:lnTo>
                <a:lnTo>
                  <a:pt x="468481" y="329521"/>
                </a:lnTo>
                <a:lnTo>
                  <a:pt x="470016" y="329521"/>
                </a:lnTo>
                <a:lnTo>
                  <a:pt x="471539" y="329521"/>
                </a:lnTo>
                <a:lnTo>
                  <a:pt x="473085" y="329521"/>
                </a:lnTo>
                <a:lnTo>
                  <a:pt x="473085" y="327452"/>
                </a:lnTo>
                <a:lnTo>
                  <a:pt x="474586" y="327452"/>
                </a:lnTo>
                <a:lnTo>
                  <a:pt x="474586" y="326418"/>
                </a:lnTo>
                <a:lnTo>
                  <a:pt x="476110" y="326418"/>
                </a:lnTo>
                <a:lnTo>
                  <a:pt x="476110" y="324316"/>
                </a:lnTo>
                <a:lnTo>
                  <a:pt x="479190" y="324316"/>
                </a:lnTo>
                <a:lnTo>
                  <a:pt x="480714" y="324316"/>
                </a:lnTo>
                <a:lnTo>
                  <a:pt x="480714" y="322214"/>
                </a:lnTo>
                <a:lnTo>
                  <a:pt x="482248" y="322214"/>
                </a:lnTo>
                <a:lnTo>
                  <a:pt x="482248" y="317999"/>
                </a:lnTo>
                <a:lnTo>
                  <a:pt x="483783" y="317999"/>
                </a:lnTo>
                <a:lnTo>
                  <a:pt x="485328" y="317999"/>
                </a:lnTo>
                <a:lnTo>
                  <a:pt x="488386" y="317999"/>
                </a:lnTo>
                <a:lnTo>
                  <a:pt x="488386" y="315897"/>
                </a:lnTo>
                <a:lnTo>
                  <a:pt x="489921" y="315897"/>
                </a:lnTo>
                <a:lnTo>
                  <a:pt x="491456" y="315897"/>
                </a:lnTo>
                <a:lnTo>
                  <a:pt x="491456" y="314829"/>
                </a:lnTo>
                <a:lnTo>
                  <a:pt x="492957" y="314829"/>
                </a:lnTo>
                <a:lnTo>
                  <a:pt x="492957" y="312727"/>
                </a:lnTo>
                <a:lnTo>
                  <a:pt x="494491" y="312727"/>
                </a:lnTo>
                <a:lnTo>
                  <a:pt x="494491" y="310580"/>
                </a:lnTo>
                <a:lnTo>
                  <a:pt x="496015" y="310580"/>
                </a:lnTo>
                <a:lnTo>
                  <a:pt x="496015" y="309513"/>
                </a:lnTo>
                <a:lnTo>
                  <a:pt x="497549" y="309513"/>
                </a:lnTo>
                <a:lnTo>
                  <a:pt x="497549" y="308412"/>
                </a:lnTo>
                <a:lnTo>
                  <a:pt x="499095" y="308412"/>
                </a:lnTo>
                <a:lnTo>
                  <a:pt x="499095" y="307344"/>
                </a:lnTo>
                <a:lnTo>
                  <a:pt x="500630" y="307344"/>
                </a:lnTo>
                <a:lnTo>
                  <a:pt x="502153" y="307344"/>
                </a:lnTo>
                <a:lnTo>
                  <a:pt x="503688" y="307344"/>
                </a:lnTo>
                <a:lnTo>
                  <a:pt x="503688" y="305197"/>
                </a:lnTo>
                <a:lnTo>
                  <a:pt x="505233" y="305197"/>
                </a:lnTo>
                <a:lnTo>
                  <a:pt x="506757" y="305197"/>
                </a:lnTo>
                <a:lnTo>
                  <a:pt x="506757" y="304096"/>
                </a:lnTo>
                <a:lnTo>
                  <a:pt x="509793" y="304096"/>
                </a:lnTo>
                <a:lnTo>
                  <a:pt x="509793" y="301927"/>
                </a:lnTo>
                <a:lnTo>
                  <a:pt x="511316" y="301927"/>
                </a:lnTo>
                <a:lnTo>
                  <a:pt x="511316" y="299748"/>
                </a:lnTo>
                <a:lnTo>
                  <a:pt x="512862" y="299748"/>
                </a:lnTo>
                <a:lnTo>
                  <a:pt x="514396" y="299748"/>
                </a:lnTo>
                <a:lnTo>
                  <a:pt x="514396" y="298646"/>
                </a:lnTo>
                <a:lnTo>
                  <a:pt x="515931" y="298646"/>
                </a:lnTo>
                <a:lnTo>
                  <a:pt x="517454" y="298646"/>
                </a:lnTo>
                <a:lnTo>
                  <a:pt x="520535" y="298646"/>
                </a:lnTo>
                <a:lnTo>
                  <a:pt x="520535" y="297534"/>
                </a:lnTo>
                <a:lnTo>
                  <a:pt x="522058" y="297534"/>
                </a:lnTo>
                <a:lnTo>
                  <a:pt x="522058" y="294231"/>
                </a:lnTo>
                <a:lnTo>
                  <a:pt x="523593" y="294231"/>
                </a:lnTo>
                <a:lnTo>
                  <a:pt x="525139" y="294231"/>
                </a:lnTo>
                <a:lnTo>
                  <a:pt x="526662" y="294231"/>
                </a:lnTo>
                <a:lnTo>
                  <a:pt x="528163" y="294231"/>
                </a:lnTo>
                <a:lnTo>
                  <a:pt x="531232" y="294231"/>
                </a:lnTo>
                <a:lnTo>
                  <a:pt x="531232" y="293086"/>
                </a:lnTo>
                <a:lnTo>
                  <a:pt x="532767" y="293086"/>
                </a:lnTo>
                <a:lnTo>
                  <a:pt x="534302" y="293086"/>
                </a:lnTo>
                <a:lnTo>
                  <a:pt x="535836" y="293086"/>
                </a:lnTo>
                <a:lnTo>
                  <a:pt x="537371" y="293086"/>
                </a:lnTo>
                <a:lnTo>
                  <a:pt x="537371" y="291951"/>
                </a:lnTo>
                <a:lnTo>
                  <a:pt x="538905" y="291951"/>
                </a:lnTo>
                <a:lnTo>
                  <a:pt x="540440" y="291951"/>
                </a:lnTo>
                <a:lnTo>
                  <a:pt x="540440" y="290805"/>
                </a:lnTo>
                <a:lnTo>
                  <a:pt x="541963" y="290805"/>
                </a:lnTo>
                <a:lnTo>
                  <a:pt x="543509" y="290805"/>
                </a:lnTo>
                <a:lnTo>
                  <a:pt x="545044" y="290805"/>
                </a:lnTo>
                <a:lnTo>
                  <a:pt x="546534" y="290805"/>
                </a:lnTo>
                <a:lnTo>
                  <a:pt x="546534" y="289671"/>
                </a:lnTo>
                <a:lnTo>
                  <a:pt x="548068" y="289671"/>
                </a:lnTo>
                <a:lnTo>
                  <a:pt x="548068" y="288492"/>
                </a:lnTo>
                <a:lnTo>
                  <a:pt x="549603" y="288492"/>
                </a:lnTo>
                <a:lnTo>
                  <a:pt x="549603" y="287358"/>
                </a:lnTo>
                <a:lnTo>
                  <a:pt x="554206" y="287358"/>
                </a:lnTo>
                <a:lnTo>
                  <a:pt x="554206" y="285011"/>
                </a:lnTo>
                <a:lnTo>
                  <a:pt x="555741" y="285011"/>
                </a:lnTo>
                <a:lnTo>
                  <a:pt x="555741" y="283843"/>
                </a:lnTo>
                <a:lnTo>
                  <a:pt x="557276" y="283843"/>
                </a:lnTo>
                <a:lnTo>
                  <a:pt x="558810" y="283843"/>
                </a:lnTo>
                <a:lnTo>
                  <a:pt x="558810" y="282675"/>
                </a:lnTo>
                <a:lnTo>
                  <a:pt x="560345" y="282675"/>
                </a:lnTo>
                <a:lnTo>
                  <a:pt x="564915" y="282675"/>
                </a:lnTo>
                <a:lnTo>
                  <a:pt x="564915" y="281496"/>
                </a:lnTo>
                <a:lnTo>
                  <a:pt x="566439" y="281496"/>
                </a:lnTo>
                <a:lnTo>
                  <a:pt x="567973" y="281496"/>
                </a:lnTo>
                <a:lnTo>
                  <a:pt x="567973" y="277937"/>
                </a:lnTo>
                <a:lnTo>
                  <a:pt x="569508" y="277937"/>
                </a:lnTo>
                <a:lnTo>
                  <a:pt x="571054" y="277937"/>
                </a:lnTo>
                <a:lnTo>
                  <a:pt x="571054" y="276736"/>
                </a:lnTo>
                <a:lnTo>
                  <a:pt x="575646" y="276736"/>
                </a:lnTo>
                <a:lnTo>
                  <a:pt x="577181" y="276736"/>
                </a:lnTo>
                <a:lnTo>
                  <a:pt x="577181" y="273144"/>
                </a:lnTo>
                <a:lnTo>
                  <a:pt x="578715" y="273144"/>
                </a:lnTo>
                <a:lnTo>
                  <a:pt x="580250" y="273144"/>
                </a:lnTo>
                <a:lnTo>
                  <a:pt x="580250" y="270730"/>
                </a:lnTo>
                <a:lnTo>
                  <a:pt x="581740" y="270730"/>
                </a:lnTo>
                <a:lnTo>
                  <a:pt x="583286" y="270730"/>
                </a:lnTo>
                <a:lnTo>
                  <a:pt x="583286" y="269485"/>
                </a:lnTo>
                <a:lnTo>
                  <a:pt x="584821" y="269485"/>
                </a:lnTo>
                <a:lnTo>
                  <a:pt x="584821" y="268284"/>
                </a:lnTo>
                <a:lnTo>
                  <a:pt x="586355" y="268284"/>
                </a:lnTo>
                <a:lnTo>
                  <a:pt x="587878" y="268284"/>
                </a:lnTo>
                <a:lnTo>
                  <a:pt x="589424" y="268284"/>
                </a:lnTo>
                <a:lnTo>
                  <a:pt x="590959" y="268284"/>
                </a:lnTo>
                <a:lnTo>
                  <a:pt x="592482" y="268284"/>
                </a:lnTo>
                <a:lnTo>
                  <a:pt x="592482" y="265792"/>
                </a:lnTo>
                <a:lnTo>
                  <a:pt x="594017" y="265792"/>
                </a:lnTo>
                <a:lnTo>
                  <a:pt x="594017" y="263312"/>
                </a:lnTo>
                <a:lnTo>
                  <a:pt x="595563" y="263312"/>
                </a:lnTo>
                <a:lnTo>
                  <a:pt x="595563" y="262066"/>
                </a:lnTo>
                <a:lnTo>
                  <a:pt x="597086" y="262066"/>
                </a:lnTo>
                <a:lnTo>
                  <a:pt x="598587" y="262066"/>
                </a:lnTo>
                <a:lnTo>
                  <a:pt x="600122" y="262066"/>
                </a:lnTo>
                <a:lnTo>
                  <a:pt x="600122" y="260787"/>
                </a:lnTo>
                <a:lnTo>
                  <a:pt x="601645" y="260787"/>
                </a:lnTo>
                <a:lnTo>
                  <a:pt x="601645" y="259542"/>
                </a:lnTo>
                <a:lnTo>
                  <a:pt x="603191" y="259542"/>
                </a:lnTo>
                <a:lnTo>
                  <a:pt x="606260" y="259542"/>
                </a:lnTo>
                <a:lnTo>
                  <a:pt x="606260" y="258274"/>
                </a:lnTo>
                <a:lnTo>
                  <a:pt x="607784" y="258274"/>
                </a:lnTo>
                <a:lnTo>
                  <a:pt x="607784" y="256995"/>
                </a:lnTo>
                <a:lnTo>
                  <a:pt x="609329" y="256995"/>
                </a:lnTo>
                <a:lnTo>
                  <a:pt x="610864" y="256995"/>
                </a:lnTo>
                <a:lnTo>
                  <a:pt x="612387" y="256995"/>
                </a:lnTo>
                <a:lnTo>
                  <a:pt x="613922" y="256995"/>
                </a:lnTo>
                <a:lnTo>
                  <a:pt x="613922" y="255716"/>
                </a:lnTo>
                <a:lnTo>
                  <a:pt x="615467" y="255716"/>
                </a:lnTo>
                <a:lnTo>
                  <a:pt x="615467" y="254414"/>
                </a:lnTo>
                <a:lnTo>
                  <a:pt x="618492" y="254414"/>
                </a:lnTo>
                <a:lnTo>
                  <a:pt x="620027" y="254414"/>
                </a:lnTo>
                <a:lnTo>
                  <a:pt x="621561" y="254414"/>
                </a:lnTo>
                <a:lnTo>
                  <a:pt x="623096" y="254414"/>
                </a:lnTo>
                <a:lnTo>
                  <a:pt x="623096" y="253091"/>
                </a:lnTo>
                <a:lnTo>
                  <a:pt x="624631" y="253091"/>
                </a:lnTo>
                <a:lnTo>
                  <a:pt x="624631" y="251790"/>
                </a:lnTo>
                <a:lnTo>
                  <a:pt x="626165" y="251790"/>
                </a:lnTo>
                <a:lnTo>
                  <a:pt x="626165" y="250477"/>
                </a:lnTo>
                <a:lnTo>
                  <a:pt x="627689" y="250477"/>
                </a:lnTo>
                <a:lnTo>
                  <a:pt x="627689" y="249165"/>
                </a:lnTo>
                <a:lnTo>
                  <a:pt x="629234" y="249165"/>
                </a:lnTo>
                <a:lnTo>
                  <a:pt x="629234" y="247819"/>
                </a:lnTo>
                <a:lnTo>
                  <a:pt x="630769" y="247819"/>
                </a:lnTo>
                <a:lnTo>
                  <a:pt x="632292" y="247819"/>
                </a:lnTo>
                <a:lnTo>
                  <a:pt x="633794" y="247819"/>
                </a:lnTo>
                <a:lnTo>
                  <a:pt x="633794" y="246507"/>
                </a:lnTo>
                <a:lnTo>
                  <a:pt x="635339" y="246507"/>
                </a:lnTo>
                <a:lnTo>
                  <a:pt x="638397" y="246507"/>
                </a:lnTo>
                <a:lnTo>
                  <a:pt x="638397" y="243815"/>
                </a:lnTo>
                <a:lnTo>
                  <a:pt x="639932" y="243815"/>
                </a:lnTo>
                <a:lnTo>
                  <a:pt x="641478" y="243815"/>
                </a:lnTo>
                <a:lnTo>
                  <a:pt x="643001" y="243815"/>
                </a:lnTo>
                <a:lnTo>
                  <a:pt x="644536" y="243815"/>
                </a:lnTo>
                <a:lnTo>
                  <a:pt x="646070" y="243815"/>
                </a:lnTo>
                <a:lnTo>
                  <a:pt x="649139" y="243815"/>
                </a:lnTo>
                <a:lnTo>
                  <a:pt x="649139" y="242470"/>
                </a:lnTo>
                <a:lnTo>
                  <a:pt x="650674" y="242470"/>
                </a:lnTo>
                <a:lnTo>
                  <a:pt x="652164" y="242470"/>
                </a:lnTo>
                <a:lnTo>
                  <a:pt x="653699" y="242470"/>
                </a:lnTo>
                <a:lnTo>
                  <a:pt x="655244" y="242470"/>
                </a:lnTo>
                <a:lnTo>
                  <a:pt x="656779" y="242470"/>
                </a:lnTo>
                <a:lnTo>
                  <a:pt x="658303" y="242470"/>
                </a:lnTo>
                <a:lnTo>
                  <a:pt x="658303" y="241090"/>
                </a:lnTo>
                <a:lnTo>
                  <a:pt x="661383" y="241090"/>
                </a:lnTo>
                <a:lnTo>
                  <a:pt x="661383" y="239711"/>
                </a:lnTo>
                <a:lnTo>
                  <a:pt x="662906" y="239711"/>
                </a:lnTo>
                <a:lnTo>
                  <a:pt x="662906" y="238332"/>
                </a:lnTo>
                <a:lnTo>
                  <a:pt x="664441" y="238332"/>
                </a:lnTo>
                <a:lnTo>
                  <a:pt x="664441" y="236953"/>
                </a:lnTo>
                <a:lnTo>
                  <a:pt x="665975" y="236953"/>
                </a:lnTo>
                <a:lnTo>
                  <a:pt x="667510" y="236953"/>
                </a:lnTo>
                <a:lnTo>
                  <a:pt x="672080" y="236953"/>
                </a:lnTo>
                <a:lnTo>
                  <a:pt x="672080" y="235529"/>
                </a:lnTo>
                <a:lnTo>
                  <a:pt x="673604" y="235529"/>
                </a:lnTo>
                <a:lnTo>
                  <a:pt x="675149" y="235529"/>
                </a:lnTo>
                <a:lnTo>
                  <a:pt x="676684" y="235529"/>
                </a:lnTo>
                <a:lnTo>
                  <a:pt x="678207" y="235529"/>
                </a:lnTo>
                <a:lnTo>
                  <a:pt x="681288" y="235529"/>
                </a:lnTo>
                <a:lnTo>
                  <a:pt x="681288" y="234117"/>
                </a:lnTo>
                <a:lnTo>
                  <a:pt x="684346" y="234117"/>
                </a:lnTo>
                <a:lnTo>
                  <a:pt x="685880" y="234117"/>
                </a:lnTo>
                <a:lnTo>
                  <a:pt x="687370" y="234117"/>
                </a:lnTo>
                <a:lnTo>
                  <a:pt x="687370" y="232671"/>
                </a:lnTo>
                <a:lnTo>
                  <a:pt x="688916" y="232671"/>
                </a:lnTo>
                <a:lnTo>
                  <a:pt x="690451" y="232671"/>
                </a:lnTo>
                <a:lnTo>
                  <a:pt x="690451" y="231259"/>
                </a:lnTo>
                <a:lnTo>
                  <a:pt x="691985" y="231259"/>
                </a:lnTo>
                <a:lnTo>
                  <a:pt x="691985" y="229802"/>
                </a:lnTo>
                <a:lnTo>
                  <a:pt x="693520" y="229802"/>
                </a:lnTo>
                <a:lnTo>
                  <a:pt x="695055" y="229802"/>
                </a:lnTo>
                <a:lnTo>
                  <a:pt x="696589" y="229802"/>
                </a:lnTo>
                <a:lnTo>
                  <a:pt x="698113" y="229802"/>
                </a:lnTo>
                <a:lnTo>
                  <a:pt x="699658" y="229802"/>
                </a:lnTo>
                <a:lnTo>
                  <a:pt x="699658" y="226865"/>
                </a:lnTo>
                <a:lnTo>
                  <a:pt x="704251" y="226865"/>
                </a:lnTo>
                <a:lnTo>
                  <a:pt x="705752" y="226865"/>
                </a:lnTo>
                <a:lnTo>
                  <a:pt x="707287" y="226865"/>
                </a:lnTo>
                <a:lnTo>
                  <a:pt x="707287" y="225420"/>
                </a:lnTo>
                <a:lnTo>
                  <a:pt x="708821" y="225420"/>
                </a:lnTo>
                <a:lnTo>
                  <a:pt x="710356" y="225420"/>
                </a:lnTo>
                <a:lnTo>
                  <a:pt x="711891" y="225420"/>
                </a:lnTo>
                <a:lnTo>
                  <a:pt x="711891" y="223940"/>
                </a:lnTo>
                <a:lnTo>
                  <a:pt x="713425" y="223940"/>
                </a:lnTo>
                <a:lnTo>
                  <a:pt x="713425" y="222450"/>
                </a:lnTo>
                <a:lnTo>
                  <a:pt x="714960" y="222450"/>
                </a:lnTo>
                <a:lnTo>
                  <a:pt x="716494" y="222450"/>
                </a:lnTo>
                <a:lnTo>
                  <a:pt x="718018" y="222450"/>
                </a:lnTo>
                <a:lnTo>
                  <a:pt x="719564" y="222450"/>
                </a:lnTo>
                <a:lnTo>
                  <a:pt x="719564" y="220971"/>
                </a:lnTo>
                <a:lnTo>
                  <a:pt x="721098" y="220971"/>
                </a:lnTo>
                <a:lnTo>
                  <a:pt x="722588" y="220971"/>
                </a:lnTo>
                <a:lnTo>
                  <a:pt x="722588" y="219480"/>
                </a:lnTo>
                <a:lnTo>
                  <a:pt x="724123" y="219480"/>
                </a:lnTo>
                <a:lnTo>
                  <a:pt x="724123" y="217968"/>
                </a:lnTo>
                <a:lnTo>
                  <a:pt x="725657" y="217968"/>
                </a:lnTo>
                <a:lnTo>
                  <a:pt x="725657" y="216489"/>
                </a:lnTo>
                <a:lnTo>
                  <a:pt x="727203" y="216489"/>
                </a:lnTo>
                <a:lnTo>
                  <a:pt x="728726" y="216489"/>
                </a:lnTo>
                <a:lnTo>
                  <a:pt x="730261" y="216489"/>
                </a:lnTo>
                <a:lnTo>
                  <a:pt x="731795" y="216489"/>
                </a:lnTo>
                <a:lnTo>
                  <a:pt x="731795" y="214932"/>
                </a:lnTo>
                <a:lnTo>
                  <a:pt x="733330" y="214932"/>
                </a:lnTo>
                <a:lnTo>
                  <a:pt x="734865" y="214932"/>
                </a:lnTo>
                <a:lnTo>
                  <a:pt x="734865" y="213419"/>
                </a:lnTo>
                <a:lnTo>
                  <a:pt x="736399" y="213419"/>
                </a:lnTo>
                <a:lnTo>
                  <a:pt x="737923" y="213419"/>
                </a:lnTo>
                <a:lnTo>
                  <a:pt x="739468" y="213419"/>
                </a:lnTo>
                <a:lnTo>
                  <a:pt x="739468" y="211862"/>
                </a:lnTo>
                <a:lnTo>
                  <a:pt x="740970" y="211862"/>
                </a:lnTo>
                <a:lnTo>
                  <a:pt x="740970" y="208792"/>
                </a:lnTo>
                <a:lnTo>
                  <a:pt x="742504" y="208792"/>
                </a:lnTo>
                <a:lnTo>
                  <a:pt x="744028" y="208792"/>
                </a:lnTo>
                <a:lnTo>
                  <a:pt x="744028" y="207235"/>
                </a:lnTo>
                <a:lnTo>
                  <a:pt x="747108" y="207235"/>
                </a:lnTo>
                <a:lnTo>
                  <a:pt x="748631" y="207235"/>
                </a:lnTo>
                <a:lnTo>
                  <a:pt x="750166" y="207235"/>
                </a:lnTo>
                <a:lnTo>
                  <a:pt x="750166" y="205689"/>
                </a:lnTo>
                <a:lnTo>
                  <a:pt x="751712" y="205689"/>
                </a:lnTo>
                <a:lnTo>
                  <a:pt x="751712" y="204099"/>
                </a:lnTo>
                <a:lnTo>
                  <a:pt x="753235" y="204099"/>
                </a:lnTo>
                <a:lnTo>
                  <a:pt x="757795" y="204099"/>
                </a:lnTo>
                <a:lnTo>
                  <a:pt x="757795" y="202542"/>
                </a:lnTo>
                <a:lnTo>
                  <a:pt x="759340" y="202542"/>
                </a:lnTo>
                <a:lnTo>
                  <a:pt x="759340" y="200951"/>
                </a:lnTo>
                <a:lnTo>
                  <a:pt x="760875" y="200951"/>
                </a:lnTo>
                <a:lnTo>
                  <a:pt x="762410" y="200951"/>
                </a:lnTo>
                <a:lnTo>
                  <a:pt x="763933" y="200951"/>
                </a:lnTo>
                <a:lnTo>
                  <a:pt x="765479" y="200951"/>
                </a:lnTo>
                <a:lnTo>
                  <a:pt x="765479" y="196158"/>
                </a:lnTo>
                <a:lnTo>
                  <a:pt x="768537" y="196158"/>
                </a:lnTo>
                <a:lnTo>
                  <a:pt x="770071" y="196158"/>
                </a:lnTo>
                <a:lnTo>
                  <a:pt x="771617" y="196158"/>
                </a:lnTo>
                <a:lnTo>
                  <a:pt x="773140" y="196158"/>
                </a:lnTo>
                <a:lnTo>
                  <a:pt x="774675" y="196158"/>
                </a:lnTo>
                <a:lnTo>
                  <a:pt x="779245" y="196158"/>
                </a:lnTo>
                <a:lnTo>
                  <a:pt x="780780" y="196158"/>
                </a:lnTo>
                <a:lnTo>
                  <a:pt x="780780" y="194545"/>
                </a:lnTo>
                <a:lnTo>
                  <a:pt x="782314" y="194545"/>
                </a:lnTo>
                <a:lnTo>
                  <a:pt x="783838" y="194545"/>
                </a:lnTo>
                <a:lnTo>
                  <a:pt x="785384" y="194545"/>
                </a:lnTo>
                <a:lnTo>
                  <a:pt x="789976" y="194545"/>
                </a:lnTo>
                <a:lnTo>
                  <a:pt x="791522" y="194545"/>
                </a:lnTo>
                <a:lnTo>
                  <a:pt x="793046" y="194545"/>
                </a:lnTo>
                <a:lnTo>
                  <a:pt x="794547" y="194545"/>
                </a:lnTo>
                <a:lnTo>
                  <a:pt x="796081" y="194545"/>
                </a:lnTo>
                <a:lnTo>
                  <a:pt x="800685" y="194545"/>
                </a:lnTo>
                <a:lnTo>
                  <a:pt x="802220" y="194545"/>
                </a:lnTo>
                <a:lnTo>
                  <a:pt x="803754" y="194545"/>
                </a:lnTo>
                <a:lnTo>
                  <a:pt x="805289" y="194545"/>
                </a:lnTo>
                <a:lnTo>
                  <a:pt x="805289" y="192888"/>
                </a:lnTo>
                <a:lnTo>
                  <a:pt x="806823" y="192888"/>
                </a:lnTo>
                <a:lnTo>
                  <a:pt x="806823" y="191186"/>
                </a:lnTo>
                <a:lnTo>
                  <a:pt x="808347" y="191186"/>
                </a:lnTo>
                <a:lnTo>
                  <a:pt x="808347" y="189507"/>
                </a:lnTo>
                <a:lnTo>
                  <a:pt x="809892" y="189507"/>
                </a:lnTo>
                <a:lnTo>
                  <a:pt x="811394" y="189507"/>
                </a:lnTo>
                <a:lnTo>
                  <a:pt x="812928" y="189507"/>
                </a:lnTo>
                <a:lnTo>
                  <a:pt x="814452" y="189507"/>
                </a:lnTo>
                <a:lnTo>
                  <a:pt x="814452" y="186115"/>
                </a:lnTo>
                <a:lnTo>
                  <a:pt x="815986" y="186115"/>
                </a:lnTo>
                <a:lnTo>
                  <a:pt x="815986" y="184435"/>
                </a:lnTo>
                <a:lnTo>
                  <a:pt x="822125" y="184435"/>
                </a:lnTo>
                <a:lnTo>
                  <a:pt x="825194" y="184435"/>
                </a:lnTo>
                <a:lnTo>
                  <a:pt x="826728" y="184435"/>
                </a:lnTo>
                <a:lnTo>
                  <a:pt x="828252" y="184435"/>
                </a:lnTo>
                <a:lnTo>
                  <a:pt x="831299" y="184435"/>
                </a:lnTo>
                <a:lnTo>
                  <a:pt x="831299" y="182700"/>
                </a:lnTo>
                <a:lnTo>
                  <a:pt x="832833" y="182700"/>
                </a:lnTo>
                <a:lnTo>
                  <a:pt x="834357" y="182700"/>
                </a:lnTo>
                <a:lnTo>
                  <a:pt x="835892" y="182700"/>
                </a:lnTo>
                <a:lnTo>
                  <a:pt x="838961" y="182700"/>
                </a:lnTo>
                <a:lnTo>
                  <a:pt x="838961" y="180976"/>
                </a:lnTo>
                <a:lnTo>
                  <a:pt x="843564" y="180976"/>
                </a:lnTo>
                <a:lnTo>
                  <a:pt x="845099" y="180976"/>
                </a:lnTo>
                <a:lnTo>
                  <a:pt x="846600" y="180976"/>
                </a:lnTo>
                <a:lnTo>
                  <a:pt x="848135" y="180976"/>
                </a:lnTo>
                <a:lnTo>
                  <a:pt x="849658" y="180976"/>
                </a:lnTo>
                <a:lnTo>
                  <a:pt x="852738" y="180976"/>
                </a:lnTo>
                <a:lnTo>
                  <a:pt x="854262" y="180976"/>
                </a:lnTo>
                <a:lnTo>
                  <a:pt x="855796" y="180976"/>
                </a:lnTo>
                <a:lnTo>
                  <a:pt x="857342" y="180976"/>
                </a:lnTo>
                <a:lnTo>
                  <a:pt x="858866" y="180976"/>
                </a:lnTo>
                <a:lnTo>
                  <a:pt x="860400" y="180976"/>
                </a:lnTo>
                <a:lnTo>
                  <a:pt x="864971" y="180976"/>
                </a:lnTo>
                <a:lnTo>
                  <a:pt x="866505" y="180976"/>
                </a:lnTo>
                <a:lnTo>
                  <a:pt x="866505" y="179186"/>
                </a:lnTo>
                <a:lnTo>
                  <a:pt x="868040" y="179186"/>
                </a:lnTo>
                <a:lnTo>
                  <a:pt x="869574" y="179186"/>
                </a:lnTo>
                <a:lnTo>
                  <a:pt x="871109" y="179186"/>
                </a:lnTo>
                <a:lnTo>
                  <a:pt x="874167" y="179186"/>
                </a:lnTo>
                <a:lnTo>
                  <a:pt x="874167" y="177317"/>
                </a:lnTo>
                <a:lnTo>
                  <a:pt x="875713" y="177317"/>
                </a:lnTo>
                <a:lnTo>
                  <a:pt x="877247" y="177317"/>
                </a:lnTo>
                <a:lnTo>
                  <a:pt x="878771" y="177317"/>
                </a:lnTo>
                <a:lnTo>
                  <a:pt x="880305" y="177317"/>
                </a:lnTo>
                <a:lnTo>
                  <a:pt x="881807" y="177317"/>
                </a:lnTo>
                <a:lnTo>
                  <a:pt x="886410" y="177317"/>
                </a:lnTo>
                <a:lnTo>
                  <a:pt x="886410" y="175460"/>
                </a:lnTo>
                <a:lnTo>
                  <a:pt x="887945" y="175460"/>
                </a:lnTo>
                <a:lnTo>
                  <a:pt x="889480" y="175460"/>
                </a:lnTo>
                <a:lnTo>
                  <a:pt x="891014" y="175460"/>
                </a:lnTo>
                <a:lnTo>
                  <a:pt x="892549" y="175460"/>
                </a:lnTo>
                <a:lnTo>
                  <a:pt x="898676" y="175460"/>
                </a:lnTo>
                <a:lnTo>
                  <a:pt x="898676" y="173525"/>
                </a:lnTo>
                <a:lnTo>
                  <a:pt x="900177" y="173525"/>
                </a:lnTo>
                <a:lnTo>
                  <a:pt x="903257" y="173525"/>
                </a:lnTo>
                <a:lnTo>
                  <a:pt x="906315" y="173525"/>
                </a:lnTo>
                <a:lnTo>
                  <a:pt x="906315" y="169621"/>
                </a:lnTo>
                <a:lnTo>
                  <a:pt x="907850" y="169621"/>
                </a:lnTo>
                <a:lnTo>
                  <a:pt x="909384" y="169621"/>
                </a:lnTo>
                <a:lnTo>
                  <a:pt x="910919" y="169621"/>
                </a:lnTo>
                <a:lnTo>
                  <a:pt x="910919" y="167663"/>
                </a:lnTo>
                <a:lnTo>
                  <a:pt x="912454" y="167663"/>
                </a:lnTo>
                <a:lnTo>
                  <a:pt x="913988" y="167663"/>
                </a:lnTo>
                <a:lnTo>
                  <a:pt x="918559" y="167663"/>
                </a:lnTo>
                <a:lnTo>
                  <a:pt x="918559" y="165695"/>
                </a:lnTo>
                <a:lnTo>
                  <a:pt x="920082" y="165695"/>
                </a:lnTo>
                <a:lnTo>
                  <a:pt x="920082" y="163693"/>
                </a:lnTo>
                <a:lnTo>
                  <a:pt x="921628" y="163693"/>
                </a:lnTo>
                <a:lnTo>
                  <a:pt x="923162" y="163693"/>
                </a:lnTo>
                <a:lnTo>
                  <a:pt x="923162" y="161691"/>
                </a:lnTo>
                <a:lnTo>
                  <a:pt x="924686" y="161691"/>
                </a:lnTo>
                <a:lnTo>
                  <a:pt x="924686" y="159656"/>
                </a:lnTo>
                <a:lnTo>
                  <a:pt x="929290" y="159656"/>
                </a:lnTo>
                <a:lnTo>
                  <a:pt x="930824" y="159656"/>
                </a:lnTo>
                <a:lnTo>
                  <a:pt x="930824" y="155585"/>
                </a:lnTo>
                <a:lnTo>
                  <a:pt x="932359" y="155585"/>
                </a:lnTo>
                <a:lnTo>
                  <a:pt x="933893" y="155585"/>
                </a:lnTo>
                <a:lnTo>
                  <a:pt x="935395" y="155585"/>
                </a:lnTo>
                <a:lnTo>
                  <a:pt x="939987" y="155585"/>
                </a:lnTo>
                <a:lnTo>
                  <a:pt x="941533" y="155585"/>
                </a:lnTo>
                <a:lnTo>
                  <a:pt x="943068" y="155585"/>
                </a:lnTo>
                <a:lnTo>
                  <a:pt x="943068" y="153516"/>
                </a:lnTo>
                <a:lnTo>
                  <a:pt x="944591" y="153516"/>
                </a:lnTo>
                <a:lnTo>
                  <a:pt x="946126" y="153516"/>
                </a:lnTo>
                <a:lnTo>
                  <a:pt x="947671" y="153516"/>
                </a:lnTo>
                <a:lnTo>
                  <a:pt x="950729" y="153516"/>
                </a:lnTo>
                <a:lnTo>
                  <a:pt x="952264" y="153516"/>
                </a:lnTo>
                <a:lnTo>
                  <a:pt x="953765" y="153516"/>
                </a:lnTo>
                <a:lnTo>
                  <a:pt x="955300" y="153516"/>
                </a:lnTo>
                <a:lnTo>
                  <a:pt x="956834" y="153516"/>
                </a:lnTo>
                <a:lnTo>
                  <a:pt x="958369" y="153516"/>
                </a:lnTo>
                <a:lnTo>
                  <a:pt x="958369" y="149168"/>
                </a:lnTo>
                <a:lnTo>
                  <a:pt x="961438" y="149168"/>
                </a:lnTo>
                <a:lnTo>
                  <a:pt x="961438" y="144852"/>
                </a:lnTo>
                <a:lnTo>
                  <a:pt x="962973" y="144852"/>
                </a:lnTo>
                <a:lnTo>
                  <a:pt x="962973" y="142683"/>
                </a:lnTo>
                <a:lnTo>
                  <a:pt x="964496" y="142683"/>
                </a:lnTo>
                <a:lnTo>
                  <a:pt x="966031" y="142683"/>
                </a:lnTo>
                <a:lnTo>
                  <a:pt x="966031" y="140470"/>
                </a:lnTo>
                <a:lnTo>
                  <a:pt x="967576" y="140470"/>
                </a:lnTo>
                <a:lnTo>
                  <a:pt x="972136" y="140470"/>
                </a:lnTo>
                <a:lnTo>
                  <a:pt x="973681" y="140470"/>
                </a:lnTo>
                <a:lnTo>
                  <a:pt x="975205" y="140470"/>
                </a:lnTo>
                <a:lnTo>
                  <a:pt x="976739" y="140470"/>
                </a:lnTo>
                <a:lnTo>
                  <a:pt x="976739" y="133741"/>
                </a:lnTo>
                <a:lnTo>
                  <a:pt x="978274" y="133741"/>
                </a:lnTo>
                <a:lnTo>
                  <a:pt x="978274" y="131461"/>
                </a:lnTo>
                <a:lnTo>
                  <a:pt x="982878" y="131461"/>
                </a:lnTo>
                <a:lnTo>
                  <a:pt x="984401" y="131461"/>
                </a:lnTo>
                <a:lnTo>
                  <a:pt x="985947" y="131461"/>
                </a:lnTo>
                <a:lnTo>
                  <a:pt x="987481" y="131461"/>
                </a:lnTo>
                <a:lnTo>
                  <a:pt x="988983" y="131461"/>
                </a:lnTo>
                <a:lnTo>
                  <a:pt x="993587" y="131461"/>
                </a:lnTo>
                <a:lnTo>
                  <a:pt x="995110" y="131461"/>
                </a:lnTo>
                <a:lnTo>
                  <a:pt x="996645" y="131461"/>
                </a:lnTo>
                <a:lnTo>
                  <a:pt x="998179" y="131461"/>
                </a:lnTo>
                <a:lnTo>
                  <a:pt x="999714" y="131461"/>
                </a:lnTo>
                <a:lnTo>
                  <a:pt x="1002783" y="131461"/>
                </a:lnTo>
                <a:lnTo>
                  <a:pt x="1005808" y="131461"/>
                </a:lnTo>
                <a:lnTo>
                  <a:pt x="1007353" y="131461"/>
                </a:lnTo>
                <a:lnTo>
                  <a:pt x="1008888" y="131461"/>
                </a:lnTo>
                <a:lnTo>
                  <a:pt x="1008888" y="129081"/>
                </a:lnTo>
                <a:lnTo>
                  <a:pt x="1010411" y="129081"/>
                </a:lnTo>
                <a:lnTo>
                  <a:pt x="1010411" y="124254"/>
                </a:lnTo>
                <a:lnTo>
                  <a:pt x="1015015" y="124254"/>
                </a:lnTo>
                <a:lnTo>
                  <a:pt x="1015015" y="121841"/>
                </a:lnTo>
                <a:lnTo>
                  <a:pt x="1016550" y="121841"/>
                </a:lnTo>
                <a:lnTo>
                  <a:pt x="1018084" y="121841"/>
                </a:lnTo>
                <a:lnTo>
                  <a:pt x="1019619" y="121841"/>
                </a:lnTo>
                <a:lnTo>
                  <a:pt x="1021153" y="121841"/>
                </a:lnTo>
                <a:lnTo>
                  <a:pt x="1021153" y="119383"/>
                </a:lnTo>
                <a:lnTo>
                  <a:pt x="1022688" y="119383"/>
                </a:lnTo>
                <a:lnTo>
                  <a:pt x="1025724" y="119383"/>
                </a:lnTo>
                <a:lnTo>
                  <a:pt x="1027258" y="119383"/>
                </a:lnTo>
                <a:lnTo>
                  <a:pt x="1028793" y="119383"/>
                </a:lnTo>
                <a:lnTo>
                  <a:pt x="1030316" y="119383"/>
                </a:lnTo>
                <a:lnTo>
                  <a:pt x="1031862" y="119383"/>
                </a:lnTo>
                <a:lnTo>
                  <a:pt x="1036455" y="119383"/>
                </a:lnTo>
                <a:lnTo>
                  <a:pt x="1036455" y="116825"/>
                </a:lnTo>
                <a:lnTo>
                  <a:pt x="1038000" y="116825"/>
                </a:lnTo>
                <a:lnTo>
                  <a:pt x="1039524" y="116825"/>
                </a:lnTo>
                <a:lnTo>
                  <a:pt x="1039524" y="114278"/>
                </a:lnTo>
                <a:lnTo>
                  <a:pt x="1041058" y="114278"/>
                </a:lnTo>
                <a:lnTo>
                  <a:pt x="1042560" y="114278"/>
                </a:lnTo>
                <a:lnTo>
                  <a:pt x="1044094" y="114278"/>
                </a:lnTo>
                <a:lnTo>
                  <a:pt x="1047163" y="114278"/>
                </a:lnTo>
                <a:lnTo>
                  <a:pt x="1050221" y="114278"/>
                </a:lnTo>
                <a:lnTo>
                  <a:pt x="1051767" y="114278"/>
                </a:lnTo>
                <a:lnTo>
                  <a:pt x="1051767" y="111620"/>
                </a:lnTo>
                <a:lnTo>
                  <a:pt x="1053302" y="111620"/>
                </a:lnTo>
                <a:lnTo>
                  <a:pt x="1054825" y="111620"/>
                </a:lnTo>
                <a:lnTo>
                  <a:pt x="1054825" y="108962"/>
                </a:lnTo>
                <a:lnTo>
                  <a:pt x="1056360" y="108962"/>
                </a:lnTo>
                <a:lnTo>
                  <a:pt x="1057906" y="108962"/>
                </a:lnTo>
                <a:lnTo>
                  <a:pt x="1057906" y="106304"/>
                </a:lnTo>
                <a:lnTo>
                  <a:pt x="1059407" y="106304"/>
                </a:lnTo>
                <a:lnTo>
                  <a:pt x="1060930" y="106304"/>
                </a:lnTo>
                <a:lnTo>
                  <a:pt x="1060930" y="103612"/>
                </a:lnTo>
                <a:lnTo>
                  <a:pt x="1062465" y="103612"/>
                </a:lnTo>
                <a:lnTo>
                  <a:pt x="1063999" y="103612"/>
                </a:lnTo>
                <a:lnTo>
                  <a:pt x="1068603" y="103612"/>
                </a:lnTo>
                <a:lnTo>
                  <a:pt x="1070127" y="103612"/>
                </a:lnTo>
                <a:lnTo>
                  <a:pt x="1071672" y="103612"/>
                </a:lnTo>
                <a:lnTo>
                  <a:pt x="1073207" y="103612"/>
                </a:lnTo>
                <a:lnTo>
                  <a:pt x="1073207" y="100820"/>
                </a:lnTo>
                <a:lnTo>
                  <a:pt x="1074730" y="100820"/>
                </a:lnTo>
                <a:lnTo>
                  <a:pt x="1076265" y="100820"/>
                </a:lnTo>
                <a:lnTo>
                  <a:pt x="1076265" y="98029"/>
                </a:lnTo>
                <a:lnTo>
                  <a:pt x="1079312" y="98029"/>
                </a:lnTo>
                <a:lnTo>
                  <a:pt x="1080835" y="98029"/>
                </a:lnTo>
                <a:lnTo>
                  <a:pt x="1082370" y="98029"/>
                </a:lnTo>
                <a:lnTo>
                  <a:pt x="1082370" y="95193"/>
                </a:lnTo>
                <a:lnTo>
                  <a:pt x="1083916" y="95193"/>
                </a:lnTo>
                <a:lnTo>
                  <a:pt x="1085439" y="95193"/>
                </a:lnTo>
                <a:lnTo>
                  <a:pt x="1086973" y="95193"/>
                </a:lnTo>
                <a:lnTo>
                  <a:pt x="1086973" y="92301"/>
                </a:lnTo>
                <a:lnTo>
                  <a:pt x="1090043" y="92301"/>
                </a:lnTo>
                <a:lnTo>
                  <a:pt x="1091577" y="92301"/>
                </a:lnTo>
                <a:lnTo>
                  <a:pt x="1093112" y="92301"/>
                </a:lnTo>
                <a:lnTo>
                  <a:pt x="1094613" y="92301"/>
                </a:lnTo>
                <a:lnTo>
                  <a:pt x="1096137" y="92301"/>
                </a:lnTo>
                <a:lnTo>
                  <a:pt x="1099217" y="92301"/>
                </a:lnTo>
                <a:lnTo>
                  <a:pt x="1102275" y="92301"/>
                </a:lnTo>
                <a:lnTo>
                  <a:pt x="1103821" y="92301"/>
                </a:lnTo>
                <a:lnTo>
                  <a:pt x="1105344" y="92301"/>
                </a:lnTo>
                <a:lnTo>
                  <a:pt x="1105344" y="89265"/>
                </a:lnTo>
                <a:lnTo>
                  <a:pt x="1106879" y="89265"/>
                </a:lnTo>
                <a:lnTo>
                  <a:pt x="1111482" y="89265"/>
                </a:lnTo>
                <a:lnTo>
                  <a:pt x="1111482" y="86162"/>
                </a:lnTo>
                <a:lnTo>
                  <a:pt x="1112984" y="86162"/>
                </a:lnTo>
                <a:lnTo>
                  <a:pt x="1114518" y="86162"/>
                </a:lnTo>
                <a:lnTo>
                  <a:pt x="1114518" y="83048"/>
                </a:lnTo>
                <a:lnTo>
                  <a:pt x="1116042" y="83048"/>
                </a:lnTo>
                <a:lnTo>
                  <a:pt x="1117588" y="83048"/>
                </a:lnTo>
                <a:lnTo>
                  <a:pt x="1120646" y="83048"/>
                </a:lnTo>
                <a:lnTo>
                  <a:pt x="1123726" y="83048"/>
                </a:lnTo>
                <a:lnTo>
                  <a:pt x="1125249" y="83048"/>
                </a:lnTo>
                <a:lnTo>
                  <a:pt x="1126784" y="83048"/>
                </a:lnTo>
                <a:lnTo>
                  <a:pt x="1128318" y="83048"/>
                </a:lnTo>
                <a:lnTo>
                  <a:pt x="1128318" y="79767"/>
                </a:lnTo>
                <a:lnTo>
                  <a:pt x="1132889" y="79767"/>
                </a:lnTo>
                <a:lnTo>
                  <a:pt x="1132889" y="69835"/>
                </a:lnTo>
                <a:lnTo>
                  <a:pt x="1134423" y="69835"/>
                </a:lnTo>
                <a:lnTo>
                  <a:pt x="1135958" y="69835"/>
                </a:lnTo>
                <a:lnTo>
                  <a:pt x="1137492" y="69835"/>
                </a:lnTo>
                <a:lnTo>
                  <a:pt x="1139027" y="69835"/>
                </a:lnTo>
                <a:lnTo>
                  <a:pt x="1143631" y="69835"/>
                </a:lnTo>
                <a:lnTo>
                  <a:pt x="1145154" y="69835"/>
                </a:lnTo>
                <a:lnTo>
                  <a:pt x="1146689" y="69835"/>
                </a:lnTo>
                <a:lnTo>
                  <a:pt x="1148190" y="69835"/>
                </a:lnTo>
                <a:lnTo>
                  <a:pt x="1149736" y="69835"/>
                </a:lnTo>
                <a:lnTo>
                  <a:pt x="1151259" y="69835"/>
                </a:lnTo>
                <a:lnTo>
                  <a:pt x="1151259" y="66209"/>
                </a:lnTo>
                <a:lnTo>
                  <a:pt x="1154328" y="66209"/>
                </a:lnTo>
                <a:lnTo>
                  <a:pt x="1155863" y="66209"/>
                </a:lnTo>
                <a:lnTo>
                  <a:pt x="1157398" y="66209"/>
                </a:lnTo>
                <a:lnTo>
                  <a:pt x="1158932" y="66209"/>
                </a:lnTo>
                <a:lnTo>
                  <a:pt x="1160456" y="66209"/>
                </a:lnTo>
                <a:lnTo>
                  <a:pt x="1165071" y="66209"/>
                </a:lnTo>
                <a:lnTo>
                  <a:pt x="1166561" y="66209"/>
                </a:lnTo>
                <a:lnTo>
                  <a:pt x="1168095" y="66209"/>
                </a:lnTo>
                <a:lnTo>
                  <a:pt x="1168095" y="62316"/>
                </a:lnTo>
                <a:lnTo>
                  <a:pt x="1169641" y="62316"/>
                </a:lnTo>
                <a:lnTo>
                  <a:pt x="1171164" y="62316"/>
                </a:lnTo>
                <a:lnTo>
                  <a:pt x="1174234" y="62316"/>
                </a:lnTo>
                <a:lnTo>
                  <a:pt x="1175768" y="62316"/>
                </a:lnTo>
                <a:lnTo>
                  <a:pt x="1177303" y="62316"/>
                </a:lnTo>
                <a:lnTo>
                  <a:pt x="1178837" y="62316"/>
                </a:lnTo>
                <a:lnTo>
                  <a:pt x="1180361" y="62316"/>
                </a:lnTo>
                <a:lnTo>
                  <a:pt x="1181907" y="62316"/>
                </a:lnTo>
                <a:lnTo>
                  <a:pt x="1181907" y="58134"/>
                </a:lnTo>
                <a:lnTo>
                  <a:pt x="1186466" y="58134"/>
                </a:lnTo>
                <a:lnTo>
                  <a:pt x="1188011" y="58134"/>
                </a:lnTo>
                <a:lnTo>
                  <a:pt x="1189546" y="58134"/>
                </a:lnTo>
                <a:lnTo>
                  <a:pt x="1191070" y="58134"/>
                </a:lnTo>
                <a:lnTo>
                  <a:pt x="1192604" y="58134"/>
                </a:lnTo>
                <a:lnTo>
                  <a:pt x="1197208" y="58134"/>
                </a:lnTo>
                <a:lnTo>
                  <a:pt x="1197208" y="53752"/>
                </a:lnTo>
                <a:lnTo>
                  <a:pt x="1198742" y="53752"/>
                </a:lnTo>
                <a:lnTo>
                  <a:pt x="1200288" y="53752"/>
                </a:lnTo>
                <a:lnTo>
                  <a:pt x="1201778" y="53752"/>
                </a:lnTo>
                <a:lnTo>
                  <a:pt x="1203313" y="53752"/>
                </a:lnTo>
                <a:lnTo>
                  <a:pt x="1204847" y="53752"/>
                </a:lnTo>
                <a:lnTo>
                  <a:pt x="1204847" y="49103"/>
                </a:lnTo>
                <a:lnTo>
                  <a:pt x="1206371" y="49103"/>
                </a:lnTo>
                <a:lnTo>
                  <a:pt x="1206371" y="44477"/>
                </a:lnTo>
                <a:lnTo>
                  <a:pt x="1207916" y="44477"/>
                </a:lnTo>
                <a:lnTo>
                  <a:pt x="1209451" y="44477"/>
                </a:lnTo>
                <a:lnTo>
                  <a:pt x="1210974" y="44477"/>
                </a:lnTo>
                <a:lnTo>
                  <a:pt x="1212509" y="44477"/>
                </a:lnTo>
                <a:lnTo>
                  <a:pt x="1214055" y="44477"/>
                </a:lnTo>
                <a:lnTo>
                  <a:pt x="1214055" y="39639"/>
                </a:lnTo>
                <a:lnTo>
                  <a:pt x="1218614" y="39639"/>
                </a:lnTo>
                <a:lnTo>
                  <a:pt x="1220149" y="39639"/>
                </a:lnTo>
                <a:lnTo>
                  <a:pt x="1221683" y="39639"/>
                </a:lnTo>
                <a:lnTo>
                  <a:pt x="1223218" y="39639"/>
                </a:lnTo>
                <a:lnTo>
                  <a:pt x="1224752" y="39639"/>
                </a:lnTo>
                <a:lnTo>
                  <a:pt x="1229356" y="39639"/>
                </a:lnTo>
                <a:lnTo>
                  <a:pt x="1230880" y="39639"/>
                </a:lnTo>
                <a:lnTo>
                  <a:pt x="1230880" y="34500"/>
                </a:lnTo>
                <a:lnTo>
                  <a:pt x="1232414" y="34500"/>
                </a:lnTo>
                <a:lnTo>
                  <a:pt x="1233960" y="34500"/>
                </a:lnTo>
                <a:lnTo>
                  <a:pt x="1235495" y="34500"/>
                </a:lnTo>
                <a:lnTo>
                  <a:pt x="1240065" y="34500"/>
                </a:lnTo>
                <a:lnTo>
                  <a:pt x="1241588" y="34500"/>
                </a:lnTo>
                <a:lnTo>
                  <a:pt x="1241588" y="29084"/>
                </a:lnTo>
                <a:lnTo>
                  <a:pt x="1243123" y="29084"/>
                </a:lnTo>
                <a:lnTo>
                  <a:pt x="1244658" y="29084"/>
                </a:lnTo>
                <a:lnTo>
                  <a:pt x="1246192" y="29084"/>
                </a:lnTo>
                <a:lnTo>
                  <a:pt x="1250785" y="29084"/>
                </a:lnTo>
                <a:lnTo>
                  <a:pt x="1252330" y="29084"/>
                </a:lnTo>
                <a:lnTo>
                  <a:pt x="1252330" y="17039"/>
                </a:lnTo>
                <a:lnTo>
                  <a:pt x="1253832" y="17039"/>
                </a:lnTo>
                <a:lnTo>
                  <a:pt x="1255366" y="17039"/>
                </a:lnTo>
                <a:lnTo>
                  <a:pt x="1256890" y="17039"/>
                </a:lnTo>
                <a:lnTo>
                  <a:pt x="1261493" y="17039"/>
                </a:lnTo>
                <a:lnTo>
                  <a:pt x="1263028" y="17039"/>
                </a:lnTo>
                <a:lnTo>
                  <a:pt x="1264562" y="17039"/>
                </a:lnTo>
                <a:lnTo>
                  <a:pt x="1266097" y="17039"/>
                </a:lnTo>
                <a:lnTo>
                  <a:pt x="1267632" y="17039"/>
                </a:lnTo>
                <a:lnTo>
                  <a:pt x="1269166" y="17039"/>
                </a:lnTo>
                <a:lnTo>
                  <a:pt x="1272191" y="17039"/>
                </a:lnTo>
                <a:lnTo>
                  <a:pt x="1273737" y="17039"/>
                </a:lnTo>
                <a:lnTo>
                  <a:pt x="1275271" y="17039"/>
                </a:lnTo>
                <a:lnTo>
                  <a:pt x="1278329" y="17039"/>
                </a:lnTo>
                <a:lnTo>
                  <a:pt x="1279875" y="17039"/>
                </a:lnTo>
                <a:lnTo>
                  <a:pt x="1279875" y="9654"/>
                </a:lnTo>
                <a:lnTo>
                  <a:pt x="1282933" y="9654"/>
                </a:lnTo>
                <a:lnTo>
                  <a:pt x="1284468" y="9654"/>
                </a:lnTo>
                <a:lnTo>
                  <a:pt x="1286002" y="9654"/>
                </a:lnTo>
                <a:lnTo>
                  <a:pt x="1287537" y="9654"/>
                </a:lnTo>
                <a:lnTo>
                  <a:pt x="1289071" y="9654"/>
                </a:lnTo>
                <a:lnTo>
                  <a:pt x="1290573" y="9654"/>
                </a:lnTo>
                <a:lnTo>
                  <a:pt x="1293642" y="9654"/>
                </a:lnTo>
                <a:lnTo>
                  <a:pt x="1295177" y="9654"/>
                </a:lnTo>
                <a:lnTo>
                  <a:pt x="1296700" y="9654"/>
                </a:lnTo>
                <a:lnTo>
                  <a:pt x="1298246" y="9654"/>
                </a:lnTo>
                <a:lnTo>
                  <a:pt x="1299780" y="9654"/>
                </a:lnTo>
                <a:lnTo>
                  <a:pt x="1304384" y="9654"/>
                </a:lnTo>
                <a:lnTo>
                  <a:pt x="1305918" y="9654"/>
                </a:lnTo>
                <a:lnTo>
                  <a:pt x="1307408" y="9654"/>
                </a:lnTo>
                <a:lnTo>
                  <a:pt x="1307408" y="0"/>
                </a:lnTo>
                <a:lnTo>
                  <a:pt x="1487868" y="0"/>
                </a:lnTo>
              </a:path>
            </a:pathLst>
          </a:custGeom>
          <a:ln>
            <a:solidFill>
              <a:schemeClr val="accent4">
                <a:lumMod val="75000"/>
              </a:schemeClr>
            </a:solidFill>
          </a:ln>
        </p:spPr>
        <p:style>
          <a:lnRef idx="2">
            <a:schemeClr val="dk1"/>
          </a:lnRef>
          <a:fillRef idx="0">
            <a:schemeClr val="dk1"/>
          </a:fillRef>
          <a:effectRef idx="1">
            <a:schemeClr val="dk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TextBox 207">
            <a:extLst>
              <a:ext uri="{FF2B5EF4-FFF2-40B4-BE49-F238E27FC236}">
                <a16:creationId xmlns:a16="http://schemas.microsoft.com/office/drawing/2014/main" id="{65F99EF2-2AA0-4A0E-8DD9-2E6BBCA7C5E1}"/>
              </a:ext>
            </a:extLst>
          </p:cNvPr>
          <p:cNvSpPr txBox="1"/>
          <p:nvPr/>
        </p:nvSpPr>
        <p:spPr>
          <a:xfrm>
            <a:off x="2516106" y="2189386"/>
            <a:ext cx="1080089" cy="338554"/>
          </a:xfrm>
          <a:prstGeom prst="rect">
            <a:avLst/>
          </a:prstGeom>
          <a:solidFill>
            <a:schemeClr val="bg1"/>
          </a:solidFill>
        </p:spPr>
        <p:txBody>
          <a:bodyPr wrap="square" lIns="0" tIns="0" rIns="0" bIns="0" rtlCol="0">
            <a:spAutoFit/>
          </a:bodyPr>
          <a:lstStyle/>
          <a:p>
            <a:pPr marL="457200" marR="0" lvl="0" indent="0" algn="l" defTabSz="914377" rtl="0" eaLnBrk="1" fontAlgn="auto" latinLnBrk="0" hangingPunct="1">
              <a:lnSpc>
                <a:spcPct val="100000"/>
              </a:lnSpc>
              <a:spcBef>
                <a:spcPts val="0"/>
              </a:spcBef>
              <a:spcAft>
                <a:spcPts val="0"/>
              </a:spcAft>
              <a:buClrTx/>
              <a:buSzTx/>
              <a:buFontTx/>
              <a:buNone/>
              <a:tabLst/>
              <a:defRPr/>
            </a:pPr>
            <a:r>
              <a:rPr kumimoji="0" lang="es-ES_tradnl" sz="1100" b="0" i="0" u="none" strike="noStrike" kern="1200" cap="none" spc="0" normalizeH="0" baseline="0" noProof="0">
                <a:ln>
                  <a:noFill/>
                </a:ln>
                <a:solidFill>
                  <a:prstClr val="black"/>
                </a:solidFill>
                <a:effectLst/>
                <a:uLnTx/>
                <a:uFillTx/>
                <a:latin typeface="Arial"/>
                <a:ea typeface="+mn-ea"/>
                <a:cs typeface="+mn-cs"/>
              </a:rPr>
              <a:t>Vericiguat</a:t>
            </a:r>
            <a:br>
              <a:rPr kumimoji="0" lang="es-ES_tradnl" sz="1100" b="0" i="0" u="none" strike="noStrike" kern="1200" cap="none" spc="0" normalizeH="0" baseline="0" noProof="0">
                <a:ln>
                  <a:noFill/>
                </a:ln>
                <a:solidFill>
                  <a:prstClr val="black"/>
                </a:solidFill>
                <a:effectLst/>
                <a:uLnTx/>
                <a:uFillTx/>
                <a:latin typeface="Arial"/>
                <a:ea typeface="+mn-ea"/>
                <a:cs typeface="+mn-cs"/>
              </a:rPr>
            </a:br>
            <a:r>
              <a:rPr kumimoji="0" lang="es-ES_tradnl" sz="1100" b="0" i="0" u="none" strike="noStrike" kern="1200" cap="none" spc="0" normalizeH="0" baseline="0" noProof="0">
                <a:ln>
                  <a:noFill/>
                </a:ln>
                <a:solidFill>
                  <a:prstClr val="black"/>
                </a:solidFill>
                <a:effectLst/>
                <a:uLnTx/>
                <a:uFillTx/>
                <a:latin typeface="Arial"/>
                <a:ea typeface="+mn-ea"/>
                <a:cs typeface="+mn-cs"/>
              </a:rPr>
              <a:t>Placebo</a:t>
            </a:r>
          </a:p>
        </p:txBody>
      </p:sp>
      <p:cxnSp>
        <p:nvCxnSpPr>
          <p:cNvPr id="209" name="Straight Connector 208">
            <a:extLst>
              <a:ext uri="{FF2B5EF4-FFF2-40B4-BE49-F238E27FC236}">
                <a16:creationId xmlns:a16="http://schemas.microsoft.com/office/drawing/2014/main" id="{50AEFDC7-90F2-4BED-90D4-48415D4222BE}"/>
              </a:ext>
            </a:extLst>
          </p:cNvPr>
          <p:cNvCxnSpPr/>
          <p:nvPr/>
        </p:nvCxnSpPr>
        <p:spPr>
          <a:xfrm>
            <a:off x="2550225" y="2276043"/>
            <a:ext cx="36576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E4D2ABF0-42E4-4117-A382-966AE5F541D9}"/>
              </a:ext>
            </a:extLst>
          </p:cNvPr>
          <p:cNvCxnSpPr/>
          <p:nvPr/>
        </p:nvCxnSpPr>
        <p:spPr>
          <a:xfrm>
            <a:off x="2550225" y="2439816"/>
            <a:ext cx="365760" cy="0"/>
          </a:xfrm>
          <a:prstGeom prst="line">
            <a:avLst/>
          </a:prstGeom>
          <a:ln w="19050">
            <a:solidFill>
              <a:srgbClr val="BBBBBB"/>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843DBD50-1DFA-4C4E-82A5-D18BB5EA1CE9}"/>
              </a:ext>
            </a:extLst>
          </p:cNvPr>
          <p:cNvSpPr txBox="1"/>
          <p:nvPr/>
        </p:nvSpPr>
        <p:spPr>
          <a:xfrm rot="16200000">
            <a:off x="498661" y="3383533"/>
            <a:ext cx="2434977"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Cumulative i</a:t>
            </a:r>
            <a:r>
              <a:rPr kumimoji="0" lang="es-ES_tradnl" sz="1400" b="1" i="0" u="none" strike="noStrike" kern="1200" cap="none" spc="0" normalizeH="0" baseline="0" noProof="0">
                <a:ln>
                  <a:noFill/>
                </a:ln>
                <a:solidFill>
                  <a:prstClr val="black"/>
                </a:solidFill>
                <a:effectLst/>
                <a:uLnTx/>
                <a:uFillTx/>
                <a:latin typeface="Arial"/>
                <a:ea typeface="+mn-ea"/>
                <a:cs typeface="+mn-cs"/>
              </a:rPr>
              <a:t>ncidence rate</a:t>
            </a:r>
          </a:p>
        </p:txBody>
      </p:sp>
      <p:sp>
        <p:nvSpPr>
          <p:cNvPr id="103" name="TextBox 102">
            <a:extLst>
              <a:ext uri="{FF2B5EF4-FFF2-40B4-BE49-F238E27FC236}">
                <a16:creationId xmlns:a16="http://schemas.microsoft.com/office/drawing/2014/main" id="{497A0DCE-2C23-4B2C-88C6-2DE22A0DA7AA}"/>
              </a:ext>
            </a:extLst>
          </p:cNvPr>
          <p:cNvSpPr txBox="1"/>
          <p:nvPr/>
        </p:nvSpPr>
        <p:spPr>
          <a:xfrm>
            <a:off x="2376489" y="5146871"/>
            <a:ext cx="5784540"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Months since randomisation</a:t>
            </a:r>
            <a:endParaRPr kumimoji="0" lang="es-ES_tradnl" sz="1400" b="1" i="0" u="none" strike="noStrike" kern="1200" cap="none" spc="0" normalizeH="0" baseline="0" noProof="0">
              <a:ln>
                <a:noFill/>
              </a:ln>
              <a:solidFill>
                <a:prstClr val="black"/>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52322538-E90F-41EB-9F69-4EE5C19178CC}"/>
              </a:ext>
            </a:extLst>
          </p:cNvPr>
          <p:cNvSpPr txBox="1"/>
          <p:nvPr/>
        </p:nvSpPr>
        <p:spPr>
          <a:xfrm>
            <a:off x="482851" y="6386106"/>
            <a:ext cx="11232899" cy="271869"/>
          </a:xfrm>
          <a:prstGeom prst="rect">
            <a:avLst/>
          </a:prstGeom>
          <a:noFill/>
        </p:spPr>
        <p:txBody>
          <a:bodyPr wrap="square" lIns="0" tIns="0" rIns="0" bIns="0" anchor="b">
            <a:spAutoFit/>
          </a:bodyPr>
          <a:lstStyle/>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ARR, absolute rate reduction; CI, confidence interval; CV, cardiovascular; HR, hazard ratio; NNT, number needed to treat; yr, year.</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 </a:t>
            </a:r>
            <a:r>
              <a:rPr kumimoji="0" lang="en-GB" sz="1000" b="0" i="0" u="none" strike="noStrike" kern="1200" cap="none" spc="0" normalizeH="0" baseline="0" noProof="0">
                <a:ln>
                  <a:noFill/>
                </a:ln>
                <a:solidFill>
                  <a:srgbClr val="000000"/>
                </a:solidFill>
                <a:effectLst/>
                <a:uLnTx/>
                <a:uFillTx/>
                <a:latin typeface="Arial"/>
                <a:ea typeface="+mn-ea"/>
                <a:cs typeface="+mn-cs"/>
              </a:rPr>
              <a:t>Armstrong PW et al. </a:t>
            </a:r>
            <a:r>
              <a:rPr kumimoji="0" lang="en-GB" sz="1000" b="0" i="1" u="none" strike="noStrike" kern="1200" cap="none" spc="0" normalizeH="0" baseline="0" noProof="0">
                <a:ln>
                  <a:noFill/>
                </a:ln>
                <a:solidFill>
                  <a:srgbClr val="000000"/>
                </a:solidFill>
                <a:effectLst/>
                <a:uLnTx/>
                <a:uFillTx/>
                <a:latin typeface="Arial"/>
                <a:ea typeface="+mn-ea"/>
                <a:cs typeface="+mn-cs"/>
              </a:rPr>
              <a:t>N Engl J Med</a:t>
            </a:r>
            <a:r>
              <a:rPr kumimoji="0" lang="en-GB" sz="1000" b="0" i="0" u="none" strike="noStrike" kern="1200" cap="none" spc="0" normalizeH="0" baseline="0" noProof="0">
                <a:ln>
                  <a:noFill/>
                </a:ln>
                <a:solidFill>
                  <a:srgbClr val="000000"/>
                </a:solidFill>
                <a:effectLst/>
                <a:uLnTx/>
                <a:uFillTx/>
                <a:latin typeface="Arial"/>
                <a:ea typeface="+mn-ea"/>
                <a:cs typeface="+mn-cs"/>
              </a:rPr>
              <a:t>. 2020;382:1883–1893</a:t>
            </a:r>
            <a:r>
              <a:rPr kumimoji="0" lang="en-US" sz="1000" b="0" i="0" u="none" strike="noStrike" kern="1200" cap="none" spc="0" normalizeH="0" baseline="0" noProof="0">
                <a:ln>
                  <a:noFill/>
                </a:ln>
                <a:solidFill>
                  <a:srgbClr val="000000"/>
                </a:solidFill>
                <a:effectLst/>
                <a:uLnTx/>
                <a:uFillTx/>
                <a:latin typeface="Arial"/>
                <a:ea typeface="+mn-ea"/>
                <a:cs typeface="+mn-cs"/>
              </a:rPr>
              <a:t>; 2. </a:t>
            </a:r>
            <a:r>
              <a:rPr kumimoji="0" lang="fr-FR" sz="1000" b="0" i="0" u="none" strike="noStrike" kern="1200" cap="none" spc="0" normalizeH="0" baseline="0" noProof="0">
                <a:ln>
                  <a:noFill/>
                </a:ln>
                <a:solidFill>
                  <a:srgbClr val="000000"/>
                </a:solidFill>
                <a:effectLst/>
                <a:uLnTx/>
                <a:uFillTx/>
                <a:latin typeface="Arial"/>
                <a:ea typeface="+mn-ea"/>
                <a:cs typeface="+mn-cs"/>
              </a:rPr>
              <a:t>Butler J et al. </a:t>
            </a:r>
            <a:r>
              <a:rPr kumimoji="0" lang="fr-FR" sz="1000" b="0" i="1" u="none" strike="noStrike" kern="1200" cap="none" spc="0" normalizeH="0" baseline="0" noProof="0">
                <a:ln>
                  <a:noFill/>
                </a:ln>
                <a:solidFill>
                  <a:srgbClr val="000000"/>
                </a:solidFill>
                <a:effectLst/>
                <a:uLnTx/>
                <a:uFillTx/>
                <a:latin typeface="Arial"/>
                <a:ea typeface="+mn-ea"/>
                <a:cs typeface="+mn-cs"/>
              </a:rPr>
              <a:t>Circulation</a:t>
            </a:r>
            <a:r>
              <a:rPr kumimoji="0" lang="fr-FR" sz="1000" b="0" i="0" u="none" strike="noStrike" kern="1200" cap="none" spc="0" normalizeH="0" baseline="0" noProof="0">
                <a:ln>
                  <a:noFill/>
                </a:ln>
                <a:solidFill>
                  <a:srgbClr val="000000"/>
                </a:solidFill>
                <a:effectLst/>
                <a:uLnTx/>
                <a:uFillTx/>
                <a:latin typeface="Arial"/>
                <a:ea typeface="+mn-ea"/>
                <a:cs typeface="+mn-cs"/>
              </a:rPr>
              <a:t>. 2020;142:717–719</a:t>
            </a:r>
            <a:r>
              <a:rPr kumimoji="0" lang="en-US" sz="1000" b="0" i="0" u="none" strike="noStrike" kern="1200" cap="none" spc="0" normalizeH="0" baseline="0" noProof="0">
                <a:ln>
                  <a:noFill/>
                </a:ln>
                <a:solidFill>
                  <a:srgbClr val="000000"/>
                </a:solidFill>
                <a:effectLst/>
                <a:uLnTx/>
                <a:uFillTx/>
                <a:latin typeface="Arial"/>
                <a:ea typeface="+mn-ea"/>
                <a:cs typeface="+mn-cs"/>
              </a:rPr>
              <a:t>. </a:t>
            </a:r>
            <a:endParaRPr kumimoji="0" lang="en-US" sz="1000" b="0" i="0" u="none" strike="noStrike" kern="1200" cap="none" spc="0" normalizeH="0" baseline="0" noProof="0">
              <a:ln>
                <a:noFill/>
              </a:ln>
              <a:solidFill>
                <a:srgbClr val="000000"/>
              </a:solidFill>
              <a:effectLst/>
              <a:highlight>
                <a:srgbClr val="FFFF00"/>
              </a:highlight>
              <a:uLnTx/>
              <a:uFillTx/>
              <a:latin typeface="Arial"/>
              <a:ea typeface="+mn-ea"/>
              <a:cs typeface="+mn-cs"/>
            </a:endParaRPr>
          </a:p>
        </p:txBody>
      </p:sp>
      <p:sp>
        <p:nvSpPr>
          <p:cNvPr id="2" name="Title 1">
            <a:extLst>
              <a:ext uri="{FF2B5EF4-FFF2-40B4-BE49-F238E27FC236}">
                <a16:creationId xmlns:a16="http://schemas.microsoft.com/office/drawing/2014/main" id="{EC362D33-8EC2-4956-B64D-DE086D87F2D8}"/>
              </a:ext>
            </a:extLst>
          </p:cNvPr>
          <p:cNvSpPr>
            <a:spLocks noGrp="1"/>
          </p:cNvSpPr>
          <p:nvPr>
            <p:ph type="title"/>
          </p:nvPr>
        </p:nvSpPr>
        <p:spPr>
          <a:xfrm>
            <a:off x="485363" y="724832"/>
            <a:ext cx="10479314" cy="664797"/>
          </a:xfrm>
        </p:spPr>
        <p:txBody>
          <a:bodyPr/>
          <a:lstStyle/>
          <a:p>
            <a:r>
              <a:rPr lang="en-US" sz="2400" dirty="0">
                <a:solidFill>
                  <a:srgbClr val="000000"/>
                </a:solidFill>
              </a:rPr>
              <a:t>The Secondary Endpoint of CV Death Was Directionally Consistent with the Primary Endpoint, with an ARR of 1 event/100 patient-yr</a:t>
            </a:r>
            <a:r>
              <a:rPr lang="en-US" sz="2400" baseline="30000" dirty="0">
                <a:solidFill>
                  <a:srgbClr val="000000"/>
                </a:solidFill>
              </a:rPr>
              <a:t>1,2</a:t>
            </a:r>
            <a:endParaRPr lang="en-GB" sz="2400" dirty="0"/>
          </a:p>
        </p:txBody>
      </p:sp>
      <p:sp>
        <p:nvSpPr>
          <p:cNvPr id="64" name="Rectangle 63">
            <a:hlinkClick r:id="rId3" action="ppaction://hlinksldjump"/>
            <a:extLst>
              <a:ext uri="{FF2B5EF4-FFF2-40B4-BE49-F238E27FC236}">
                <a16:creationId xmlns:a16="http://schemas.microsoft.com/office/drawing/2014/main" id="{9C6307B6-F34B-49D4-BD08-68561F1D0CBA}"/>
              </a:ext>
            </a:extLst>
          </p:cNvPr>
          <p:cNvSpPr/>
          <p:nvPr/>
        </p:nvSpPr>
        <p:spPr>
          <a:xfrm flipH="1">
            <a:off x="10962164" y="0"/>
            <a:ext cx="1229835" cy="309399"/>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NDEX</a:t>
            </a:r>
          </a:p>
        </p:txBody>
      </p:sp>
    </p:spTree>
    <p:extLst>
      <p:ext uri="{BB962C8B-B14F-4D97-AF65-F5344CB8AC3E}">
        <p14:creationId xmlns:p14="http://schemas.microsoft.com/office/powerpoint/2010/main" val="3852843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67A0CB9D-BACB-47B2-84AB-AB2C069EB71A}"/>
              </a:ext>
            </a:extLst>
          </p:cNvPr>
          <p:cNvSpPr>
            <a:spLocks noGrp="1"/>
          </p:cNvSpPr>
          <p:nvPr>
            <p:ph sz="quarter" idx="13"/>
          </p:nvPr>
        </p:nvSpPr>
        <p:spPr/>
        <p:txBody>
          <a:bodyPr/>
          <a:lstStyle/>
          <a:p>
            <a:endParaRPr lang="en-US"/>
          </a:p>
        </p:txBody>
      </p:sp>
      <p:sp>
        <p:nvSpPr>
          <p:cNvPr id="16" name="Text Placeholder 15">
            <a:extLst>
              <a:ext uri="{FF2B5EF4-FFF2-40B4-BE49-F238E27FC236}">
                <a16:creationId xmlns:a16="http://schemas.microsoft.com/office/drawing/2014/main" id="{0E31EA9F-7946-47DF-AF8F-7E1710131EB0}"/>
              </a:ext>
            </a:extLst>
          </p:cNvPr>
          <p:cNvSpPr>
            <a:spLocks noGrp="1"/>
          </p:cNvSpPr>
          <p:nvPr>
            <p:ph type="body" sz="quarter" idx="14"/>
          </p:nvPr>
        </p:nvSpPr>
        <p:spPr/>
        <p:txBody>
          <a:bodyPr/>
          <a:lstStyle/>
          <a:p>
            <a:endParaRPr lang="en-US"/>
          </a:p>
        </p:txBody>
      </p:sp>
      <p:sp>
        <p:nvSpPr>
          <p:cNvPr id="4" name="Slide Number Placeholder 3">
            <a:extLst>
              <a:ext uri="{FF2B5EF4-FFF2-40B4-BE49-F238E27FC236}">
                <a16:creationId xmlns:a16="http://schemas.microsoft.com/office/drawing/2014/main" id="{B741D77C-C9E4-4C6E-B722-BC464FDBCBDA}"/>
              </a:ext>
            </a:extLst>
          </p:cNvPr>
          <p:cNvSpPr>
            <a:spLocks noGrp="1"/>
          </p:cNvSpPr>
          <p:nvPr>
            <p:ph type="sldNum" sz="quarter" idx="16"/>
          </p:nvPr>
        </p:nvSpPr>
        <p:spPr>
          <a:prstGeom prst="rect">
            <a:avLst/>
          </a:prstGeom>
        </p:spPr>
        <p:txBody>
          <a:bodyPr vert="horz" lIns="91440" tIns="45720" rIns="91440" bIns="45720" rtlCol="0" anchor="b"/>
          <a:lstStyle>
            <a:defPPr>
              <a:defRPr lang="en-US"/>
            </a:defPPr>
            <a:lvl1pPr algn="ctr" defTabSz="609585" rtl="0" eaLnBrk="0" fontAlgn="base" hangingPunct="0">
              <a:spcBef>
                <a:spcPct val="0"/>
              </a:spcBef>
              <a:spcAft>
                <a:spcPct val="0"/>
              </a:spcAft>
              <a:defRPr sz="900" kern="1200">
                <a:solidFill>
                  <a:schemeClr val="tx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fld id="{21C2FF50-D140-5E43-AEA8-75B2CE73B6E9}" type="slidenum">
              <a:rPr kumimoji="0" lang="en-US" sz="900" b="0" i="0" u="none" strike="noStrike" kern="1200" cap="none" spc="0" normalizeH="0" baseline="0" noProof="0" smtClean="0">
                <a:ln>
                  <a:noFill/>
                </a:ln>
                <a:solidFill>
                  <a:srgbClr val="000000"/>
                </a:solidFill>
                <a:effectLst/>
                <a:uLnTx/>
                <a:uFillTx/>
                <a:latin typeface="Arial"/>
                <a:ea typeface="MS PGothic" charset="0"/>
              </a:rPr>
              <a:pPr marL="0" marR="0" lvl="0" indent="0" algn="ctr" defTabSz="609585" rtl="0" eaLnBrk="0" fontAlgn="base" latinLnBrk="0" hangingPunct="0">
                <a:lnSpc>
                  <a:spcPct val="100000"/>
                </a:lnSpc>
                <a:spcBef>
                  <a:spcPct val="0"/>
                </a:spcBef>
                <a:spcAft>
                  <a:spcPct val="0"/>
                </a:spcAft>
                <a:buClrTx/>
                <a:buSzTx/>
                <a:buFontTx/>
                <a:buNone/>
                <a:tabLst/>
                <a:defRPr/>
              </a:pPr>
              <a:t>23</a:t>
            </a:fld>
            <a:endParaRPr kumimoji="0" lang="en-US" sz="900" b="0" i="0" u="none" strike="noStrike" kern="1200" cap="none" spc="0" normalizeH="0" baseline="0" noProof="0" dirty="0">
              <a:ln>
                <a:noFill/>
              </a:ln>
              <a:solidFill>
                <a:srgbClr val="000000"/>
              </a:solidFill>
              <a:effectLst/>
              <a:uLnTx/>
              <a:uFillTx/>
              <a:latin typeface="Arial"/>
              <a:ea typeface="MS PGothic" charset="0"/>
            </a:endParaRPr>
          </a:p>
        </p:txBody>
      </p:sp>
      <p:graphicFrame>
        <p:nvGraphicFramePr>
          <p:cNvPr id="6" name="Chart 5">
            <a:extLst>
              <a:ext uri="{FF2B5EF4-FFF2-40B4-BE49-F238E27FC236}">
                <a16:creationId xmlns:a16="http://schemas.microsoft.com/office/drawing/2014/main" id="{0F816A1E-030F-4166-847F-995166D60BA9}"/>
              </a:ext>
            </a:extLst>
          </p:cNvPr>
          <p:cNvGraphicFramePr/>
          <p:nvPr/>
        </p:nvGraphicFramePr>
        <p:xfrm>
          <a:off x="385858" y="1663236"/>
          <a:ext cx="11806141" cy="339513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8FECDE9-0068-448C-A624-DF0277C12B93}"/>
              </a:ext>
            </a:extLst>
          </p:cNvPr>
          <p:cNvSpPr txBox="1"/>
          <p:nvPr/>
        </p:nvSpPr>
        <p:spPr>
          <a:xfrm>
            <a:off x="3563414" y="3148043"/>
            <a:ext cx="106192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HR=0.9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0.81–1.06)*</a:t>
            </a:r>
          </a:p>
        </p:txBody>
      </p:sp>
      <p:sp>
        <p:nvSpPr>
          <p:cNvPr id="10" name="TextBox 9">
            <a:extLst>
              <a:ext uri="{FF2B5EF4-FFF2-40B4-BE49-F238E27FC236}">
                <a16:creationId xmlns:a16="http://schemas.microsoft.com/office/drawing/2014/main" id="{CEC7A642-A297-46A0-AF95-E5913547AF1B}"/>
              </a:ext>
            </a:extLst>
          </p:cNvPr>
          <p:cNvSpPr txBox="1"/>
          <p:nvPr/>
        </p:nvSpPr>
        <p:spPr>
          <a:xfrm>
            <a:off x="5173754" y="2203853"/>
            <a:ext cx="104411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HR=0.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0.81–1.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0.04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94C21507-01CB-41C5-AC18-B1FAA1A991DC}"/>
              </a:ext>
            </a:extLst>
          </p:cNvPr>
          <p:cNvSpPr txBox="1"/>
          <p:nvPr/>
        </p:nvSpPr>
        <p:spPr>
          <a:xfrm>
            <a:off x="6804002" y="1553478"/>
            <a:ext cx="103301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HR=0.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0.84–0.99)*</a:t>
            </a:r>
            <a:br>
              <a:rPr kumimoji="0" lang="en-GB" sz="1200" b="0" i="0" u="none" strike="noStrike" kern="1200" cap="none" spc="0" normalizeH="0" baseline="3000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p=0.02</a:t>
            </a:r>
            <a:r>
              <a:rPr kumimoji="0" lang="en-GB" sz="1200" b="0" i="0" u="none" strike="noStrike" kern="1200" cap="none" spc="0" normalizeH="0" baseline="30000" noProof="0" dirty="0">
                <a:ln>
                  <a:noFill/>
                </a:ln>
                <a:solidFill>
                  <a:srgbClr val="000000"/>
                </a:solidFill>
                <a:effectLst/>
                <a:uLnTx/>
                <a:uFillTx/>
                <a:latin typeface="Arial"/>
                <a:ea typeface="+mn-ea"/>
                <a:cs typeface="+mn-cs"/>
              </a:rPr>
              <a: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06B04CD6-DCD0-441B-A92F-D569E09F2AC8}"/>
              </a:ext>
            </a:extLst>
          </p:cNvPr>
          <p:cNvSpPr txBox="1"/>
          <p:nvPr/>
        </p:nvSpPr>
        <p:spPr>
          <a:xfrm>
            <a:off x="8449826" y="1663236"/>
            <a:ext cx="103301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HR=0.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0.83–0.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0.02</a:t>
            </a:r>
            <a:r>
              <a:rPr kumimoji="0" lang="en-GB" sz="1200" b="0" i="0" u="none" strike="noStrike" kern="1200" cap="none" spc="0" normalizeH="0" baseline="30000" noProof="0" dirty="0">
                <a:ln>
                  <a:noFill/>
                </a:ln>
                <a:solidFill>
                  <a:srgbClr val="000000"/>
                </a:solidFill>
                <a:effectLst/>
                <a:uLnTx/>
                <a:uFillTx/>
                <a:latin typeface="Arial"/>
                <a:ea typeface="+mn-ea"/>
                <a:cs typeface="+mn-cs"/>
              </a:rPr>
              <a: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A9E9B076-D886-43AE-AA10-0CC521304F73}"/>
              </a:ext>
            </a:extLst>
          </p:cNvPr>
          <p:cNvSpPr txBox="1"/>
          <p:nvPr/>
        </p:nvSpPr>
        <p:spPr>
          <a:xfrm>
            <a:off x="10076741" y="2856714"/>
            <a:ext cx="104411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HR=0.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0.84–1.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0.38</a:t>
            </a:r>
            <a:r>
              <a:rPr kumimoji="0" lang="en-GB" sz="1200" b="0" i="0" u="none" strike="noStrike" kern="1200" cap="none" spc="0" normalizeH="0" baseline="30000" noProof="0" dirty="0">
                <a:ln>
                  <a:noFill/>
                </a:ln>
                <a:solidFill>
                  <a:srgbClr val="000000"/>
                </a:solidFill>
                <a:effectLst/>
                <a:uLnTx/>
                <a:uFillTx/>
                <a:latin typeface="Arial"/>
                <a:ea typeface="+mn-ea"/>
                <a:cs typeface="+mn-cs"/>
              </a:rPr>
              <a: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C4D42F01-F3CA-4A3E-9030-4CE4C2F5EADA}"/>
              </a:ext>
            </a:extLst>
          </p:cNvPr>
          <p:cNvSpPr txBox="1"/>
          <p:nvPr/>
        </p:nvSpPr>
        <p:spPr>
          <a:xfrm>
            <a:off x="7646038" y="4489723"/>
            <a:ext cx="275207"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dirty="0">
                <a:ln>
                  <a:noFill/>
                </a:ln>
                <a:solidFill>
                  <a:srgbClr val="000000"/>
                </a:solidFill>
                <a:effectLst/>
                <a:uLnTx/>
                <a:uFillTx/>
                <a:latin typeface="Arial"/>
                <a:ea typeface="+mn-ea"/>
                <a:cs typeface="+mn-cs"/>
              </a:rPr>
              <a:t>‡</a:t>
            </a:r>
            <a:endParaRPr kumimoji="0" lang="en-GB" sz="105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A718A7-3E72-495C-BF08-61194DCE861B}"/>
              </a:ext>
            </a:extLst>
          </p:cNvPr>
          <p:cNvSpPr txBox="1"/>
          <p:nvPr/>
        </p:nvSpPr>
        <p:spPr>
          <a:xfrm>
            <a:off x="1766309" y="1520027"/>
            <a:ext cx="1365427"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C0000"/>
                </a:solidFill>
                <a:effectLst/>
                <a:uLnTx/>
                <a:uFillTx/>
                <a:latin typeface="Arial"/>
                <a:ea typeface="+mn-ea"/>
                <a:cs typeface="+mn-cs"/>
              </a:rPr>
              <a:t>ARR=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HR=0.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0.82–0.98)*</a:t>
            </a:r>
            <a:br>
              <a:rPr kumimoji="0" lang="en-GB" sz="1200" b="1"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rgbClr val="000000"/>
                </a:solidFill>
                <a:effectLst/>
                <a:uLnTx/>
                <a:uFillTx/>
                <a:latin typeface="Arial"/>
                <a:ea typeface="+mn-ea"/>
                <a:cs typeface="+mn-cs"/>
              </a:rPr>
              <a:t>p=0.0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D7FC29A1-2526-4627-81B0-6C18518818B0}"/>
              </a:ext>
            </a:extLst>
          </p:cNvPr>
          <p:cNvCxnSpPr/>
          <p:nvPr/>
        </p:nvCxnSpPr>
        <p:spPr>
          <a:xfrm flipV="1">
            <a:off x="3230730" y="1876644"/>
            <a:ext cx="0" cy="252000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9F1713C-0A95-4146-91B7-3CBD0F230DE5}"/>
              </a:ext>
            </a:extLst>
          </p:cNvPr>
          <p:cNvSpPr txBox="1"/>
          <p:nvPr/>
        </p:nvSpPr>
        <p:spPr>
          <a:xfrm>
            <a:off x="482851" y="5888534"/>
            <a:ext cx="11373789" cy="769441"/>
          </a:xfrm>
          <a:prstGeom prst="rect">
            <a:avLst/>
          </a:prstGeom>
          <a:noFill/>
        </p:spPr>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Worsening symptoms requiring hospitalization or IV diuretic use in the outpatient setting. For patients with multiple events, only the first event contributing to the composite endpoint is coun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HR (vericiguat over placebo) and 95% CI from Cox proportional hazard model controlling for stratification factors (defined by region and race). </a:t>
            </a:r>
            <a:r>
              <a:rPr kumimoji="0" lang="en-GB" sz="1000" b="0" i="0" u="none" strike="noStrike" kern="1200" cap="none" spc="0" normalizeH="0" baseline="30000" noProof="0" dirty="0">
                <a:ln>
                  <a:noFill/>
                </a:ln>
                <a:solidFill>
                  <a:srgbClr val="000000"/>
                </a:solidFill>
                <a:effectLst/>
                <a:uLnTx/>
                <a:uFillTx/>
                <a:latin typeface="Arial"/>
                <a:ea typeface="+mn-ea"/>
                <a:cs typeface="+mn-cs"/>
              </a:rPr>
              <a:t>#</a:t>
            </a:r>
            <a:r>
              <a:rPr kumimoji="0" lang="en-GB" sz="1000" b="0" i="0" u="none" strike="noStrike" kern="1200" cap="none" spc="0" normalizeH="0" baseline="0" noProof="0" dirty="0">
                <a:ln>
                  <a:noFill/>
                </a:ln>
                <a:solidFill>
                  <a:srgbClr val="000000"/>
                </a:solidFill>
                <a:effectLst/>
                <a:uLnTx/>
                <a:uFillTx/>
                <a:latin typeface="Arial"/>
                <a:ea typeface="+mn-ea"/>
                <a:cs typeface="+mn-cs"/>
              </a:rPr>
              <a:t>From log rank test stratified by the stratification factors defined by region and race.</a:t>
            </a:r>
            <a:r>
              <a:rPr kumimoji="0" lang="en-GB" sz="1000" b="0" i="0" u="none" strike="noStrike" kern="1200" cap="none" spc="0" normalizeH="0" baseline="30000" noProof="0" dirty="0">
                <a:ln>
                  <a:noFill/>
                </a:ln>
                <a:solidFill>
                  <a:srgbClr val="000000"/>
                </a:solidFill>
                <a:effectLst/>
                <a:uLnTx/>
                <a:uFillTx/>
                <a:latin typeface="Arial"/>
                <a:ea typeface="+mn-ea"/>
                <a:cs typeface="+mn-cs"/>
              </a:rPr>
              <a:t> ‡</a:t>
            </a:r>
            <a:r>
              <a:rPr kumimoji="0" lang="en-GB" sz="1000" b="0" i="0" u="none" strike="noStrike" kern="1200" cap="none" spc="0" normalizeH="0" baseline="0" noProof="0" dirty="0">
                <a:ln>
                  <a:noFill/>
                </a:ln>
                <a:solidFill>
                  <a:srgbClr val="000000"/>
                </a:solidFill>
                <a:effectLst/>
                <a:uLnTx/>
                <a:uFillTx/>
                <a:latin typeface="Arial"/>
                <a:ea typeface="+mn-ea"/>
                <a:cs typeface="+mn-cs"/>
              </a:rPr>
              <a:t>Patients could have been hospitalized more than once. Based on data up to the primary completion date (18 June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ARR, absolute rate reduction; CI, confidence interval; CV, cardiovascular; HFH, heart failure hospitalization; HR, hazard ratio; </a:t>
            </a:r>
            <a:r>
              <a:rPr kumimoji="0" lang="en-GB" sz="1000" b="0" i="0" u="none" strike="noStrike" kern="1200" cap="none" spc="0" normalizeH="0" baseline="0" noProof="0" dirty="0">
                <a:ln>
                  <a:noFill/>
                </a:ln>
                <a:solidFill>
                  <a:srgbClr val="000000"/>
                </a:solidFill>
                <a:effectLst/>
                <a:uLnTx/>
                <a:uFillTx/>
                <a:latin typeface="Arial" panose="020B0604020202020204"/>
                <a:ea typeface="MS PGothic" charset="0"/>
                <a:cs typeface="+mn-cs"/>
              </a:rPr>
              <a:t>IV, intravenous; </a:t>
            </a: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PY, patient-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1. Armstrong PW </a:t>
            </a:r>
            <a:r>
              <a:rPr kumimoji="0" lang="en-GB" sz="1000" b="0" i="1" u="none" strike="noStrike" kern="1200" cap="none" spc="0" normalizeH="0" baseline="0" noProof="0" dirty="0">
                <a:ln>
                  <a:noFill/>
                </a:ln>
                <a:solidFill>
                  <a:srgbClr val="000000"/>
                </a:solidFill>
                <a:effectLst/>
                <a:uLnTx/>
                <a:uFillTx/>
                <a:latin typeface="Arial"/>
                <a:ea typeface="+mn-ea"/>
                <a:cs typeface="+mn-cs"/>
              </a:rPr>
              <a:t>et al. N Engl J Med. </a:t>
            </a:r>
            <a:r>
              <a:rPr kumimoji="0" lang="en-GB" sz="1000" b="0" i="0" u="none" strike="noStrike" kern="1200" cap="none" spc="0" normalizeH="0" baseline="0" noProof="0" dirty="0">
                <a:ln>
                  <a:noFill/>
                </a:ln>
                <a:solidFill>
                  <a:srgbClr val="000000"/>
                </a:solidFill>
                <a:effectLst/>
                <a:uLnTx/>
                <a:uFillTx/>
                <a:latin typeface="Arial"/>
                <a:ea typeface="+mn-ea"/>
                <a:cs typeface="+mn-cs"/>
              </a:rPr>
              <a:t>2020;382:1883–1893.</a:t>
            </a:r>
          </a:p>
        </p:txBody>
      </p:sp>
      <p:sp>
        <p:nvSpPr>
          <p:cNvPr id="19" name="Rectangle: Rounded Corners 18">
            <a:extLst>
              <a:ext uri="{FF2B5EF4-FFF2-40B4-BE49-F238E27FC236}">
                <a16:creationId xmlns:a16="http://schemas.microsoft.com/office/drawing/2014/main" id="{114DAB0A-9E52-4376-BCB8-50BBF0D14350}"/>
              </a:ext>
            </a:extLst>
          </p:cNvPr>
          <p:cNvSpPr/>
          <p:nvPr/>
        </p:nvSpPr>
        <p:spPr>
          <a:xfrm>
            <a:off x="476250" y="5025855"/>
            <a:ext cx="11239498" cy="667015"/>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10" normalizeH="0" baseline="0" noProof="0" dirty="0">
                <a:ln>
                  <a:noFill/>
                </a:ln>
                <a:solidFill>
                  <a:srgbClr val="FFFFFF"/>
                </a:solidFill>
                <a:effectLst/>
                <a:uLnTx/>
                <a:uFillTx/>
                <a:latin typeface="Arial"/>
                <a:ea typeface="+mn-ea"/>
                <a:cs typeface="+mn-cs"/>
              </a:rPr>
              <a:t>The primary composite outcome, total HFH and the composite of HFH or all-cause mortality </a:t>
            </a:r>
            <a:br>
              <a:rPr kumimoji="0" lang="en-GB" sz="1600" b="1" i="0" u="none" strike="noStrike" kern="1200" cap="none" spc="-10" normalizeH="0" baseline="0" noProof="0" dirty="0">
                <a:ln>
                  <a:noFill/>
                </a:ln>
                <a:solidFill>
                  <a:srgbClr val="FFFFFF"/>
                </a:solidFill>
                <a:effectLst/>
                <a:uLnTx/>
                <a:uFillTx/>
                <a:latin typeface="Arial"/>
                <a:ea typeface="+mn-ea"/>
                <a:cs typeface="+mn-cs"/>
              </a:rPr>
            </a:br>
            <a:r>
              <a:rPr kumimoji="0" lang="en-GB" sz="1600" b="1" i="0" u="none" strike="noStrike" kern="1200" cap="none" spc="-10" normalizeH="0" baseline="0" noProof="0" dirty="0">
                <a:ln>
                  <a:noFill/>
                </a:ln>
                <a:solidFill>
                  <a:srgbClr val="FFFFFF"/>
                </a:solidFill>
                <a:effectLst/>
                <a:uLnTx/>
                <a:uFillTx/>
                <a:latin typeface="Arial"/>
                <a:ea typeface="+mn-ea"/>
                <a:cs typeface="+mn-cs"/>
              </a:rPr>
              <a:t>were significantly reduced with vericiguat vs placebo</a:t>
            </a:r>
          </a:p>
        </p:txBody>
      </p:sp>
      <p:sp>
        <p:nvSpPr>
          <p:cNvPr id="5" name="Rectangle 4">
            <a:extLst>
              <a:ext uri="{FF2B5EF4-FFF2-40B4-BE49-F238E27FC236}">
                <a16:creationId xmlns:a16="http://schemas.microsoft.com/office/drawing/2014/main" id="{55CC9222-7B95-4977-8DB0-E09780654A80}"/>
              </a:ext>
            </a:extLst>
          </p:cNvPr>
          <p:cNvSpPr/>
          <p:nvPr/>
        </p:nvSpPr>
        <p:spPr>
          <a:xfrm>
            <a:off x="3611658" y="2856714"/>
            <a:ext cx="103265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C0000"/>
                </a:solidFill>
                <a:effectLst/>
                <a:uLnTx/>
                <a:uFillTx/>
                <a:latin typeface="Arial" panose="020B0604020202020204"/>
                <a:ea typeface="+mn-ea"/>
                <a:cs typeface="+mn-cs"/>
              </a:rPr>
              <a:t>ARR=1.0</a:t>
            </a:r>
          </a:p>
        </p:txBody>
      </p:sp>
      <p:sp>
        <p:nvSpPr>
          <p:cNvPr id="18" name="Rectangle 17">
            <a:extLst>
              <a:ext uri="{FF2B5EF4-FFF2-40B4-BE49-F238E27FC236}">
                <a16:creationId xmlns:a16="http://schemas.microsoft.com/office/drawing/2014/main" id="{41DBF86A-15B7-42C8-AF92-39EDC1272BA0}"/>
              </a:ext>
            </a:extLst>
          </p:cNvPr>
          <p:cNvSpPr/>
          <p:nvPr/>
        </p:nvSpPr>
        <p:spPr>
          <a:xfrm>
            <a:off x="5137090" y="1947804"/>
            <a:ext cx="103265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C0000"/>
                </a:solidFill>
                <a:effectLst/>
                <a:uLnTx/>
                <a:uFillTx/>
                <a:latin typeface="Arial" panose="020B0604020202020204"/>
                <a:ea typeface="+mn-ea"/>
                <a:cs typeface="+mn-cs"/>
              </a:rPr>
              <a:t>ARR=3.2</a:t>
            </a:r>
          </a:p>
        </p:txBody>
      </p:sp>
      <p:sp>
        <p:nvSpPr>
          <p:cNvPr id="20" name="Rectangle 19">
            <a:extLst>
              <a:ext uri="{FF2B5EF4-FFF2-40B4-BE49-F238E27FC236}">
                <a16:creationId xmlns:a16="http://schemas.microsoft.com/office/drawing/2014/main" id="{2E695974-37CC-44E4-88AD-227B77357A96}"/>
              </a:ext>
            </a:extLst>
          </p:cNvPr>
          <p:cNvSpPr/>
          <p:nvPr/>
        </p:nvSpPr>
        <p:spPr>
          <a:xfrm>
            <a:off x="6750986" y="1255162"/>
            <a:ext cx="103265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CC0000"/>
                </a:solidFill>
                <a:effectLst/>
                <a:uLnTx/>
                <a:uFillTx/>
                <a:latin typeface="Arial" panose="020B0604020202020204"/>
                <a:ea typeface="+mn-ea"/>
                <a:cs typeface="+mn-cs"/>
              </a:rPr>
              <a:t>ARR=4.1</a:t>
            </a:r>
          </a:p>
        </p:txBody>
      </p:sp>
      <p:sp>
        <p:nvSpPr>
          <p:cNvPr id="13" name="Rectangle 12">
            <a:extLst>
              <a:ext uri="{FF2B5EF4-FFF2-40B4-BE49-F238E27FC236}">
                <a16:creationId xmlns:a16="http://schemas.microsoft.com/office/drawing/2014/main" id="{8F5DF8B5-65B6-4CE1-86C1-58FF8512A215}"/>
              </a:ext>
            </a:extLst>
          </p:cNvPr>
          <p:cNvSpPr/>
          <p:nvPr/>
        </p:nvSpPr>
        <p:spPr>
          <a:xfrm>
            <a:off x="8396307" y="1358665"/>
            <a:ext cx="1140056"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CC0000"/>
                </a:solidFill>
                <a:effectLst/>
                <a:uLnTx/>
                <a:uFillTx/>
                <a:latin typeface="Arial" panose="020B0604020202020204"/>
                <a:ea typeface="+mn-ea"/>
                <a:cs typeface="+mn-cs"/>
              </a:rPr>
              <a:t>ARR=4.2</a:t>
            </a:r>
          </a:p>
        </p:txBody>
      </p:sp>
      <p:sp>
        <p:nvSpPr>
          <p:cNvPr id="24" name="Title 6">
            <a:extLst>
              <a:ext uri="{FF2B5EF4-FFF2-40B4-BE49-F238E27FC236}">
                <a16:creationId xmlns:a16="http://schemas.microsoft.com/office/drawing/2014/main" id="{B42A73C3-7849-4E72-9920-FEB50EF47D51}"/>
              </a:ext>
            </a:extLst>
          </p:cNvPr>
          <p:cNvSpPr>
            <a:spLocks noGrp="1"/>
          </p:cNvSpPr>
          <p:nvPr>
            <p:ph type="title"/>
          </p:nvPr>
        </p:nvSpPr>
        <p:spPr>
          <a:xfrm>
            <a:off x="600074" y="165100"/>
            <a:ext cx="11591925" cy="928688"/>
          </a:xfrm>
        </p:spPr>
        <p:txBody>
          <a:bodyPr/>
          <a:lstStyle/>
          <a:p>
            <a:r>
              <a:rPr lang="en-US" dirty="0"/>
              <a:t>Vericiguat improved both primary and secondary outcomes in patients with chronic and worsening HF in VICTORIA</a:t>
            </a:r>
            <a:endParaRPr lang="en-GB" dirty="0"/>
          </a:p>
        </p:txBody>
      </p:sp>
      <p:sp>
        <p:nvSpPr>
          <p:cNvPr id="22" name="Text Placeholder 1">
            <a:extLst>
              <a:ext uri="{FF2B5EF4-FFF2-40B4-BE49-F238E27FC236}">
                <a16:creationId xmlns:a16="http://schemas.microsoft.com/office/drawing/2014/main" id="{8CA0B522-44F1-49BC-84C1-855761F00026}"/>
              </a:ext>
            </a:extLst>
          </p:cNvPr>
          <p:cNvSpPr txBox="1">
            <a:spLocks/>
          </p:cNvSpPr>
          <p:nvPr/>
        </p:nvSpPr>
        <p:spPr>
          <a:xfrm>
            <a:off x="9579044" y="6559128"/>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custDataLst>
      <p:tags r:id="rId1"/>
    </p:custDataLst>
    <p:extLst>
      <p:ext uri="{BB962C8B-B14F-4D97-AF65-F5344CB8AC3E}">
        <p14:creationId xmlns:p14="http://schemas.microsoft.com/office/powerpoint/2010/main" val="2877062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57178D0-602F-4669-9CB2-6CBE96354CA9}"/>
              </a:ext>
            </a:extLst>
          </p:cNvPr>
          <p:cNvSpPr/>
          <p:nvPr/>
        </p:nvSpPr>
        <p:spPr>
          <a:xfrm>
            <a:off x="442903" y="2979294"/>
            <a:ext cx="3200400" cy="314300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4A925F9F-EB3D-47C7-B82B-F88BF63E3F94}"/>
              </a:ext>
            </a:extLst>
          </p:cNvPr>
          <p:cNvSpPr>
            <a:spLocks noGrp="1"/>
          </p:cNvSpPr>
          <p:nvPr>
            <p:ph type="title"/>
          </p:nvPr>
        </p:nvSpPr>
        <p:spPr/>
        <p:txBody>
          <a:bodyPr/>
          <a:lstStyle/>
          <a:p>
            <a:r>
              <a:rPr lang="en-GB" dirty="0"/>
              <a:t>Vericiguat has a favorable safety profile</a:t>
            </a:r>
            <a:r>
              <a:rPr lang="en-GB" baseline="30000" dirty="0"/>
              <a:t>1,2</a:t>
            </a:r>
          </a:p>
        </p:txBody>
      </p:sp>
      <p:sp>
        <p:nvSpPr>
          <p:cNvPr id="5" name="Slide Number Placeholder 4">
            <a:extLst>
              <a:ext uri="{FF2B5EF4-FFF2-40B4-BE49-F238E27FC236}">
                <a16:creationId xmlns:a16="http://schemas.microsoft.com/office/drawing/2014/main" id="{3FAEF93B-9CD7-44F0-A082-95B6D3B5E533}"/>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1C1F2293-D374-4F22-B515-27B83EF4FF2B}"/>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AE, adverse event; SAE, serious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References: 1. </a:t>
            </a:r>
            <a:r>
              <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Armstrong PW </a:t>
            </a:r>
            <a:r>
              <a:rPr kumimoji="0" lang="en-GB" sz="800" b="0" i="1" u="none" strike="noStrike" kern="1200" cap="none" spc="0" normalizeH="0" baseline="0" noProof="0" dirty="0">
                <a:ln>
                  <a:noFill/>
                </a:ln>
                <a:solidFill>
                  <a:srgbClr val="000000">
                    <a:tint val="75000"/>
                  </a:srgbClr>
                </a:solidFill>
                <a:effectLst/>
                <a:uLnTx/>
                <a:uFillTx/>
                <a:latin typeface="Arial" panose="020B0604020202020204"/>
                <a:ea typeface="+mn-ea"/>
                <a:cs typeface="+mn-cs"/>
              </a:rPr>
              <a:t>et al. N Engl J Med</a:t>
            </a:r>
            <a:r>
              <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 2020;382:1883–1893; </a:t>
            </a:r>
            <a:r>
              <a:rPr kumimoji="0" lang="en-GB"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2. </a:t>
            </a:r>
            <a:r>
              <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Lam C </a:t>
            </a:r>
            <a:r>
              <a:rPr kumimoji="0" lang="en-GB" sz="800" b="0" i="1" u="none" strike="noStrike" kern="1200" cap="none" spc="0" normalizeH="0" baseline="0" noProof="0" dirty="0">
                <a:ln>
                  <a:noFill/>
                </a:ln>
                <a:solidFill>
                  <a:srgbClr val="000000">
                    <a:tint val="75000"/>
                  </a:srgbClr>
                </a:solidFill>
                <a:effectLst/>
                <a:uLnTx/>
                <a:uFillTx/>
                <a:latin typeface="Arial" panose="020B0604020202020204"/>
                <a:ea typeface="+mn-ea"/>
                <a:cs typeface="+mn-cs"/>
              </a:rPr>
              <a:t>et al. J Am Heart Assoc</a:t>
            </a:r>
            <a:r>
              <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rPr>
              <a:t> 2021;10:e021094.</a:t>
            </a:r>
          </a:p>
        </p:txBody>
      </p:sp>
      <p:sp>
        <p:nvSpPr>
          <p:cNvPr id="33" name="Rectangle 32">
            <a:extLst>
              <a:ext uri="{FF2B5EF4-FFF2-40B4-BE49-F238E27FC236}">
                <a16:creationId xmlns:a16="http://schemas.microsoft.com/office/drawing/2014/main" id="{F8112E10-BA85-4B9E-8A83-C1B95278ED80}"/>
              </a:ext>
            </a:extLst>
          </p:cNvPr>
          <p:cNvSpPr/>
          <p:nvPr/>
        </p:nvSpPr>
        <p:spPr>
          <a:xfrm>
            <a:off x="3756519" y="2979294"/>
            <a:ext cx="3200400" cy="314300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C7BA892F-4372-4C69-8060-21040CEDB485}"/>
              </a:ext>
            </a:extLst>
          </p:cNvPr>
          <p:cNvSpPr/>
          <p:nvPr/>
        </p:nvSpPr>
        <p:spPr>
          <a:xfrm>
            <a:off x="7052019" y="2979294"/>
            <a:ext cx="3200400" cy="314300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56D3E31-CF13-4A25-B3AD-C7D9CD883617}"/>
              </a:ext>
            </a:extLst>
          </p:cNvPr>
          <p:cNvSpPr/>
          <p:nvPr/>
        </p:nvSpPr>
        <p:spPr>
          <a:xfrm>
            <a:off x="442903" y="2065212"/>
            <a:ext cx="3200400" cy="1461065"/>
          </a:xfrm>
          <a:prstGeom prst="rect">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e rates of AEs and SAEs were numerically lower with vericiguat compared with placebo</a:t>
            </a:r>
            <a:r>
              <a:rPr kumimoji="0" lang="en-GB" sz="1600" b="0" i="0" u="none" strike="noStrike" kern="1200" cap="none" spc="0" normalizeH="0" baseline="30000" noProof="0" dirty="0">
                <a:ln>
                  <a:noFill/>
                </a:ln>
                <a:solidFill>
                  <a:srgbClr val="FFFFFF"/>
                </a:solidFill>
                <a:effectLst/>
                <a:uLnTx/>
                <a:uFillTx/>
                <a:latin typeface="Arial"/>
                <a:ea typeface="+mn-ea"/>
                <a:cs typeface="+mn-cs"/>
              </a:rPr>
              <a:t>1</a:t>
            </a: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87A39964-BBEB-4F8A-BAD9-22C987537EE2}"/>
              </a:ext>
            </a:extLst>
          </p:cNvPr>
          <p:cNvSpPr/>
          <p:nvPr/>
        </p:nvSpPr>
        <p:spPr>
          <a:xfrm>
            <a:off x="3756519" y="2065212"/>
            <a:ext cx="3200400" cy="1461065"/>
          </a:xfrm>
          <a:prstGeom prst="rect">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No significant difference in symptomatic hypotension or syncope</a:t>
            </a:r>
            <a:r>
              <a:rPr kumimoji="0" lang="en-GB" sz="1600" b="0" i="0" u="none" strike="noStrike" kern="1200" cap="none" spc="0" normalizeH="0" baseline="30000" noProof="0" dirty="0">
                <a:ln>
                  <a:noFill/>
                </a:ln>
                <a:solidFill>
                  <a:srgbClr val="FFFFFF"/>
                </a:solidFill>
                <a:effectLst/>
                <a:uLnTx/>
                <a:uFillTx/>
                <a:latin typeface="Arial"/>
                <a:ea typeface="+mn-ea"/>
                <a:cs typeface="+mn-cs"/>
              </a:rPr>
              <a:t>2</a:t>
            </a: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BBAC0744-BC48-48D4-9DD5-D1B2CC2A44C9}"/>
              </a:ext>
            </a:extLst>
          </p:cNvPr>
          <p:cNvSpPr/>
          <p:nvPr/>
        </p:nvSpPr>
        <p:spPr>
          <a:xfrm>
            <a:off x="7052019" y="2065212"/>
            <a:ext cx="3200400" cy="1461065"/>
          </a:xfrm>
          <a:prstGeom prst="rect">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 VICTORIA, </a:t>
            </a:r>
            <a:r>
              <a:rPr kumimoji="0" lang="en-GB" sz="1600" b="1" i="0" u="none" strike="noStrike" kern="1200" cap="none" spc="0" normalizeH="0" baseline="0" noProof="0" dirty="0">
                <a:ln>
                  <a:noFill/>
                </a:ln>
                <a:solidFill>
                  <a:srgbClr val="FFFFFF"/>
                </a:solidFill>
                <a:effectLst/>
                <a:uLnTx/>
                <a:uFillTx/>
                <a:latin typeface="Arial"/>
                <a:ea typeface="+mn-ea"/>
                <a:cs typeface="+mn-cs"/>
              </a:rPr>
              <a:t>~90% </a:t>
            </a:r>
            <a:r>
              <a:rPr kumimoji="0" lang="en-GB" sz="1600" b="0" i="0" u="none" strike="noStrike" kern="1200" cap="none" spc="0" normalizeH="0" baseline="0" noProof="0" dirty="0">
                <a:ln>
                  <a:noFill/>
                </a:ln>
                <a:solidFill>
                  <a:srgbClr val="FFFFFF"/>
                </a:solidFill>
                <a:effectLst/>
                <a:uLnTx/>
                <a:uFillTx/>
                <a:latin typeface="Arial"/>
                <a:ea typeface="+mn-ea"/>
                <a:cs typeface="+mn-cs"/>
              </a:rPr>
              <a:t>of patients achieved the target dose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10 mg of vericiguat after </a:t>
            </a:r>
            <a:br>
              <a:rPr kumimoji="0" lang="en-GB" sz="1600" b="0" i="0" u="none" strike="noStrike" kern="1200" cap="none" spc="0" normalizeH="0" baseline="0" noProof="0" dirty="0">
                <a:ln>
                  <a:noFill/>
                </a:ln>
                <a:solidFill>
                  <a:srgbClr val="FFFFFF"/>
                </a:solidFill>
                <a:effectLst/>
                <a:uLnTx/>
                <a:uFillTx/>
                <a:latin typeface="Arial"/>
                <a:ea typeface="+mn-ea"/>
                <a:cs typeface="+mn-cs"/>
              </a:rPr>
            </a:br>
            <a:r>
              <a:rPr kumimoji="0" lang="en-GB" sz="1600" b="0" i="0" u="none" strike="noStrike" kern="1200" cap="none" spc="0" normalizeH="0" baseline="0" noProof="0" dirty="0">
                <a:ln>
                  <a:noFill/>
                </a:ln>
                <a:solidFill>
                  <a:srgbClr val="FFFFFF"/>
                </a:solidFill>
                <a:effectLst/>
                <a:uLnTx/>
                <a:uFillTx/>
                <a:latin typeface="Arial"/>
                <a:ea typeface="+mn-ea"/>
                <a:cs typeface="+mn-cs"/>
              </a:rPr>
              <a:t>~12 months</a:t>
            </a:r>
            <a:r>
              <a:rPr kumimoji="0" lang="en-GB" sz="1600" b="0" i="0" u="none" strike="noStrike" kern="1200" cap="none" spc="0" normalizeH="0" baseline="30000" noProof="0" dirty="0">
                <a:ln>
                  <a:noFill/>
                </a:ln>
                <a:solidFill>
                  <a:srgbClr val="FFFFFF"/>
                </a:solidFill>
                <a:effectLst/>
                <a:uLnTx/>
                <a:uFillTx/>
                <a:latin typeface="Arial"/>
                <a:ea typeface="+mn-ea"/>
                <a:cs typeface="+mn-cs"/>
              </a:rPr>
              <a:t>1</a:t>
            </a: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8947F135-B1AB-4412-AFCA-EC0803B64A3A}"/>
              </a:ext>
            </a:extLst>
          </p:cNvPr>
          <p:cNvSpPr/>
          <p:nvPr/>
        </p:nvSpPr>
        <p:spPr>
          <a:xfrm>
            <a:off x="8155338" y="1287955"/>
            <a:ext cx="993763" cy="993763"/>
          </a:xfrm>
          <a:prstGeom prst="ellipse">
            <a:avLst/>
          </a:prstGeom>
          <a:ln>
            <a:solidFill>
              <a:schemeClr val="accent4"/>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nvGrpSpPr>
          <p:cNvPr id="10" name="Group 9">
            <a:extLst>
              <a:ext uri="{FF2B5EF4-FFF2-40B4-BE49-F238E27FC236}">
                <a16:creationId xmlns:a16="http://schemas.microsoft.com/office/drawing/2014/main" id="{000D4796-8A89-49D2-B753-A8A7789C9717}"/>
              </a:ext>
            </a:extLst>
          </p:cNvPr>
          <p:cNvGrpSpPr/>
          <p:nvPr/>
        </p:nvGrpSpPr>
        <p:grpSpPr>
          <a:xfrm>
            <a:off x="7812494" y="1179845"/>
            <a:ext cx="1645267" cy="1227073"/>
            <a:chOff x="8594792" y="1171299"/>
            <a:chExt cx="1645267" cy="1227073"/>
          </a:xfrm>
        </p:grpSpPr>
        <p:graphicFrame>
          <p:nvGraphicFramePr>
            <p:cNvPr id="40" name="Chart 39">
              <a:extLst>
                <a:ext uri="{FF2B5EF4-FFF2-40B4-BE49-F238E27FC236}">
                  <a16:creationId xmlns:a16="http://schemas.microsoft.com/office/drawing/2014/main" id="{99EA9834-30DE-4E22-AF43-14900F2B76DC}"/>
                </a:ext>
              </a:extLst>
            </p:cNvPr>
            <p:cNvGraphicFramePr/>
            <p:nvPr/>
          </p:nvGraphicFramePr>
          <p:xfrm>
            <a:off x="8594792" y="1171299"/>
            <a:ext cx="1645267" cy="1227073"/>
          </p:xfrm>
          <a:graphic>
            <a:graphicData uri="http://schemas.openxmlformats.org/drawingml/2006/chart">
              <c:chart xmlns:c="http://schemas.openxmlformats.org/drawingml/2006/chart" xmlns:r="http://schemas.openxmlformats.org/officeDocument/2006/relationships" r:id="rId3"/>
            </a:graphicData>
          </a:graphic>
        </p:graphicFrame>
        <p:pic>
          <p:nvPicPr>
            <p:cNvPr id="41" name="Picture 40">
              <a:extLst>
                <a:ext uri="{FF2B5EF4-FFF2-40B4-BE49-F238E27FC236}">
                  <a16:creationId xmlns:a16="http://schemas.microsoft.com/office/drawing/2014/main" id="{8492E170-7551-40B5-9E8E-BE98B0C6D1E5}"/>
                </a:ext>
              </a:extLst>
            </p:cNvPr>
            <p:cNvPicPr>
              <a:picLocks noChangeAspect="1"/>
            </p:cNvPicPr>
            <p:nvPr/>
          </p:nvPicPr>
          <p:blipFill>
            <a:blip r:embed="rId4">
              <a:duotone>
                <a:schemeClr val="accent5">
                  <a:shade val="45000"/>
                  <a:satMod val="135000"/>
                </a:schemeClr>
                <a:prstClr val="white"/>
              </a:duotone>
              <a:extLst>
                <a:ext uri="{BEBA8EAE-BF5A-486C-A8C5-ECC9F3942E4B}">
                  <a14:imgProps xmlns:a14="http://schemas.microsoft.com/office/drawing/2010/main">
                    <a14:imgLayer r:embed="rId5">
                      <a14:imgEffect>
                        <a14:backgroundRemoval t="9901" b="89851" l="9976" r="91727">
                          <a14:foregroundMark x1="56934" y1="43317" x2="56934" y2="43317"/>
                          <a14:foregroundMark x1="82238" y1="32921" x2="82238" y2="32921"/>
                          <a14:foregroundMark x1="91727" y1="71040" x2="91727" y2="71040"/>
                          <a14:foregroundMark x1="21898" y1="56683" x2="21898" y2="56683"/>
                        </a14:backgroundRemoval>
                      </a14:imgEffect>
                    </a14:imgLayer>
                  </a14:imgProps>
                </a:ext>
              </a:extLst>
            </a:blip>
            <a:stretch>
              <a:fillRect/>
            </a:stretch>
          </p:blipFill>
          <p:spPr>
            <a:xfrm>
              <a:off x="9069927" y="1391027"/>
              <a:ext cx="694998" cy="661697"/>
            </a:xfrm>
            <a:prstGeom prst="rect">
              <a:avLst/>
            </a:prstGeom>
          </p:spPr>
        </p:pic>
      </p:grpSp>
      <p:grpSp>
        <p:nvGrpSpPr>
          <p:cNvPr id="11" name="Group 10">
            <a:extLst>
              <a:ext uri="{FF2B5EF4-FFF2-40B4-BE49-F238E27FC236}">
                <a16:creationId xmlns:a16="http://schemas.microsoft.com/office/drawing/2014/main" id="{D25D6339-BBD0-4448-9509-EC9C99F8EC95}"/>
              </a:ext>
            </a:extLst>
          </p:cNvPr>
          <p:cNvGrpSpPr/>
          <p:nvPr/>
        </p:nvGrpSpPr>
        <p:grpSpPr>
          <a:xfrm>
            <a:off x="4859838" y="1235585"/>
            <a:ext cx="993763" cy="1049953"/>
            <a:chOff x="5610943" y="1235585"/>
            <a:chExt cx="993763" cy="1049953"/>
          </a:xfrm>
        </p:grpSpPr>
        <p:sp>
          <p:nvSpPr>
            <p:cNvPr id="43" name="Oval 42">
              <a:extLst>
                <a:ext uri="{FF2B5EF4-FFF2-40B4-BE49-F238E27FC236}">
                  <a16:creationId xmlns:a16="http://schemas.microsoft.com/office/drawing/2014/main" id="{544B734C-AE42-41A9-A917-ADBF4AC98E5C}"/>
                </a:ext>
              </a:extLst>
            </p:cNvPr>
            <p:cNvSpPr/>
            <p:nvPr/>
          </p:nvSpPr>
          <p:spPr>
            <a:xfrm>
              <a:off x="5610943" y="1291775"/>
              <a:ext cx="993763" cy="993763"/>
            </a:xfrm>
            <a:prstGeom prst="ellipse">
              <a:avLst/>
            </a:prstGeom>
            <a:ln>
              <a:solidFill>
                <a:schemeClr val="accent4"/>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44" name="Picture 43">
              <a:extLst>
                <a:ext uri="{FF2B5EF4-FFF2-40B4-BE49-F238E27FC236}">
                  <a16:creationId xmlns:a16="http://schemas.microsoft.com/office/drawing/2014/main" id="{301C4793-BAF0-48B9-8883-782ACA9A4123}"/>
                </a:ext>
              </a:extLst>
            </p:cNvPr>
            <p:cNvPicPr>
              <a:picLocks noChangeAspect="1"/>
            </p:cNvPicPr>
            <p:nvPr/>
          </p:nvPicPr>
          <p:blipFill>
            <a:blip r:embed="rId6">
              <a:duotone>
                <a:schemeClr val="accent4">
                  <a:shade val="45000"/>
                  <a:satMod val="135000"/>
                </a:schemeClr>
                <a:prstClr val="white"/>
              </a:duotone>
              <a:extLst>
                <a:ext uri="{BEBA8EAE-BF5A-486C-A8C5-ECC9F3942E4B}">
                  <a14:imgProps xmlns:a14="http://schemas.microsoft.com/office/drawing/2010/main">
                    <a14:imgLayer r:embed="rId7">
                      <a14:imgEffect>
                        <a14:backgroundRemoval t="9804" b="92593" l="9670" r="90110">
                          <a14:foregroundMark x1="36703" y1="38562" x2="36703" y2="38562"/>
                          <a14:foregroundMark x1="44396" y1="92810" x2="44396" y2="92810"/>
                          <a14:foregroundMark x1="57802" y1="86928" x2="57802" y2="86928"/>
                          <a14:foregroundMark x1="90110" y1="30501" x2="90110" y2="30501"/>
                          <a14:foregroundMark x1="78901" y1="30065" x2="78901" y2="30065"/>
                          <a14:foregroundMark x1="84176" y1="28105" x2="84176" y2="28105"/>
                          <a14:foregroundMark x1="86593" y1="35076" x2="86593" y2="35076"/>
                          <a14:foregroundMark x1="85934" y1="39216" x2="85934" y2="39216"/>
                          <a14:foregroundMark x1="78901" y1="43355" x2="78901" y2="43355"/>
                          <a14:foregroundMark x1="72967" y1="39869" x2="72967" y2="39869"/>
                          <a14:foregroundMark x1="70330" y1="34641" x2="70330" y2="34641"/>
                          <a14:foregroundMark x1="72967" y1="29847" x2="72967" y2="29847"/>
                        </a14:backgroundRemoval>
                      </a14:imgEffect>
                    </a14:imgLayer>
                  </a14:imgProps>
                </a:ext>
              </a:extLst>
            </a:blip>
            <a:stretch>
              <a:fillRect/>
            </a:stretch>
          </p:blipFill>
          <p:spPr>
            <a:xfrm>
              <a:off x="5635812" y="1235585"/>
              <a:ext cx="918425" cy="926499"/>
            </a:xfrm>
            <a:prstGeom prst="rect">
              <a:avLst/>
            </a:prstGeom>
            <a:ln>
              <a:noFill/>
            </a:ln>
          </p:spPr>
        </p:pic>
      </p:grpSp>
      <p:grpSp>
        <p:nvGrpSpPr>
          <p:cNvPr id="12" name="Group 11">
            <a:extLst>
              <a:ext uri="{FF2B5EF4-FFF2-40B4-BE49-F238E27FC236}">
                <a16:creationId xmlns:a16="http://schemas.microsoft.com/office/drawing/2014/main" id="{1C3E0DC9-496D-4021-8CA2-679D2786AF1B}"/>
              </a:ext>
            </a:extLst>
          </p:cNvPr>
          <p:cNvGrpSpPr/>
          <p:nvPr/>
        </p:nvGrpSpPr>
        <p:grpSpPr>
          <a:xfrm>
            <a:off x="1546222" y="1288767"/>
            <a:ext cx="993763" cy="993763"/>
            <a:chOff x="1738597" y="1288767"/>
            <a:chExt cx="993763" cy="993763"/>
          </a:xfrm>
        </p:grpSpPr>
        <p:sp>
          <p:nvSpPr>
            <p:cNvPr id="42" name="Oval 41">
              <a:extLst>
                <a:ext uri="{FF2B5EF4-FFF2-40B4-BE49-F238E27FC236}">
                  <a16:creationId xmlns:a16="http://schemas.microsoft.com/office/drawing/2014/main" id="{BDDB2CAB-A5BB-4CBC-AF7D-211260CF4CFA}"/>
                </a:ext>
              </a:extLst>
            </p:cNvPr>
            <p:cNvSpPr/>
            <p:nvPr/>
          </p:nvSpPr>
          <p:spPr>
            <a:xfrm>
              <a:off x="1738597" y="1288767"/>
              <a:ext cx="993763" cy="993763"/>
            </a:xfrm>
            <a:prstGeom prst="ellipse">
              <a:avLst/>
            </a:prstGeom>
            <a:ln>
              <a:solidFill>
                <a:schemeClr val="accent4"/>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49" name="Graphic 48" descr="Warning outline">
              <a:extLst>
                <a:ext uri="{FF2B5EF4-FFF2-40B4-BE49-F238E27FC236}">
                  <a16:creationId xmlns:a16="http://schemas.microsoft.com/office/drawing/2014/main" id="{2F89D514-9CFA-4CD6-9979-3D5A5831EE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94405" y="1426439"/>
              <a:ext cx="661517" cy="661517"/>
            </a:xfrm>
            <a:prstGeom prst="rect">
              <a:avLst/>
            </a:prstGeom>
          </p:spPr>
        </p:pic>
      </p:grpSp>
      <p:graphicFrame>
        <p:nvGraphicFramePr>
          <p:cNvPr id="4" name="Chart 3">
            <a:extLst>
              <a:ext uri="{FF2B5EF4-FFF2-40B4-BE49-F238E27FC236}">
                <a16:creationId xmlns:a16="http://schemas.microsoft.com/office/drawing/2014/main" id="{EB1A9C40-8142-486A-939E-C9C58B5595F9}"/>
              </a:ext>
            </a:extLst>
          </p:cNvPr>
          <p:cNvGraphicFramePr>
            <a:graphicFrameLocks/>
          </p:cNvGraphicFramePr>
          <p:nvPr/>
        </p:nvGraphicFramePr>
        <p:xfrm>
          <a:off x="480585" y="3710767"/>
          <a:ext cx="3200400" cy="241092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6" name="Chart 25">
            <a:extLst>
              <a:ext uri="{FF2B5EF4-FFF2-40B4-BE49-F238E27FC236}">
                <a16:creationId xmlns:a16="http://schemas.microsoft.com/office/drawing/2014/main" id="{CD0526E7-B9FC-4A94-9106-CFEBA0853C48}"/>
              </a:ext>
            </a:extLst>
          </p:cNvPr>
          <p:cNvGraphicFramePr>
            <a:graphicFrameLocks/>
          </p:cNvGraphicFramePr>
          <p:nvPr/>
        </p:nvGraphicFramePr>
        <p:xfrm>
          <a:off x="3798944" y="3721630"/>
          <a:ext cx="3200400" cy="24109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7" name="Chart 26">
            <a:extLst>
              <a:ext uri="{FF2B5EF4-FFF2-40B4-BE49-F238E27FC236}">
                <a16:creationId xmlns:a16="http://schemas.microsoft.com/office/drawing/2014/main" id="{728A75FD-B60F-4981-8386-700C0BE40876}"/>
              </a:ext>
            </a:extLst>
          </p:cNvPr>
          <p:cNvGraphicFramePr>
            <a:graphicFrameLocks/>
          </p:cNvGraphicFramePr>
          <p:nvPr/>
        </p:nvGraphicFramePr>
        <p:xfrm>
          <a:off x="7094748" y="3697879"/>
          <a:ext cx="3200400" cy="2410927"/>
        </p:xfrm>
        <a:graphic>
          <a:graphicData uri="http://schemas.openxmlformats.org/drawingml/2006/chart">
            <c:chart xmlns:c="http://schemas.openxmlformats.org/drawingml/2006/chart" xmlns:r="http://schemas.openxmlformats.org/officeDocument/2006/relationships" r:id="rId12"/>
          </a:graphicData>
        </a:graphic>
      </p:graphicFrame>
      <p:sp>
        <p:nvSpPr>
          <p:cNvPr id="13" name="TextBox 12">
            <a:extLst>
              <a:ext uri="{FF2B5EF4-FFF2-40B4-BE49-F238E27FC236}">
                <a16:creationId xmlns:a16="http://schemas.microsoft.com/office/drawing/2014/main" id="{FCB72EF2-C2A9-4360-A1FC-AA966A19D8D1}"/>
              </a:ext>
            </a:extLst>
          </p:cNvPr>
          <p:cNvSpPr txBox="1"/>
          <p:nvPr/>
        </p:nvSpPr>
        <p:spPr>
          <a:xfrm>
            <a:off x="442903" y="3572142"/>
            <a:ext cx="3200400" cy="2743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with AE or SAE in VICTO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C164AD70-E849-4B17-9582-CD1786421C21}"/>
              </a:ext>
            </a:extLst>
          </p:cNvPr>
          <p:cNvSpPr txBox="1"/>
          <p:nvPr/>
        </p:nvSpPr>
        <p:spPr>
          <a:xfrm>
            <a:off x="3756519" y="3572142"/>
            <a:ext cx="320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with symptomatic hypotension or syncope in VICTORIA</a:t>
            </a:r>
          </a:p>
        </p:txBody>
      </p:sp>
      <p:sp>
        <p:nvSpPr>
          <p:cNvPr id="46" name="TextBox 45">
            <a:extLst>
              <a:ext uri="{FF2B5EF4-FFF2-40B4-BE49-F238E27FC236}">
                <a16:creationId xmlns:a16="http://schemas.microsoft.com/office/drawing/2014/main" id="{476E1F19-2EC6-41A6-BB5E-743AC50BFB85}"/>
              </a:ext>
            </a:extLst>
          </p:cNvPr>
          <p:cNvSpPr txBox="1"/>
          <p:nvPr/>
        </p:nvSpPr>
        <p:spPr>
          <a:xfrm>
            <a:off x="7052019" y="3572142"/>
            <a:ext cx="32004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achieving 10 mg target dose</a:t>
            </a:r>
          </a:p>
        </p:txBody>
      </p:sp>
      <p:sp>
        <p:nvSpPr>
          <p:cNvPr id="2" name="TextBox 1">
            <a:extLst>
              <a:ext uri="{FF2B5EF4-FFF2-40B4-BE49-F238E27FC236}">
                <a16:creationId xmlns:a16="http://schemas.microsoft.com/office/drawing/2014/main" id="{9D320ADD-7547-4EAD-9A71-31D47D68942E}"/>
              </a:ext>
            </a:extLst>
          </p:cNvPr>
          <p:cNvSpPr txBox="1"/>
          <p:nvPr/>
        </p:nvSpPr>
        <p:spPr>
          <a:xfrm>
            <a:off x="4664596" y="4537276"/>
            <a:ext cx="648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p=0.12</a:t>
            </a:r>
          </a:p>
        </p:txBody>
      </p:sp>
      <p:sp>
        <p:nvSpPr>
          <p:cNvPr id="29" name="TextBox 28">
            <a:extLst>
              <a:ext uri="{FF2B5EF4-FFF2-40B4-BE49-F238E27FC236}">
                <a16:creationId xmlns:a16="http://schemas.microsoft.com/office/drawing/2014/main" id="{0AFA10CF-559B-44AD-AD85-4CDB170DC3B1}"/>
              </a:ext>
            </a:extLst>
          </p:cNvPr>
          <p:cNvSpPr txBox="1"/>
          <p:nvPr/>
        </p:nvSpPr>
        <p:spPr>
          <a:xfrm>
            <a:off x="5944648" y="4537276"/>
            <a:ext cx="648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p=0.3</a:t>
            </a:r>
          </a:p>
        </p:txBody>
      </p:sp>
      <p:sp>
        <p:nvSpPr>
          <p:cNvPr id="30" name="Text Placeholder 1">
            <a:extLst>
              <a:ext uri="{FF2B5EF4-FFF2-40B4-BE49-F238E27FC236}">
                <a16:creationId xmlns:a16="http://schemas.microsoft.com/office/drawing/2014/main" id="{0CA430C2-55D2-4BB7-981D-4B463BAC0DD7}"/>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5625655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56E72C8-DBED-4EC6-A317-C506C566EAA2}"/>
              </a:ext>
            </a:extLst>
          </p:cNvPr>
          <p:cNvSpPr>
            <a:spLocks noGrp="1"/>
          </p:cNvSpPr>
          <p:nvPr>
            <p:ph type="body" sz="quarter" idx="14"/>
          </p:nvPr>
        </p:nvSpPr>
        <p:spPr/>
        <p:txBody>
          <a:bodyPr/>
          <a:lstStyle/>
          <a:p>
            <a:r>
              <a:rPr lang="en-GB" sz="1600"/>
              <a:t>Decreases in SBP occurred early in VICTORIA before returning to baseline</a:t>
            </a:r>
            <a:r>
              <a:rPr lang="en-GB" sz="1600" baseline="30000"/>
              <a:t>1</a:t>
            </a:r>
            <a:endParaRPr lang="en-GB"/>
          </a:p>
        </p:txBody>
      </p:sp>
      <p:sp>
        <p:nvSpPr>
          <p:cNvPr id="5" name="Slide Number Placeholder 4">
            <a:extLst>
              <a:ext uri="{FF2B5EF4-FFF2-40B4-BE49-F238E27FC236}">
                <a16:creationId xmlns:a16="http://schemas.microsoft.com/office/drawing/2014/main" id="{6A59C491-1927-45A1-AFEA-C56038CCC29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2F0FEB1C-B8DF-4E2D-9F9E-665AED223B88}"/>
              </a:ext>
            </a:extLst>
          </p:cNvPr>
          <p:cNvSpPr>
            <a:spLocks noGrp="1"/>
          </p:cNvSpPr>
          <p:nvPr>
            <p:ph type="title"/>
          </p:nvPr>
        </p:nvSpPr>
        <p:spPr/>
        <p:txBody>
          <a:bodyPr/>
          <a:lstStyle/>
          <a:p>
            <a:r>
              <a:rPr lang="en-US"/>
              <a:t>Minimal differences in SBP were observed in VICTORIA</a:t>
            </a:r>
            <a:r>
              <a:rPr lang="en-US" baseline="30000"/>
              <a:t>1,2</a:t>
            </a:r>
            <a:endParaRPr lang="en-GB"/>
          </a:p>
        </p:txBody>
      </p:sp>
      <p:sp>
        <p:nvSpPr>
          <p:cNvPr id="8" name="Footer Placeholder 7">
            <a:extLst>
              <a:ext uri="{FF2B5EF4-FFF2-40B4-BE49-F238E27FC236}">
                <a16:creationId xmlns:a16="http://schemas.microsoft.com/office/drawing/2014/main" id="{00EC2298-A5D4-4E4E-9CE5-659AC2130030}"/>
              </a:ext>
            </a:extLst>
          </p:cNvPr>
          <p:cNvSpPr>
            <a:spLocks noGrp="1"/>
          </p:cNvSpPr>
          <p:nvPr>
            <p:ph type="ftr" sz="quarter" idx="17"/>
          </p:nvPr>
        </p:nvSpPr>
        <p:spPr/>
        <p:txBody>
          <a:bodyPr/>
          <a:lstStyle/>
          <a:p>
            <a:pPr marL="0" marR="0" lvl="0" indent="0" algn="l" defTabSz="609585" rtl="0" eaLnBrk="0" fontAlgn="base" latinLnBrk="0" hangingPunct="0">
              <a:lnSpc>
                <a:spcPct val="80000"/>
              </a:lnSpc>
              <a:spcBef>
                <a:spcPts val="200"/>
              </a:spcBef>
              <a:spcAft>
                <a:spcPct val="0"/>
              </a:spcAft>
              <a:buClrTx/>
              <a:buSzTx/>
              <a:buFontTx/>
              <a:buNone/>
              <a:tabLst/>
              <a:defRPr/>
            </a:pPr>
            <a:r>
              <a:rPr kumimoji="0" lang="en-GB" sz="800" b="0" i="0" u="none" strike="noStrike" kern="1200" cap="none" spc="0" normalizeH="0" baseline="0" noProof="0">
                <a:ln>
                  <a:noFill/>
                </a:ln>
                <a:solidFill>
                  <a:srgbClr val="898989"/>
                </a:solidFill>
                <a:effectLst/>
                <a:uLnTx/>
                <a:uFillTx/>
                <a:latin typeface="Arial"/>
                <a:ea typeface="MS PGothic" charset="0"/>
                <a:cs typeface="+mn-cs"/>
              </a:rPr>
              <a:t>SBP, systolic blood pressure.</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800" b="1" i="0" u="none" strike="noStrike" kern="1200" cap="none" spc="0" normalizeH="0" baseline="0" noProof="0">
                <a:ln>
                  <a:noFill/>
                </a:ln>
                <a:solidFill>
                  <a:srgbClr val="898989"/>
                </a:solidFill>
                <a:effectLst/>
                <a:uLnTx/>
                <a:uFillTx/>
                <a:latin typeface="Arial"/>
                <a:ea typeface="+mn-ea"/>
                <a:cs typeface="+mn-cs"/>
              </a:rPr>
              <a:t>References: </a:t>
            </a:r>
            <a:r>
              <a:rPr kumimoji="0" lang="en-US" sz="800" b="1" i="0" u="none" strike="noStrike" kern="1200" cap="none" spc="0" normalizeH="0" baseline="0" noProof="0">
                <a:ln>
                  <a:noFill/>
                </a:ln>
                <a:solidFill>
                  <a:srgbClr val="898989"/>
                </a:solidFill>
                <a:effectLst/>
                <a:uLnTx/>
                <a:uFillTx/>
                <a:latin typeface="Arial"/>
                <a:ea typeface="+mn-ea"/>
                <a:cs typeface="+mn-cs"/>
              </a:rPr>
              <a:t>1. </a:t>
            </a:r>
            <a:r>
              <a:rPr kumimoji="0" lang="en-US" sz="800" b="0" i="0" u="none" strike="noStrike" kern="1200" cap="none" spc="0" normalizeH="0" baseline="0" noProof="0">
                <a:ln>
                  <a:noFill/>
                </a:ln>
                <a:solidFill>
                  <a:srgbClr val="898989"/>
                </a:solidFill>
                <a:effectLst/>
                <a:uLnTx/>
                <a:uFillTx/>
                <a:latin typeface="Arial"/>
                <a:ea typeface="+mn-ea"/>
                <a:cs typeface="+mn-cs"/>
              </a:rPr>
              <a:t>Lam CSP </a:t>
            </a:r>
            <a:r>
              <a:rPr kumimoji="0" lang="en-US" sz="800" b="0" i="1" u="none" strike="noStrike" kern="1200" cap="none" spc="0" normalizeH="0" baseline="0" noProof="0">
                <a:ln>
                  <a:noFill/>
                </a:ln>
                <a:solidFill>
                  <a:srgbClr val="898989"/>
                </a:solidFill>
                <a:effectLst/>
                <a:uLnTx/>
                <a:uFillTx/>
                <a:latin typeface="Arial"/>
                <a:ea typeface="+mn-ea"/>
                <a:cs typeface="+mn-cs"/>
              </a:rPr>
              <a:t>et al.</a:t>
            </a:r>
            <a:r>
              <a:rPr kumimoji="0" lang="en-US" sz="800" b="1" i="1" u="none" strike="noStrike" kern="1200" cap="none" spc="0" normalizeH="0" baseline="0" noProof="0">
                <a:ln>
                  <a:noFill/>
                </a:ln>
                <a:solidFill>
                  <a:srgbClr val="898989"/>
                </a:solidFill>
                <a:effectLst/>
                <a:uLnTx/>
                <a:uFillTx/>
                <a:latin typeface="Arial"/>
                <a:ea typeface="+mn-ea"/>
                <a:cs typeface="+mn-cs"/>
              </a:rPr>
              <a:t> </a:t>
            </a:r>
            <a:r>
              <a:rPr kumimoji="0" lang="en-GB" sz="800" b="0" i="1" u="none" strike="noStrike" kern="1200" cap="none" spc="0" normalizeH="0" baseline="0" noProof="0">
                <a:ln>
                  <a:noFill/>
                </a:ln>
                <a:solidFill>
                  <a:srgbClr val="898989"/>
                </a:solidFill>
                <a:effectLst/>
                <a:uLnTx/>
                <a:uFillTx/>
                <a:latin typeface="Arial"/>
                <a:ea typeface="+mn-ea"/>
                <a:cs typeface="+mn-cs"/>
              </a:rPr>
              <a:t>J Am Heart Assoc </a:t>
            </a:r>
            <a:r>
              <a:rPr kumimoji="0" lang="en-GB" sz="800" b="0" i="0" u="none" strike="noStrike" kern="1200" cap="none" spc="0" normalizeH="0" baseline="0" noProof="0">
                <a:ln>
                  <a:noFill/>
                </a:ln>
                <a:solidFill>
                  <a:srgbClr val="898989"/>
                </a:solidFill>
                <a:effectLst/>
                <a:uLnTx/>
                <a:uFillTx/>
                <a:latin typeface="Arial"/>
                <a:ea typeface="+mn-ea"/>
                <a:cs typeface="+mn-cs"/>
              </a:rPr>
              <a:t>2021;10:e021094; </a:t>
            </a:r>
            <a:r>
              <a:rPr kumimoji="0" lang="en-GB" sz="800" b="1" i="0" u="none" strike="noStrike" kern="1200" cap="none" spc="0" normalizeH="0" baseline="0" noProof="0">
                <a:ln>
                  <a:noFill/>
                </a:ln>
                <a:solidFill>
                  <a:srgbClr val="898989"/>
                </a:solidFill>
                <a:effectLst/>
                <a:uLnTx/>
                <a:uFillTx/>
                <a:latin typeface="Arial"/>
                <a:ea typeface="+mn-ea"/>
                <a:cs typeface="+mn-cs"/>
              </a:rPr>
              <a:t>2. </a:t>
            </a:r>
            <a:r>
              <a:rPr kumimoji="0" lang="en-GB" sz="800" b="0" i="0" u="none" strike="noStrike" kern="1200" cap="none" spc="0" normalizeH="0" baseline="0" noProof="0">
                <a:ln>
                  <a:noFill/>
                </a:ln>
                <a:solidFill>
                  <a:srgbClr val="898989"/>
                </a:solidFill>
                <a:effectLst/>
                <a:uLnTx/>
                <a:uFillTx/>
                <a:latin typeface="Arial"/>
                <a:ea typeface="+mn-ea"/>
                <a:cs typeface="+mn-cs"/>
              </a:rPr>
              <a:t>Armstrong PW </a:t>
            </a:r>
            <a:r>
              <a:rPr kumimoji="0" lang="en-GB" sz="800" b="0" i="1" u="none" strike="noStrike" kern="1200" cap="none" spc="0" normalizeH="0" baseline="0" noProof="0">
                <a:ln>
                  <a:noFill/>
                </a:ln>
                <a:solidFill>
                  <a:srgbClr val="898989"/>
                </a:solidFill>
                <a:effectLst/>
                <a:uLnTx/>
                <a:uFillTx/>
                <a:latin typeface="Arial"/>
                <a:ea typeface="+mn-ea"/>
                <a:cs typeface="+mn-cs"/>
              </a:rPr>
              <a:t>et al. N </a:t>
            </a:r>
            <a:r>
              <a:rPr kumimoji="0" lang="en-GB" sz="800" b="0" i="1" u="none" strike="noStrike" kern="1200" cap="none" spc="0" normalizeH="0" baseline="0" noProof="0" err="1">
                <a:ln>
                  <a:noFill/>
                </a:ln>
                <a:solidFill>
                  <a:srgbClr val="898989"/>
                </a:solidFill>
                <a:effectLst/>
                <a:uLnTx/>
                <a:uFillTx/>
                <a:latin typeface="Arial"/>
                <a:ea typeface="+mn-ea"/>
                <a:cs typeface="+mn-cs"/>
              </a:rPr>
              <a:t>Engl</a:t>
            </a:r>
            <a:r>
              <a:rPr kumimoji="0" lang="en-GB" sz="800" b="0" i="1" u="none" strike="noStrike" kern="1200" cap="none" spc="0" normalizeH="0" baseline="0" noProof="0">
                <a:ln>
                  <a:noFill/>
                </a:ln>
                <a:solidFill>
                  <a:srgbClr val="898989"/>
                </a:solidFill>
                <a:effectLst/>
                <a:uLnTx/>
                <a:uFillTx/>
                <a:latin typeface="Arial"/>
                <a:ea typeface="+mn-ea"/>
                <a:cs typeface="+mn-cs"/>
              </a:rPr>
              <a:t> J Med </a:t>
            </a:r>
            <a:r>
              <a:rPr kumimoji="0" lang="en-GB" sz="800" b="0" i="0" u="none" strike="noStrike" kern="1200" cap="none" spc="0" normalizeH="0" baseline="0" noProof="0">
                <a:ln>
                  <a:noFill/>
                </a:ln>
                <a:solidFill>
                  <a:srgbClr val="898989"/>
                </a:solidFill>
                <a:effectLst/>
                <a:uLnTx/>
                <a:uFillTx/>
                <a:latin typeface="Arial"/>
                <a:ea typeface="+mn-ea"/>
                <a:cs typeface="+mn-cs"/>
              </a:rPr>
              <a:t>2020;382:1883–1893; </a:t>
            </a:r>
            <a:r>
              <a:rPr kumimoji="0" lang="en-GB" sz="800" b="1" i="0" u="none" strike="noStrike" kern="1200" cap="none" spc="0" normalizeH="0" baseline="0" noProof="0">
                <a:ln>
                  <a:noFill/>
                </a:ln>
                <a:solidFill>
                  <a:srgbClr val="898989"/>
                </a:solidFill>
                <a:effectLst/>
                <a:uLnTx/>
                <a:uFillTx/>
                <a:latin typeface="Arial"/>
                <a:ea typeface="MS PGothic" charset="0"/>
                <a:cs typeface="+mn-cs"/>
              </a:rPr>
              <a:t>3. </a:t>
            </a:r>
            <a:r>
              <a:rPr kumimoji="0" lang="en-US" sz="800" b="0" i="0" u="none" strike="noStrike" kern="1200" cap="none" spc="0" normalizeH="0" baseline="0" noProof="0">
                <a:ln>
                  <a:noFill/>
                </a:ln>
                <a:solidFill>
                  <a:srgbClr val="898989"/>
                </a:solidFill>
                <a:effectLst/>
                <a:uLnTx/>
                <a:uFillTx/>
                <a:latin typeface="Arial" panose="020B0604020202020204"/>
                <a:ea typeface="MS PGothic" charset="0"/>
                <a:cs typeface="+mn-cs"/>
              </a:rPr>
              <a:t>Bayer AG. </a:t>
            </a:r>
            <a:r>
              <a:rPr kumimoji="0" lang="en-US" sz="800" b="0" i="0" u="none" strike="noStrike" kern="1200" cap="none" spc="0" normalizeH="0" baseline="0" noProof="0" err="1">
                <a:ln>
                  <a:noFill/>
                </a:ln>
                <a:solidFill>
                  <a:srgbClr val="898989"/>
                </a:solidFill>
                <a:effectLst/>
                <a:uLnTx/>
                <a:uFillTx/>
                <a:latin typeface="Arial" panose="020B0604020202020204"/>
                <a:ea typeface="MS PGothic" charset="0"/>
                <a:cs typeface="+mn-cs"/>
              </a:rPr>
              <a:t>Verquvo</a:t>
            </a:r>
            <a:r>
              <a:rPr kumimoji="0" lang="en-US" sz="800" b="0" i="0" u="none" strike="noStrike" kern="1200" cap="none" spc="0" normalizeH="0" baseline="30000" noProof="0">
                <a:ln>
                  <a:noFill/>
                </a:ln>
                <a:solidFill>
                  <a:srgbClr val="898989"/>
                </a:solidFill>
                <a:effectLst/>
                <a:uLnTx/>
                <a:uFillTx/>
                <a:latin typeface="Arial" panose="020B0604020202020204"/>
                <a:ea typeface="MS PGothic" charset="0"/>
                <a:cs typeface="+mn-cs"/>
              </a:rPr>
              <a:t>® </a:t>
            </a:r>
            <a:r>
              <a:rPr kumimoji="0" lang="en-US" sz="800" b="0" i="0" u="none" strike="noStrike" kern="1200" cap="none" spc="0" normalizeH="0" baseline="0" noProof="0">
                <a:ln>
                  <a:noFill/>
                </a:ln>
                <a:solidFill>
                  <a:srgbClr val="898989"/>
                </a:solidFill>
                <a:effectLst/>
                <a:uLnTx/>
                <a:uFillTx/>
                <a:latin typeface="Arial" panose="020B0604020202020204"/>
                <a:ea typeface="MS PGothic" charset="0"/>
                <a:cs typeface="+mn-cs"/>
              </a:rPr>
              <a:t>(vericiguat) SmPC. 2021.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hlinkClick r:id="rId3">
                  <a:extLst>
                    <a:ext uri="{A12FA001-AC4F-418D-AE19-62706E023703}">
                      <ahyp:hlinkClr xmlns:ahyp="http://schemas.microsoft.com/office/drawing/2018/hyperlinkcolor" val="tx"/>
                    </a:ext>
                  </a:extLst>
                </a:hlinkClick>
              </a:rPr>
              <a:t>Link</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a:t>
            </a:r>
            <a:endParaRPr kumimoji="0" lang="en-US" sz="800" b="0" i="0" u="none" strike="noStrike" kern="1200" cap="none" spc="0" normalizeH="0" baseline="0" noProof="0">
              <a:ln>
                <a:noFill/>
              </a:ln>
              <a:solidFill>
                <a:srgbClr val="898989"/>
              </a:solidFill>
              <a:effectLst/>
              <a:uLnTx/>
              <a:uFillTx/>
              <a:latin typeface="Arial"/>
              <a:ea typeface="+mn-ea"/>
              <a:cs typeface="+mn-cs"/>
            </a:endParaRPr>
          </a:p>
        </p:txBody>
      </p:sp>
      <p:sp>
        <p:nvSpPr>
          <p:cNvPr id="117" name="Rectangle 116">
            <a:extLst>
              <a:ext uri="{FF2B5EF4-FFF2-40B4-BE49-F238E27FC236}">
                <a16:creationId xmlns:a16="http://schemas.microsoft.com/office/drawing/2014/main" id="{842789FB-6669-4730-81F2-2A423AE26DFB}"/>
              </a:ext>
            </a:extLst>
          </p:cNvPr>
          <p:cNvSpPr/>
          <p:nvPr/>
        </p:nvSpPr>
        <p:spPr>
          <a:xfrm>
            <a:off x="7910413" y="2505713"/>
            <a:ext cx="2602766" cy="2684136"/>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Mean reduction in SBP with vericiguat </a:t>
            </a:r>
            <a:r>
              <a:rPr kumimoji="0" lang="en-US" sz="1600" b="0" i="1" u="none" strike="noStrike" kern="1200" cap="none" spc="0" normalizeH="0" baseline="0" noProof="0">
                <a:ln>
                  <a:noFill/>
                </a:ln>
                <a:solidFill>
                  <a:srgbClr val="000000"/>
                </a:solidFill>
                <a:effectLst/>
                <a:uLnTx/>
                <a:uFillTx/>
                <a:latin typeface="Arial"/>
                <a:ea typeface="+mn-ea"/>
                <a:cs typeface="+mn-cs"/>
              </a:rPr>
              <a:t>vs</a:t>
            </a:r>
            <a:r>
              <a:rPr kumimoji="0" lang="en-US" sz="1600" b="0" i="0" u="none" strike="noStrike" kern="1200" cap="none" spc="0" normalizeH="0" baseline="0" noProof="0">
                <a:ln>
                  <a:noFill/>
                </a:ln>
                <a:solidFill>
                  <a:srgbClr val="000000"/>
                </a:solidFill>
                <a:effectLst/>
                <a:uLnTx/>
                <a:uFillTx/>
                <a:latin typeface="Arial"/>
                <a:ea typeface="+mn-ea"/>
                <a:cs typeface="+mn-cs"/>
              </a:rPr>
              <a:t> placebo </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was 1–2 mmHg</a:t>
            </a:r>
            <a:r>
              <a:rPr kumimoji="0" lang="en-US" sz="1600" b="0" i="0" u="none" strike="noStrike" kern="1200" cap="none" spc="0" normalizeH="0" baseline="30000" noProof="0">
                <a:ln>
                  <a:noFill/>
                </a:ln>
                <a:solidFill>
                  <a:srgbClr val="000000"/>
                </a:solidFill>
                <a:effectLst/>
                <a:uLnTx/>
                <a:uFillTx/>
                <a:latin typeface="Arial"/>
                <a:ea typeface="+mn-ea"/>
                <a:cs typeface="+mn-cs"/>
              </a:rPr>
              <a:t>3</a:t>
            </a:r>
          </a:p>
        </p:txBody>
      </p:sp>
      <p:sp>
        <p:nvSpPr>
          <p:cNvPr id="118" name="Isosceles Triangle 117">
            <a:extLst>
              <a:ext uri="{FF2B5EF4-FFF2-40B4-BE49-F238E27FC236}">
                <a16:creationId xmlns:a16="http://schemas.microsoft.com/office/drawing/2014/main" id="{FCBE509C-0685-4150-9181-C8BDA4CD02CC}"/>
              </a:ext>
            </a:extLst>
          </p:cNvPr>
          <p:cNvSpPr/>
          <p:nvPr/>
        </p:nvSpPr>
        <p:spPr>
          <a:xfrm rot="16200000">
            <a:off x="6872332" y="3548522"/>
            <a:ext cx="1318024" cy="45624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8" name="Group 127">
            <a:extLst>
              <a:ext uri="{FF2B5EF4-FFF2-40B4-BE49-F238E27FC236}">
                <a16:creationId xmlns:a16="http://schemas.microsoft.com/office/drawing/2014/main" id="{CA7D01C9-CD34-4B75-B34B-953EF72ADEAA}"/>
              </a:ext>
            </a:extLst>
          </p:cNvPr>
          <p:cNvGrpSpPr/>
          <p:nvPr/>
        </p:nvGrpSpPr>
        <p:grpSpPr>
          <a:xfrm>
            <a:off x="587389" y="1771083"/>
            <a:ext cx="5976662" cy="4449064"/>
            <a:chOff x="587389" y="1771083"/>
            <a:chExt cx="5976662" cy="4449064"/>
          </a:xfrm>
        </p:grpSpPr>
        <p:grpSp>
          <p:nvGrpSpPr>
            <p:cNvPr id="12" name="Group 11">
              <a:extLst>
                <a:ext uri="{FF2B5EF4-FFF2-40B4-BE49-F238E27FC236}">
                  <a16:creationId xmlns:a16="http://schemas.microsoft.com/office/drawing/2014/main" id="{7696028F-2341-439E-85DC-48B92A86EA05}"/>
                </a:ext>
              </a:extLst>
            </p:cNvPr>
            <p:cNvGrpSpPr>
              <a:grpSpLocks noChangeAspect="1"/>
            </p:cNvGrpSpPr>
            <p:nvPr/>
          </p:nvGrpSpPr>
          <p:grpSpPr>
            <a:xfrm>
              <a:off x="587389" y="1771083"/>
              <a:ext cx="5976662" cy="4449064"/>
              <a:chOff x="1335079" y="2027795"/>
              <a:chExt cx="5606086" cy="4173212"/>
            </a:xfrm>
          </p:grpSpPr>
          <p:grpSp>
            <p:nvGrpSpPr>
              <p:cNvPr id="13" name="Group 12">
                <a:extLst>
                  <a:ext uri="{FF2B5EF4-FFF2-40B4-BE49-F238E27FC236}">
                    <a16:creationId xmlns:a16="http://schemas.microsoft.com/office/drawing/2014/main" id="{AF23B7A2-513F-4907-AFA1-6ED70A7FF4F6}"/>
                  </a:ext>
                </a:extLst>
              </p:cNvPr>
              <p:cNvGrpSpPr/>
              <p:nvPr/>
            </p:nvGrpSpPr>
            <p:grpSpPr>
              <a:xfrm>
                <a:off x="2379339" y="3678682"/>
                <a:ext cx="4417377" cy="396240"/>
                <a:chOff x="3972005" y="3678682"/>
                <a:chExt cx="4417377" cy="396240"/>
              </a:xfrm>
              <a:solidFill>
                <a:srgbClr val="7F7F7F"/>
              </a:solidFill>
            </p:grpSpPr>
            <p:sp>
              <p:nvSpPr>
                <p:cNvPr id="110" name="Oval 109">
                  <a:extLst>
                    <a:ext uri="{FF2B5EF4-FFF2-40B4-BE49-F238E27FC236}">
                      <a16:creationId xmlns:a16="http://schemas.microsoft.com/office/drawing/2014/main" id="{C66F9E11-3B85-482F-848C-CDB2F69DF799}"/>
                    </a:ext>
                  </a:extLst>
                </p:cNvPr>
                <p:cNvSpPr>
                  <a:spLocks noChangeAspect="1"/>
                </p:cNvSpPr>
                <p:nvPr/>
              </p:nvSpPr>
              <p:spPr>
                <a:xfrm>
                  <a:off x="3972005" y="3983482"/>
                  <a:ext cx="91440" cy="9144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Oval 110">
                  <a:extLst>
                    <a:ext uri="{FF2B5EF4-FFF2-40B4-BE49-F238E27FC236}">
                      <a16:creationId xmlns:a16="http://schemas.microsoft.com/office/drawing/2014/main" id="{D872D1EB-695C-4F2D-9F01-844B33736678}"/>
                    </a:ext>
                  </a:extLst>
                </p:cNvPr>
                <p:cNvSpPr>
                  <a:spLocks noChangeAspect="1"/>
                </p:cNvSpPr>
                <p:nvPr/>
              </p:nvSpPr>
              <p:spPr>
                <a:xfrm>
                  <a:off x="4614942" y="3797744"/>
                  <a:ext cx="91440" cy="9144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Oval 111">
                  <a:extLst>
                    <a:ext uri="{FF2B5EF4-FFF2-40B4-BE49-F238E27FC236}">
                      <a16:creationId xmlns:a16="http://schemas.microsoft.com/office/drawing/2014/main" id="{4AAA3511-5537-4063-9141-FDEAC6814B0E}"/>
                    </a:ext>
                  </a:extLst>
                </p:cNvPr>
                <p:cNvSpPr>
                  <a:spLocks noChangeAspect="1"/>
                </p:cNvSpPr>
                <p:nvPr/>
              </p:nvSpPr>
              <p:spPr>
                <a:xfrm>
                  <a:off x="5353130" y="3784253"/>
                  <a:ext cx="91440" cy="914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Oval 112">
                  <a:extLst>
                    <a:ext uri="{FF2B5EF4-FFF2-40B4-BE49-F238E27FC236}">
                      <a16:creationId xmlns:a16="http://schemas.microsoft.com/office/drawing/2014/main" id="{B1D6026D-5649-4DA1-86C7-4FE60DC5D0DA}"/>
                    </a:ext>
                  </a:extLst>
                </p:cNvPr>
                <p:cNvSpPr>
                  <a:spLocks noChangeAspect="1"/>
                </p:cNvSpPr>
                <p:nvPr/>
              </p:nvSpPr>
              <p:spPr>
                <a:xfrm>
                  <a:off x="6086555" y="3712814"/>
                  <a:ext cx="91440" cy="914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Oval 113">
                  <a:extLst>
                    <a:ext uri="{FF2B5EF4-FFF2-40B4-BE49-F238E27FC236}">
                      <a16:creationId xmlns:a16="http://schemas.microsoft.com/office/drawing/2014/main" id="{D76BB9E9-B367-44A4-A992-891B886757E9}"/>
                    </a:ext>
                  </a:extLst>
                </p:cNvPr>
                <p:cNvSpPr>
                  <a:spLocks noChangeAspect="1"/>
                </p:cNvSpPr>
                <p:nvPr/>
              </p:nvSpPr>
              <p:spPr>
                <a:xfrm>
                  <a:off x="6817598" y="3812032"/>
                  <a:ext cx="91440" cy="9144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Oval 114">
                  <a:extLst>
                    <a:ext uri="{FF2B5EF4-FFF2-40B4-BE49-F238E27FC236}">
                      <a16:creationId xmlns:a16="http://schemas.microsoft.com/office/drawing/2014/main" id="{1A7C5C61-2A4D-4A88-95AC-D8598EB8E822}"/>
                    </a:ext>
                  </a:extLst>
                </p:cNvPr>
                <p:cNvSpPr>
                  <a:spLocks noChangeAspect="1"/>
                </p:cNvSpPr>
                <p:nvPr/>
              </p:nvSpPr>
              <p:spPr>
                <a:xfrm>
                  <a:off x="7555785" y="3688207"/>
                  <a:ext cx="91440" cy="9144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 name="Oval 115">
                  <a:extLst>
                    <a:ext uri="{FF2B5EF4-FFF2-40B4-BE49-F238E27FC236}">
                      <a16:creationId xmlns:a16="http://schemas.microsoft.com/office/drawing/2014/main" id="{E35B43DE-B34F-46B4-BDA4-12E047EAB1E6}"/>
                    </a:ext>
                  </a:extLst>
                </p:cNvPr>
                <p:cNvSpPr>
                  <a:spLocks noChangeAspect="1"/>
                </p:cNvSpPr>
                <p:nvPr/>
              </p:nvSpPr>
              <p:spPr>
                <a:xfrm>
                  <a:off x="8297942" y="3678682"/>
                  <a:ext cx="91440" cy="914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4" name="Group 13">
                <a:extLst>
                  <a:ext uri="{FF2B5EF4-FFF2-40B4-BE49-F238E27FC236}">
                    <a16:creationId xmlns:a16="http://schemas.microsoft.com/office/drawing/2014/main" id="{EE0C4FBF-9B63-46D6-A3DF-981A790EC53D}"/>
                  </a:ext>
                </a:extLst>
              </p:cNvPr>
              <p:cNvGrpSpPr/>
              <p:nvPr/>
            </p:nvGrpSpPr>
            <p:grpSpPr>
              <a:xfrm>
                <a:off x="2354942" y="3630054"/>
                <a:ext cx="4464556" cy="485733"/>
                <a:chOff x="3947608" y="3630054"/>
                <a:chExt cx="4464556" cy="485733"/>
              </a:xfrm>
            </p:grpSpPr>
            <p:cxnSp>
              <p:nvCxnSpPr>
                <p:cNvPr id="88" name="Straight Connector 87">
                  <a:extLst>
                    <a:ext uri="{FF2B5EF4-FFF2-40B4-BE49-F238E27FC236}">
                      <a16:creationId xmlns:a16="http://schemas.microsoft.com/office/drawing/2014/main" id="{0C95EBF3-234A-4A6A-B212-FE904DDAF17F}"/>
                    </a:ext>
                  </a:extLst>
                </p:cNvPr>
                <p:cNvCxnSpPr>
                  <a:cxnSpLocks/>
                </p:cNvCxnSpPr>
                <p:nvPr/>
              </p:nvCxnSpPr>
              <p:spPr>
                <a:xfrm>
                  <a:off x="3947608" y="3994344"/>
                  <a:ext cx="133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C0EFFAC-4990-4DCA-B751-D6CD7DB4AC99}"/>
                    </a:ext>
                  </a:extLst>
                </p:cNvPr>
                <p:cNvCxnSpPr>
                  <a:cxnSpLocks/>
                </p:cNvCxnSpPr>
                <p:nvPr/>
              </p:nvCxnSpPr>
              <p:spPr>
                <a:xfrm>
                  <a:off x="3947608" y="4058637"/>
                  <a:ext cx="133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68C4111-9E58-4DFE-8E7A-693BA67A6BDA}"/>
                    </a:ext>
                  </a:extLst>
                </p:cNvPr>
                <p:cNvCxnSpPr>
                  <a:cxnSpLocks/>
                </p:cNvCxnSpPr>
                <p:nvPr/>
              </p:nvCxnSpPr>
              <p:spPr>
                <a:xfrm>
                  <a:off x="4036109" y="4115787"/>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2F0B15A-89E8-4FF9-BBB5-1C0DDE3B1B8B}"/>
                    </a:ext>
                  </a:extLst>
                </p:cNvPr>
                <p:cNvCxnSpPr>
                  <a:cxnSpLocks/>
                </p:cNvCxnSpPr>
                <p:nvPr/>
              </p:nvCxnSpPr>
              <p:spPr>
                <a:xfrm>
                  <a:off x="4036109" y="4049112"/>
                  <a:ext cx="133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0372110-454E-4E02-8B4C-F481CED13053}"/>
                    </a:ext>
                  </a:extLst>
                </p:cNvPr>
                <p:cNvCxnSpPr>
                  <a:cxnSpLocks/>
                </p:cNvCxnSpPr>
                <p:nvPr/>
              </p:nvCxnSpPr>
              <p:spPr>
                <a:xfrm>
                  <a:off x="4592926" y="3813369"/>
                  <a:ext cx="133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5B7CFBD-719E-4C50-BD17-A8D371DE4C3D}"/>
                    </a:ext>
                  </a:extLst>
                </p:cNvPr>
                <p:cNvCxnSpPr>
                  <a:cxnSpLocks/>
                </p:cNvCxnSpPr>
                <p:nvPr/>
              </p:nvCxnSpPr>
              <p:spPr>
                <a:xfrm>
                  <a:off x="4592926" y="3891950"/>
                  <a:ext cx="133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CE7001C-2FBF-4F71-8A5A-EA2BB7BA56CB}"/>
                    </a:ext>
                  </a:extLst>
                </p:cNvPr>
                <p:cNvCxnSpPr>
                  <a:cxnSpLocks/>
                </p:cNvCxnSpPr>
                <p:nvPr/>
              </p:nvCxnSpPr>
              <p:spPr>
                <a:xfrm>
                  <a:off x="5328732" y="3870519"/>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2001294-8C81-48DE-927F-403D95C2B8AA}"/>
                    </a:ext>
                  </a:extLst>
                </p:cNvPr>
                <p:cNvCxnSpPr>
                  <a:cxnSpLocks/>
                </p:cNvCxnSpPr>
                <p:nvPr/>
              </p:nvCxnSpPr>
              <p:spPr>
                <a:xfrm>
                  <a:off x="5328732" y="3782412"/>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7A1B62D-6974-42DD-8DB7-5B7AE7ED74BA}"/>
                    </a:ext>
                  </a:extLst>
                </p:cNvPr>
                <p:cNvCxnSpPr>
                  <a:cxnSpLocks/>
                </p:cNvCxnSpPr>
                <p:nvPr/>
              </p:nvCxnSpPr>
              <p:spPr>
                <a:xfrm>
                  <a:off x="6066920" y="3715738"/>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9A324F0-A355-451D-B814-25CF63EA4967}"/>
                    </a:ext>
                  </a:extLst>
                </p:cNvPr>
                <p:cNvCxnSpPr>
                  <a:cxnSpLocks/>
                </p:cNvCxnSpPr>
                <p:nvPr/>
              </p:nvCxnSpPr>
              <p:spPr>
                <a:xfrm>
                  <a:off x="6066920" y="3820513"/>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91C2CC7-9A5D-4AF8-BE52-797CB0239F44}"/>
                    </a:ext>
                  </a:extLst>
                </p:cNvPr>
                <p:cNvGrpSpPr/>
                <p:nvPr/>
              </p:nvGrpSpPr>
              <p:grpSpPr>
                <a:xfrm>
                  <a:off x="6797964" y="3798829"/>
                  <a:ext cx="133855" cy="124873"/>
                  <a:chOff x="6797964" y="3798829"/>
                  <a:chExt cx="133855" cy="124873"/>
                </a:xfrm>
              </p:grpSpPr>
              <p:cxnSp>
                <p:nvCxnSpPr>
                  <p:cNvPr id="107" name="Straight Connector 106">
                    <a:extLst>
                      <a:ext uri="{FF2B5EF4-FFF2-40B4-BE49-F238E27FC236}">
                        <a16:creationId xmlns:a16="http://schemas.microsoft.com/office/drawing/2014/main" id="{3D0408D0-6F1D-4776-917B-42432D0FB264}"/>
                      </a:ext>
                    </a:extLst>
                  </p:cNvPr>
                  <p:cNvCxnSpPr>
                    <a:cxnSpLocks/>
                  </p:cNvCxnSpPr>
                  <p:nvPr/>
                </p:nvCxnSpPr>
                <p:spPr>
                  <a:xfrm>
                    <a:off x="6797964" y="3803844"/>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F314BC4-27BA-407B-A1BA-DF2C856B44C9}"/>
                      </a:ext>
                    </a:extLst>
                  </p:cNvPr>
                  <p:cNvCxnSpPr>
                    <a:cxnSpLocks/>
                  </p:cNvCxnSpPr>
                  <p:nvPr/>
                </p:nvCxnSpPr>
                <p:spPr>
                  <a:xfrm>
                    <a:off x="6797964" y="3923702"/>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7FC6746-D1DB-4B93-BE93-5F312E5A03B2}"/>
                      </a:ext>
                    </a:extLst>
                  </p:cNvPr>
                  <p:cNvCxnSpPr>
                    <a:cxnSpLocks/>
                  </p:cNvCxnSpPr>
                  <p:nvPr/>
                </p:nvCxnSpPr>
                <p:spPr>
                  <a:xfrm rot="5400000">
                    <a:off x="6805455" y="3858265"/>
                    <a:ext cx="1188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519C1CDD-8088-46CE-8B8C-888F5514B057}"/>
                    </a:ext>
                  </a:extLst>
                </p:cNvPr>
                <p:cNvGrpSpPr/>
                <p:nvPr/>
              </p:nvGrpSpPr>
              <p:grpSpPr>
                <a:xfrm>
                  <a:off x="7536152" y="3661484"/>
                  <a:ext cx="133855" cy="150537"/>
                  <a:chOff x="6797964" y="3801317"/>
                  <a:chExt cx="133855" cy="117853"/>
                </a:xfrm>
              </p:grpSpPr>
              <p:cxnSp>
                <p:nvCxnSpPr>
                  <p:cNvPr id="104" name="Straight Connector 103">
                    <a:extLst>
                      <a:ext uri="{FF2B5EF4-FFF2-40B4-BE49-F238E27FC236}">
                        <a16:creationId xmlns:a16="http://schemas.microsoft.com/office/drawing/2014/main" id="{BC36DFD1-D012-4CA9-943E-CAEE97D05542}"/>
                      </a:ext>
                    </a:extLst>
                  </p:cNvPr>
                  <p:cNvCxnSpPr>
                    <a:cxnSpLocks/>
                  </p:cNvCxnSpPr>
                  <p:nvPr/>
                </p:nvCxnSpPr>
                <p:spPr>
                  <a:xfrm>
                    <a:off x="6797964" y="3803223"/>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4E7A61E-DE84-482F-A412-A834217428F5}"/>
                      </a:ext>
                    </a:extLst>
                  </p:cNvPr>
                  <p:cNvCxnSpPr>
                    <a:cxnSpLocks/>
                  </p:cNvCxnSpPr>
                  <p:nvPr/>
                </p:nvCxnSpPr>
                <p:spPr>
                  <a:xfrm>
                    <a:off x="6797964" y="3917419"/>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FCA8584-8294-4E55-8895-187A5FD64A9B}"/>
                      </a:ext>
                    </a:extLst>
                  </p:cNvPr>
                  <p:cNvCxnSpPr>
                    <a:cxnSpLocks/>
                  </p:cNvCxnSpPr>
                  <p:nvPr/>
                </p:nvCxnSpPr>
                <p:spPr>
                  <a:xfrm>
                    <a:off x="6864894" y="3801317"/>
                    <a:ext cx="0" cy="11785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89165839-E3CC-44E1-9A26-498F5F8513D7}"/>
                    </a:ext>
                  </a:extLst>
                </p:cNvPr>
                <p:cNvGrpSpPr/>
                <p:nvPr/>
              </p:nvGrpSpPr>
              <p:grpSpPr>
                <a:xfrm>
                  <a:off x="8278309" y="3630054"/>
                  <a:ext cx="133855" cy="186975"/>
                  <a:chOff x="6799552" y="3801980"/>
                  <a:chExt cx="133855" cy="116682"/>
                </a:xfrm>
              </p:grpSpPr>
              <p:cxnSp>
                <p:nvCxnSpPr>
                  <p:cNvPr id="101" name="Straight Connector 100">
                    <a:extLst>
                      <a:ext uri="{FF2B5EF4-FFF2-40B4-BE49-F238E27FC236}">
                        <a16:creationId xmlns:a16="http://schemas.microsoft.com/office/drawing/2014/main" id="{A698DB7B-99FA-4E57-9A9E-5F279D2E1CFF}"/>
                      </a:ext>
                    </a:extLst>
                  </p:cNvPr>
                  <p:cNvCxnSpPr>
                    <a:cxnSpLocks/>
                  </p:cNvCxnSpPr>
                  <p:nvPr/>
                </p:nvCxnSpPr>
                <p:spPr>
                  <a:xfrm>
                    <a:off x="6799552" y="3801980"/>
                    <a:ext cx="133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4A62F05-E442-426A-8868-F7D87D433600}"/>
                      </a:ext>
                    </a:extLst>
                  </p:cNvPr>
                  <p:cNvCxnSpPr>
                    <a:cxnSpLocks/>
                  </p:cNvCxnSpPr>
                  <p:nvPr/>
                </p:nvCxnSpPr>
                <p:spPr>
                  <a:xfrm>
                    <a:off x="6799552" y="3918662"/>
                    <a:ext cx="133855"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E9BEB18-E8DD-459B-BDD1-F68839EAB454}"/>
                      </a:ext>
                    </a:extLst>
                  </p:cNvPr>
                  <p:cNvCxnSpPr>
                    <a:cxnSpLocks/>
                  </p:cNvCxnSpPr>
                  <p:nvPr/>
                </p:nvCxnSpPr>
                <p:spPr>
                  <a:xfrm>
                    <a:off x="6866479" y="3801980"/>
                    <a:ext cx="0" cy="11572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grpSp>
          <p:sp>
            <p:nvSpPr>
              <p:cNvPr id="15" name="TextBox 14">
                <a:extLst>
                  <a:ext uri="{FF2B5EF4-FFF2-40B4-BE49-F238E27FC236}">
                    <a16:creationId xmlns:a16="http://schemas.microsoft.com/office/drawing/2014/main" id="{114AE880-9116-4757-90AC-1C74A97524F8}"/>
                  </a:ext>
                </a:extLst>
              </p:cNvPr>
              <p:cNvSpPr txBox="1"/>
              <p:nvPr/>
            </p:nvSpPr>
            <p:spPr>
              <a:xfrm rot="16200000">
                <a:off x="62565" y="3661986"/>
                <a:ext cx="2825447" cy="280420"/>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S PGothic" charset="0"/>
                    <a:cs typeface="+mn-cs"/>
                  </a:rPr>
                  <a:t>SBP change from baseline (mmHg)</a:t>
                </a:r>
              </a:p>
            </p:txBody>
          </p:sp>
          <p:grpSp>
            <p:nvGrpSpPr>
              <p:cNvPr id="16" name="Group 15">
                <a:extLst>
                  <a:ext uri="{FF2B5EF4-FFF2-40B4-BE49-F238E27FC236}">
                    <a16:creationId xmlns:a16="http://schemas.microsoft.com/office/drawing/2014/main" id="{1A1F2743-12DC-4FEF-BA10-8BEA48E8227E}"/>
                  </a:ext>
                </a:extLst>
              </p:cNvPr>
              <p:cNvGrpSpPr/>
              <p:nvPr/>
            </p:nvGrpSpPr>
            <p:grpSpPr>
              <a:xfrm>
                <a:off x="1498197" y="2027795"/>
                <a:ext cx="5442968" cy="3882469"/>
                <a:chOff x="3090863" y="2027795"/>
                <a:chExt cx="5442968" cy="3882469"/>
              </a:xfrm>
            </p:grpSpPr>
            <p:sp>
              <p:nvSpPr>
                <p:cNvPr id="58" name="TextBox 57">
                  <a:extLst>
                    <a:ext uri="{FF2B5EF4-FFF2-40B4-BE49-F238E27FC236}">
                      <a16:creationId xmlns:a16="http://schemas.microsoft.com/office/drawing/2014/main" id="{F944243C-CFEF-4862-A6E9-187772178520}"/>
                    </a:ext>
                  </a:extLst>
                </p:cNvPr>
                <p:cNvSpPr txBox="1"/>
                <p:nvPr/>
              </p:nvSpPr>
              <p:spPr>
                <a:xfrm>
                  <a:off x="3200400" y="2027795"/>
                  <a:ext cx="280420"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15</a:t>
                  </a:r>
                </a:p>
              </p:txBody>
            </p:sp>
            <p:sp>
              <p:nvSpPr>
                <p:cNvPr id="59" name="TextBox 58">
                  <a:extLst>
                    <a:ext uri="{FF2B5EF4-FFF2-40B4-BE49-F238E27FC236}">
                      <a16:creationId xmlns:a16="http://schemas.microsoft.com/office/drawing/2014/main" id="{EA301A1A-7B39-4933-8844-DB2A28F91288}"/>
                    </a:ext>
                  </a:extLst>
                </p:cNvPr>
                <p:cNvSpPr txBox="1"/>
                <p:nvPr/>
              </p:nvSpPr>
              <p:spPr>
                <a:xfrm>
                  <a:off x="3200400" y="2575483"/>
                  <a:ext cx="280420"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10</a:t>
                  </a:r>
                </a:p>
              </p:txBody>
            </p:sp>
            <p:sp>
              <p:nvSpPr>
                <p:cNvPr id="60" name="TextBox 59">
                  <a:extLst>
                    <a:ext uri="{FF2B5EF4-FFF2-40B4-BE49-F238E27FC236}">
                      <a16:creationId xmlns:a16="http://schemas.microsoft.com/office/drawing/2014/main" id="{EFA97C85-607A-4283-906A-CC5ED4AE173D}"/>
                    </a:ext>
                  </a:extLst>
                </p:cNvPr>
                <p:cNvSpPr txBox="1"/>
                <p:nvPr/>
              </p:nvSpPr>
              <p:spPr>
                <a:xfrm>
                  <a:off x="3200400" y="3123170"/>
                  <a:ext cx="280420"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5</a:t>
                  </a:r>
                </a:p>
              </p:txBody>
            </p:sp>
            <p:sp>
              <p:nvSpPr>
                <p:cNvPr id="61" name="TextBox 60">
                  <a:extLst>
                    <a:ext uri="{FF2B5EF4-FFF2-40B4-BE49-F238E27FC236}">
                      <a16:creationId xmlns:a16="http://schemas.microsoft.com/office/drawing/2014/main" id="{529C4BAB-C286-47D6-BDE0-DCE53CA6FFE0}"/>
                    </a:ext>
                  </a:extLst>
                </p:cNvPr>
                <p:cNvSpPr txBox="1"/>
                <p:nvPr/>
              </p:nvSpPr>
              <p:spPr>
                <a:xfrm>
                  <a:off x="3200400" y="3675620"/>
                  <a:ext cx="280420"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0</a:t>
                  </a:r>
                </a:p>
              </p:txBody>
            </p:sp>
            <p:sp>
              <p:nvSpPr>
                <p:cNvPr id="62" name="TextBox 61">
                  <a:extLst>
                    <a:ext uri="{FF2B5EF4-FFF2-40B4-BE49-F238E27FC236}">
                      <a16:creationId xmlns:a16="http://schemas.microsoft.com/office/drawing/2014/main" id="{9A15C9E0-90DD-4E3B-A293-CCD8F1C5A6AA}"/>
                    </a:ext>
                  </a:extLst>
                </p:cNvPr>
                <p:cNvSpPr txBox="1"/>
                <p:nvPr/>
              </p:nvSpPr>
              <p:spPr>
                <a:xfrm>
                  <a:off x="3200400" y="4218546"/>
                  <a:ext cx="280420"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5</a:t>
                  </a:r>
                </a:p>
              </p:txBody>
            </p:sp>
            <p:sp>
              <p:nvSpPr>
                <p:cNvPr id="63" name="TextBox 62">
                  <a:extLst>
                    <a:ext uri="{FF2B5EF4-FFF2-40B4-BE49-F238E27FC236}">
                      <a16:creationId xmlns:a16="http://schemas.microsoft.com/office/drawing/2014/main" id="{459FDE46-CD10-4FA3-8CA6-F14EB563D03E}"/>
                    </a:ext>
                  </a:extLst>
                </p:cNvPr>
                <p:cNvSpPr txBox="1"/>
                <p:nvPr/>
              </p:nvSpPr>
              <p:spPr>
                <a:xfrm>
                  <a:off x="3090863" y="4762683"/>
                  <a:ext cx="389957"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10</a:t>
                  </a:r>
                </a:p>
              </p:txBody>
            </p:sp>
            <p:sp>
              <p:nvSpPr>
                <p:cNvPr id="64" name="TextBox 63">
                  <a:extLst>
                    <a:ext uri="{FF2B5EF4-FFF2-40B4-BE49-F238E27FC236}">
                      <a16:creationId xmlns:a16="http://schemas.microsoft.com/office/drawing/2014/main" id="{48FD6435-585C-4334-9238-488D1684AACE}"/>
                    </a:ext>
                  </a:extLst>
                </p:cNvPr>
                <p:cNvSpPr txBox="1"/>
                <p:nvPr/>
              </p:nvSpPr>
              <p:spPr>
                <a:xfrm>
                  <a:off x="3090863" y="5313921"/>
                  <a:ext cx="389957" cy="258205"/>
                </a:xfrm>
                <a:prstGeom prst="rect">
                  <a:avLst/>
                </a:prstGeom>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S PGothic" charset="0"/>
                      <a:cs typeface="+mn-cs"/>
                    </a:rPr>
                    <a:t>–15</a:t>
                  </a:r>
                </a:p>
              </p:txBody>
            </p:sp>
            <p:sp>
              <p:nvSpPr>
                <p:cNvPr id="65" name="TextBox 64">
                  <a:extLst>
                    <a:ext uri="{FF2B5EF4-FFF2-40B4-BE49-F238E27FC236}">
                      <a16:creationId xmlns:a16="http://schemas.microsoft.com/office/drawing/2014/main" id="{D48BDA1D-7A56-41B9-9371-E783E7DF92A6}"/>
                    </a:ext>
                  </a:extLst>
                </p:cNvPr>
                <p:cNvSpPr txBox="1"/>
                <p:nvPr/>
              </p:nvSpPr>
              <p:spPr>
                <a:xfrm>
                  <a:off x="3729037"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0</a:t>
                  </a:r>
                </a:p>
              </p:txBody>
            </p:sp>
            <p:sp>
              <p:nvSpPr>
                <p:cNvPr id="66" name="TextBox 65">
                  <a:extLst>
                    <a:ext uri="{FF2B5EF4-FFF2-40B4-BE49-F238E27FC236}">
                      <a16:creationId xmlns:a16="http://schemas.microsoft.com/office/drawing/2014/main" id="{5087AA12-C6A4-4115-8FA2-D5A728B11C48}"/>
                    </a:ext>
                  </a:extLst>
                </p:cNvPr>
                <p:cNvSpPr txBox="1"/>
                <p:nvPr/>
              </p:nvSpPr>
              <p:spPr>
                <a:xfrm>
                  <a:off x="4467225"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16</a:t>
                  </a:r>
                </a:p>
              </p:txBody>
            </p:sp>
            <p:sp>
              <p:nvSpPr>
                <p:cNvPr id="67" name="TextBox 66">
                  <a:extLst>
                    <a:ext uri="{FF2B5EF4-FFF2-40B4-BE49-F238E27FC236}">
                      <a16:creationId xmlns:a16="http://schemas.microsoft.com/office/drawing/2014/main" id="{074C585F-A194-434A-9F2F-223EA4360ACB}"/>
                    </a:ext>
                  </a:extLst>
                </p:cNvPr>
                <p:cNvSpPr txBox="1"/>
                <p:nvPr/>
              </p:nvSpPr>
              <p:spPr>
                <a:xfrm>
                  <a:off x="5195887"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32</a:t>
                  </a:r>
                </a:p>
              </p:txBody>
            </p:sp>
            <p:sp>
              <p:nvSpPr>
                <p:cNvPr id="68" name="TextBox 67">
                  <a:extLst>
                    <a:ext uri="{FF2B5EF4-FFF2-40B4-BE49-F238E27FC236}">
                      <a16:creationId xmlns:a16="http://schemas.microsoft.com/office/drawing/2014/main" id="{E025AAC4-658A-4D07-89AF-28FCAF50825D}"/>
                    </a:ext>
                  </a:extLst>
                </p:cNvPr>
                <p:cNvSpPr txBox="1"/>
                <p:nvPr/>
              </p:nvSpPr>
              <p:spPr>
                <a:xfrm>
                  <a:off x="5929312"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46</a:t>
                  </a:r>
                </a:p>
              </p:txBody>
            </p:sp>
            <p:sp>
              <p:nvSpPr>
                <p:cNvPr id="69" name="TextBox 68">
                  <a:extLst>
                    <a:ext uri="{FF2B5EF4-FFF2-40B4-BE49-F238E27FC236}">
                      <a16:creationId xmlns:a16="http://schemas.microsoft.com/office/drawing/2014/main" id="{F9294654-C8B7-4849-A7CE-9736B8698C24}"/>
                    </a:ext>
                  </a:extLst>
                </p:cNvPr>
                <p:cNvSpPr txBox="1"/>
                <p:nvPr/>
              </p:nvSpPr>
              <p:spPr>
                <a:xfrm>
                  <a:off x="6672262"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64</a:t>
                  </a:r>
                </a:p>
              </p:txBody>
            </p:sp>
            <p:sp>
              <p:nvSpPr>
                <p:cNvPr id="70" name="TextBox 69">
                  <a:extLst>
                    <a:ext uri="{FF2B5EF4-FFF2-40B4-BE49-F238E27FC236}">
                      <a16:creationId xmlns:a16="http://schemas.microsoft.com/office/drawing/2014/main" id="{789A3973-8CAA-48C8-8839-C77F3028BA50}"/>
                    </a:ext>
                  </a:extLst>
                </p:cNvPr>
                <p:cNvSpPr txBox="1"/>
                <p:nvPr/>
              </p:nvSpPr>
              <p:spPr>
                <a:xfrm>
                  <a:off x="7405687"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80</a:t>
                  </a:r>
                </a:p>
              </p:txBody>
            </p:sp>
            <p:grpSp>
              <p:nvGrpSpPr>
                <p:cNvPr id="71" name="Group 70">
                  <a:extLst>
                    <a:ext uri="{FF2B5EF4-FFF2-40B4-BE49-F238E27FC236}">
                      <a16:creationId xmlns:a16="http://schemas.microsoft.com/office/drawing/2014/main" id="{E09CD104-9AEE-4731-A664-3023D9309C1A}"/>
                    </a:ext>
                  </a:extLst>
                </p:cNvPr>
                <p:cNvGrpSpPr/>
                <p:nvPr/>
              </p:nvGrpSpPr>
              <p:grpSpPr>
                <a:xfrm>
                  <a:off x="3557592" y="2152650"/>
                  <a:ext cx="4788082" cy="3498533"/>
                  <a:chOff x="3557592" y="2152650"/>
                  <a:chExt cx="4788082" cy="3498533"/>
                </a:xfrm>
              </p:grpSpPr>
              <p:sp>
                <p:nvSpPr>
                  <p:cNvPr id="73" name="Freeform: Shape 72">
                    <a:extLst>
                      <a:ext uri="{FF2B5EF4-FFF2-40B4-BE49-F238E27FC236}">
                        <a16:creationId xmlns:a16="http://schemas.microsoft.com/office/drawing/2014/main" id="{F76BC6B2-24B4-4A69-A5C4-5DEBEC27D065}"/>
                      </a:ext>
                    </a:extLst>
                  </p:cNvPr>
                  <p:cNvSpPr/>
                  <p:nvPr/>
                </p:nvSpPr>
                <p:spPr>
                  <a:xfrm>
                    <a:off x="3647558" y="2154725"/>
                    <a:ext cx="4698116" cy="3404142"/>
                  </a:xfrm>
                  <a:custGeom>
                    <a:avLst/>
                    <a:gdLst>
                      <a:gd name="connsiteX0" fmla="*/ 0 w 5172891"/>
                      <a:gd name="connsiteY0" fmla="*/ 0 h 3422468"/>
                      <a:gd name="connsiteX1" fmla="*/ 0 w 5172891"/>
                      <a:gd name="connsiteY1" fmla="*/ 3422468 h 3422468"/>
                      <a:gd name="connsiteX2" fmla="*/ 5172891 w 5172891"/>
                      <a:gd name="connsiteY2" fmla="*/ 3422468 h 3422468"/>
                    </a:gdLst>
                    <a:ahLst/>
                    <a:cxnLst>
                      <a:cxn ang="0">
                        <a:pos x="connsiteX0" y="connsiteY0"/>
                      </a:cxn>
                      <a:cxn ang="0">
                        <a:pos x="connsiteX1" y="connsiteY1"/>
                      </a:cxn>
                      <a:cxn ang="0">
                        <a:pos x="connsiteX2" y="connsiteY2"/>
                      </a:cxn>
                    </a:cxnLst>
                    <a:rect l="l" t="t" r="r" b="b"/>
                    <a:pathLst>
                      <a:path w="5172891" h="3422468">
                        <a:moveTo>
                          <a:pt x="0" y="0"/>
                        </a:moveTo>
                        <a:lnTo>
                          <a:pt x="0" y="3422468"/>
                        </a:lnTo>
                        <a:lnTo>
                          <a:pt x="5172891" y="3422468"/>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74" name="Straight Connector 73">
                    <a:extLst>
                      <a:ext uri="{FF2B5EF4-FFF2-40B4-BE49-F238E27FC236}">
                        <a16:creationId xmlns:a16="http://schemas.microsoft.com/office/drawing/2014/main" id="{BDB1C971-55A9-4162-A5F2-FC8311F0B2E6}"/>
                      </a:ext>
                    </a:extLst>
                  </p:cNvPr>
                  <p:cNvCxnSpPr/>
                  <p:nvPr/>
                </p:nvCxnSpPr>
                <p:spPr>
                  <a:xfrm>
                    <a:off x="3557592" y="2152650"/>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B526E44-9BE8-4E82-AFE9-326744AC7A4E}"/>
                      </a:ext>
                    </a:extLst>
                  </p:cNvPr>
                  <p:cNvCxnSpPr/>
                  <p:nvPr/>
                </p:nvCxnSpPr>
                <p:spPr>
                  <a:xfrm>
                    <a:off x="3557592" y="2700338"/>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953A08F-84D0-4770-AAFC-096600E21BBD}"/>
                      </a:ext>
                    </a:extLst>
                  </p:cNvPr>
                  <p:cNvCxnSpPr/>
                  <p:nvPr/>
                </p:nvCxnSpPr>
                <p:spPr>
                  <a:xfrm>
                    <a:off x="3557592" y="3248025"/>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246F8A5-17F5-4B27-88D1-7C5C09B1679B}"/>
                      </a:ext>
                    </a:extLst>
                  </p:cNvPr>
                  <p:cNvCxnSpPr/>
                  <p:nvPr/>
                </p:nvCxnSpPr>
                <p:spPr>
                  <a:xfrm>
                    <a:off x="3557592" y="3800475"/>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5E40530E-D62F-44A3-8963-3B188548B5FD}"/>
                      </a:ext>
                    </a:extLst>
                  </p:cNvPr>
                  <p:cNvCxnSpPr/>
                  <p:nvPr/>
                </p:nvCxnSpPr>
                <p:spPr>
                  <a:xfrm>
                    <a:off x="3557592" y="4343401"/>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043A290-7DB0-4B9F-8115-768A17D582D7}"/>
                      </a:ext>
                    </a:extLst>
                  </p:cNvPr>
                  <p:cNvCxnSpPr/>
                  <p:nvPr/>
                </p:nvCxnSpPr>
                <p:spPr>
                  <a:xfrm>
                    <a:off x="3557592" y="4891089"/>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F3B09C3-EBEC-4C7A-AD06-5ABF888B92AB}"/>
                      </a:ext>
                    </a:extLst>
                  </p:cNvPr>
                  <p:cNvCxnSpPr/>
                  <p:nvPr/>
                </p:nvCxnSpPr>
                <p:spPr>
                  <a:xfrm>
                    <a:off x="3557592" y="5438776"/>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0D23600-7CAB-4347-8A4E-AEDA7E925C4D}"/>
                      </a:ext>
                    </a:extLst>
                  </p:cNvPr>
                  <p:cNvCxnSpPr>
                    <a:cxnSpLocks/>
                  </p:cNvCxnSpPr>
                  <p:nvPr/>
                </p:nvCxnSpPr>
                <p:spPr>
                  <a:xfrm rot="5400000">
                    <a:off x="3878295"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1F3A2F9-9698-4C64-9811-BB07876C97F4}"/>
                      </a:ext>
                    </a:extLst>
                  </p:cNvPr>
                  <p:cNvCxnSpPr>
                    <a:cxnSpLocks/>
                  </p:cNvCxnSpPr>
                  <p:nvPr/>
                </p:nvCxnSpPr>
                <p:spPr>
                  <a:xfrm rot="5400000">
                    <a:off x="4616483"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434B6BE-E301-457E-95A1-621AB8836987}"/>
                      </a:ext>
                    </a:extLst>
                  </p:cNvPr>
                  <p:cNvCxnSpPr>
                    <a:cxnSpLocks/>
                  </p:cNvCxnSpPr>
                  <p:nvPr/>
                </p:nvCxnSpPr>
                <p:spPr>
                  <a:xfrm rot="5400000">
                    <a:off x="5345145"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C724D08-9126-492E-9CB8-3C715648C01C}"/>
                      </a:ext>
                    </a:extLst>
                  </p:cNvPr>
                  <p:cNvCxnSpPr>
                    <a:cxnSpLocks/>
                  </p:cNvCxnSpPr>
                  <p:nvPr/>
                </p:nvCxnSpPr>
                <p:spPr>
                  <a:xfrm rot="5400000">
                    <a:off x="6078570"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15EDC09-3445-4F5F-A56F-B42323566692}"/>
                      </a:ext>
                    </a:extLst>
                  </p:cNvPr>
                  <p:cNvCxnSpPr>
                    <a:cxnSpLocks/>
                  </p:cNvCxnSpPr>
                  <p:nvPr/>
                </p:nvCxnSpPr>
                <p:spPr>
                  <a:xfrm rot="5400000">
                    <a:off x="6821520"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E8E8EA8-343C-457F-9ACC-2855F915C6AE}"/>
                      </a:ext>
                    </a:extLst>
                  </p:cNvPr>
                  <p:cNvCxnSpPr>
                    <a:cxnSpLocks/>
                  </p:cNvCxnSpPr>
                  <p:nvPr/>
                </p:nvCxnSpPr>
                <p:spPr>
                  <a:xfrm rot="5400000">
                    <a:off x="7554945"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906BEC18-91A6-456A-A4A6-B133D8F84B08}"/>
                      </a:ext>
                    </a:extLst>
                  </p:cNvPr>
                  <p:cNvCxnSpPr>
                    <a:cxnSpLocks/>
                  </p:cNvCxnSpPr>
                  <p:nvPr/>
                </p:nvCxnSpPr>
                <p:spPr>
                  <a:xfrm rot="5400000">
                    <a:off x="8293132" y="560546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EF98ED2B-902A-44D6-BDB5-5E98D1AD89D4}"/>
                    </a:ext>
                  </a:extLst>
                </p:cNvPr>
                <p:cNvSpPr txBox="1"/>
                <p:nvPr/>
              </p:nvSpPr>
              <p:spPr>
                <a:xfrm>
                  <a:off x="8143874" y="5652059"/>
                  <a:ext cx="389957" cy="258205"/>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S PGothic" charset="0"/>
                      <a:cs typeface="+mn-cs"/>
                    </a:rPr>
                    <a:t>96</a:t>
                  </a:r>
                </a:p>
              </p:txBody>
            </p:sp>
          </p:grpSp>
          <p:sp>
            <p:nvSpPr>
              <p:cNvPr id="17" name="Freeform: Shape 16">
                <a:extLst>
                  <a:ext uri="{FF2B5EF4-FFF2-40B4-BE49-F238E27FC236}">
                    <a16:creationId xmlns:a16="http://schemas.microsoft.com/office/drawing/2014/main" id="{B5E34D30-AC81-460A-AA5E-0B6C27F8F239}"/>
                  </a:ext>
                </a:extLst>
              </p:cNvPr>
              <p:cNvSpPr/>
              <p:nvPr/>
            </p:nvSpPr>
            <p:spPr>
              <a:xfrm>
                <a:off x="2339815" y="3722113"/>
                <a:ext cx="4417730" cy="361833"/>
              </a:xfrm>
              <a:custGeom>
                <a:avLst/>
                <a:gdLst>
                  <a:gd name="connsiteX0" fmla="*/ 0 w 4417730"/>
                  <a:gd name="connsiteY0" fmla="*/ 100977 h 361833"/>
                  <a:gd name="connsiteX1" fmla="*/ 84147 w 4417730"/>
                  <a:gd name="connsiteY1" fmla="*/ 300125 h 361833"/>
                  <a:gd name="connsiteX2" fmla="*/ 187929 w 4417730"/>
                  <a:gd name="connsiteY2" fmla="*/ 361833 h 361833"/>
                  <a:gd name="connsiteX3" fmla="*/ 737691 w 4417730"/>
                  <a:gd name="connsiteY3" fmla="*/ 115001 h 361833"/>
                  <a:gd name="connsiteX4" fmla="*/ 1461357 w 4417730"/>
                  <a:gd name="connsiteY4" fmla="*/ 100977 h 361833"/>
                  <a:gd name="connsiteX5" fmla="*/ 2199048 w 4417730"/>
                  <a:gd name="connsiteY5" fmla="*/ 30854 h 361833"/>
                  <a:gd name="connsiteX6" fmla="*/ 2942348 w 4417730"/>
                  <a:gd name="connsiteY6" fmla="*/ 137440 h 361833"/>
                  <a:gd name="connsiteX7" fmla="*/ 3671625 w 4417730"/>
                  <a:gd name="connsiteY7" fmla="*/ 8415 h 361833"/>
                  <a:gd name="connsiteX8" fmla="*/ 4417730 w 4417730"/>
                  <a:gd name="connsiteY8" fmla="*/ 0 h 361833"/>
                  <a:gd name="connsiteX0" fmla="*/ 0 w 4417730"/>
                  <a:gd name="connsiteY0" fmla="*/ 100977 h 361833"/>
                  <a:gd name="connsiteX1" fmla="*/ 84147 w 4417730"/>
                  <a:gd name="connsiteY1" fmla="*/ 300125 h 361833"/>
                  <a:gd name="connsiteX2" fmla="*/ 187929 w 4417730"/>
                  <a:gd name="connsiteY2" fmla="*/ 361833 h 361833"/>
                  <a:gd name="connsiteX3" fmla="*/ 737691 w 4417730"/>
                  <a:gd name="connsiteY3" fmla="*/ 115001 h 361833"/>
                  <a:gd name="connsiteX4" fmla="*/ 1461357 w 4417730"/>
                  <a:gd name="connsiteY4" fmla="*/ 100977 h 361833"/>
                  <a:gd name="connsiteX5" fmla="*/ 2199048 w 4417730"/>
                  <a:gd name="connsiteY5" fmla="*/ 36464 h 361833"/>
                  <a:gd name="connsiteX6" fmla="*/ 2942348 w 4417730"/>
                  <a:gd name="connsiteY6" fmla="*/ 137440 h 361833"/>
                  <a:gd name="connsiteX7" fmla="*/ 3671625 w 4417730"/>
                  <a:gd name="connsiteY7" fmla="*/ 8415 h 361833"/>
                  <a:gd name="connsiteX8" fmla="*/ 4417730 w 4417730"/>
                  <a:gd name="connsiteY8" fmla="*/ 0 h 361833"/>
                  <a:gd name="connsiteX0" fmla="*/ 0 w 4417730"/>
                  <a:gd name="connsiteY0" fmla="*/ 100977 h 361833"/>
                  <a:gd name="connsiteX1" fmla="*/ 84147 w 4417730"/>
                  <a:gd name="connsiteY1" fmla="*/ 300125 h 361833"/>
                  <a:gd name="connsiteX2" fmla="*/ 187929 w 4417730"/>
                  <a:gd name="connsiteY2" fmla="*/ 361833 h 361833"/>
                  <a:gd name="connsiteX3" fmla="*/ 737691 w 4417730"/>
                  <a:gd name="connsiteY3" fmla="*/ 115001 h 361833"/>
                  <a:gd name="connsiteX4" fmla="*/ 1461357 w 4417730"/>
                  <a:gd name="connsiteY4" fmla="*/ 100977 h 361833"/>
                  <a:gd name="connsiteX5" fmla="*/ 2199048 w 4417730"/>
                  <a:gd name="connsiteY5" fmla="*/ 36464 h 361833"/>
                  <a:gd name="connsiteX6" fmla="*/ 2942348 w 4417730"/>
                  <a:gd name="connsiteY6" fmla="*/ 137440 h 361833"/>
                  <a:gd name="connsiteX7" fmla="*/ 3671625 w 4417730"/>
                  <a:gd name="connsiteY7" fmla="*/ 14025 h 361833"/>
                  <a:gd name="connsiteX8" fmla="*/ 4417730 w 4417730"/>
                  <a:gd name="connsiteY8" fmla="*/ 0 h 361833"/>
                  <a:gd name="connsiteX0" fmla="*/ 0 w 4417730"/>
                  <a:gd name="connsiteY0" fmla="*/ 100977 h 361833"/>
                  <a:gd name="connsiteX1" fmla="*/ 84147 w 4417730"/>
                  <a:gd name="connsiteY1" fmla="*/ 300125 h 361833"/>
                  <a:gd name="connsiteX2" fmla="*/ 187929 w 4417730"/>
                  <a:gd name="connsiteY2" fmla="*/ 361833 h 361833"/>
                  <a:gd name="connsiteX3" fmla="*/ 726471 w 4417730"/>
                  <a:gd name="connsiteY3" fmla="*/ 126221 h 361833"/>
                  <a:gd name="connsiteX4" fmla="*/ 1461357 w 4417730"/>
                  <a:gd name="connsiteY4" fmla="*/ 100977 h 361833"/>
                  <a:gd name="connsiteX5" fmla="*/ 2199048 w 4417730"/>
                  <a:gd name="connsiteY5" fmla="*/ 36464 h 361833"/>
                  <a:gd name="connsiteX6" fmla="*/ 2942348 w 4417730"/>
                  <a:gd name="connsiteY6" fmla="*/ 137440 h 361833"/>
                  <a:gd name="connsiteX7" fmla="*/ 3671625 w 4417730"/>
                  <a:gd name="connsiteY7" fmla="*/ 14025 h 361833"/>
                  <a:gd name="connsiteX8" fmla="*/ 4417730 w 4417730"/>
                  <a:gd name="connsiteY8" fmla="*/ 0 h 361833"/>
                  <a:gd name="connsiteX0" fmla="*/ 0 w 4417730"/>
                  <a:gd name="connsiteY0" fmla="*/ 100977 h 361833"/>
                  <a:gd name="connsiteX1" fmla="*/ 84147 w 4417730"/>
                  <a:gd name="connsiteY1" fmla="*/ 300125 h 361833"/>
                  <a:gd name="connsiteX2" fmla="*/ 187929 w 4417730"/>
                  <a:gd name="connsiteY2" fmla="*/ 361833 h 361833"/>
                  <a:gd name="connsiteX3" fmla="*/ 729276 w 4417730"/>
                  <a:gd name="connsiteY3" fmla="*/ 117806 h 361833"/>
                  <a:gd name="connsiteX4" fmla="*/ 1461357 w 4417730"/>
                  <a:gd name="connsiteY4" fmla="*/ 100977 h 361833"/>
                  <a:gd name="connsiteX5" fmla="*/ 2199048 w 4417730"/>
                  <a:gd name="connsiteY5" fmla="*/ 36464 h 361833"/>
                  <a:gd name="connsiteX6" fmla="*/ 2942348 w 4417730"/>
                  <a:gd name="connsiteY6" fmla="*/ 137440 h 361833"/>
                  <a:gd name="connsiteX7" fmla="*/ 3671625 w 4417730"/>
                  <a:gd name="connsiteY7" fmla="*/ 14025 h 361833"/>
                  <a:gd name="connsiteX8" fmla="*/ 4417730 w 4417730"/>
                  <a:gd name="connsiteY8" fmla="*/ 0 h 361833"/>
                  <a:gd name="connsiteX0" fmla="*/ 0 w 4417730"/>
                  <a:gd name="connsiteY0" fmla="*/ 100977 h 361833"/>
                  <a:gd name="connsiteX1" fmla="*/ 84147 w 4417730"/>
                  <a:gd name="connsiteY1" fmla="*/ 300125 h 361833"/>
                  <a:gd name="connsiteX2" fmla="*/ 187929 w 4417730"/>
                  <a:gd name="connsiteY2" fmla="*/ 361833 h 361833"/>
                  <a:gd name="connsiteX3" fmla="*/ 726471 w 4417730"/>
                  <a:gd name="connsiteY3" fmla="*/ 123416 h 361833"/>
                  <a:gd name="connsiteX4" fmla="*/ 1461357 w 4417730"/>
                  <a:gd name="connsiteY4" fmla="*/ 100977 h 361833"/>
                  <a:gd name="connsiteX5" fmla="*/ 2199048 w 4417730"/>
                  <a:gd name="connsiteY5" fmla="*/ 36464 h 361833"/>
                  <a:gd name="connsiteX6" fmla="*/ 2942348 w 4417730"/>
                  <a:gd name="connsiteY6" fmla="*/ 137440 h 361833"/>
                  <a:gd name="connsiteX7" fmla="*/ 3671625 w 4417730"/>
                  <a:gd name="connsiteY7" fmla="*/ 14025 h 361833"/>
                  <a:gd name="connsiteX8" fmla="*/ 4417730 w 4417730"/>
                  <a:gd name="connsiteY8" fmla="*/ 0 h 36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7730" h="361833">
                    <a:moveTo>
                      <a:pt x="0" y="100977"/>
                    </a:moveTo>
                    <a:lnTo>
                      <a:pt x="84147" y="300125"/>
                    </a:lnTo>
                    <a:lnTo>
                      <a:pt x="187929" y="361833"/>
                    </a:lnTo>
                    <a:lnTo>
                      <a:pt x="726471" y="123416"/>
                    </a:lnTo>
                    <a:lnTo>
                      <a:pt x="1461357" y="100977"/>
                    </a:lnTo>
                    <a:lnTo>
                      <a:pt x="2199048" y="36464"/>
                    </a:lnTo>
                    <a:lnTo>
                      <a:pt x="2942348" y="137440"/>
                    </a:lnTo>
                    <a:lnTo>
                      <a:pt x="3671625" y="14025"/>
                    </a:lnTo>
                    <a:lnTo>
                      <a:pt x="4417730" y="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6DDA2FC0-0ACF-48B6-8987-E37D09224198}"/>
                  </a:ext>
                </a:extLst>
              </p:cNvPr>
              <p:cNvSpPr/>
              <p:nvPr/>
            </p:nvSpPr>
            <p:spPr>
              <a:xfrm>
                <a:off x="2334045" y="3743053"/>
                <a:ext cx="4399404" cy="475919"/>
              </a:xfrm>
              <a:custGeom>
                <a:avLst/>
                <a:gdLst>
                  <a:gd name="connsiteX0" fmla="*/ 0 w 4404167"/>
                  <a:gd name="connsiteY0" fmla="*/ 66555 h 462988"/>
                  <a:gd name="connsiteX1" fmla="*/ 95492 w 4404167"/>
                  <a:gd name="connsiteY1" fmla="*/ 402221 h 462988"/>
                  <a:gd name="connsiteX2" fmla="*/ 188089 w 4404167"/>
                  <a:gd name="connsiteY2" fmla="*/ 462988 h 462988"/>
                  <a:gd name="connsiteX3" fmla="*/ 746567 w 4404167"/>
                  <a:gd name="connsiteY3" fmla="*/ 245962 h 462988"/>
                  <a:gd name="connsiteX4" fmla="*/ 1472879 w 4404167"/>
                  <a:gd name="connsiteY4" fmla="*/ 86811 h 462988"/>
                  <a:gd name="connsiteX5" fmla="*/ 2228127 w 4404167"/>
                  <a:gd name="connsiteY5" fmla="*/ 52087 h 462988"/>
                  <a:gd name="connsiteX6" fmla="*/ 2945757 w 4404167"/>
                  <a:gd name="connsiteY6" fmla="*/ 176514 h 462988"/>
                  <a:gd name="connsiteX7" fmla="*/ 3686537 w 4404167"/>
                  <a:gd name="connsiteY7" fmla="*/ 164940 h 462988"/>
                  <a:gd name="connsiteX8" fmla="*/ 4404167 w 4404167"/>
                  <a:gd name="connsiteY8" fmla="*/ 0 h 462988"/>
                  <a:gd name="connsiteX0" fmla="*/ 0 w 4404167"/>
                  <a:gd name="connsiteY0" fmla="*/ 66555 h 465881"/>
                  <a:gd name="connsiteX1" fmla="*/ 95492 w 4404167"/>
                  <a:gd name="connsiteY1" fmla="*/ 402221 h 465881"/>
                  <a:gd name="connsiteX2" fmla="*/ 188089 w 4404167"/>
                  <a:gd name="connsiteY2" fmla="*/ 465881 h 465881"/>
                  <a:gd name="connsiteX3" fmla="*/ 746567 w 4404167"/>
                  <a:gd name="connsiteY3" fmla="*/ 245962 h 465881"/>
                  <a:gd name="connsiteX4" fmla="*/ 1472879 w 4404167"/>
                  <a:gd name="connsiteY4" fmla="*/ 86811 h 465881"/>
                  <a:gd name="connsiteX5" fmla="*/ 2228127 w 4404167"/>
                  <a:gd name="connsiteY5" fmla="*/ 52087 h 465881"/>
                  <a:gd name="connsiteX6" fmla="*/ 2945757 w 4404167"/>
                  <a:gd name="connsiteY6" fmla="*/ 176514 h 465881"/>
                  <a:gd name="connsiteX7" fmla="*/ 3686537 w 4404167"/>
                  <a:gd name="connsiteY7" fmla="*/ 164940 h 465881"/>
                  <a:gd name="connsiteX8" fmla="*/ 4404167 w 4404167"/>
                  <a:gd name="connsiteY8" fmla="*/ 0 h 465881"/>
                  <a:gd name="connsiteX0" fmla="*/ 0 w 4404167"/>
                  <a:gd name="connsiteY0" fmla="*/ 66555 h 468775"/>
                  <a:gd name="connsiteX1" fmla="*/ 95492 w 4404167"/>
                  <a:gd name="connsiteY1" fmla="*/ 402221 h 468775"/>
                  <a:gd name="connsiteX2" fmla="*/ 193876 w 4404167"/>
                  <a:gd name="connsiteY2" fmla="*/ 468775 h 468775"/>
                  <a:gd name="connsiteX3" fmla="*/ 746567 w 4404167"/>
                  <a:gd name="connsiteY3" fmla="*/ 245962 h 468775"/>
                  <a:gd name="connsiteX4" fmla="*/ 1472879 w 4404167"/>
                  <a:gd name="connsiteY4" fmla="*/ 86811 h 468775"/>
                  <a:gd name="connsiteX5" fmla="*/ 2228127 w 4404167"/>
                  <a:gd name="connsiteY5" fmla="*/ 52087 h 468775"/>
                  <a:gd name="connsiteX6" fmla="*/ 2945757 w 4404167"/>
                  <a:gd name="connsiteY6" fmla="*/ 176514 h 468775"/>
                  <a:gd name="connsiteX7" fmla="*/ 3686537 w 4404167"/>
                  <a:gd name="connsiteY7" fmla="*/ 164940 h 468775"/>
                  <a:gd name="connsiteX8" fmla="*/ 4404167 w 4404167"/>
                  <a:gd name="connsiteY8" fmla="*/ 0 h 468775"/>
                  <a:gd name="connsiteX0" fmla="*/ 0 w 4404167"/>
                  <a:gd name="connsiteY0" fmla="*/ 66555 h 468775"/>
                  <a:gd name="connsiteX1" fmla="*/ 95492 w 4404167"/>
                  <a:gd name="connsiteY1" fmla="*/ 402221 h 468775"/>
                  <a:gd name="connsiteX2" fmla="*/ 193876 w 4404167"/>
                  <a:gd name="connsiteY2" fmla="*/ 468775 h 468775"/>
                  <a:gd name="connsiteX3" fmla="*/ 746567 w 4404167"/>
                  <a:gd name="connsiteY3" fmla="*/ 245962 h 468775"/>
                  <a:gd name="connsiteX4" fmla="*/ 1472879 w 4404167"/>
                  <a:gd name="connsiteY4" fmla="*/ 86811 h 468775"/>
                  <a:gd name="connsiteX5" fmla="*/ 2228127 w 4404167"/>
                  <a:gd name="connsiteY5" fmla="*/ 52087 h 468775"/>
                  <a:gd name="connsiteX6" fmla="*/ 2945757 w 4404167"/>
                  <a:gd name="connsiteY6" fmla="*/ 176514 h 468775"/>
                  <a:gd name="connsiteX7" fmla="*/ 3686537 w 4404167"/>
                  <a:gd name="connsiteY7" fmla="*/ 164940 h 468775"/>
                  <a:gd name="connsiteX8" fmla="*/ 4404167 w 4404167"/>
                  <a:gd name="connsiteY8" fmla="*/ 0 h 468775"/>
                  <a:gd name="connsiteX0" fmla="*/ 0 w 4404167"/>
                  <a:gd name="connsiteY0" fmla="*/ 78461 h 480681"/>
                  <a:gd name="connsiteX1" fmla="*/ 95492 w 4404167"/>
                  <a:gd name="connsiteY1" fmla="*/ 414127 h 480681"/>
                  <a:gd name="connsiteX2" fmla="*/ 193876 w 4404167"/>
                  <a:gd name="connsiteY2" fmla="*/ 480681 h 480681"/>
                  <a:gd name="connsiteX3" fmla="*/ 746567 w 4404167"/>
                  <a:gd name="connsiteY3" fmla="*/ 257868 h 480681"/>
                  <a:gd name="connsiteX4" fmla="*/ 1472879 w 4404167"/>
                  <a:gd name="connsiteY4" fmla="*/ 98717 h 480681"/>
                  <a:gd name="connsiteX5" fmla="*/ 2228127 w 4404167"/>
                  <a:gd name="connsiteY5" fmla="*/ 63993 h 480681"/>
                  <a:gd name="connsiteX6" fmla="*/ 2945757 w 4404167"/>
                  <a:gd name="connsiteY6" fmla="*/ 188420 h 480681"/>
                  <a:gd name="connsiteX7" fmla="*/ 3686537 w 4404167"/>
                  <a:gd name="connsiteY7" fmla="*/ 176846 h 480681"/>
                  <a:gd name="connsiteX8" fmla="*/ 4404167 w 4404167"/>
                  <a:gd name="connsiteY8" fmla="*/ 0 h 480681"/>
                  <a:gd name="connsiteX0" fmla="*/ 0 w 4399404"/>
                  <a:gd name="connsiteY0" fmla="*/ 73699 h 475919"/>
                  <a:gd name="connsiteX1" fmla="*/ 95492 w 4399404"/>
                  <a:gd name="connsiteY1" fmla="*/ 409365 h 475919"/>
                  <a:gd name="connsiteX2" fmla="*/ 193876 w 4399404"/>
                  <a:gd name="connsiteY2" fmla="*/ 475919 h 475919"/>
                  <a:gd name="connsiteX3" fmla="*/ 746567 w 4399404"/>
                  <a:gd name="connsiteY3" fmla="*/ 253106 h 475919"/>
                  <a:gd name="connsiteX4" fmla="*/ 1472879 w 4399404"/>
                  <a:gd name="connsiteY4" fmla="*/ 93955 h 475919"/>
                  <a:gd name="connsiteX5" fmla="*/ 2228127 w 4399404"/>
                  <a:gd name="connsiteY5" fmla="*/ 59231 h 475919"/>
                  <a:gd name="connsiteX6" fmla="*/ 2945757 w 4399404"/>
                  <a:gd name="connsiteY6" fmla="*/ 183658 h 475919"/>
                  <a:gd name="connsiteX7" fmla="*/ 3686537 w 4399404"/>
                  <a:gd name="connsiteY7" fmla="*/ 172084 h 475919"/>
                  <a:gd name="connsiteX8" fmla="*/ 4399404 w 4399404"/>
                  <a:gd name="connsiteY8" fmla="*/ 0 h 475919"/>
                  <a:gd name="connsiteX0" fmla="*/ 0 w 4399404"/>
                  <a:gd name="connsiteY0" fmla="*/ 73699 h 475919"/>
                  <a:gd name="connsiteX1" fmla="*/ 95492 w 4399404"/>
                  <a:gd name="connsiteY1" fmla="*/ 409365 h 475919"/>
                  <a:gd name="connsiteX2" fmla="*/ 193876 w 4399404"/>
                  <a:gd name="connsiteY2" fmla="*/ 475919 h 475919"/>
                  <a:gd name="connsiteX3" fmla="*/ 746567 w 4399404"/>
                  <a:gd name="connsiteY3" fmla="*/ 253106 h 475919"/>
                  <a:gd name="connsiteX4" fmla="*/ 1472879 w 4399404"/>
                  <a:gd name="connsiteY4" fmla="*/ 93955 h 475919"/>
                  <a:gd name="connsiteX5" fmla="*/ 2228127 w 4399404"/>
                  <a:gd name="connsiteY5" fmla="*/ 59231 h 475919"/>
                  <a:gd name="connsiteX6" fmla="*/ 2948139 w 4399404"/>
                  <a:gd name="connsiteY6" fmla="*/ 176514 h 475919"/>
                  <a:gd name="connsiteX7" fmla="*/ 3686537 w 4399404"/>
                  <a:gd name="connsiteY7" fmla="*/ 172084 h 475919"/>
                  <a:gd name="connsiteX8" fmla="*/ 4399404 w 4399404"/>
                  <a:gd name="connsiteY8" fmla="*/ 0 h 475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404" h="475919">
                    <a:moveTo>
                      <a:pt x="0" y="73699"/>
                    </a:moveTo>
                    <a:lnTo>
                      <a:pt x="95492" y="409365"/>
                    </a:lnTo>
                    <a:lnTo>
                      <a:pt x="193876" y="475919"/>
                    </a:lnTo>
                    <a:lnTo>
                      <a:pt x="746567" y="253106"/>
                    </a:lnTo>
                    <a:lnTo>
                      <a:pt x="1472879" y="93955"/>
                    </a:lnTo>
                    <a:lnTo>
                      <a:pt x="2228127" y="59231"/>
                    </a:lnTo>
                    <a:lnTo>
                      <a:pt x="2948139" y="176514"/>
                    </a:lnTo>
                    <a:lnTo>
                      <a:pt x="3686537" y="172084"/>
                    </a:lnTo>
                    <a:lnTo>
                      <a:pt x="4399404"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9" name="Group 18">
                <a:extLst>
                  <a:ext uri="{FF2B5EF4-FFF2-40B4-BE49-F238E27FC236}">
                    <a16:creationId xmlns:a16="http://schemas.microsoft.com/office/drawing/2014/main" id="{E37DAD25-6816-4D60-A96B-CB7B60770400}"/>
                  </a:ext>
                </a:extLst>
              </p:cNvPr>
              <p:cNvGrpSpPr/>
              <p:nvPr/>
            </p:nvGrpSpPr>
            <p:grpSpPr>
              <a:xfrm>
                <a:off x="2268502" y="3651389"/>
                <a:ext cx="4549614" cy="603746"/>
                <a:chOff x="3861168" y="3651389"/>
                <a:chExt cx="4549614" cy="603746"/>
              </a:xfrm>
            </p:grpSpPr>
            <p:cxnSp>
              <p:nvCxnSpPr>
                <p:cNvPr id="35" name="Straight Connector 34">
                  <a:extLst>
                    <a:ext uri="{FF2B5EF4-FFF2-40B4-BE49-F238E27FC236}">
                      <a16:creationId xmlns:a16="http://schemas.microsoft.com/office/drawing/2014/main" id="{89CF8AA3-136B-4788-82CF-61E030209FE2}"/>
                    </a:ext>
                  </a:extLst>
                </p:cNvPr>
                <p:cNvCxnSpPr>
                  <a:cxnSpLocks/>
                </p:cNvCxnSpPr>
                <p:nvPr/>
              </p:nvCxnSpPr>
              <p:spPr>
                <a:xfrm>
                  <a:off x="4597748" y="3957088"/>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41613BD-5B21-4E3C-AC95-12FBF4F7DB89}"/>
                    </a:ext>
                  </a:extLst>
                </p:cNvPr>
                <p:cNvCxnSpPr>
                  <a:cxnSpLocks/>
                </p:cNvCxnSpPr>
                <p:nvPr/>
              </p:nvCxnSpPr>
              <p:spPr>
                <a:xfrm>
                  <a:off x="4597748" y="4038111"/>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CAF77C3-774A-4B97-A8C3-A106819B82BD}"/>
                    </a:ext>
                  </a:extLst>
                </p:cNvPr>
                <p:cNvCxnSpPr>
                  <a:cxnSpLocks/>
                </p:cNvCxnSpPr>
                <p:nvPr/>
              </p:nvCxnSpPr>
              <p:spPr>
                <a:xfrm>
                  <a:off x="3861168" y="3803723"/>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679871-857C-47DC-9468-69167AA8B779}"/>
                    </a:ext>
                  </a:extLst>
                </p:cNvPr>
                <p:cNvCxnSpPr>
                  <a:cxnSpLocks/>
                </p:cNvCxnSpPr>
                <p:nvPr/>
              </p:nvCxnSpPr>
              <p:spPr>
                <a:xfrm>
                  <a:off x="3946672" y="4122026"/>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C73699D-FF0A-42D4-9F28-F92FC4C10602}"/>
                    </a:ext>
                  </a:extLst>
                </p:cNvPr>
                <p:cNvCxnSpPr>
                  <a:cxnSpLocks/>
                </p:cNvCxnSpPr>
                <p:nvPr/>
              </p:nvCxnSpPr>
              <p:spPr>
                <a:xfrm>
                  <a:off x="3946672" y="4174112"/>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63E27B-D5D7-4AFB-B64E-81EBB3A6BA62}"/>
                    </a:ext>
                  </a:extLst>
                </p:cNvPr>
                <p:cNvCxnSpPr>
                  <a:cxnSpLocks/>
                </p:cNvCxnSpPr>
                <p:nvPr/>
              </p:nvCxnSpPr>
              <p:spPr>
                <a:xfrm>
                  <a:off x="4042163" y="4185687"/>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10207F4-2CE4-484B-9D45-E99108E9F02D}"/>
                    </a:ext>
                  </a:extLst>
                </p:cNvPr>
                <p:cNvCxnSpPr>
                  <a:cxnSpLocks/>
                </p:cNvCxnSpPr>
                <p:nvPr/>
              </p:nvCxnSpPr>
              <p:spPr>
                <a:xfrm>
                  <a:off x="4042163" y="4255135"/>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3B8C580-FA1F-4908-B5D5-9AE3DA442D83}"/>
                    </a:ext>
                  </a:extLst>
                </p:cNvPr>
                <p:cNvCxnSpPr>
                  <a:cxnSpLocks/>
                </p:cNvCxnSpPr>
                <p:nvPr/>
              </p:nvCxnSpPr>
              <p:spPr>
                <a:xfrm>
                  <a:off x="5329847" y="3884745"/>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921A9D4-AF67-4D53-BDA2-F85AA9EB538F}"/>
                    </a:ext>
                  </a:extLst>
                </p:cNvPr>
                <p:cNvCxnSpPr>
                  <a:cxnSpLocks/>
                </p:cNvCxnSpPr>
                <p:nvPr/>
              </p:nvCxnSpPr>
              <p:spPr>
                <a:xfrm>
                  <a:off x="5329847" y="3795041"/>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3CDC10E-75F3-45FB-B219-2F74C4AA0D47}"/>
                    </a:ext>
                  </a:extLst>
                </p:cNvPr>
                <p:cNvCxnSpPr>
                  <a:cxnSpLocks/>
                </p:cNvCxnSpPr>
                <p:nvPr/>
              </p:nvCxnSpPr>
              <p:spPr>
                <a:xfrm>
                  <a:off x="6064840" y="3754529"/>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C6B1343-2699-42C9-969B-FFF0BD450ABD}"/>
                    </a:ext>
                  </a:extLst>
                </p:cNvPr>
                <p:cNvCxnSpPr>
                  <a:cxnSpLocks/>
                </p:cNvCxnSpPr>
                <p:nvPr/>
              </p:nvCxnSpPr>
              <p:spPr>
                <a:xfrm>
                  <a:off x="6064840" y="3858702"/>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24008B83-5112-4B34-9C7C-DB4982309757}"/>
                    </a:ext>
                  </a:extLst>
                </p:cNvPr>
                <p:cNvGrpSpPr/>
                <p:nvPr/>
              </p:nvGrpSpPr>
              <p:grpSpPr>
                <a:xfrm>
                  <a:off x="6799833" y="3859856"/>
                  <a:ext cx="133855" cy="128778"/>
                  <a:chOff x="6799833" y="3859856"/>
                  <a:chExt cx="133855" cy="128778"/>
                </a:xfrm>
              </p:grpSpPr>
              <p:cxnSp>
                <p:nvCxnSpPr>
                  <p:cNvPr id="55" name="Straight Connector 54">
                    <a:extLst>
                      <a:ext uri="{FF2B5EF4-FFF2-40B4-BE49-F238E27FC236}">
                        <a16:creationId xmlns:a16="http://schemas.microsoft.com/office/drawing/2014/main" id="{05971542-A609-4D10-ACA7-BCEFD66A8E82}"/>
                      </a:ext>
                    </a:extLst>
                  </p:cNvPr>
                  <p:cNvCxnSpPr>
                    <a:cxnSpLocks/>
                  </p:cNvCxnSpPr>
                  <p:nvPr/>
                </p:nvCxnSpPr>
                <p:spPr>
                  <a:xfrm>
                    <a:off x="6799833" y="3988634"/>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420E877-E3D3-42AD-9831-E74F8BDCED1B}"/>
                      </a:ext>
                    </a:extLst>
                  </p:cNvPr>
                  <p:cNvCxnSpPr>
                    <a:cxnSpLocks/>
                  </p:cNvCxnSpPr>
                  <p:nvPr/>
                </p:nvCxnSpPr>
                <p:spPr>
                  <a:xfrm>
                    <a:off x="6799833" y="3861596"/>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643B2BD-A3FA-4E6A-ADC7-3478B7407A19}"/>
                      </a:ext>
                    </a:extLst>
                  </p:cNvPr>
                  <p:cNvCxnSpPr>
                    <a:cxnSpLocks/>
                  </p:cNvCxnSpPr>
                  <p:nvPr/>
                </p:nvCxnSpPr>
                <p:spPr>
                  <a:xfrm rot="5400000">
                    <a:off x="6802752" y="3923864"/>
                    <a:ext cx="12801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6B23FE2F-1E43-455B-B6E8-5C6BD3E5B2DE}"/>
                    </a:ext>
                  </a:extLst>
                </p:cNvPr>
                <p:cNvGrpSpPr/>
                <p:nvPr/>
              </p:nvGrpSpPr>
              <p:grpSpPr>
                <a:xfrm>
                  <a:off x="7534825" y="3846974"/>
                  <a:ext cx="133855" cy="142966"/>
                  <a:chOff x="6799833" y="3861444"/>
                  <a:chExt cx="133855" cy="142966"/>
                </a:xfrm>
              </p:grpSpPr>
              <p:cxnSp>
                <p:nvCxnSpPr>
                  <p:cNvPr id="52" name="Straight Connector 51">
                    <a:extLst>
                      <a:ext uri="{FF2B5EF4-FFF2-40B4-BE49-F238E27FC236}">
                        <a16:creationId xmlns:a16="http://schemas.microsoft.com/office/drawing/2014/main" id="{C8B2E9C7-E9B2-490F-8D0C-53F82A6D82CE}"/>
                      </a:ext>
                    </a:extLst>
                  </p:cNvPr>
                  <p:cNvCxnSpPr>
                    <a:cxnSpLocks/>
                  </p:cNvCxnSpPr>
                  <p:nvPr/>
                </p:nvCxnSpPr>
                <p:spPr>
                  <a:xfrm>
                    <a:off x="6799833" y="4004410"/>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D336101-C14C-4DA9-B67F-F6D28D06B553}"/>
                      </a:ext>
                    </a:extLst>
                  </p:cNvPr>
                  <p:cNvCxnSpPr>
                    <a:cxnSpLocks/>
                  </p:cNvCxnSpPr>
                  <p:nvPr/>
                </p:nvCxnSpPr>
                <p:spPr>
                  <a:xfrm>
                    <a:off x="6799833" y="3863184"/>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AD1BBE-7046-4F34-A243-06C55A2FA230}"/>
                      </a:ext>
                    </a:extLst>
                  </p:cNvPr>
                  <p:cNvCxnSpPr>
                    <a:cxnSpLocks/>
                  </p:cNvCxnSpPr>
                  <p:nvPr/>
                </p:nvCxnSpPr>
                <p:spPr>
                  <a:xfrm>
                    <a:off x="6866760" y="3861444"/>
                    <a:ext cx="0" cy="1395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49599874-7800-4D22-8B11-5381213A3E71}"/>
                    </a:ext>
                  </a:extLst>
                </p:cNvPr>
                <p:cNvGrpSpPr/>
                <p:nvPr/>
              </p:nvGrpSpPr>
              <p:grpSpPr>
                <a:xfrm>
                  <a:off x="8276927" y="3651389"/>
                  <a:ext cx="133855" cy="183455"/>
                  <a:chOff x="6795367" y="3866584"/>
                  <a:chExt cx="133855" cy="144045"/>
                </a:xfrm>
              </p:grpSpPr>
              <p:cxnSp>
                <p:nvCxnSpPr>
                  <p:cNvPr id="49" name="Straight Connector 48">
                    <a:extLst>
                      <a:ext uri="{FF2B5EF4-FFF2-40B4-BE49-F238E27FC236}">
                        <a16:creationId xmlns:a16="http://schemas.microsoft.com/office/drawing/2014/main" id="{14341458-4681-4733-B5FB-122B469188CD}"/>
                      </a:ext>
                    </a:extLst>
                  </p:cNvPr>
                  <p:cNvCxnSpPr>
                    <a:cxnSpLocks/>
                  </p:cNvCxnSpPr>
                  <p:nvPr/>
                </p:nvCxnSpPr>
                <p:spPr>
                  <a:xfrm>
                    <a:off x="6795367" y="4009174"/>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F62E1A-1F12-423D-AFFB-B3949DBF74F7}"/>
                      </a:ext>
                    </a:extLst>
                  </p:cNvPr>
                  <p:cNvCxnSpPr>
                    <a:cxnSpLocks/>
                  </p:cNvCxnSpPr>
                  <p:nvPr/>
                </p:nvCxnSpPr>
                <p:spPr>
                  <a:xfrm>
                    <a:off x="6795367" y="3866584"/>
                    <a:ext cx="1338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3E8DEE2-269C-4C8F-BCBA-3D094519E212}"/>
                      </a:ext>
                    </a:extLst>
                  </p:cNvPr>
                  <p:cNvCxnSpPr>
                    <a:cxnSpLocks/>
                  </p:cNvCxnSpPr>
                  <p:nvPr/>
                </p:nvCxnSpPr>
                <p:spPr>
                  <a:xfrm>
                    <a:off x="6862294" y="3866584"/>
                    <a:ext cx="0" cy="14404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20" name="Group 19">
                <a:extLst>
                  <a:ext uri="{FF2B5EF4-FFF2-40B4-BE49-F238E27FC236}">
                    <a16:creationId xmlns:a16="http://schemas.microsoft.com/office/drawing/2014/main" id="{CD7B5768-158D-4FD9-8053-E034CB7AA552}"/>
                  </a:ext>
                </a:extLst>
              </p:cNvPr>
              <p:cNvGrpSpPr/>
              <p:nvPr/>
            </p:nvGrpSpPr>
            <p:grpSpPr>
              <a:xfrm>
                <a:off x="2290875" y="3693329"/>
                <a:ext cx="4506278" cy="570071"/>
                <a:chOff x="3883541" y="3693329"/>
                <a:chExt cx="4506278" cy="570071"/>
              </a:xfrm>
              <a:solidFill>
                <a:schemeClr val="accent3"/>
              </a:solidFill>
            </p:grpSpPr>
            <p:sp>
              <p:nvSpPr>
                <p:cNvPr id="25" name="Oval 24">
                  <a:extLst>
                    <a:ext uri="{FF2B5EF4-FFF2-40B4-BE49-F238E27FC236}">
                      <a16:creationId xmlns:a16="http://schemas.microsoft.com/office/drawing/2014/main" id="{33163602-0E0A-40C1-ACE3-3FE4BE661713}"/>
                    </a:ext>
                  </a:extLst>
                </p:cNvPr>
                <p:cNvSpPr>
                  <a:spLocks noChangeAspect="1"/>
                </p:cNvSpPr>
                <p:nvPr/>
              </p:nvSpPr>
              <p:spPr>
                <a:xfrm>
                  <a:off x="4061699" y="4038250"/>
                  <a:ext cx="91440" cy="9144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6B02E165-02CA-4AB9-BBC0-2F631E693E94}"/>
                    </a:ext>
                  </a:extLst>
                </p:cNvPr>
                <p:cNvSpPr>
                  <a:spLocks noChangeAspect="1"/>
                </p:cNvSpPr>
                <p:nvPr/>
              </p:nvSpPr>
              <p:spPr>
                <a:xfrm>
                  <a:off x="3883541" y="3757623"/>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38B0F139-D374-401D-A32B-D86ED0B684FB}"/>
                    </a:ext>
                  </a:extLst>
                </p:cNvPr>
                <p:cNvSpPr>
                  <a:spLocks noChangeAspect="1"/>
                </p:cNvSpPr>
                <p:nvPr/>
              </p:nvSpPr>
              <p:spPr>
                <a:xfrm>
                  <a:off x="3971647" y="4100523"/>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7D205359-8FAE-4C41-8F45-712E72D2AB62}"/>
                    </a:ext>
                  </a:extLst>
                </p:cNvPr>
                <p:cNvSpPr>
                  <a:spLocks noChangeAspect="1"/>
                </p:cNvSpPr>
                <p:nvPr/>
              </p:nvSpPr>
              <p:spPr>
                <a:xfrm>
                  <a:off x="4064516" y="4171960"/>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1453A8F7-0968-4DA0-B478-B1A9EFC58D40}"/>
                    </a:ext>
                  </a:extLst>
                </p:cNvPr>
                <p:cNvSpPr>
                  <a:spLocks noChangeAspect="1"/>
                </p:cNvSpPr>
                <p:nvPr/>
              </p:nvSpPr>
              <p:spPr>
                <a:xfrm>
                  <a:off x="4619348" y="3954473"/>
                  <a:ext cx="91440" cy="91440"/>
                </a:xfrm>
                <a:prstGeom prst="ellipse">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5B456695-ABE8-42C0-BAAD-588E6FE4D0AD}"/>
                    </a:ext>
                  </a:extLst>
                </p:cNvPr>
                <p:cNvSpPr>
                  <a:spLocks noChangeAspect="1"/>
                </p:cNvSpPr>
                <p:nvPr/>
              </p:nvSpPr>
              <p:spPr>
                <a:xfrm>
                  <a:off x="5352773" y="3787789"/>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7840156B-C88A-45FA-BD8F-46DEE6FC6B65}"/>
                    </a:ext>
                  </a:extLst>
                </p:cNvPr>
                <p:cNvSpPr>
                  <a:spLocks noChangeAspect="1"/>
                </p:cNvSpPr>
                <p:nvPr/>
              </p:nvSpPr>
              <p:spPr>
                <a:xfrm>
                  <a:off x="6085405" y="3764767"/>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1634DCC1-2283-4A5E-8432-DB5AD16C8C5A}"/>
                    </a:ext>
                  </a:extLst>
                </p:cNvPr>
                <p:cNvSpPr>
                  <a:spLocks noChangeAspect="1"/>
                </p:cNvSpPr>
                <p:nvPr/>
              </p:nvSpPr>
              <p:spPr>
                <a:xfrm>
                  <a:off x="6822004" y="3874304"/>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7F7A7729-2DC6-47AC-B44E-C9E25D5F14A6}"/>
                    </a:ext>
                  </a:extLst>
                </p:cNvPr>
                <p:cNvSpPr>
                  <a:spLocks noChangeAspect="1"/>
                </p:cNvSpPr>
                <p:nvPr/>
              </p:nvSpPr>
              <p:spPr>
                <a:xfrm>
                  <a:off x="7555429" y="3871923"/>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940DEC8C-FB4B-45B5-AB27-CC456BCDA79D}"/>
                    </a:ext>
                  </a:extLst>
                </p:cNvPr>
                <p:cNvSpPr>
                  <a:spLocks noChangeAspect="1"/>
                </p:cNvSpPr>
                <p:nvPr/>
              </p:nvSpPr>
              <p:spPr>
                <a:xfrm>
                  <a:off x="8298379" y="3693329"/>
                  <a:ext cx="91440" cy="9144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1" name="TextBox 20">
                <a:extLst>
                  <a:ext uri="{FF2B5EF4-FFF2-40B4-BE49-F238E27FC236}">
                    <a16:creationId xmlns:a16="http://schemas.microsoft.com/office/drawing/2014/main" id="{2D6BC5B8-50B7-413E-8B4E-8B65458823E9}"/>
                  </a:ext>
                </a:extLst>
              </p:cNvPr>
              <p:cNvSpPr txBox="1"/>
              <p:nvPr/>
            </p:nvSpPr>
            <p:spPr>
              <a:xfrm>
                <a:off x="4017534" y="5845620"/>
                <a:ext cx="1032553" cy="355387"/>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Weeks</a:t>
                </a:r>
                <a:endParaRPr kumimoji="0" lang="es-ES_tradnl" sz="1400" b="1" i="0" u="none" strike="noStrike" kern="1200" cap="none" spc="0" normalizeH="0" baseline="0" noProof="0">
                  <a:ln>
                    <a:noFill/>
                  </a:ln>
                  <a:solidFill>
                    <a:prstClr val="black"/>
                  </a:solidFill>
                  <a:effectLst/>
                  <a:uLnTx/>
                  <a:uFillTx/>
                  <a:latin typeface="Arial"/>
                  <a:ea typeface="+mn-ea"/>
                  <a:cs typeface="+mn-cs"/>
                </a:endParaRPr>
              </a:p>
            </p:txBody>
          </p:sp>
          <p:sp>
            <p:nvSpPr>
              <p:cNvPr id="22" name="TextBox 21">
                <a:extLst>
                  <a:ext uri="{FF2B5EF4-FFF2-40B4-BE49-F238E27FC236}">
                    <a16:creationId xmlns:a16="http://schemas.microsoft.com/office/drawing/2014/main" id="{A605B292-D326-49CE-AF31-D9E4B0DBFBE6}"/>
                  </a:ext>
                </a:extLst>
              </p:cNvPr>
              <p:cNvSpPr txBox="1"/>
              <p:nvPr/>
            </p:nvSpPr>
            <p:spPr>
              <a:xfrm>
                <a:off x="2485717" y="2165131"/>
                <a:ext cx="1850929" cy="370490"/>
              </a:xfrm>
              <a:prstGeom prst="rect">
                <a:avLst/>
              </a:prstGeom>
            </p:spPr>
            <p:txBody>
              <a:bodyPr vert="horz" wrap="square" lIns="0" tIns="0" rIns="0" bIns="0" rtlCol="0" anchor="t">
                <a:spAutoFit/>
              </a:bodyPr>
              <a:lstStyle>
                <a:defPPr>
                  <a:defRPr lang="en-US"/>
                </a:defPPr>
                <a:lvl1pPr>
                  <a:spcBef>
                    <a:spcPts val="0"/>
                  </a:spcBef>
                  <a:defRPr sz="900">
                    <a:solidFill>
                      <a:schemeClr val="tx2"/>
                    </a:solidFill>
                    <a:latin typeface="+mn-lt"/>
                  </a:defRPr>
                </a:lvl1pPr>
              </a:lstStyle>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S PGothic" charset="0"/>
                    <a:cs typeface="+mn-cs"/>
                  </a:rPr>
                  <a:t>Placebo</a:t>
                </a: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S PGothic" charset="0"/>
                    <a:cs typeface="+mn-cs"/>
                  </a:rPr>
                  <a:t>Vericiguat</a:t>
                </a:r>
              </a:p>
            </p:txBody>
          </p:sp>
          <p:sp>
            <p:nvSpPr>
              <p:cNvPr id="23" name="Oval 22">
                <a:extLst>
                  <a:ext uri="{FF2B5EF4-FFF2-40B4-BE49-F238E27FC236}">
                    <a16:creationId xmlns:a16="http://schemas.microsoft.com/office/drawing/2014/main" id="{F47FCC8B-FAEF-44C1-91E6-220B8D97BA6C}"/>
                  </a:ext>
                </a:extLst>
              </p:cNvPr>
              <p:cNvSpPr/>
              <p:nvPr/>
            </p:nvSpPr>
            <p:spPr>
              <a:xfrm>
                <a:off x="2311748" y="2196839"/>
                <a:ext cx="112198" cy="1121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4" name="Oval 23">
                <a:extLst>
                  <a:ext uri="{FF2B5EF4-FFF2-40B4-BE49-F238E27FC236}">
                    <a16:creationId xmlns:a16="http://schemas.microsoft.com/office/drawing/2014/main" id="{B0F1188B-8DF8-4E0B-BD21-7E920FFE2DE0}"/>
                  </a:ext>
                </a:extLst>
              </p:cNvPr>
              <p:cNvSpPr/>
              <p:nvPr/>
            </p:nvSpPr>
            <p:spPr>
              <a:xfrm>
                <a:off x="2311748" y="2407946"/>
                <a:ext cx="112198" cy="1121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120" name="Straight Connector 119">
              <a:extLst>
                <a:ext uri="{FF2B5EF4-FFF2-40B4-BE49-F238E27FC236}">
                  <a16:creationId xmlns:a16="http://schemas.microsoft.com/office/drawing/2014/main" id="{A0A780F4-32CF-4703-977C-C52CC5560954}"/>
                </a:ext>
              </a:extLst>
            </p:cNvPr>
            <p:cNvCxnSpPr>
              <a:cxnSpLocks/>
            </p:cNvCxnSpPr>
            <p:nvPr/>
          </p:nvCxnSpPr>
          <p:spPr>
            <a:xfrm flipV="1">
              <a:off x="3220442" y="3681028"/>
              <a:ext cx="0" cy="688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1C26575-EFDA-452B-8D57-4C56D89DB4D8}"/>
                </a:ext>
              </a:extLst>
            </p:cNvPr>
            <p:cNvCxnSpPr>
              <a:cxnSpLocks/>
            </p:cNvCxnSpPr>
            <p:nvPr/>
          </p:nvCxnSpPr>
          <p:spPr>
            <a:xfrm>
              <a:off x="4000625" y="3609020"/>
              <a:ext cx="0" cy="720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9" name="Text Placeholder 1">
            <a:extLst>
              <a:ext uri="{FF2B5EF4-FFF2-40B4-BE49-F238E27FC236}">
                <a16:creationId xmlns:a16="http://schemas.microsoft.com/office/drawing/2014/main" id="{9A984268-E305-4C6D-B7ED-C0814975081D}"/>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1723151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0C4CA66-36BB-4352-AFB5-E198E9922B39}"/>
              </a:ext>
            </a:extLst>
          </p:cNvPr>
          <p:cNvSpPr>
            <a:spLocks noGrp="1"/>
          </p:cNvSpPr>
          <p:nvPr>
            <p:ph type="body" sz="quarter" idx="14"/>
          </p:nvPr>
        </p:nvSpPr>
        <p:spPr/>
        <p:txBody>
          <a:bodyPr/>
          <a:lstStyle/>
          <a:p>
            <a:r>
              <a:rPr lang="en-US"/>
              <a:t>SBP trajectories in vulnerable subgroups:</a:t>
            </a:r>
            <a:br>
              <a:rPr lang="en-US"/>
            </a:br>
            <a:r>
              <a:rPr lang="en-US"/>
              <a:t>Older patients, patients with lower baseline SBP and patients receiving concurrent ARNi</a:t>
            </a:r>
          </a:p>
          <a:p>
            <a:endParaRPr lang="en-GB"/>
          </a:p>
        </p:txBody>
      </p:sp>
      <p:sp>
        <p:nvSpPr>
          <p:cNvPr id="4" name="Title 3">
            <a:extLst>
              <a:ext uri="{FF2B5EF4-FFF2-40B4-BE49-F238E27FC236}">
                <a16:creationId xmlns:a16="http://schemas.microsoft.com/office/drawing/2014/main" id="{7C12C00B-66A6-4833-8E95-374199C844B5}"/>
              </a:ext>
            </a:extLst>
          </p:cNvPr>
          <p:cNvSpPr>
            <a:spLocks noGrp="1"/>
          </p:cNvSpPr>
          <p:nvPr>
            <p:ph type="title"/>
          </p:nvPr>
        </p:nvSpPr>
        <p:spPr/>
        <p:txBody>
          <a:bodyPr/>
          <a:lstStyle/>
          <a:p>
            <a:r>
              <a:rPr lang="en-GB" sz="2400"/>
              <a:t>Absence of clinically relevant blood pressure reductions with vericiguat in vulnerable patients</a:t>
            </a:r>
            <a:endParaRPr lang="en-GB"/>
          </a:p>
        </p:txBody>
      </p:sp>
      <p:sp>
        <p:nvSpPr>
          <p:cNvPr id="1272" name="Footer Placeholder 4">
            <a:extLst>
              <a:ext uri="{FF2B5EF4-FFF2-40B4-BE49-F238E27FC236}">
                <a16:creationId xmlns:a16="http://schemas.microsoft.com/office/drawing/2014/main" id="{9F1E26D7-0326-4DDC-992C-2F767C78D5D9}"/>
              </a:ext>
            </a:extLst>
          </p:cNvPr>
          <p:cNvSpPr>
            <a:spLocks noGrp="1"/>
          </p:cNvSpPr>
          <p:nvPr>
            <p:ph type="ftr" sz="quarter" idx="17"/>
          </p:nvPr>
        </p:nvSpPr>
        <p:spPr/>
        <p:txBody>
          <a:bodyPr/>
          <a:lstStyle/>
          <a:p>
            <a:pPr marL="0" marR="0" lvl="0" indent="0" algn="l" defTabSz="609585" rtl="0" eaLnBrk="0" fontAlgn="base" latinLnBrk="0" hangingPunct="0">
              <a:lnSpc>
                <a:spcPct val="80000"/>
              </a:lnSpc>
              <a:spcBef>
                <a:spcPts val="200"/>
              </a:spcBef>
              <a:spcAft>
                <a:spcPct val="0"/>
              </a:spcAft>
              <a:buClrTx/>
              <a:buSzTx/>
              <a:buFontTx/>
              <a:buNone/>
              <a:tabLst/>
              <a:defRPr/>
            </a:pPr>
            <a:r>
              <a:rPr kumimoji="0" lang="en-US" sz="800" b="0" i="0" u="none" strike="noStrike" kern="1200" cap="none" spc="0" normalizeH="0" baseline="0" noProof="0" err="1">
                <a:ln>
                  <a:noFill/>
                </a:ln>
                <a:solidFill>
                  <a:srgbClr val="878787"/>
                </a:solidFill>
                <a:effectLst/>
                <a:uLnTx/>
                <a:uFillTx/>
                <a:latin typeface="Arial"/>
                <a:ea typeface="+mn-ea"/>
                <a:cs typeface="+mn-cs"/>
              </a:rPr>
              <a:t>ARNi</a:t>
            </a:r>
            <a:r>
              <a:rPr kumimoji="0" lang="en-US" sz="800" b="0" i="0" u="none" strike="noStrike" kern="1200" cap="none" spc="0" normalizeH="0" baseline="0" noProof="0">
                <a:ln>
                  <a:noFill/>
                </a:ln>
                <a:solidFill>
                  <a:srgbClr val="878787"/>
                </a:solidFill>
                <a:effectLst/>
                <a:uLnTx/>
                <a:uFillTx/>
                <a:latin typeface="Arial"/>
                <a:ea typeface="+mn-ea"/>
                <a:cs typeface="+mn-cs"/>
              </a:rPr>
              <a:t>, angiotensin receptor–</a:t>
            </a:r>
            <a:r>
              <a:rPr kumimoji="0" lang="en-US" sz="800" b="0" i="0" u="none" strike="noStrike" kern="1200" cap="none" spc="0" normalizeH="0" baseline="0" noProof="0" err="1">
                <a:ln>
                  <a:noFill/>
                </a:ln>
                <a:solidFill>
                  <a:srgbClr val="878787"/>
                </a:solidFill>
                <a:effectLst/>
                <a:uLnTx/>
                <a:uFillTx/>
                <a:latin typeface="Arial"/>
                <a:ea typeface="+mn-ea"/>
                <a:cs typeface="+mn-cs"/>
              </a:rPr>
              <a:t>neprilysin</a:t>
            </a:r>
            <a:r>
              <a:rPr kumimoji="0" lang="en-US" sz="800" b="0" i="0" u="none" strike="noStrike" kern="1200" cap="none" spc="0" normalizeH="0" baseline="0" noProof="0">
                <a:ln>
                  <a:noFill/>
                </a:ln>
                <a:solidFill>
                  <a:srgbClr val="878787"/>
                </a:solidFill>
                <a:effectLst/>
                <a:uLnTx/>
                <a:uFillTx/>
                <a:latin typeface="Arial"/>
                <a:ea typeface="+mn-ea"/>
                <a:cs typeface="+mn-cs"/>
              </a:rPr>
              <a:t> inhibitor; </a:t>
            </a:r>
            <a:r>
              <a:rPr kumimoji="0" lang="en-GB" sz="800" b="0" i="0" u="none" strike="noStrike" kern="1200" cap="none" spc="0" normalizeH="0" baseline="0" noProof="0">
                <a:ln>
                  <a:noFill/>
                </a:ln>
                <a:solidFill>
                  <a:srgbClr val="878787"/>
                </a:solidFill>
                <a:effectLst/>
                <a:uLnTx/>
                <a:uFillTx/>
                <a:latin typeface="Arial"/>
                <a:ea typeface="MS PGothic" charset="0"/>
                <a:cs typeface="+mn-cs"/>
              </a:rPr>
              <a:t>SBP, systolic blood pressure.</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800" b="1" i="0" u="none" strike="noStrike" kern="1200" cap="none" spc="0" normalizeH="0" baseline="0" noProof="0">
                <a:ln>
                  <a:noFill/>
                </a:ln>
                <a:solidFill>
                  <a:srgbClr val="878787"/>
                </a:solidFill>
                <a:effectLst/>
                <a:uLnTx/>
                <a:uFillTx/>
                <a:latin typeface="Arial"/>
                <a:ea typeface="+mn-ea"/>
                <a:cs typeface="+mn-cs"/>
              </a:rPr>
              <a:t>Reference: </a:t>
            </a:r>
            <a:r>
              <a:rPr kumimoji="0" lang="en-US" sz="800" b="0" i="0" u="none" strike="noStrike" kern="1200" cap="none" spc="0" normalizeH="0" baseline="0" noProof="0">
                <a:ln>
                  <a:noFill/>
                </a:ln>
                <a:solidFill>
                  <a:srgbClr val="878787"/>
                </a:solidFill>
                <a:effectLst/>
                <a:uLnTx/>
                <a:uFillTx/>
                <a:latin typeface="Arial"/>
                <a:ea typeface="+mn-ea"/>
                <a:cs typeface="+mn-cs"/>
              </a:rPr>
              <a:t>Lam CSP </a:t>
            </a:r>
            <a:r>
              <a:rPr kumimoji="0" lang="en-US" sz="800" b="0" i="1" u="none" strike="noStrike" kern="1200" cap="none" spc="0" normalizeH="0" baseline="0" noProof="0">
                <a:ln>
                  <a:noFill/>
                </a:ln>
                <a:solidFill>
                  <a:srgbClr val="878787"/>
                </a:solidFill>
                <a:effectLst/>
                <a:uLnTx/>
                <a:uFillTx/>
                <a:latin typeface="Arial"/>
                <a:ea typeface="+mn-ea"/>
                <a:cs typeface="+mn-cs"/>
              </a:rPr>
              <a:t>et al.</a:t>
            </a:r>
            <a:r>
              <a:rPr kumimoji="0" lang="en-US" sz="800" b="1" i="1" u="none" strike="noStrike" kern="1200" cap="none" spc="0" normalizeH="0" baseline="0" noProof="0">
                <a:ln>
                  <a:noFill/>
                </a:ln>
                <a:solidFill>
                  <a:srgbClr val="878787"/>
                </a:solidFill>
                <a:effectLst/>
                <a:uLnTx/>
                <a:uFillTx/>
                <a:latin typeface="Arial"/>
                <a:ea typeface="+mn-ea"/>
                <a:cs typeface="+mn-cs"/>
              </a:rPr>
              <a:t> </a:t>
            </a:r>
            <a:r>
              <a:rPr kumimoji="0" lang="en-GB" sz="800" b="0" i="1" u="none" strike="noStrike" kern="1200" cap="none" spc="0" normalizeH="0" baseline="0" noProof="0">
                <a:ln>
                  <a:noFill/>
                </a:ln>
                <a:solidFill>
                  <a:srgbClr val="878787"/>
                </a:solidFill>
                <a:effectLst/>
                <a:uLnTx/>
                <a:uFillTx/>
                <a:latin typeface="Arial"/>
                <a:ea typeface="+mn-ea"/>
                <a:cs typeface="+mn-cs"/>
              </a:rPr>
              <a:t>J Am Heart Assoc </a:t>
            </a:r>
            <a:r>
              <a:rPr kumimoji="0" lang="en-GB" sz="800" b="0" i="0" u="none" strike="noStrike" kern="1200" cap="none" spc="0" normalizeH="0" baseline="0" noProof="0">
                <a:ln>
                  <a:noFill/>
                </a:ln>
                <a:solidFill>
                  <a:srgbClr val="878787"/>
                </a:solidFill>
                <a:effectLst/>
                <a:uLnTx/>
                <a:uFillTx/>
                <a:latin typeface="Arial"/>
                <a:ea typeface="+mn-ea"/>
                <a:cs typeface="+mn-cs"/>
              </a:rPr>
              <a:t>2021;10:e021094</a:t>
            </a:r>
            <a:r>
              <a:rPr kumimoji="0" lang="en-US" sz="800" b="0" i="0" u="none" strike="noStrike" kern="1200" cap="none" spc="0" normalizeH="0" baseline="0" noProof="0">
                <a:ln>
                  <a:noFill/>
                </a:ln>
                <a:solidFill>
                  <a:srgbClr val="878787"/>
                </a:solidFill>
                <a:effectLst/>
                <a:uLnTx/>
                <a:uFillTx/>
                <a:latin typeface="Arial"/>
                <a:ea typeface="+mn-ea"/>
                <a:cs typeface="+mn-cs"/>
              </a:rPr>
              <a:t>.</a:t>
            </a:r>
          </a:p>
        </p:txBody>
      </p:sp>
      <p:grpSp>
        <p:nvGrpSpPr>
          <p:cNvPr id="503" name="Group 502">
            <a:extLst>
              <a:ext uri="{FF2B5EF4-FFF2-40B4-BE49-F238E27FC236}">
                <a16:creationId xmlns:a16="http://schemas.microsoft.com/office/drawing/2014/main" id="{BAE0FCE1-FB41-4874-97A9-7DBA488084C0}"/>
              </a:ext>
            </a:extLst>
          </p:cNvPr>
          <p:cNvGrpSpPr/>
          <p:nvPr/>
        </p:nvGrpSpPr>
        <p:grpSpPr>
          <a:xfrm>
            <a:off x="592925" y="2100234"/>
            <a:ext cx="7453420" cy="2840934"/>
            <a:chOff x="1487488" y="2349382"/>
            <a:chExt cx="7453420" cy="2840934"/>
          </a:xfrm>
        </p:grpSpPr>
        <p:sp>
          <p:nvSpPr>
            <p:cNvPr id="504" name="Rectangle 503">
              <a:extLst>
                <a:ext uri="{FF2B5EF4-FFF2-40B4-BE49-F238E27FC236}">
                  <a16:creationId xmlns:a16="http://schemas.microsoft.com/office/drawing/2014/main" id="{B32C6252-98CD-499D-AC85-D6D87918821B}"/>
                </a:ext>
              </a:extLst>
            </p:cNvPr>
            <p:cNvSpPr/>
            <p:nvPr/>
          </p:nvSpPr>
          <p:spPr>
            <a:xfrm>
              <a:off x="1487488" y="2349382"/>
              <a:ext cx="7453420" cy="2840934"/>
            </a:xfrm>
            <a:prstGeom prst="rect">
              <a:avLst/>
            </a:prstGeom>
            <a:solidFill>
              <a:srgbClr val="FFFFFF"/>
            </a:solidFill>
            <a:ln w="19050" cap="flat" cmpd="sng" algn="ctr">
              <a:solidFill>
                <a:schemeClr val="accent4"/>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05" name="Group 504">
              <a:extLst>
                <a:ext uri="{FF2B5EF4-FFF2-40B4-BE49-F238E27FC236}">
                  <a16:creationId xmlns:a16="http://schemas.microsoft.com/office/drawing/2014/main" id="{43EA9227-1CD2-46F1-BAC4-248D51451E5B}"/>
                </a:ext>
              </a:extLst>
            </p:cNvPr>
            <p:cNvGrpSpPr/>
            <p:nvPr/>
          </p:nvGrpSpPr>
          <p:grpSpPr>
            <a:xfrm>
              <a:off x="2370900" y="3281336"/>
              <a:ext cx="2742755" cy="445237"/>
              <a:chOff x="2370900" y="3281336"/>
              <a:chExt cx="2742755" cy="445237"/>
            </a:xfrm>
          </p:grpSpPr>
          <p:sp>
            <p:nvSpPr>
              <p:cNvPr id="675" name="Freeform: Shape 674">
                <a:extLst>
                  <a:ext uri="{FF2B5EF4-FFF2-40B4-BE49-F238E27FC236}">
                    <a16:creationId xmlns:a16="http://schemas.microsoft.com/office/drawing/2014/main" id="{BF28514F-9F5B-4A2C-A695-7B649EEAF5A5}"/>
                  </a:ext>
                </a:extLst>
              </p:cNvPr>
              <p:cNvSpPr/>
              <p:nvPr/>
            </p:nvSpPr>
            <p:spPr>
              <a:xfrm>
                <a:off x="2395003" y="3399568"/>
                <a:ext cx="2692619" cy="302465"/>
              </a:xfrm>
              <a:custGeom>
                <a:avLst/>
                <a:gdLst>
                  <a:gd name="connsiteX0" fmla="*/ 0 w 3448050"/>
                  <a:gd name="connsiteY0" fmla="*/ 28575 h 361950"/>
                  <a:gd name="connsiteX1" fmla="*/ 79375 w 3448050"/>
                  <a:gd name="connsiteY1" fmla="*/ 288925 h 361950"/>
                  <a:gd name="connsiteX2" fmla="*/ 161925 w 3448050"/>
                  <a:gd name="connsiteY2" fmla="*/ 361950 h 361950"/>
                  <a:gd name="connsiteX3" fmla="*/ 635000 w 3448050"/>
                  <a:gd name="connsiteY3" fmla="*/ 168275 h 361950"/>
                  <a:gd name="connsiteX4" fmla="*/ 1257300 w 3448050"/>
                  <a:gd name="connsiteY4" fmla="*/ 31750 h 361950"/>
                  <a:gd name="connsiteX5" fmla="*/ 1882775 w 3448050"/>
                  <a:gd name="connsiteY5" fmla="*/ 0 h 361950"/>
                  <a:gd name="connsiteX6" fmla="*/ 2508250 w 3448050"/>
                  <a:gd name="connsiteY6" fmla="*/ 79375 h 361950"/>
                  <a:gd name="connsiteX7" fmla="*/ 3136900 w 3448050"/>
                  <a:gd name="connsiteY7" fmla="*/ 85725 h 361950"/>
                  <a:gd name="connsiteX8" fmla="*/ 3448050 w 3448050"/>
                  <a:gd name="connsiteY8" fmla="*/ 9525 h 361950"/>
                  <a:gd name="connsiteX0" fmla="*/ 0 w 3759200"/>
                  <a:gd name="connsiteY0" fmla="*/ 88900 h 422275"/>
                  <a:gd name="connsiteX1" fmla="*/ 79375 w 3759200"/>
                  <a:gd name="connsiteY1" fmla="*/ 349250 h 422275"/>
                  <a:gd name="connsiteX2" fmla="*/ 161925 w 3759200"/>
                  <a:gd name="connsiteY2" fmla="*/ 422275 h 422275"/>
                  <a:gd name="connsiteX3" fmla="*/ 635000 w 3759200"/>
                  <a:gd name="connsiteY3" fmla="*/ 228600 h 422275"/>
                  <a:gd name="connsiteX4" fmla="*/ 1257300 w 3759200"/>
                  <a:gd name="connsiteY4" fmla="*/ 92075 h 422275"/>
                  <a:gd name="connsiteX5" fmla="*/ 1882775 w 3759200"/>
                  <a:gd name="connsiteY5" fmla="*/ 60325 h 422275"/>
                  <a:gd name="connsiteX6" fmla="*/ 2508250 w 3759200"/>
                  <a:gd name="connsiteY6" fmla="*/ 139700 h 422275"/>
                  <a:gd name="connsiteX7" fmla="*/ 3136900 w 3759200"/>
                  <a:gd name="connsiteY7" fmla="*/ 146050 h 422275"/>
                  <a:gd name="connsiteX8" fmla="*/ 3759200 w 3759200"/>
                  <a:gd name="connsiteY8" fmla="*/ 0 h 42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422275">
                    <a:moveTo>
                      <a:pt x="0" y="88900"/>
                    </a:moveTo>
                    <a:lnTo>
                      <a:pt x="79375" y="349250"/>
                    </a:lnTo>
                    <a:lnTo>
                      <a:pt x="161925" y="422275"/>
                    </a:lnTo>
                    <a:lnTo>
                      <a:pt x="635000" y="228600"/>
                    </a:lnTo>
                    <a:lnTo>
                      <a:pt x="1257300" y="92075"/>
                    </a:lnTo>
                    <a:lnTo>
                      <a:pt x="1882775" y="60325"/>
                    </a:lnTo>
                    <a:lnTo>
                      <a:pt x="2508250" y="139700"/>
                    </a:lnTo>
                    <a:lnTo>
                      <a:pt x="3136900" y="146050"/>
                    </a:lnTo>
                    <a:lnTo>
                      <a:pt x="3759200" y="0"/>
                    </a:lnTo>
                  </a:path>
                </a:pathLst>
              </a:custGeom>
              <a:noFill/>
              <a:ln w="1905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76" name="Group 675">
                <a:extLst>
                  <a:ext uri="{FF2B5EF4-FFF2-40B4-BE49-F238E27FC236}">
                    <a16:creationId xmlns:a16="http://schemas.microsoft.com/office/drawing/2014/main" id="{CD33F342-15A3-458F-ADFE-EF6CCB0C916E}"/>
                  </a:ext>
                </a:extLst>
              </p:cNvPr>
              <p:cNvGrpSpPr/>
              <p:nvPr/>
            </p:nvGrpSpPr>
            <p:grpSpPr>
              <a:xfrm>
                <a:off x="5057529" y="3281336"/>
                <a:ext cx="53362" cy="131303"/>
                <a:chOff x="9029700" y="4543755"/>
                <a:chExt cx="64008" cy="206088"/>
              </a:xfrm>
            </p:grpSpPr>
            <p:cxnSp>
              <p:nvCxnSpPr>
                <p:cNvPr id="761" name="Straight Connector 760">
                  <a:extLst>
                    <a:ext uri="{FF2B5EF4-FFF2-40B4-BE49-F238E27FC236}">
                      <a16:creationId xmlns:a16="http://schemas.microsoft.com/office/drawing/2014/main" id="{EF696E37-38D6-4B74-B9C1-28B3AA41F31D}"/>
                    </a:ext>
                  </a:extLst>
                </p:cNvPr>
                <p:cNvCxnSpPr/>
                <p:nvPr/>
              </p:nvCxnSpPr>
              <p:spPr>
                <a:xfrm>
                  <a:off x="9029700" y="4543755"/>
                  <a:ext cx="64008" cy="0"/>
                </a:xfrm>
                <a:prstGeom prst="line">
                  <a:avLst/>
                </a:prstGeom>
                <a:noFill/>
                <a:ln w="9525" cap="flat" cmpd="sng" algn="ctr">
                  <a:solidFill>
                    <a:schemeClr val="tx2"/>
                  </a:solidFill>
                  <a:prstDash val="solid"/>
                </a:ln>
                <a:effectLst/>
              </p:spPr>
            </p:cxnSp>
            <p:cxnSp>
              <p:nvCxnSpPr>
                <p:cNvPr id="762" name="Straight Connector 761">
                  <a:extLst>
                    <a:ext uri="{FF2B5EF4-FFF2-40B4-BE49-F238E27FC236}">
                      <a16:creationId xmlns:a16="http://schemas.microsoft.com/office/drawing/2014/main" id="{70ADABCF-DACA-433F-9F93-604B5943D7E8}"/>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763" name="Straight Connector 762">
                  <a:extLst>
                    <a:ext uri="{FF2B5EF4-FFF2-40B4-BE49-F238E27FC236}">
                      <a16:creationId xmlns:a16="http://schemas.microsoft.com/office/drawing/2014/main" id="{017BEA19-A1F2-421D-8130-6E454F822306}"/>
                    </a:ext>
                  </a:extLst>
                </p:cNvPr>
                <p:cNvCxnSpPr>
                  <a:cxnSpLocks/>
                </p:cNvCxnSpPr>
                <p:nvPr/>
              </p:nvCxnSpPr>
              <p:spPr>
                <a:xfrm>
                  <a:off x="9061704" y="4543755"/>
                  <a:ext cx="0" cy="206088"/>
                </a:xfrm>
                <a:prstGeom prst="line">
                  <a:avLst/>
                </a:prstGeom>
                <a:noFill/>
                <a:ln w="9525" cap="flat" cmpd="sng" algn="ctr">
                  <a:solidFill>
                    <a:schemeClr val="tx2"/>
                  </a:solidFill>
                  <a:prstDash val="solid"/>
                </a:ln>
                <a:effectLst/>
              </p:spPr>
            </p:cxnSp>
          </p:grpSp>
          <p:sp>
            <p:nvSpPr>
              <p:cNvPr id="677" name="Freeform: Shape 676">
                <a:extLst>
                  <a:ext uri="{FF2B5EF4-FFF2-40B4-BE49-F238E27FC236}">
                    <a16:creationId xmlns:a16="http://schemas.microsoft.com/office/drawing/2014/main" id="{2EEA8293-538E-40A7-8CE2-88CDC5739F28}"/>
                  </a:ext>
                </a:extLst>
              </p:cNvPr>
              <p:cNvSpPr/>
              <p:nvPr/>
            </p:nvSpPr>
            <p:spPr>
              <a:xfrm>
                <a:off x="2392729" y="3342715"/>
                <a:ext cx="2692619" cy="313836"/>
              </a:xfrm>
              <a:custGeom>
                <a:avLst/>
                <a:gdLst>
                  <a:gd name="connsiteX0" fmla="*/ 0 w 3759200"/>
                  <a:gd name="connsiteY0" fmla="*/ 165100 h 438150"/>
                  <a:gd name="connsiteX1" fmla="*/ 85725 w 3759200"/>
                  <a:gd name="connsiteY1" fmla="*/ 361950 h 438150"/>
                  <a:gd name="connsiteX2" fmla="*/ 177800 w 3759200"/>
                  <a:gd name="connsiteY2" fmla="*/ 438150 h 438150"/>
                  <a:gd name="connsiteX3" fmla="*/ 641350 w 3759200"/>
                  <a:gd name="connsiteY3" fmla="*/ 219075 h 438150"/>
                  <a:gd name="connsiteX4" fmla="*/ 1260475 w 3759200"/>
                  <a:gd name="connsiteY4" fmla="*/ 168275 h 438150"/>
                  <a:gd name="connsiteX5" fmla="*/ 1882775 w 3759200"/>
                  <a:gd name="connsiteY5" fmla="*/ 95250 h 438150"/>
                  <a:gd name="connsiteX6" fmla="*/ 2508250 w 3759200"/>
                  <a:gd name="connsiteY6" fmla="*/ 180975 h 438150"/>
                  <a:gd name="connsiteX7" fmla="*/ 3133725 w 3759200"/>
                  <a:gd name="connsiteY7" fmla="*/ 15875 h 438150"/>
                  <a:gd name="connsiteX8" fmla="*/ 3759200 w 3759200"/>
                  <a:gd name="connsiteY8" fmla="*/ 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438150">
                    <a:moveTo>
                      <a:pt x="0" y="165100"/>
                    </a:moveTo>
                    <a:lnTo>
                      <a:pt x="85725" y="361950"/>
                    </a:lnTo>
                    <a:lnTo>
                      <a:pt x="177800" y="438150"/>
                    </a:lnTo>
                    <a:lnTo>
                      <a:pt x="641350" y="219075"/>
                    </a:lnTo>
                    <a:lnTo>
                      <a:pt x="1260475" y="168275"/>
                    </a:lnTo>
                    <a:lnTo>
                      <a:pt x="1882775" y="95250"/>
                    </a:lnTo>
                    <a:lnTo>
                      <a:pt x="2508250" y="180975"/>
                    </a:lnTo>
                    <a:lnTo>
                      <a:pt x="3133725" y="15875"/>
                    </a:lnTo>
                    <a:lnTo>
                      <a:pt x="3759200" y="0"/>
                    </a:lnTo>
                  </a:path>
                </a:pathLst>
              </a:custGeom>
              <a:noFill/>
              <a:ln w="1905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678" name="Oval 677">
                <a:extLst>
                  <a:ext uri="{FF2B5EF4-FFF2-40B4-BE49-F238E27FC236}">
                    <a16:creationId xmlns:a16="http://schemas.microsoft.com/office/drawing/2014/main" id="{607A942A-B064-4E8F-BEBD-863BC261CF69}"/>
                  </a:ext>
                </a:extLst>
              </p:cNvPr>
              <p:cNvSpPr/>
              <p:nvPr/>
            </p:nvSpPr>
            <p:spPr>
              <a:xfrm>
                <a:off x="5055412" y="3313019"/>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79" name="Group 678">
                <a:extLst>
                  <a:ext uri="{FF2B5EF4-FFF2-40B4-BE49-F238E27FC236}">
                    <a16:creationId xmlns:a16="http://schemas.microsoft.com/office/drawing/2014/main" id="{559A92C8-EED1-4969-9BD5-8C8A3C3DF588}"/>
                  </a:ext>
                </a:extLst>
              </p:cNvPr>
              <p:cNvGrpSpPr/>
              <p:nvPr/>
            </p:nvGrpSpPr>
            <p:grpSpPr>
              <a:xfrm>
                <a:off x="5060293" y="3322677"/>
                <a:ext cx="53362" cy="136732"/>
                <a:chOff x="9029700" y="4535234"/>
                <a:chExt cx="64008" cy="214609"/>
              </a:xfrm>
            </p:grpSpPr>
            <p:cxnSp>
              <p:nvCxnSpPr>
                <p:cNvPr id="758" name="Straight Connector 757">
                  <a:extLst>
                    <a:ext uri="{FF2B5EF4-FFF2-40B4-BE49-F238E27FC236}">
                      <a16:creationId xmlns:a16="http://schemas.microsoft.com/office/drawing/2014/main" id="{BA2AC1C8-8420-4228-ADA0-265C60A981B8}"/>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759" name="Straight Connector 758">
                  <a:extLst>
                    <a:ext uri="{FF2B5EF4-FFF2-40B4-BE49-F238E27FC236}">
                      <a16:creationId xmlns:a16="http://schemas.microsoft.com/office/drawing/2014/main" id="{64AB9E9A-D314-430E-8258-EE1F3988462D}"/>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760" name="Straight Connector 759">
                  <a:extLst>
                    <a:ext uri="{FF2B5EF4-FFF2-40B4-BE49-F238E27FC236}">
                      <a16:creationId xmlns:a16="http://schemas.microsoft.com/office/drawing/2014/main" id="{F94D4BF0-D63F-4401-9F1B-4A7F3184916D}"/>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sp>
            <p:nvSpPr>
              <p:cNvPr id="680" name="Oval 679">
                <a:extLst>
                  <a:ext uri="{FF2B5EF4-FFF2-40B4-BE49-F238E27FC236}">
                    <a16:creationId xmlns:a16="http://schemas.microsoft.com/office/drawing/2014/main" id="{0367A740-BC01-49C0-9D0F-8EC526ABEB1E}"/>
                  </a:ext>
                </a:extLst>
              </p:cNvPr>
              <p:cNvSpPr/>
              <p:nvPr/>
            </p:nvSpPr>
            <p:spPr>
              <a:xfrm>
                <a:off x="5058176" y="3366608"/>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681" name="Oval 680">
                <a:extLst>
                  <a:ext uri="{FF2B5EF4-FFF2-40B4-BE49-F238E27FC236}">
                    <a16:creationId xmlns:a16="http://schemas.microsoft.com/office/drawing/2014/main" id="{B66CE20E-2086-4317-AD1E-DB736338D7B6}"/>
                  </a:ext>
                </a:extLst>
              </p:cNvPr>
              <p:cNvSpPr/>
              <p:nvPr/>
            </p:nvSpPr>
            <p:spPr>
              <a:xfrm>
                <a:off x="4607728" y="3332181"/>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82" name="Group 681">
                <a:extLst>
                  <a:ext uri="{FF2B5EF4-FFF2-40B4-BE49-F238E27FC236}">
                    <a16:creationId xmlns:a16="http://schemas.microsoft.com/office/drawing/2014/main" id="{AE0D7614-9966-49B9-91E0-EB0EEE7CE518}"/>
                  </a:ext>
                </a:extLst>
              </p:cNvPr>
              <p:cNvGrpSpPr/>
              <p:nvPr/>
            </p:nvGrpSpPr>
            <p:grpSpPr>
              <a:xfrm>
                <a:off x="4608140" y="3303599"/>
                <a:ext cx="53362" cy="109043"/>
                <a:chOff x="5083689" y="2812415"/>
                <a:chExt cx="74500" cy="152236"/>
              </a:xfrm>
            </p:grpSpPr>
            <p:cxnSp>
              <p:nvCxnSpPr>
                <p:cNvPr id="755" name="Straight Connector 754">
                  <a:extLst>
                    <a:ext uri="{FF2B5EF4-FFF2-40B4-BE49-F238E27FC236}">
                      <a16:creationId xmlns:a16="http://schemas.microsoft.com/office/drawing/2014/main" id="{B2687D67-355C-47FC-A94C-C7AEE9334CE3}"/>
                    </a:ext>
                  </a:extLst>
                </p:cNvPr>
                <p:cNvCxnSpPr/>
                <p:nvPr/>
              </p:nvCxnSpPr>
              <p:spPr>
                <a:xfrm>
                  <a:off x="5083689" y="2813158"/>
                  <a:ext cx="74500" cy="0"/>
                </a:xfrm>
                <a:prstGeom prst="line">
                  <a:avLst/>
                </a:prstGeom>
                <a:noFill/>
                <a:ln w="9525" cap="flat" cmpd="sng" algn="ctr">
                  <a:solidFill>
                    <a:schemeClr val="tx2"/>
                  </a:solidFill>
                  <a:prstDash val="solid"/>
                </a:ln>
                <a:effectLst/>
              </p:spPr>
            </p:cxnSp>
            <p:cxnSp>
              <p:nvCxnSpPr>
                <p:cNvPr id="756" name="Straight Connector 755">
                  <a:extLst>
                    <a:ext uri="{FF2B5EF4-FFF2-40B4-BE49-F238E27FC236}">
                      <a16:creationId xmlns:a16="http://schemas.microsoft.com/office/drawing/2014/main" id="{81207F33-2C6F-4E9F-8946-D58DD63D6662}"/>
                    </a:ext>
                  </a:extLst>
                </p:cNvPr>
                <p:cNvCxnSpPr/>
                <p:nvPr/>
              </p:nvCxnSpPr>
              <p:spPr>
                <a:xfrm>
                  <a:off x="5083689" y="2961987"/>
                  <a:ext cx="74500" cy="0"/>
                </a:xfrm>
                <a:prstGeom prst="line">
                  <a:avLst/>
                </a:prstGeom>
                <a:noFill/>
                <a:ln w="9525" cap="flat" cmpd="sng" algn="ctr">
                  <a:solidFill>
                    <a:schemeClr val="tx2"/>
                  </a:solidFill>
                  <a:prstDash val="solid"/>
                </a:ln>
                <a:effectLst/>
              </p:spPr>
            </p:cxnSp>
            <p:cxnSp>
              <p:nvCxnSpPr>
                <p:cNvPr id="757" name="Straight Connector 756">
                  <a:extLst>
                    <a:ext uri="{FF2B5EF4-FFF2-40B4-BE49-F238E27FC236}">
                      <a16:creationId xmlns:a16="http://schemas.microsoft.com/office/drawing/2014/main" id="{11CE7336-CB6C-41C5-88AD-83377B4C4B4E}"/>
                    </a:ext>
                  </a:extLst>
                </p:cNvPr>
                <p:cNvCxnSpPr>
                  <a:cxnSpLocks/>
                </p:cNvCxnSpPr>
                <p:nvPr/>
              </p:nvCxnSpPr>
              <p:spPr>
                <a:xfrm>
                  <a:off x="5120939" y="2812415"/>
                  <a:ext cx="0" cy="152236"/>
                </a:xfrm>
                <a:prstGeom prst="line">
                  <a:avLst/>
                </a:prstGeom>
                <a:noFill/>
                <a:ln w="9525" cap="flat" cmpd="sng" algn="ctr">
                  <a:solidFill>
                    <a:schemeClr val="tx2"/>
                  </a:solidFill>
                  <a:prstDash val="solid"/>
                </a:ln>
                <a:effectLst/>
              </p:spPr>
            </p:cxnSp>
          </p:grpSp>
          <p:grpSp>
            <p:nvGrpSpPr>
              <p:cNvPr id="683" name="Group 682">
                <a:extLst>
                  <a:ext uri="{FF2B5EF4-FFF2-40B4-BE49-F238E27FC236}">
                    <a16:creationId xmlns:a16="http://schemas.microsoft.com/office/drawing/2014/main" id="{753A816E-350C-4784-BDBE-CBED548D3A12}"/>
                  </a:ext>
                </a:extLst>
              </p:cNvPr>
              <p:cNvGrpSpPr/>
              <p:nvPr/>
            </p:nvGrpSpPr>
            <p:grpSpPr>
              <a:xfrm>
                <a:off x="4608140" y="3456475"/>
                <a:ext cx="53362" cy="102855"/>
                <a:chOff x="9029700" y="4535234"/>
                <a:chExt cx="64008" cy="214609"/>
              </a:xfrm>
            </p:grpSpPr>
            <p:cxnSp>
              <p:nvCxnSpPr>
                <p:cNvPr id="752" name="Straight Connector 751">
                  <a:extLst>
                    <a:ext uri="{FF2B5EF4-FFF2-40B4-BE49-F238E27FC236}">
                      <a16:creationId xmlns:a16="http://schemas.microsoft.com/office/drawing/2014/main" id="{C12349EB-6781-404A-B47C-A1353DA6BEAD}"/>
                    </a:ext>
                  </a:extLst>
                </p:cNvPr>
                <p:cNvCxnSpPr/>
                <p:nvPr/>
              </p:nvCxnSpPr>
              <p:spPr>
                <a:xfrm>
                  <a:off x="9029700" y="4546217"/>
                  <a:ext cx="64008" cy="0"/>
                </a:xfrm>
                <a:prstGeom prst="line">
                  <a:avLst/>
                </a:prstGeom>
                <a:noFill/>
                <a:ln w="9525" cap="flat" cmpd="sng" algn="ctr">
                  <a:solidFill>
                    <a:schemeClr val="accent1"/>
                  </a:solidFill>
                  <a:prstDash val="solid"/>
                </a:ln>
                <a:effectLst/>
              </p:spPr>
            </p:cxnSp>
            <p:cxnSp>
              <p:nvCxnSpPr>
                <p:cNvPr id="753" name="Straight Connector 752">
                  <a:extLst>
                    <a:ext uri="{FF2B5EF4-FFF2-40B4-BE49-F238E27FC236}">
                      <a16:creationId xmlns:a16="http://schemas.microsoft.com/office/drawing/2014/main" id="{7A0DC8B8-0C39-4ECE-8FD8-C670636CC376}"/>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754" name="Straight Connector 753">
                  <a:extLst>
                    <a:ext uri="{FF2B5EF4-FFF2-40B4-BE49-F238E27FC236}">
                      <a16:creationId xmlns:a16="http://schemas.microsoft.com/office/drawing/2014/main" id="{704BEA8E-CB26-4621-ACEC-225C79560196}"/>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sp>
            <p:nvSpPr>
              <p:cNvPr id="684" name="Oval 683">
                <a:extLst>
                  <a:ext uri="{FF2B5EF4-FFF2-40B4-BE49-F238E27FC236}">
                    <a16:creationId xmlns:a16="http://schemas.microsoft.com/office/drawing/2014/main" id="{1263D8F9-7785-4309-AE41-6B6427714376}"/>
                  </a:ext>
                </a:extLst>
              </p:cNvPr>
              <p:cNvSpPr/>
              <p:nvPr/>
            </p:nvSpPr>
            <p:spPr>
              <a:xfrm>
                <a:off x="4607728" y="3479517"/>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85" name="Group 684">
                <a:extLst>
                  <a:ext uri="{FF2B5EF4-FFF2-40B4-BE49-F238E27FC236}">
                    <a16:creationId xmlns:a16="http://schemas.microsoft.com/office/drawing/2014/main" id="{7C7DB449-B1A5-4248-8240-6D588C0CF95C}"/>
                  </a:ext>
                </a:extLst>
              </p:cNvPr>
              <p:cNvGrpSpPr/>
              <p:nvPr/>
            </p:nvGrpSpPr>
            <p:grpSpPr>
              <a:xfrm>
                <a:off x="4160226" y="3427715"/>
                <a:ext cx="53362" cy="90678"/>
                <a:chOff x="5083689" y="2812415"/>
                <a:chExt cx="74500" cy="152236"/>
              </a:xfrm>
            </p:grpSpPr>
            <p:cxnSp>
              <p:nvCxnSpPr>
                <p:cNvPr id="749" name="Straight Connector 748">
                  <a:extLst>
                    <a:ext uri="{FF2B5EF4-FFF2-40B4-BE49-F238E27FC236}">
                      <a16:creationId xmlns:a16="http://schemas.microsoft.com/office/drawing/2014/main" id="{6CDDA75E-FD80-40F7-94D3-E06013A7D06D}"/>
                    </a:ext>
                  </a:extLst>
                </p:cNvPr>
                <p:cNvCxnSpPr/>
                <p:nvPr/>
              </p:nvCxnSpPr>
              <p:spPr>
                <a:xfrm>
                  <a:off x="5083689" y="2813158"/>
                  <a:ext cx="74500" cy="0"/>
                </a:xfrm>
                <a:prstGeom prst="line">
                  <a:avLst/>
                </a:prstGeom>
                <a:noFill/>
                <a:ln w="9525" cap="flat" cmpd="sng" algn="ctr">
                  <a:solidFill>
                    <a:schemeClr val="tx2"/>
                  </a:solidFill>
                  <a:prstDash val="solid"/>
                </a:ln>
                <a:effectLst/>
              </p:spPr>
            </p:cxnSp>
            <p:cxnSp>
              <p:nvCxnSpPr>
                <p:cNvPr id="750" name="Straight Connector 749">
                  <a:extLst>
                    <a:ext uri="{FF2B5EF4-FFF2-40B4-BE49-F238E27FC236}">
                      <a16:creationId xmlns:a16="http://schemas.microsoft.com/office/drawing/2014/main" id="{2E7B5096-199E-4D08-B6D6-B538B4F8331A}"/>
                    </a:ext>
                  </a:extLst>
                </p:cNvPr>
                <p:cNvCxnSpPr/>
                <p:nvPr/>
              </p:nvCxnSpPr>
              <p:spPr>
                <a:xfrm>
                  <a:off x="5083689" y="2961987"/>
                  <a:ext cx="74500" cy="0"/>
                </a:xfrm>
                <a:prstGeom prst="line">
                  <a:avLst/>
                </a:prstGeom>
                <a:noFill/>
                <a:ln w="9525" cap="flat" cmpd="sng" algn="ctr">
                  <a:solidFill>
                    <a:schemeClr val="tx2"/>
                  </a:solidFill>
                  <a:prstDash val="solid"/>
                </a:ln>
                <a:effectLst/>
              </p:spPr>
            </p:cxnSp>
            <p:cxnSp>
              <p:nvCxnSpPr>
                <p:cNvPr id="751" name="Straight Connector 750">
                  <a:extLst>
                    <a:ext uri="{FF2B5EF4-FFF2-40B4-BE49-F238E27FC236}">
                      <a16:creationId xmlns:a16="http://schemas.microsoft.com/office/drawing/2014/main" id="{FDD8B408-9294-4F70-A185-608E97FA9690}"/>
                    </a:ext>
                  </a:extLst>
                </p:cNvPr>
                <p:cNvCxnSpPr>
                  <a:cxnSpLocks/>
                </p:cNvCxnSpPr>
                <p:nvPr/>
              </p:nvCxnSpPr>
              <p:spPr>
                <a:xfrm>
                  <a:off x="5120939" y="2812415"/>
                  <a:ext cx="0" cy="152236"/>
                </a:xfrm>
                <a:prstGeom prst="line">
                  <a:avLst/>
                </a:prstGeom>
                <a:noFill/>
                <a:ln w="9525" cap="flat" cmpd="sng" algn="ctr">
                  <a:solidFill>
                    <a:schemeClr val="tx2"/>
                  </a:solidFill>
                  <a:prstDash val="solid"/>
                </a:ln>
                <a:effectLst/>
              </p:spPr>
            </p:cxnSp>
          </p:grpSp>
          <p:sp>
            <p:nvSpPr>
              <p:cNvPr id="686" name="Oval 685">
                <a:extLst>
                  <a:ext uri="{FF2B5EF4-FFF2-40B4-BE49-F238E27FC236}">
                    <a16:creationId xmlns:a16="http://schemas.microsoft.com/office/drawing/2014/main" id="{A3012250-757D-4686-BCDB-D384F1F86C63}"/>
                  </a:ext>
                </a:extLst>
              </p:cNvPr>
              <p:cNvSpPr/>
              <p:nvPr/>
            </p:nvSpPr>
            <p:spPr>
              <a:xfrm>
                <a:off x="4159168" y="3441326"/>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87" name="Group 686">
                <a:extLst>
                  <a:ext uri="{FF2B5EF4-FFF2-40B4-BE49-F238E27FC236}">
                    <a16:creationId xmlns:a16="http://schemas.microsoft.com/office/drawing/2014/main" id="{54F72094-C3A1-4013-90D5-D84F9CCA2994}"/>
                  </a:ext>
                </a:extLst>
              </p:cNvPr>
              <p:cNvGrpSpPr/>
              <p:nvPr/>
            </p:nvGrpSpPr>
            <p:grpSpPr>
              <a:xfrm>
                <a:off x="4160226" y="3452874"/>
                <a:ext cx="53362" cy="92764"/>
                <a:chOff x="5083689" y="2820425"/>
                <a:chExt cx="74500" cy="141562"/>
              </a:xfrm>
            </p:grpSpPr>
            <p:cxnSp>
              <p:nvCxnSpPr>
                <p:cNvPr id="744" name="Straight Connector 743">
                  <a:extLst>
                    <a:ext uri="{FF2B5EF4-FFF2-40B4-BE49-F238E27FC236}">
                      <a16:creationId xmlns:a16="http://schemas.microsoft.com/office/drawing/2014/main" id="{54E06253-F845-4641-A8EE-F55AF0BFE879}"/>
                    </a:ext>
                  </a:extLst>
                </p:cNvPr>
                <p:cNvCxnSpPr/>
                <p:nvPr/>
              </p:nvCxnSpPr>
              <p:spPr>
                <a:xfrm>
                  <a:off x="5083689" y="2820425"/>
                  <a:ext cx="74500" cy="0"/>
                </a:xfrm>
                <a:prstGeom prst="line">
                  <a:avLst/>
                </a:prstGeom>
                <a:noFill/>
                <a:ln w="9525" cap="flat" cmpd="sng" algn="ctr">
                  <a:solidFill>
                    <a:schemeClr val="accent1"/>
                  </a:solidFill>
                  <a:prstDash val="solid"/>
                </a:ln>
                <a:effectLst/>
              </p:spPr>
            </p:cxnSp>
            <p:cxnSp>
              <p:nvCxnSpPr>
                <p:cNvPr id="746" name="Straight Connector 745">
                  <a:extLst>
                    <a:ext uri="{FF2B5EF4-FFF2-40B4-BE49-F238E27FC236}">
                      <a16:creationId xmlns:a16="http://schemas.microsoft.com/office/drawing/2014/main" id="{8B227291-CB96-4D29-9958-69B126F1FAC0}"/>
                    </a:ext>
                  </a:extLst>
                </p:cNvPr>
                <p:cNvCxnSpPr/>
                <p:nvPr/>
              </p:nvCxnSpPr>
              <p:spPr>
                <a:xfrm>
                  <a:off x="5083689" y="2961987"/>
                  <a:ext cx="74500" cy="0"/>
                </a:xfrm>
                <a:prstGeom prst="line">
                  <a:avLst/>
                </a:prstGeom>
                <a:noFill/>
                <a:ln w="9525" cap="flat" cmpd="sng" algn="ctr">
                  <a:solidFill>
                    <a:schemeClr val="accent1"/>
                  </a:solidFill>
                  <a:prstDash val="solid"/>
                </a:ln>
                <a:effectLst/>
              </p:spPr>
            </p:cxnSp>
            <p:cxnSp>
              <p:nvCxnSpPr>
                <p:cNvPr id="747" name="Straight Connector 746">
                  <a:extLst>
                    <a:ext uri="{FF2B5EF4-FFF2-40B4-BE49-F238E27FC236}">
                      <a16:creationId xmlns:a16="http://schemas.microsoft.com/office/drawing/2014/main" id="{75E0347D-8E04-4145-BF10-5D8C60CB0C48}"/>
                    </a:ext>
                  </a:extLst>
                </p:cNvPr>
                <p:cNvCxnSpPr>
                  <a:cxnSpLocks/>
                </p:cNvCxnSpPr>
                <p:nvPr/>
              </p:nvCxnSpPr>
              <p:spPr>
                <a:xfrm>
                  <a:off x="5118789" y="2820967"/>
                  <a:ext cx="2150" cy="137342"/>
                </a:xfrm>
                <a:prstGeom prst="line">
                  <a:avLst/>
                </a:prstGeom>
                <a:noFill/>
                <a:ln w="9525" cap="flat" cmpd="sng" algn="ctr">
                  <a:solidFill>
                    <a:schemeClr val="accent1"/>
                  </a:solidFill>
                  <a:prstDash val="solid"/>
                </a:ln>
                <a:effectLst/>
              </p:spPr>
            </p:cxnSp>
          </p:grpSp>
          <p:sp>
            <p:nvSpPr>
              <p:cNvPr id="688" name="Oval 687">
                <a:extLst>
                  <a:ext uri="{FF2B5EF4-FFF2-40B4-BE49-F238E27FC236}">
                    <a16:creationId xmlns:a16="http://schemas.microsoft.com/office/drawing/2014/main" id="{5E9B17BC-82BC-4F48-9445-538F8455F7CE}"/>
                  </a:ext>
                </a:extLst>
              </p:cNvPr>
              <p:cNvSpPr/>
              <p:nvPr/>
            </p:nvSpPr>
            <p:spPr>
              <a:xfrm>
                <a:off x="4159168" y="3464907"/>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89" name="Group 688">
                <a:extLst>
                  <a:ext uri="{FF2B5EF4-FFF2-40B4-BE49-F238E27FC236}">
                    <a16:creationId xmlns:a16="http://schemas.microsoft.com/office/drawing/2014/main" id="{4EEF9F62-BAB2-4E70-85A5-F54B9C60C6D9}"/>
                  </a:ext>
                </a:extLst>
              </p:cNvPr>
              <p:cNvGrpSpPr/>
              <p:nvPr/>
            </p:nvGrpSpPr>
            <p:grpSpPr>
              <a:xfrm>
                <a:off x="3712993" y="3372684"/>
                <a:ext cx="53362" cy="77139"/>
                <a:chOff x="5083689" y="2812415"/>
                <a:chExt cx="74500" cy="152236"/>
              </a:xfrm>
            </p:grpSpPr>
            <p:cxnSp>
              <p:nvCxnSpPr>
                <p:cNvPr id="741" name="Straight Connector 740">
                  <a:extLst>
                    <a:ext uri="{FF2B5EF4-FFF2-40B4-BE49-F238E27FC236}">
                      <a16:creationId xmlns:a16="http://schemas.microsoft.com/office/drawing/2014/main" id="{89822325-FC57-4434-9213-8663019B7C11}"/>
                    </a:ext>
                  </a:extLst>
                </p:cNvPr>
                <p:cNvCxnSpPr/>
                <p:nvPr/>
              </p:nvCxnSpPr>
              <p:spPr>
                <a:xfrm>
                  <a:off x="5083689" y="2817856"/>
                  <a:ext cx="74500" cy="0"/>
                </a:xfrm>
                <a:prstGeom prst="line">
                  <a:avLst/>
                </a:prstGeom>
                <a:noFill/>
                <a:ln w="9525" cap="flat" cmpd="sng" algn="ctr">
                  <a:solidFill>
                    <a:schemeClr val="tx2"/>
                  </a:solidFill>
                  <a:prstDash val="solid"/>
                </a:ln>
                <a:effectLst/>
              </p:spPr>
            </p:cxnSp>
            <p:cxnSp>
              <p:nvCxnSpPr>
                <p:cNvPr id="742" name="Straight Connector 741">
                  <a:extLst>
                    <a:ext uri="{FF2B5EF4-FFF2-40B4-BE49-F238E27FC236}">
                      <a16:creationId xmlns:a16="http://schemas.microsoft.com/office/drawing/2014/main" id="{25D6CA82-9B54-45AE-BD32-E2482758E334}"/>
                    </a:ext>
                  </a:extLst>
                </p:cNvPr>
                <p:cNvCxnSpPr/>
                <p:nvPr/>
              </p:nvCxnSpPr>
              <p:spPr>
                <a:xfrm>
                  <a:off x="5083689" y="2961987"/>
                  <a:ext cx="74500" cy="0"/>
                </a:xfrm>
                <a:prstGeom prst="line">
                  <a:avLst/>
                </a:prstGeom>
                <a:noFill/>
                <a:ln w="9525" cap="flat" cmpd="sng" algn="ctr">
                  <a:solidFill>
                    <a:schemeClr val="tx2"/>
                  </a:solidFill>
                  <a:prstDash val="solid"/>
                </a:ln>
                <a:effectLst/>
              </p:spPr>
            </p:cxnSp>
            <p:cxnSp>
              <p:nvCxnSpPr>
                <p:cNvPr id="743" name="Straight Connector 742">
                  <a:extLst>
                    <a:ext uri="{FF2B5EF4-FFF2-40B4-BE49-F238E27FC236}">
                      <a16:creationId xmlns:a16="http://schemas.microsoft.com/office/drawing/2014/main" id="{BD83528A-6B38-4632-853E-D01BE83A1D25}"/>
                    </a:ext>
                  </a:extLst>
                </p:cNvPr>
                <p:cNvCxnSpPr>
                  <a:cxnSpLocks/>
                </p:cNvCxnSpPr>
                <p:nvPr/>
              </p:nvCxnSpPr>
              <p:spPr>
                <a:xfrm>
                  <a:off x="5120939" y="2812415"/>
                  <a:ext cx="0" cy="152236"/>
                </a:xfrm>
                <a:prstGeom prst="line">
                  <a:avLst/>
                </a:prstGeom>
                <a:noFill/>
                <a:ln w="9525" cap="flat" cmpd="sng" algn="ctr">
                  <a:solidFill>
                    <a:schemeClr val="tx2"/>
                  </a:solidFill>
                  <a:prstDash val="solid"/>
                </a:ln>
                <a:effectLst/>
              </p:spPr>
            </p:cxnSp>
          </p:grpSp>
          <p:sp>
            <p:nvSpPr>
              <p:cNvPr id="690" name="Oval 689">
                <a:extLst>
                  <a:ext uri="{FF2B5EF4-FFF2-40B4-BE49-F238E27FC236}">
                    <a16:creationId xmlns:a16="http://schemas.microsoft.com/office/drawing/2014/main" id="{388F6270-C9A7-4432-8315-D79E4B6712F6}"/>
                  </a:ext>
                </a:extLst>
              </p:cNvPr>
              <p:cNvSpPr/>
              <p:nvPr/>
            </p:nvSpPr>
            <p:spPr>
              <a:xfrm>
                <a:off x="3712581" y="3387370"/>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91" name="Group 690">
                <a:extLst>
                  <a:ext uri="{FF2B5EF4-FFF2-40B4-BE49-F238E27FC236}">
                    <a16:creationId xmlns:a16="http://schemas.microsoft.com/office/drawing/2014/main" id="{50A42758-4884-4322-B722-BD1BB66F2885}"/>
                  </a:ext>
                </a:extLst>
              </p:cNvPr>
              <p:cNvGrpSpPr/>
              <p:nvPr/>
            </p:nvGrpSpPr>
            <p:grpSpPr>
              <a:xfrm>
                <a:off x="3712993" y="3407102"/>
                <a:ext cx="53362" cy="72064"/>
                <a:chOff x="5083689" y="2826819"/>
                <a:chExt cx="74500" cy="137832"/>
              </a:xfrm>
            </p:grpSpPr>
            <p:cxnSp>
              <p:nvCxnSpPr>
                <p:cNvPr id="738" name="Straight Connector 737">
                  <a:extLst>
                    <a:ext uri="{FF2B5EF4-FFF2-40B4-BE49-F238E27FC236}">
                      <a16:creationId xmlns:a16="http://schemas.microsoft.com/office/drawing/2014/main" id="{0978B019-5805-4615-A983-6580F2EFB267}"/>
                    </a:ext>
                  </a:extLst>
                </p:cNvPr>
                <p:cNvCxnSpPr/>
                <p:nvPr/>
              </p:nvCxnSpPr>
              <p:spPr>
                <a:xfrm>
                  <a:off x="5083689" y="2826819"/>
                  <a:ext cx="74500" cy="0"/>
                </a:xfrm>
                <a:prstGeom prst="line">
                  <a:avLst/>
                </a:prstGeom>
                <a:noFill/>
                <a:ln w="9525" cap="flat" cmpd="sng" algn="ctr">
                  <a:solidFill>
                    <a:schemeClr val="accent1"/>
                  </a:solidFill>
                  <a:prstDash val="solid"/>
                </a:ln>
                <a:effectLst/>
              </p:spPr>
            </p:cxnSp>
            <p:cxnSp>
              <p:nvCxnSpPr>
                <p:cNvPr id="739" name="Straight Connector 738">
                  <a:extLst>
                    <a:ext uri="{FF2B5EF4-FFF2-40B4-BE49-F238E27FC236}">
                      <a16:creationId xmlns:a16="http://schemas.microsoft.com/office/drawing/2014/main" id="{D042F644-7151-4661-BE82-526C2F63E723}"/>
                    </a:ext>
                  </a:extLst>
                </p:cNvPr>
                <p:cNvCxnSpPr/>
                <p:nvPr/>
              </p:nvCxnSpPr>
              <p:spPr>
                <a:xfrm>
                  <a:off x="5083689" y="2961987"/>
                  <a:ext cx="74500" cy="0"/>
                </a:xfrm>
                <a:prstGeom prst="line">
                  <a:avLst/>
                </a:prstGeom>
                <a:noFill/>
                <a:ln w="9525" cap="flat" cmpd="sng" algn="ctr">
                  <a:solidFill>
                    <a:schemeClr val="accent1"/>
                  </a:solidFill>
                  <a:prstDash val="solid"/>
                </a:ln>
                <a:effectLst/>
              </p:spPr>
            </p:cxnSp>
            <p:cxnSp>
              <p:nvCxnSpPr>
                <p:cNvPr id="740" name="Straight Connector 739">
                  <a:extLst>
                    <a:ext uri="{FF2B5EF4-FFF2-40B4-BE49-F238E27FC236}">
                      <a16:creationId xmlns:a16="http://schemas.microsoft.com/office/drawing/2014/main" id="{97E7C5ED-76B8-4D04-9637-0745B17589FD}"/>
                    </a:ext>
                  </a:extLst>
                </p:cNvPr>
                <p:cNvCxnSpPr>
                  <a:cxnSpLocks/>
                  <a:stCxn id="692" idx="0"/>
                </p:cNvCxnSpPr>
                <p:nvPr/>
              </p:nvCxnSpPr>
              <p:spPr>
                <a:xfrm flipH="1">
                  <a:off x="5120939" y="2830627"/>
                  <a:ext cx="1709" cy="134024"/>
                </a:xfrm>
                <a:prstGeom prst="line">
                  <a:avLst/>
                </a:prstGeom>
                <a:noFill/>
                <a:ln w="9525" cap="flat" cmpd="sng" algn="ctr">
                  <a:solidFill>
                    <a:schemeClr val="accent1"/>
                  </a:solidFill>
                  <a:prstDash val="solid"/>
                </a:ln>
                <a:effectLst/>
              </p:spPr>
            </p:cxnSp>
          </p:grpSp>
          <p:sp>
            <p:nvSpPr>
              <p:cNvPr id="692" name="Oval 691">
                <a:extLst>
                  <a:ext uri="{FF2B5EF4-FFF2-40B4-BE49-F238E27FC236}">
                    <a16:creationId xmlns:a16="http://schemas.microsoft.com/office/drawing/2014/main" id="{EE4EDA9E-1B80-4D26-B6C2-459BF61C2F4C}"/>
                  </a:ext>
                </a:extLst>
              </p:cNvPr>
              <p:cNvSpPr/>
              <p:nvPr/>
            </p:nvSpPr>
            <p:spPr>
              <a:xfrm>
                <a:off x="3714699" y="3409093"/>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93" name="Group 692">
                <a:extLst>
                  <a:ext uri="{FF2B5EF4-FFF2-40B4-BE49-F238E27FC236}">
                    <a16:creationId xmlns:a16="http://schemas.microsoft.com/office/drawing/2014/main" id="{A6CC964E-9DCE-4EBC-8B5C-BBE0AD36FD09}"/>
                  </a:ext>
                </a:extLst>
              </p:cNvPr>
              <p:cNvGrpSpPr/>
              <p:nvPr/>
            </p:nvGrpSpPr>
            <p:grpSpPr>
              <a:xfrm>
                <a:off x="3265726" y="3430524"/>
                <a:ext cx="53362" cy="75789"/>
                <a:chOff x="5083689" y="2812415"/>
                <a:chExt cx="74500" cy="152236"/>
              </a:xfrm>
            </p:grpSpPr>
            <p:cxnSp>
              <p:nvCxnSpPr>
                <p:cNvPr id="735" name="Straight Connector 734">
                  <a:extLst>
                    <a:ext uri="{FF2B5EF4-FFF2-40B4-BE49-F238E27FC236}">
                      <a16:creationId xmlns:a16="http://schemas.microsoft.com/office/drawing/2014/main" id="{FA9459DA-F4EB-4CD3-9265-B5975E940183}"/>
                    </a:ext>
                  </a:extLst>
                </p:cNvPr>
                <p:cNvCxnSpPr/>
                <p:nvPr/>
              </p:nvCxnSpPr>
              <p:spPr>
                <a:xfrm>
                  <a:off x="5083689" y="2817941"/>
                  <a:ext cx="74500" cy="0"/>
                </a:xfrm>
                <a:prstGeom prst="line">
                  <a:avLst/>
                </a:prstGeom>
                <a:noFill/>
                <a:ln w="9525" cap="flat" cmpd="sng" algn="ctr">
                  <a:solidFill>
                    <a:schemeClr val="tx2"/>
                  </a:solidFill>
                  <a:prstDash val="solid"/>
                </a:ln>
                <a:effectLst/>
              </p:spPr>
            </p:cxnSp>
            <p:cxnSp>
              <p:nvCxnSpPr>
                <p:cNvPr id="736" name="Straight Connector 735">
                  <a:extLst>
                    <a:ext uri="{FF2B5EF4-FFF2-40B4-BE49-F238E27FC236}">
                      <a16:creationId xmlns:a16="http://schemas.microsoft.com/office/drawing/2014/main" id="{0EAB1B21-0C75-4554-BE17-FD73715D4CAD}"/>
                    </a:ext>
                  </a:extLst>
                </p:cNvPr>
                <p:cNvCxnSpPr/>
                <p:nvPr/>
              </p:nvCxnSpPr>
              <p:spPr>
                <a:xfrm>
                  <a:off x="5083689" y="2947639"/>
                  <a:ext cx="74500" cy="0"/>
                </a:xfrm>
                <a:prstGeom prst="line">
                  <a:avLst/>
                </a:prstGeom>
                <a:noFill/>
                <a:ln w="9525" cap="flat" cmpd="sng" algn="ctr">
                  <a:solidFill>
                    <a:schemeClr val="tx2"/>
                  </a:solidFill>
                  <a:prstDash val="solid"/>
                </a:ln>
                <a:effectLst/>
              </p:spPr>
            </p:cxnSp>
            <p:cxnSp>
              <p:nvCxnSpPr>
                <p:cNvPr id="737" name="Straight Connector 736">
                  <a:extLst>
                    <a:ext uri="{FF2B5EF4-FFF2-40B4-BE49-F238E27FC236}">
                      <a16:creationId xmlns:a16="http://schemas.microsoft.com/office/drawing/2014/main" id="{D4B91E62-040C-4B03-AAA3-39C2CD6F6F01}"/>
                    </a:ext>
                  </a:extLst>
                </p:cNvPr>
                <p:cNvCxnSpPr>
                  <a:cxnSpLocks/>
                </p:cNvCxnSpPr>
                <p:nvPr/>
              </p:nvCxnSpPr>
              <p:spPr>
                <a:xfrm>
                  <a:off x="5120939" y="2812415"/>
                  <a:ext cx="0" cy="152236"/>
                </a:xfrm>
                <a:prstGeom prst="line">
                  <a:avLst/>
                </a:prstGeom>
                <a:noFill/>
                <a:ln w="9525" cap="flat" cmpd="sng" algn="ctr">
                  <a:solidFill>
                    <a:schemeClr val="tx2"/>
                  </a:solidFill>
                  <a:prstDash val="solid"/>
                </a:ln>
                <a:effectLst/>
              </p:spPr>
            </p:cxnSp>
          </p:grpSp>
          <p:grpSp>
            <p:nvGrpSpPr>
              <p:cNvPr id="694" name="Group 693">
                <a:extLst>
                  <a:ext uri="{FF2B5EF4-FFF2-40B4-BE49-F238E27FC236}">
                    <a16:creationId xmlns:a16="http://schemas.microsoft.com/office/drawing/2014/main" id="{DD2D314E-51D5-4F09-BDE3-A4C52B9A2C5C}"/>
                  </a:ext>
                </a:extLst>
              </p:cNvPr>
              <p:cNvGrpSpPr/>
              <p:nvPr/>
            </p:nvGrpSpPr>
            <p:grpSpPr>
              <a:xfrm>
                <a:off x="3263608" y="3430524"/>
                <a:ext cx="53362" cy="75789"/>
                <a:chOff x="5083689" y="2812415"/>
                <a:chExt cx="74500" cy="152236"/>
              </a:xfrm>
            </p:grpSpPr>
            <p:cxnSp>
              <p:nvCxnSpPr>
                <p:cNvPr id="732" name="Straight Connector 731">
                  <a:extLst>
                    <a:ext uri="{FF2B5EF4-FFF2-40B4-BE49-F238E27FC236}">
                      <a16:creationId xmlns:a16="http://schemas.microsoft.com/office/drawing/2014/main" id="{7A4DD5CF-967B-477D-B315-1DB6C2318C43}"/>
                    </a:ext>
                  </a:extLst>
                </p:cNvPr>
                <p:cNvCxnSpPr/>
                <p:nvPr/>
              </p:nvCxnSpPr>
              <p:spPr>
                <a:xfrm>
                  <a:off x="5083689" y="2822724"/>
                  <a:ext cx="74500" cy="0"/>
                </a:xfrm>
                <a:prstGeom prst="line">
                  <a:avLst/>
                </a:prstGeom>
                <a:noFill/>
                <a:ln w="9525" cap="flat" cmpd="sng" algn="ctr">
                  <a:solidFill>
                    <a:schemeClr val="accent1"/>
                  </a:solidFill>
                  <a:prstDash val="solid"/>
                </a:ln>
                <a:effectLst/>
              </p:spPr>
            </p:cxnSp>
            <p:cxnSp>
              <p:nvCxnSpPr>
                <p:cNvPr id="733" name="Straight Connector 732">
                  <a:extLst>
                    <a:ext uri="{FF2B5EF4-FFF2-40B4-BE49-F238E27FC236}">
                      <a16:creationId xmlns:a16="http://schemas.microsoft.com/office/drawing/2014/main" id="{C0C99068-A882-48F8-8963-C1C1FCEB3076}"/>
                    </a:ext>
                  </a:extLst>
                </p:cNvPr>
                <p:cNvCxnSpPr/>
                <p:nvPr/>
              </p:nvCxnSpPr>
              <p:spPr>
                <a:xfrm>
                  <a:off x="5083689" y="2952422"/>
                  <a:ext cx="74500" cy="0"/>
                </a:xfrm>
                <a:prstGeom prst="line">
                  <a:avLst/>
                </a:prstGeom>
                <a:noFill/>
                <a:ln w="9525" cap="flat" cmpd="sng" algn="ctr">
                  <a:solidFill>
                    <a:schemeClr val="accent1"/>
                  </a:solidFill>
                  <a:prstDash val="solid"/>
                </a:ln>
                <a:effectLst/>
              </p:spPr>
            </p:cxnSp>
            <p:cxnSp>
              <p:nvCxnSpPr>
                <p:cNvPr id="734" name="Straight Connector 733">
                  <a:extLst>
                    <a:ext uri="{FF2B5EF4-FFF2-40B4-BE49-F238E27FC236}">
                      <a16:creationId xmlns:a16="http://schemas.microsoft.com/office/drawing/2014/main" id="{D339DF4A-113A-4B51-879C-36BC42F22C95}"/>
                    </a:ext>
                  </a:extLst>
                </p:cNvPr>
                <p:cNvCxnSpPr>
                  <a:cxnSpLocks/>
                </p:cNvCxnSpPr>
                <p:nvPr/>
              </p:nvCxnSpPr>
              <p:spPr>
                <a:xfrm>
                  <a:off x="5120939" y="2812415"/>
                  <a:ext cx="0" cy="152236"/>
                </a:xfrm>
                <a:prstGeom prst="line">
                  <a:avLst/>
                </a:prstGeom>
                <a:noFill/>
                <a:ln w="9525" cap="flat" cmpd="sng" algn="ctr">
                  <a:solidFill>
                    <a:schemeClr val="accent1"/>
                  </a:solidFill>
                  <a:prstDash val="solid"/>
                </a:ln>
                <a:effectLst/>
              </p:spPr>
            </p:cxnSp>
          </p:grpSp>
          <p:sp>
            <p:nvSpPr>
              <p:cNvPr id="695" name="Oval 694">
                <a:extLst>
                  <a:ext uri="{FF2B5EF4-FFF2-40B4-BE49-F238E27FC236}">
                    <a16:creationId xmlns:a16="http://schemas.microsoft.com/office/drawing/2014/main" id="{F353E375-A37F-4DBF-9B2F-F510D2BE771D}"/>
                  </a:ext>
                </a:extLst>
              </p:cNvPr>
              <p:cNvSpPr/>
              <p:nvPr/>
            </p:nvSpPr>
            <p:spPr>
              <a:xfrm>
                <a:off x="3264667" y="3441408"/>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696" name="Group 695">
                <a:extLst>
                  <a:ext uri="{FF2B5EF4-FFF2-40B4-BE49-F238E27FC236}">
                    <a16:creationId xmlns:a16="http://schemas.microsoft.com/office/drawing/2014/main" id="{1BB11297-BBEF-4B32-9EE3-B2C06AF328D1}"/>
                  </a:ext>
                </a:extLst>
              </p:cNvPr>
              <p:cNvGrpSpPr/>
              <p:nvPr/>
            </p:nvGrpSpPr>
            <p:grpSpPr>
              <a:xfrm>
                <a:off x="2817082" y="3478237"/>
                <a:ext cx="55743" cy="57214"/>
                <a:chOff x="5080365" y="2812415"/>
                <a:chExt cx="77824" cy="152236"/>
              </a:xfrm>
            </p:grpSpPr>
            <p:cxnSp>
              <p:nvCxnSpPr>
                <p:cNvPr id="729" name="Straight Connector 728">
                  <a:extLst>
                    <a:ext uri="{FF2B5EF4-FFF2-40B4-BE49-F238E27FC236}">
                      <a16:creationId xmlns:a16="http://schemas.microsoft.com/office/drawing/2014/main" id="{76000E42-9261-47C6-9FD5-5FC99F7A252E}"/>
                    </a:ext>
                  </a:extLst>
                </p:cNvPr>
                <p:cNvCxnSpPr/>
                <p:nvPr/>
              </p:nvCxnSpPr>
              <p:spPr>
                <a:xfrm>
                  <a:off x="5080365" y="2813157"/>
                  <a:ext cx="74500" cy="0"/>
                </a:xfrm>
                <a:prstGeom prst="line">
                  <a:avLst/>
                </a:prstGeom>
                <a:noFill/>
                <a:ln w="9525" cap="flat" cmpd="sng" algn="ctr">
                  <a:solidFill>
                    <a:schemeClr val="tx2"/>
                  </a:solidFill>
                  <a:prstDash val="solid"/>
                </a:ln>
                <a:effectLst/>
              </p:spPr>
            </p:cxnSp>
            <p:cxnSp>
              <p:nvCxnSpPr>
                <p:cNvPr id="730" name="Straight Connector 729">
                  <a:extLst>
                    <a:ext uri="{FF2B5EF4-FFF2-40B4-BE49-F238E27FC236}">
                      <a16:creationId xmlns:a16="http://schemas.microsoft.com/office/drawing/2014/main" id="{3D556E2E-40BB-4B93-B443-A0450D1555EF}"/>
                    </a:ext>
                  </a:extLst>
                </p:cNvPr>
                <p:cNvCxnSpPr/>
                <p:nvPr/>
              </p:nvCxnSpPr>
              <p:spPr>
                <a:xfrm>
                  <a:off x="5083689" y="2961987"/>
                  <a:ext cx="74500" cy="0"/>
                </a:xfrm>
                <a:prstGeom prst="line">
                  <a:avLst/>
                </a:prstGeom>
                <a:noFill/>
                <a:ln w="9525" cap="flat" cmpd="sng" algn="ctr">
                  <a:solidFill>
                    <a:schemeClr val="tx2"/>
                  </a:solidFill>
                  <a:prstDash val="solid"/>
                </a:ln>
                <a:effectLst/>
              </p:spPr>
            </p:cxnSp>
            <p:cxnSp>
              <p:nvCxnSpPr>
                <p:cNvPr id="731" name="Straight Connector 730">
                  <a:extLst>
                    <a:ext uri="{FF2B5EF4-FFF2-40B4-BE49-F238E27FC236}">
                      <a16:creationId xmlns:a16="http://schemas.microsoft.com/office/drawing/2014/main" id="{BBCEFFF2-F0AA-4FDC-AFE4-920B47DB1D82}"/>
                    </a:ext>
                  </a:extLst>
                </p:cNvPr>
                <p:cNvCxnSpPr>
                  <a:cxnSpLocks/>
                </p:cNvCxnSpPr>
                <p:nvPr/>
              </p:nvCxnSpPr>
              <p:spPr>
                <a:xfrm>
                  <a:off x="5120939" y="2812415"/>
                  <a:ext cx="0" cy="152236"/>
                </a:xfrm>
                <a:prstGeom prst="line">
                  <a:avLst/>
                </a:prstGeom>
                <a:noFill/>
                <a:ln w="9525" cap="flat" cmpd="sng" algn="ctr">
                  <a:solidFill>
                    <a:schemeClr val="tx2"/>
                  </a:solidFill>
                  <a:prstDash val="solid"/>
                </a:ln>
                <a:effectLst/>
              </p:spPr>
            </p:cxnSp>
          </p:grpSp>
          <p:grpSp>
            <p:nvGrpSpPr>
              <p:cNvPr id="697" name="Group 696">
                <a:extLst>
                  <a:ext uri="{FF2B5EF4-FFF2-40B4-BE49-F238E27FC236}">
                    <a16:creationId xmlns:a16="http://schemas.microsoft.com/office/drawing/2014/main" id="{53CE853E-9F48-4806-A4D0-888BFE0B1BFD}"/>
                  </a:ext>
                </a:extLst>
              </p:cNvPr>
              <p:cNvGrpSpPr/>
              <p:nvPr/>
            </p:nvGrpSpPr>
            <p:grpSpPr>
              <a:xfrm>
                <a:off x="2817074" y="3536233"/>
                <a:ext cx="53370" cy="57214"/>
                <a:chOff x="5080354" y="2812415"/>
                <a:chExt cx="74511" cy="152236"/>
              </a:xfrm>
            </p:grpSpPr>
            <p:cxnSp>
              <p:nvCxnSpPr>
                <p:cNvPr id="726" name="Straight Connector 725">
                  <a:extLst>
                    <a:ext uri="{FF2B5EF4-FFF2-40B4-BE49-F238E27FC236}">
                      <a16:creationId xmlns:a16="http://schemas.microsoft.com/office/drawing/2014/main" id="{F534D2DE-7189-4524-B1B1-408BBFB6B38D}"/>
                    </a:ext>
                  </a:extLst>
                </p:cNvPr>
                <p:cNvCxnSpPr/>
                <p:nvPr/>
              </p:nvCxnSpPr>
              <p:spPr>
                <a:xfrm>
                  <a:off x="5080354" y="2813157"/>
                  <a:ext cx="74500" cy="0"/>
                </a:xfrm>
                <a:prstGeom prst="line">
                  <a:avLst/>
                </a:prstGeom>
                <a:noFill/>
                <a:ln w="9525" cap="flat" cmpd="sng" algn="ctr">
                  <a:solidFill>
                    <a:schemeClr val="accent1"/>
                  </a:solidFill>
                  <a:prstDash val="solid"/>
                </a:ln>
                <a:effectLst/>
              </p:spPr>
            </p:cxnSp>
            <p:cxnSp>
              <p:nvCxnSpPr>
                <p:cNvPr id="727" name="Straight Connector 726">
                  <a:extLst>
                    <a:ext uri="{FF2B5EF4-FFF2-40B4-BE49-F238E27FC236}">
                      <a16:creationId xmlns:a16="http://schemas.microsoft.com/office/drawing/2014/main" id="{CD94564D-B53C-47CF-A4C5-5D9FF0A22B58}"/>
                    </a:ext>
                  </a:extLst>
                </p:cNvPr>
                <p:cNvCxnSpPr/>
                <p:nvPr/>
              </p:nvCxnSpPr>
              <p:spPr>
                <a:xfrm>
                  <a:off x="5080365" y="2961988"/>
                  <a:ext cx="74500" cy="0"/>
                </a:xfrm>
                <a:prstGeom prst="line">
                  <a:avLst/>
                </a:prstGeom>
                <a:noFill/>
                <a:ln w="9525" cap="flat" cmpd="sng" algn="ctr">
                  <a:solidFill>
                    <a:schemeClr val="accent1"/>
                  </a:solidFill>
                  <a:prstDash val="solid"/>
                </a:ln>
                <a:effectLst/>
              </p:spPr>
            </p:cxnSp>
            <p:cxnSp>
              <p:nvCxnSpPr>
                <p:cNvPr id="728" name="Straight Connector 727">
                  <a:extLst>
                    <a:ext uri="{FF2B5EF4-FFF2-40B4-BE49-F238E27FC236}">
                      <a16:creationId xmlns:a16="http://schemas.microsoft.com/office/drawing/2014/main" id="{6A37C738-28F6-43F1-A85E-A6484C612414}"/>
                    </a:ext>
                  </a:extLst>
                </p:cNvPr>
                <p:cNvCxnSpPr>
                  <a:cxnSpLocks/>
                </p:cNvCxnSpPr>
                <p:nvPr/>
              </p:nvCxnSpPr>
              <p:spPr>
                <a:xfrm>
                  <a:off x="5120939" y="2812415"/>
                  <a:ext cx="0" cy="152236"/>
                </a:xfrm>
                <a:prstGeom prst="line">
                  <a:avLst/>
                </a:prstGeom>
                <a:noFill/>
                <a:ln w="9525" cap="flat" cmpd="sng" algn="ctr">
                  <a:solidFill>
                    <a:schemeClr val="accent1"/>
                  </a:solidFill>
                  <a:prstDash val="solid"/>
                </a:ln>
                <a:effectLst/>
              </p:spPr>
            </p:cxnSp>
          </p:grpSp>
          <p:sp>
            <p:nvSpPr>
              <p:cNvPr id="698" name="Oval 697">
                <a:extLst>
                  <a:ext uri="{FF2B5EF4-FFF2-40B4-BE49-F238E27FC236}">
                    <a16:creationId xmlns:a16="http://schemas.microsoft.com/office/drawing/2014/main" id="{4E399464-7D4B-4B6E-BB66-F40D0EFEEE9A}"/>
                  </a:ext>
                </a:extLst>
              </p:cNvPr>
              <p:cNvSpPr/>
              <p:nvPr/>
            </p:nvSpPr>
            <p:spPr>
              <a:xfrm>
                <a:off x="2817434" y="3481441"/>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699" name="Oval 698">
                <a:extLst>
                  <a:ext uri="{FF2B5EF4-FFF2-40B4-BE49-F238E27FC236}">
                    <a16:creationId xmlns:a16="http://schemas.microsoft.com/office/drawing/2014/main" id="{4166C8BC-A933-41B7-9CD2-4B78A254CE0A}"/>
                  </a:ext>
                </a:extLst>
              </p:cNvPr>
              <p:cNvSpPr/>
              <p:nvPr/>
            </p:nvSpPr>
            <p:spPr>
              <a:xfrm>
                <a:off x="2817434" y="3536012"/>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700" name="Group 699">
                <a:extLst>
                  <a:ext uri="{FF2B5EF4-FFF2-40B4-BE49-F238E27FC236}">
                    <a16:creationId xmlns:a16="http://schemas.microsoft.com/office/drawing/2014/main" id="{D83CA08F-CE67-48EF-A7D4-D9D09671852F}"/>
                  </a:ext>
                </a:extLst>
              </p:cNvPr>
              <p:cNvGrpSpPr/>
              <p:nvPr/>
            </p:nvGrpSpPr>
            <p:grpSpPr>
              <a:xfrm>
                <a:off x="2489238" y="3629828"/>
                <a:ext cx="53362" cy="59126"/>
                <a:chOff x="5083689" y="2827735"/>
                <a:chExt cx="74500" cy="136916"/>
              </a:xfrm>
            </p:grpSpPr>
            <p:cxnSp>
              <p:nvCxnSpPr>
                <p:cNvPr id="723" name="Straight Connector 722">
                  <a:extLst>
                    <a:ext uri="{FF2B5EF4-FFF2-40B4-BE49-F238E27FC236}">
                      <a16:creationId xmlns:a16="http://schemas.microsoft.com/office/drawing/2014/main" id="{245C2CE2-95BE-4D7D-BDB5-71ECEE51774F}"/>
                    </a:ext>
                  </a:extLst>
                </p:cNvPr>
                <p:cNvCxnSpPr/>
                <p:nvPr/>
              </p:nvCxnSpPr>
              <p:spPr>
                <a:xfrm>
                  <a:off x="5083689" y="2840726"/>
                  <a:ext cx="74500" cy="0"/>
                </a:xfrm>
                <a:prstGeom prst="line">
                  <a:avLst/>
                </a:prstGeom>
                <a:noFill/>
                <a:ln w="9525" cap="flat" cmpd="sng" algn="ctr">
                  <a:solidFill>
                    <a:schemeClr val="tx2"/>
                  </a:solidFill>
                  <a:prstDash val="solid"/>
                </a:ln>
                <a:effectLst/>
              </p:spPr>
            </p:cxnSp>
            <p:cxnSp>
              <p:nvCxnSpPr>
                <p:cNvPr id="724" name="Straight Connector 723">
                  <a:extLst>
                    <a:ext uri="{FF2B5EF4-FFF2-40B4-BE49-F238E27FC236}">
                      <a16:creationId xmlns:a16="http://schemas.microsoft.com/office/drawing/2014/main" id="{D8774156-3FE6-4CDF-BF2D-EB958E53843C}"/>
                    </a:ext>
                  </a:extLst>
                </p:cNvPr>
                <p:cNvCxnSpPr/>
                <p:nvPr/>
              </p:nvCxnSpPr>
              <p:spPr>
                <a:xfrm>
                  <a:off x="5083689" y="2961987"/>
                  <a:ext cx="74500" cy="0"/>
                </a:xfrm>
                <a:prstGeom prst="line">
                  <a:avLst/>
                </a:prstGeom>
                <a:noFill/>
                <a:ln w="9525" cap="flat" cmpd="sng" algn="ctr">
                  <a:solidFill>
                    <a:schemeClr val="tx2"/>
                  </a:solidFill>
                  <a:prstDash val="solid"/>
                </a:ln>
                <a:effectLst/>
              </p:spPr>
            </p:cxnSp>
            <p:cxnSp>
              <p:nvCxnSpPr>
                <p:cNvPr id="725" name="Straight Connector 724">
                  <a:extLst>
                    <a:ext uri="{FF2B5EF4-FFF2-40B4-BE49-F238E27FC236}">
                      <a16:creationId xmlns:a16="http://schemas.microsoft.com/office/drawing/2014/main" id="{7AAA8959-BC07-43CF-90F6-32ACE654AFCF}"/>
                    </a:ext>
                  </a:extLst>
                </p:cNvPr>
                <p:cNvCxnSpPr>
                  <a:cxnSpLocks/>
                  <a:stCxn id="701" idx="0"/>
                </p:cNvCxnSpPr>
                <p:nvPr/>
              </p:nvCxnSpPr>
              <p:spPr>
                <a:xfrm>
                  <a:off x="5120940" y="2827735"/>
                  <a:ext cx="0" cy="136916"/>
                </a:xfrm>
                <a:prstGeom prst="line">
                  <a:avLst/>
                </a:prstGeom>
                <a:noFill/>
                <a:ln w="9525" cap="flat" cmpd="sng" algn="ctr">
                  <a:solidFill>
                    <a:schemeClr val="tx2"/>
                  </a:solidFill>
                  <a:prstDash val="solid"/>
                </a:ln>
                <a:effectLst/>
              </p:spPr>
            </p:cxnSp>
          </p:grpSp>
          <p:sp>
            <p:nvSpPr>
              <p:cNvPr id="701" name="Oval 700">
                <a:extLst>
                  <a:ext uri="{FF2B5EF4-FFF2-40B4-BE49-F238E27FC236}">
                    <a16:creationId xmlns:a16="http://schemas.microsoft.com/office/drawing/2014/main" id="{020142E2-9190-4EF7-BE34-281ACA0EA705}"/>
                  </a:ext>
                </a:extLst>
              </p:cNvPr>
              <p:cNvSpPr/>
              <p:nvPr/>
            </p:nvSpPr>
            <p:spPr>
              <a:xfrm>
                <a:off x="2489721" y="3629831"/>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702" name="Group 701">
                <a:extLst>
                  <a:ext uri="{FF2B5EF4-FFF2-40B4-BE49-F238E27FC236}">
                    <a16:creationId xmlns:a16="http://schemas.microsoft.com/office/drawing/2014/main" id="{38065E38-D952-4D81-961F-A2FF5A4BC31D}"/>
                  </a:ext>
                </a:extLst>
              </p:cNvPr>
              <p:cNvGrpSpPr/>
              <p:nvPr/>
            </p:nvGrpSpPr>
            <p:grpSpPr>
              <a:xfrm>
                <a:off x="2427294" y="3573706"/>
                <a:ext cx="53362" cy="57214"/>
                <a:chOff x="5083689" y="2812415"/>
                <a:chExt cx="74500" cy="152236"/>
              </a:xfrm>
            </p:grpSpPr>
            <p:cxnSp>
              <p:nvCxnSpPr>
                <p:cNvPr id="720" name="Straight Connector 719" hidden="1">
                  <a:extLst>
                    <a:ext uri="{FF2B5EF4-FFF2-40B4-BE49-F238E27FC236}">
                      <a16:creationId xmlns:a16="http://schemas.microsoft.com/office/drawing/2014/main" id="{B5EB6C29-867A-4F7C-8C0E-80C4C2A3D646}"/>
                    </a:ext>
                  </a:extLst>
                </p:cNvPr>
                <p:cNvCxnSpPr/>
                <p:nvPr/>
              </p:nvCxnSpPr>
              <p:spPr>
                <a:xfrm>
                  <a:off x="5083689" y="2813158"/>
                  <a:ext cx="74500" cy="0"/>
                </a:xfrm>
                <a:prstGeom prst="line">
                  <a:avLst/>
                </a:prstGeom>
                <a:noFill/>
                <a:ln w="9525" cap="flat" cmpd="sng" algn="ctr">
                  <a:solidFill>
                    <a:srgbClr val="7F7F7F"/>
                  </a:solidFill>
                  <a:prstDash val="solid"/>
                </a:ln>
                <a:effectLst/>
              </p:spPr>
            </p:cxnSp>
            <p:cxnSp>
              <p:nvCxnSpPr>
                <p:cNvPr id="721" name="Straight Connector 720" hidden="1">
                  <a:extLst>
                    <a:ext uri="{FF2B5EF4-FFF2-40B4-BE49-F238E27FC236}">
                      <a16:creationId xmlns:a16="http://schemas.microsoft.com/office/drawing/2014/main" id="{2A31974A-8DA2-4E92-A59C-CB167C202596}"/>
                    </a:ext>
                  </a:extLst>
                </p:cNvPr>
                <p:cNvCxnSpPr/>
                <p:nvPr/>
              </p:nvCxnSpPr>
              <p:spPr>
                <a:xfrm>
                  <a:off x="5083689" y="2961987"/>
                  <a:ext cx="74500" cy="0"/>
                </a:xfrm>
                <a:prstGeom prst="line">
                  <a:avLst/>
                </a:prstGeom>
                <a:noFill/>
                <a:ln w="9525" cap="flat" cmpd="sng" algn="ctr">
                  <a:solidFill>
                    <a:srgbClr val="7F7F7F"/>
                  </a:solidFill>
                  <a:prstDash val="solid"/>
                </a:ln>
                <a:effectLst/>
              </p:spPr>
            </p:cxnSp>
            <p:cxnSp>
              <p:nvCxnSpPr>
                <p:cNvPr id="722" name="Straight Connector 721" hidden="1">
                  <a:extLst>
                    <a:ext uri="{FF2B5EF4-FFF2-40B4-BE49-F238E27FC236}">
                      <a16:creationId xmlns:a16="http://schemas.microsoft.com/office/drawing/2014/main" id="{88FBCD0B-2ABD-4ABF-8ECD-B97496CDB771}"/>
                    </a:ext>
                  </a:extLst>
                </p:cNvPr>
                <p:cNvCxnSpPr>
                  <a:cxnSpLocks/>
                </p:cNvCxnSpPr>
                <p:nvPr/>
              </p:nvCxnSpPr>
              <p:spPr>
                <a:xfrm>
                  <a:off x="5120939" y="2812415"/>
                  <a:ext cx="0" cy="152236"/>
                </a:xfrm>
                <a:prstGeom prst="line">
                  <a:avLst/>
                </a:prstGeom>
                <a:noFill/>
                <a:ln w="9525" cap="flat" cmpd="sng" algn="ctr">
                  <a:solidFill>
                    <a:srgbClr val="7F7F7F"/>
                  </a:solidFill>
                  <a:prstDash val="solid"/>
                </a:ln>
                <a:effectLst/>
              </p:spPr>
            </p:cxnSp>
          </p:grpSp>
          <p:sp>
            <p:nvSpPr>
              <p:cNvPr id="703" name="Oval 702">
                <a:extLst>
                  <a:ext uri="{FF2B5EF4-FFF2-40B4-BE49-F238E27FC236}">
                    <a16:creationId xmlns:a16="http://schemas.microsoft.com/office/drawing/2014/main" id="{ADE7E7A7-9275-4D79-9EC8-26F16A1D153C}"/>
                  </a:ext>
                </a:extLst>
              </p:cNvPr>
              <p:cNvSpPr/>
              <p:nvPr/>
            </p:nvSpPr>
            <p:spPr>
              <a:xfrm>
                <a:off x="2427777" y="3576910"/>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704" name="Group 703">
                <a:extLst>
                  <a:ext uri="{FF2B5EF4-FFF2-40B4-BE49-F238E27FC236}">
                    <a16:creationId xmlns:a16="http://schemas.microsoft.com/office/drawing/2014/main" id="{55590329-BCE3-438F-87BA-C6F0722DDDA3}"/>
                  </a:ext>
                </a:extLst>
              </p:cNvPr>
              <p:cNvGrpSpPr/>
              <p:nvPr/>
            </p:nvGrpSpPr>
            <p:grpSpPr>
              <a:xfrm>
                <a:off x="2419901" y="3578928"/>
                <a:ext cx="58124" cy="50379"/>
                <a:chOff x="5083689" y="2812415"/>
                <a:chExt cx="81148" cy="152236"/>
              </a:xfrm>
            </p:grpSpPr>
            <p:cxnSp>
              <p:nvCxnSpPr>
                <p:cNvPr id="717" name="Straight Connector 716">
                  <a:extLst>
                    <a:ext uri="{FF2B5EF4-FFF2-40B4-BE49-F238E27FC236}">
                      <a16:creationId xmlns:a16="http://schemas.microsoft.com/office/drawing/2014/main" id="{C55C30D8-A4DD-4A39-8076-ADB4AEBA95AF}"/>
                    </a:ext>
                  </a:extLst>
                </p:cNvPr>
                <p:cNvCxnSpPr/>
                <p:nvPr/>
              </p:nvCxnSpPr>
              <p:spPr>
                <a:xfrm>
                  <a:off x="5090337" y="2813158"/>
                  <a:ext cx="74500" cy="0"/>
                </a:xfrm>
                <a:prstGeom prst="line">
                  <a:avLst/>
                </a:prstGeom>
                <a:noFill/>
                <a:ln w="9525" cap="flat" cmpd="sng" algn="ctr">
                  <a:solidFill>
                    <a:schemeClr val="tx2"/>
                  </a:solidFill>
                  <a:prstDash val="solid"/>
                </a:ln>
                <a:effectLst/>
              </p:spPr>
            </p:cxnSp>
            <p:cxnSp>
              <p:nvCxnSpPr>
                <p:cNvPr id="718" name="Straight Connector 717">
                  <a:extLst>
                    <a:ext uri="{FF2B5EF4-FFF2-40B4-BE49-F238E27FC236}">
                      <a16:creationId xmlns:a16="http://schemas.microsoft.com/office/drawing/2014/main" id="{636BDC3E-E105-43D1-85C3-4C2DBAEB08F0}"/>
                    </a:ext>
                  </a:extLst>
                </p:cNvPr>
                <p:cNvCxnSpPr/>
                <p:nvPr/>
              </p:nvCxnSpPr>
              <p:spPr>
                <a:xfrm>
                  <a:off x="5083689" y="2961986"/>
                  <a:ext cx="74500" cy="0"/>
                </a:xfrm>
                <a:prstGeom prst="line">
                  <a:avLst/>
                </a:prstGeom>
                <a:noFill/>
                <a:ln w="9525" cap="flat" cmpd="sng" algn="ctr">
                  <a:solidFill>
                    <a:schemeClr val="tx2"/>
                  </a:solidFill>
                  <a:prstDash val="solid"/>
                </a:ln>
                <a:effectLst/>
              </p:spPr>
            </p:cxnSp>
            <p:cxnSp>
              <p:nvCxnSpPr>
                <p:cNvPr id="719" name="Straight Connector 718">
                  <a:extLst>
                    <a:ext uri="{FF2B5EF4-FFF2-40B4-BE49-F238E27FC236}">
                      <a16:creationId xmlns:a16="http://schemas.microsoft.com/office/drawing/2014/main" id="{8CF3A414-1EA5-4A66-AE6A-75566ED2DCF3}"/>
                    </a:ext>
                  </a:extLst>
                </p:cNvPr>
                <p:cNvCxnSpPr>
                  <a:cxnSpLocks/>
                </p:cNvCxnSpPr>
                <p:nvPr/>
              </p:nvCxnSpPr>
              <p:spPr>
                <a:xfrm>
                  <a:off x="5120939" y="2812415"/>
                  <a:ext cx="0" cy="152236"/>
                </a:xfrm>
                <a:prstGeom prst="line">
                  <a:avLst/>
                </a:prstGeom>
                <a:noFill/>
                <a:ln w="9525" cap="flat" cmpd="sng" algn="ctr">
                  <a:solidFill>
                    <a:schemeClr val="tx2"/>
                  </a:solidFill>
                  <a:prstDash val="solid"/>
                </a:ln>
                <a:effectLst/>
              </p:spPr>
            </p:cxnSp>
          </p:grpSp>
          <p:grpSp>
            <p:nvGrpSpPr>
              <p:cNvPr id="705" name="Group 704">
                <a:extLst>
                  <a:ext uri="{FF2B5EF4-FFF2-40B4-BE49-F238E27FC236}">
                    <a16:creationId xmlns:a16="http://schemas.microsoft.com/office/drawing/2014/main" id="{4C9C0876-D951-4C73-A000-AD197D5389CF}"/>
                  </a:ext>
                </a:extLst>
              </p:cNvPr>
              <p:cNvGrpSpPr/>
              <p:nvPr/>
            </p:nvGrpSpPr>
            <p:grpSpPr>
              <a:xfrm>
                <a:off x="2419886" y="3619862"/>
                <a:ext cx="53362" cy="50379"/>
                <a:chOff x="5083689" y="2812415"/>
                <a:chExt cx="74500" cy="152236"/>
              </a:xfrm>
            </p:grpSpPr>
            <p:cxnSp>
              <p:nvCxnSpPr>
                <p:cNvPr id="714" name="Straight Connector 713">
                  <a:extLst>
                    <a:ext uri="{FF2B5EF4-FFF2-40B4-BE49-F238E27FC236}">
                      <a16:creationId xmlns:a16="http://schemas.microsoft.com/office/drawing/2014/main" id="{DE96C055-2D9B-4289-88E2-74EB86B56977}"/>
                    </a:ext>
                  </a:extLst>
                </p:cNvPr>
                <p:cNvCxnSpPr/>
                <p:nvPr/>
              </p:nvCxnSpPr>
              <p:spPr>
                <a:xfrm>
                  <a:off x="5083689" y="2813158"/>
                  <a:ext cx="74500" cy="0"/>
                </a:xfrm>
                <a:prstGeom prst="line">
                  <a:avLst/>
                </a:prstGeom>
                <a:noFill/>
                <a:ln w="9525" cap="flat" cmpd="sng" algn="ctr">
                  <a:solidFill>
                    <a:schemeClr val="accent1"/>
                  </a:solidFill>
                  <a:prstDash val="solid"/>
                </a:ln>
                <a:effectLst/>
              </p:spPr>
            </p:cxnSp>
            <p:cxnSp>
              <p:nvCxnSpPr>
                <p:cNvPr id="715" name="Straight Connector 714">
                  <a:extLst>
                    <a:ext uri="{FF2B5EF4-FFF2-40B4-BE49-F238E27FC236}">
                      <a16:creationId xmlns:a16="http://schemas.microsoft.com/office/drawing/2014/main" id="{55624530-1078-4924-927A-D8F844BFAD00}"/>
                    </a:ext>
                  </a:extLst>
                </p:cNvPr>
                <p:cNvCxnSpPr/>
                <p:nvPr/>
              </p:nvCxnSpPr>
              <p:spPr>
                <a:xfrm>
                  <a:off x="5083689" y="2961987"/>
                  <a:ext cx="74500" cy="0"/>
                </a:xfrm>
                <a:prstGeom prst="line">
                  <a:avLst/>
                </a:prstGeom>
                <a:noFill/>
                <a:ln w="9525" cap="flat" cmpd="sng" algn="ctr">
                  <a:solidFill>
                    <a:schemeClr val="accent1"/>
                  </a:solidFill>
                  <a:prstDash val="solid"/>
                </a:ln>
                <a:effectLst/>
              </p:spPr>
            </p:cxnSp>
            <p:cxnSp>
              <p:nvCxnSpPr>
                <p:cNvPr id="716" name="Straight Connector 715">
                  <a:extLst>
                    <a:ext uri="{FF2B5EF4-FFF2-40B4-BE49-F238E27FC236}">
                      <a16:creationId xmlns:a16="http://schemas.microsoft.com/office/drawing/2014/main" id="{17BF3E80-3535-404C-8F50-53115C00C5FF}"/>
                    </a:ext>
                  </a:extLst>
                </p:cNvPr>
                <p:cNvCxnSpPr>
                  <a:cxnSpLocks/>
                </p:cNvCxnSpPr>
                <p:nvPr/>
              </p:nvCxnSpPr>
              <p:spPr>
                <a:xfrm>
                  <a:off x="5120939" y="2812415"/>
                  <a:ext cx="0" cy="152236"/>
                </a:xfrm>
                <a:prstGeom prst="line">
                  <a:avLst/>
                </a:prstGeom>
                <a:noFill/>
                <a:ln w="9525" cap="flat" cmpd="sng" algn="ctr">
                  <a:solidFill>
                    <a:schemeClr val="accent1"/>
                  </a:solidFill>
                  <a:prstDash val="solid"/>
                </a:ln>
                <a:effectLst/>
              </p:spPr>
            </p:cxnSp>
          </p:grpSp>
          <p:sp>
            <p:nvSpPr>
              <p:cNvPr id="706" name="Oval 705">
                <a:extLst>
                  <a:ext uri="{FF2B5EF4-FFF2-40B4-BE49-F238E27FC236}">
                    <a16:creationId xmlns:a16="http://schemas.microsoft.com/office/drawing/2014/main" id="{A568A955-19F6-4962-A224-14BDC344D8A5}"/>
                  </a:ext>
                </a:extLst>
              </p:cNvPr>
              <p:cNvSpPr/>
              <p:nvPr/>
            </p:nvSpPr>
            <p:spPr>
              <a:xfrm>
                <a:off x="2423297" y="3620108"/>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707" name="Group 706">
                <a:extLst>
                  <a:ext uri="{FF2B5EF4-FFF2-40B4-BE49-F238E27FC236}">
                    <a16:creationId xmlns:a16="http://schemas.microsoft.com/office/drawing/2014/main" id="{C0640625-AAC3-4640-8611-566F7879CEC9}"/>
                  </a:ext>
                </a:extLst>
              </p:cNvPr>
              <p:cNvGrpSpPr/>
              <p:nvPr/>
            </p:nvGrpSpPr>
            <p:grpSpPr>
              <a:xfrm>
                <a:off x="2485209" y="3673607"/>
                <a:ext cx="53362" cy="52966"/>
                <a:chOff x="5083689" y="2812415"/>
                <a:chExt cx="74500" cy="152236"/>
              </a:xfrm>
            </p:grpSpPr>
            <p:cxnSp>
              <p:nvCxnSpPr>
                <p:cNvPr id="711" name="Straight Connector 710">
                  <a:extLst>
                    <a:ext uri="{FF2B5EF4-FFF2-40B4-BE49-F238E27FC236}">
                      <a16:creationId xmlns:a16="http://schemas.microsoft.com/office/drawing/2014/main" id="{3688DA81-1B58-48A2-8224-F420C8EFB621}"/>
                    </a:ext>
                  </a:extLst>
                </p:cNvPr>
                <p:cNvCxnSpPr/>
                <p:nvPr/>
              </p:nvCxnSpPr>
              <p:spPr>
                <a:xfrm>
                  <a:off x="5083689" y="2813158"/>
                  <a:ext cx="74500" cy="0"/>
                </a:xfrm>
                <a:prstGeom prst="line">
                  <a:avLst/>
                </a:prstGeom>
                <a:noFill/>
                <a:ln w="9525" cap="flat" cmpd="sng" algn="ctr">
                  <a:solidFill>
                    <a:schemeClr val="accent1"/>
                  </a:solidFill>
                  <a:prstDash val="solid"/>
                </a:ln>
                <a:effectLst/>
              </p:spPr>
            </p:cxnSp>
            <p:cxnSp>
              <p:nvCxnSpPr>
                <p:cNvPr id="712" name="Straight Connector 711">
                  <a:extLst>
                    <a:ext uri="{FF2B5EF4-FFF2-40B4-BE49-F238E27FC236}">
                      <a16:creationId xmlns:a16="http://schemas.microsoft.com/office/drawing/2014/main" id="{A01A508B-8118-4EE3-91F0-435764B572DD}"/>
                    </a:ext>
                  </a:extLst>
                </p:cNvPr>
                <p:cNvCxnSpPr/>
                <p:nvPr/>
              </p:nvCxnSpPr>
              <p:spPr>
                <a:xfrm>
                  <a:off x="5083689" y="2961987"/>
                  <a:ext cx="74500" cy="0"/>
                </a:xfrm>
                <a:prstGeom prst="line">
                  <a:avLst/>
                </a:prstGeom>
                <a:noFill/>
                <a:ln w="9525" cap="flat" cmpd="sng" algn="ctr">
                  <a:solidFill>
                    <a:schemeClr val="accent1"/>
                  </a:solidFill>
                  <a:prstDash val="solid"/>
                </a:ln>
                <a:effectLst/>
              </p:spPr>
            </p:cxnSp>
            <p:cxnSp>
              <p:nvCxnSpPr>
                <p:cNvPr id="713" name="Straight Connector 712">
                  <a:extLst>
                    <a:ext uri="{FF2B5EF4-FFF2-40B4-BE49-F238E27FC236}">
                      <a16:creationId xmlns:a16="http://schemas.microsoft.com/office/drawing/2014/main" id="{FAD63B0A-7417-45BF-B299-A6314E339BED}"/>
                    </a:ext>
                  </a:extLst>
                </p:cNvPr>
                <p:cNvCxnSpPr>
                  <a:cxnSpLocks/>
                </p:cNvCxnSpPr>
                <p:nvPr/>
              </p:nvCxnSpPr>
              <p:spPr>
                <a:xfrm>
                  <a:off x="5120939" y="2812415"/>
                  <a:ext cx="0" cy="152236"/>
                </a:xfrm>
                <a:prstGeom prst="line">
                  <a:avLst/>
                </a:prstGeom>
                <a:noFill/>
                <a:ln w="9525" cap="flat" cmpd="sng" algn="ctr">
                  <a:solidFill>
                    <a:schemeClr val="accent1"/>
                  </a:solidFill>
                  <a:prstDash val="solid"/>
                </a:ln>
                <a:effectLst/>
              </p:spPr>
            </p:cxnSp>
          </p:grpSp>
          <p:sp>
            <p:nvSpPr>
              <p:cNvPr id="708" name="Oval 707">
                <a:extLst>
                  <a:ext uri="{FF2B5EF4-FFF2-40B4-BE49-F238E27FC236}">
                    <a16:creationId xmlns:a16="http://schemas.microsoft.com/office/drawing/2014/main" id="{66C6E8CE-64DA-4459-A4BE-FC66227D29E4}"/>
                  </a:ext>
                </a:extLst>
              </p:cNvPr>
              <p:cNvSpPr/>
              <p:nvPr/>
            </p:nvSpPr>
            <p:spPr>
              <a:xfrm>
                <a:off x="2486175" y="3670765"/>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cxnSp>
            <p:nvCxnSpPr>
              <p:cNvPr id="709" name="Straight Connector 708">
                <a:extLst>
                  <a:ext uri="{FF2B5EF4-FFF2-40B4-BE49-F238E27FC236}">
                    <a16:creationId xmlns:a16="http://schemas.microsoft.com/office/drawing/2014/main" id="{2BA0C03A-4A04-4BCD-BFFF-71C63BD62CBA}"/>
                  </a:ext>
                </a:extLst>
              </p:cNvPr>
              <p:cNvCxnSpPr>
                <a:cxnSpLocks/>
              </p:cNvCxnSpPr>
              <p:nvPr/>
            </p:nvCxnSpPr>
            <p:spPr>
              <a:xfrm flipV="1">
                <a:off x="2373339" y="3463201"/>
                <a:ext cx="54000" cy="1706"/>
              </a:xfrm>
              <a:prstGeom prst="line">
                <a:avLst/>
              </a:prstGeom>
              <a:noFill/>
              <a:ln w="9525" cap="flat" cmpd="sng" algn="ctr">
                <a:solidFill>
                  <a:schemeClr val="accent1"/>
                </a:solidFill>
                <a:prstDash val="solid"/>
              </a:ln>
              <a:effectLst/>
            </p:spPr>
          </p:cxnSp>
          <p:sp>
            <p:nvSpPr>
              <p:cNvPr id="710" name="Oval 709">
                <a:extLst>
                  <a:ext uri="{FF2B5EF4-FFF2-40B4-BE49-F238E27FC236}">
                    <a16:creationId xmlns:a16="http://schemas.microsoft.com/office/drawing/2014/main" id="{017337F4-3964-4FDD-B2EE-37CD83890907}"/>
                  </a:ext>
                </a:extLst>
              </p:cNvPr>
              <p:cNvSpPr/>
              <p:nvPr/>
            </p:nvSpPr>
            <p:spPr>
              <a:xfrm>
                <a:off x="2370900" y="3438708"/>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506" name="Group 505">
              <a:extLst>
                <a:ext uri="{FF2B5EF4-FFF2-40B4-BE49-F238E27FC236}">
                  <a16:creationId xmlns:a16="http://schemas.microsoft.com/office/drawing/2014/main" id="{29AE88E8-089D-4BAF-A186-A8741FD5A203}"/>
                </a:ext>
              </a:extLst>
            </p:cNvPr>
            <p:cNvGrpSpPr/>
            <p:nvPr/>
          </p:nvGrpSpPr>
          <p:grpSpPr>
            <a:xfrm>
              <a:off x="1617330" y="2395128"/>
              <a:ext cx="7074077" cy="2709274"/>
              <a:chOff x="1617330" y="2395128"/>
              <a:chExt cx="7074077" cy="2709274"/>
            </a:xfrm>
          </p:grpSpPr>
          <p:sp>
            <p:nvSpPr>
              <p:cNvPr id="507" name="Freeform: Shape 506">
                <a:extLst>
                  <a:ext uri="{FF2B5EF4-FFF2-40B4-BE49-F238E27FC236}">
                    <a16:creationId xmlns:a16="http://schemas.microsoft.com/office/drawing/2014/main" id="{81BA2BA4-0B54-4CF1-8539-EAAB48668D42}"/>
                  </a:ext>
                </a:extLst>
              </p:cNvPr>
              <p:cNvSpPr/>
              <p:nvPr/>
            </p:nvSpPr>
            <p:spPr>
              <a:xfrm>
                <a:off x="5748039" y="3466524"/>
                <a:ext cx="2782111" cy="331569"/>
              </a:xfrm>
              <a:custGeom>
                <a:avLst/>
                <a:gdLst>
                  <a:gd name="connsiteX0" fmla="*/ 0 w 3448050"/>
                  <a:gd name="connsiteY0" fmla="*/ 28575 h 361950"/>
                  <a:gd name="connsiteX1" fmla="*/ 79375 w 3448050"/>
                  <a:gd name="connsiteY1" fmla="*/ 288925 h 361950"/>
                  <a:gd name="connsiteX2" fmla="*/ 161925 w 3448050"/>
                  <a:gd name="connsiteY2" fmla="*/ 361950 h 361950"/>
                  <a:gd name="connsiteX3" fmla="*/ 635000 w 3448050"/>
                  <a:gd name="connsiteY3" fmla="*/ 168275 h 361950"/>
                  <a:gd name="connsiteX4" fmla="*/ 1257300 w 3448050"/>
                  <a:gd name="connsiteY4" fmla="*/ 31750 h 361950"/>
                  <a:gd name="connsiteX5" fmla="*/ 1882775 w 3448050"/>
                  <a:gd name="connsiteY5" fmla="*/ 0 h 361950"/>
                  <a:gd name="connsiteX6" fmla="*/ 2508250 w 3448050"/>
                  <a:gd name="connsiteY6" fmla="*/ 79375 h 361950"/>
                  <a:gd name="connsiteX7" fmla="*/ 3136900 w 3448050"/>
                  <a:gd name="connsiteY7" fmla="*/ 85725 h 361950"/>
                  <a:gd name="connsiteX8" fmla="*/ 3448050 w 3448050"/>
                  <a:gd name="connsiteY8" fmla="*/ 9525 h 361950"/>
                  <a:gd name="connsiteX0" fmla="*/ 0 w 3759200"/>
                  <a:gd name="connsiteY0" fmla="*/ 88900 h 422275"/>
                  <a:gd name="connsiteX1" fmla="*/ 79375 w 3759200"/>
                  <a:gd name="connsiteY1" fmla="*/ 349250 h 422275"/>
                  <a:gd name="connsiteX2" fmla="*/ 161925 w 3759200"/>
                  <a:gd name="connsiteY2" fmla="*/ 422275 h 422275"/>
                  <a:gd name="connsiteX3" fmla="*/ 635000 w 3759200"/>
                  <a:gd name="connsiteY3" fmla="*/ 228600 h 422275"/>
                  <a:gd name="connsiteX4" fmla="*/ 1257300 w 3759200"/>
                  <a:gd name="connsiteY4" fmla="*/ 92075 h 422275"/>
                  <a:gd name="connsiteX5" fmla="*/ 1882775 w 3759200"/>
                  <a:gd name="connsiteY5" fmla="*/ 60325 h 422275"/>
                  <a:gd name="connsiteX6" fmla="*/ 2508250 w 3759200"/>
                  <a:gd name="connsiteY6" fmla="*/ 139700 h 422275"/>
                  <a:gd name="connsiteX7" fmla="*/ 3136900 w 3759200"/>
                  <a:gd name="connsiteY7" fmla="*/ 146050 h 422275"/>
                  <a:gd name="connsiteX8" fmla="*/ 3759200 w 3759200"/>
                  <a:gd name="connsiteY8" fmla="*/ 0 h 422275"/>
                  <a:gd name="connsiteX0" fmla="*/ 0 w 3759200"/>
                  <a:gd name="connsiteY0" fmla="*/ 88900 h 422275"/>
                  <a:gd name="connsiteX1" fmla="*/ 79375 w 3759200"/>
                  <a:gd name="connsiteY1" fmla="*/ 349250 h 422275"/>
                  <a:gd name="connsiteX2" fmla="*/ 161925 w 3759200"/>
                  <a:gd name="connsiteY2" fmla="*/ 422275 h 422275"/>
                  <a:gd name="connsiteX3" fmla="*/ 635000 w 3759200"/>
                  <a:gd name="connsiteY3" fmla="*/ 228600 h 422275"/>
                  <a:gd name="connsiteX4" fmla="*/ 1257300 w 3759200"/>
                  <a:gd name="connsiteY4" fmla="*/ 92075 h 422275"/>
                  <a:gd name="connsiteX5" fmla="*/ 1882775 w 3759200"/>
                  <a:gd name="connsiteY5" fmla="*/ 60325 h 422275"/>
                  <a:gd name="connsiteX6" fmla="*/ 2520156 w 3759200"/>
                  <a:gd name="connsiteY6" fmla="*/ 220662 h 422275"/>
                  <a:gd name="connsiteX7" fmla="*/ 3136900 w 3759200"/>
                  <a:gd name="connsiteY7" fmla="*/ 146050 h 422275"/>
                  <a:gd name="connsiteX8" fmla="*/ 3759200 w 3759200"/>
                  <a:gd name="connsiteY8" fmla="*/ 0 h 422275"/>
                  <a:gd name="connsiteX0" fmla="*/ 0 w 3759200"/>
                  <a:gd name="connsiteY0" fmla="*/ 88900 h 422275"/>
                  <a:gd name="connsiteX1" fmla="*/ 79375 w 3759200"/>
                  <a:gd name="connsiteY1" fmla="*/ 349250 h 422275"/>
                  <a:gd name="connsiteX2" fmla="*/ 161925 w 3759200"/>
                  <a:gd name="connsiteY2" fmla="*/ 422275 h 422275"/>
                  <a:gd name="connsiteX3" fmla="*/ 635000 w 3759200"/>
                  <a:gd name="connsiteY3" fmla="*/ 228600 h 422275"/>
                  <a:gd name="connsiteX4" fmla="*/ 1257300 w 3759200"/>
                  <a:gd name="connsiteY4" fmla="*/ 92075 h 422275"/>
                  <a:gd name="connsiteX5" fmla="*/ 1882775 w 3759200"/>
                  <a:gd name="connsiteY5" fmla="*/ 60325 h 422275"/>
                  <a:gd name="connsiteX6" fmla="*/ 2520156 w 3759200"/>
                  <a:gd name="connsiteY6" fmla="*/ 220662 h 422275"/>
                  <a:gd name="connsiteX7" fmla="*/ 3136900 w 3759200"/>
                  <a:gd name="connsiteY7" fmla="*/ 179388 h 422275"/>
                  <a:gd name="connsiteX8" fmla="*/ 3759200 w 3759200"/>
                  <a:gd name="connsiteY8" fmla="*/ 0 h 422275"/>
                  <a:gd name="connsiteX0" fmla="*/ 0 w 3773488"/>
                  <a:gd name="connsiteY0" fmla="*/ 69850 h 403225"/>
                  <a:gd name="connsiteX1" fmla="*/ 79375 w 3773488"/>
                  <a:gd name="connsiteY1" fmla="*/ 330200 h 403225"/>
                  <a:gd name="connsiteX2" fmla="*/ 161925 w 3773488"/>
                  <a:gd name="connsiteY2" fmla="*/ 403225 h 403225"/>
                  <a:gd name="connsiteX3" fmla="*/ 635000 w 3773488"/>
                  <a:gd name="connsiteY3" fmla="*/ 209550 h 403225"/>
                  <a:gd name="connsiteX4" fmla="*/ 1257300 w 3773488"/>
                  <a:gd name="connsiteY4" fmla="*/ 73025 h 403225"/>
                  <a:gd name="connsiteX5" fmla="*/ 1882775 w 3773488"/>
                  <a:gd name="connsiteY5" fmla="*/ 41275 h 403225"/>
                  <a:gd name="connsiteX6" fmla="*/ 2520156 w 3773488"/>
                  <a:gd name="connsiteY6" fmla="*/ 201612 h 403225"/>
                  <a:gd name="connsiteX7" fmla="*/ 3136900 w 3773488"/>
                  <a:gd name="connsiteY7" fmla="*/ 160338 h 403225"/>
                  <a:gd name="connsiteX8" fmla="*/ 3773488 w 3773488"/>
                  <a:gd name="connsiteY8" fmla="*/ 0 h 403225"/>
                  <a:gd name="connsiteX0" fmla="*/ 0 w 3773488"/>
                  <a:gd name="connsiteY0" fmla="*/ 69850 h 403225"/>
                  <a:gd name="connsiteX1" fmla="*/ 74613 w 3773488"/>
                  <a:gd name="connsiteY1" fmla="*/ 375444 h 403225"/>
                  <a:gd name="connsiteX2" fmla="*/ 161925 w 3773488"/>
                  <a:gd name="connsiteY2" fmla="*/ 403225 h 403225"/>
                  <a:gd name="connsiteX3" fmla="*/ 635000 w 3773488"/>
                  <a:gd name="connsiteY3" fmla="*/ 209550 h 403225"/>
                  <a:gd name="connsiteX4" fmla="*/ 1257300 w 3773488"/>
                  <a:gd name="connsiteY4" fmla="*/ 73025 h 403225"/>
                  <a:gd name="connsiteX5" fmla="*/ 1882775 w 3773488"/>
                  <a:gd name="connsiteY5" fmla="*/ 41275 h 403225"/>
                  <a:gd name="connsiteX6" fmla="*/ 2520156 w 3773488"/>
                  <a:gd name="connsiteY6" fmla="*/ 201612 h 403225"/>
                  <a:gd name="connsiteX7" fmla="*/ 3136900 w 3773488"/>
                  <a:gd name="connsiteY7" fmla="*/ 160338 h 403225"/>
                  <a:gd name="connsiteX8" fmla="*/ 3773488 w 3773488"/>
                  <a:gd name="connsiteY8" fmla="*/ 0 h 403225"/>
                  <a:gd name="connsiteX0" fmla="*/ 0 w 3771107"/>
                  <a:gd name="connsiteY0" fmla="*/ 0 h 459582"/>
                  <a:gd name="connsiteX1" fmla="*/ 72232 w 3771107"/>
                  <a:gd name="connsiteY1" fmla="*/ 431801 h 459582"/>
                  <a:gd name="connsiteX2" fmla="*/ 159544 w 3771107"/>
                  <a:gd name="connsiteY2" fmla="*/ 459582 h 459582"/>
                  <a:gd name="connsiteX3" fmla="*/ 632619 w 3771107"/>
                  <a:gd name="connsiteY3" fmla="*/ 265907 h 459582"/>
                  <a:gd name="connsiteX4" fmla="*/ 1254919 w 3771107"/>
                  <a:gd name="connsiteY4" fmla="*/ 129382 h 459582"/>
                  <a:gd name="connsiteX5" fmla="*/ 1880394 w 3771107"/>
                  <a:gd name="connsiteY5" fmla="*/ 97632 h 459582"/>
                  <a:gd name="connsiteX6" fmla="*/ 2517775 w 3771107"/>
                  <a:gd name="connsiteY6" fmla="*/ 257969 h 459582"/>
                  <a:gd name="connsiteX7" fmla="*/ 3134519 w 3771107"/>
                  <a:gd name="connsiteY7" fmla="*/ 216695 h 459582"/>
                  <a:gd name="connsiteX8" fmla="*/ 3771107 w 3771107"/>
                  <a:gd name="connsiteY8" fmla="*/ 56357 h 459582"/>
                  <a:gd name="connsiteX0" fmla="*/ 0 w 3771107"/>
                  <a:gd name="connsiteY0" fmla="*/ 0 h 459582"/>
                  <a:gd name="connsiteX1" fmla="*/ 72232 w 3771107"/>
                  <a:gd name="connsiteY1" fmla="*/ 431801 h 459582"/>
                  <a:gd name="connsiteX2" fmla="*/ 159544 w 3771107"/>
                  <a:gd name="connsiteY2" fmla="*/ 459582 h 459582"/>
                  <a:gd name="connsiteX3" fmla="*/ 632619 w 3771107"/>
                  <a:gd name="connsiteY3" fmla="*/ 265907 h 459582"/>
                  <a:gd name="connsiteX4" fmla="*/ 1254919 w 3771107"/>
                  <a:gd name="connsiteY4" fmla="*/ 122239 h 459582"/>
                  <a:gd name="connsiteX5" fmla="*/ 1880394 w 3771107"/>
                  <a:gd name="connsiteY5" fmla="*/ 97632 h 459582"/>
                  <a:gd name="connsiteX6" fmla="*/ 2517775 w 3771107"/>
                  <a:gd name="connsiteY6" fmla="*/ 257969 h 459582"/>
                  <a:gd name="connsiteX7" fmla="*/ 3134519 w 3771107"/>
                  <a:gd name="connsiteY7" fmla="*/ 216695 h 459582"/>
                  <a:gd name="connsiteX8" fmla="*/ 3771107 w 3771107"/>
                  <a:gd name="connsiteY8" fmla="*/ 56357 h 459582"/>
                  <a:gd name="connsiteX0" fmla="*/ 0 w 3781081"/>
                  <a:gd name="connsiteY0" fmla="*/ 0 h 456258"/>
                  <a:gd name="connsiteX1" fmla="*/ 82206 w 3781081"/>
                  <a:gd name="connsiteY1" fmla="*/ 428477 h 456258"/>
                  <a:gd name="connsiteX2" fmla="*/ 169518 w 3781081"/>
                  <a:gd name="connsiteY2" fmla="*/ 456258 h 456258"/>
                  <a:gd name="connsiteX3" fmla="*/ 642593 w 3781081"/>
                  <a:gd name="connsiteY3" fmla="*/ 262583 h 456258"/>
                  <a:gd name="connsiteX4" fmla="*/ 1264893 w 3781081"/>
                  <a:gd name="connsiteY4" fmla="*/ 118915 h 456258"/>
                  <a:gd name="connsiteX5" fmla="*/ 1890368 w 3781081"/>
                  <a:gd name="connsiteY5" fmla="*/ 94308 h 456258"/>
                  <a:gd name="connsiteX6" fmla="*/ 2527749 w 3781081"/>
                  <a:gd name="connsiteY6" fmla="*/ 254645 h 456258"/>
                  <a:gd name="connsiteX7" fmla="*/ 3144493 w 3781081"/>
                  <a:gd name="connsiteY7" fmla="*/ 213371 h 456258"/>
                  <a:gd name="connsiteX8" fmla="*/ 3781081 w 3781081"/>
                  <a:gd name="connsiteY8" fmla="*/ 53033 h 456258"/>
                  <a:gd name="connsiteX0" fmla="*/ 0 w 3781081"/>
                  <a:gd name="connsiteY0" fmla="*/ 0 h 456258"/>
                  <a:gd name="connsiteX1" fmla="*/ 82206 w 3781081"/>
                  <a:gd name="connsiteY1" fmla="*/ 428477 h 456258"/>
                  <a:gd name="connsiteX2" fmla="*/ 169518 w 3781081"/>
                  <a:gd name="connsiteY2" fmla="*/ 456258 h 456258"/>
                  <a:gd name="connsiteX3" fmla="*/ 642593 w 3781081"/>
                  <a:gd name="connsiteY3" fmla="*/ 262583 h 456258"/>
                  <a:gd name="connsiteX4" fmla="*/ 1264893 w 3781081"/>
                  <a:gd name="connsiteY4" fmla="*/ 118915 h 456258"/>
                  <a:gd name="connsiteX5" fmla="*/ 1890368 w 3781081"/>
                  <a:gd name="connsiteY5" fmla="*/ 94308 h 456258"/>
                  <a:gd name="connsiteX6" fmla="*/ 2527749 w 3781081"/>
                  <a:gd name="connsiteY6" fmla="*/ 254645 h 456258"/>
                  <a:gd name="connsiteX7" fmla="*/ 3144493 w 3781081"/>
                  <a:gd name="connsiteY7" fmla="*/ 213371 h 456258"/>
                  <a:gd name="connsiteX8" fmla="*/ 3781081 w 3781081"/>
                  <a:gd name="connsiteY8" fmla="*/ 53033 h 456258"/>
                  <a:gd name="connsiteX0" fmla="*/ 0 w 3781081"/>
                  <a:gd name="connsiteY0" fmla="*/ 0 h 456258"/>
                  <a:gd name="connsiteX1" fmla="*/ 82206 w 3781081"/>
                  <a:gd name="connsiteY1" fmla="*/ 428477 h 456258"/>
                  <a:gd name="connsiteX2" fmla="*/ 169518 w 3781081"/>
                  <a:gd name="connsiteY2" fmla="*/ 456258 h 456258"/>
                  <a:gd name="connsiteX3" fmla="*/ 642593 w 3781081"/>
                  <a:gd name="connsiteY3" fmla="*/ 262583 h 456258"/>
                  <a:gd name="connsiteX4" fmla="*/ 1264894 w 3781081"/>
                  <a:gd name="connsiteY4" fmla="*/ 122239 h 456258"/>
                  <a:gd name="connsiteX5" fmla="*/ 1890368 w 3781081"/>
                  <a:gd name="connsiteY5" fmla="*/ 94308 h 456258"/>
                  <a:gd name="connsiteX6" fmla="*/ 2527749 w 3781081"/>
                  <a:gd name="connsiteY6" fmla="*/ 254645 h 456258"/>
                  <a:gd name="connsiteX7" fmla="*/ 3144493 w 3781081"/>
                  <a:gd name="connsiteY7" fmla="*/ 213371 h 456258"/>
                  <a:gd name="connsiteX8" fmla="*/ 3781081 w 3781081"/>
                  <a:gd name="connsiteY8" fmla="*/ 53033 h 456258"/>
                  <a:gd name="connsiteX0" fmla="*/ 0 w 3781081"/>
                  <a:gd name="connsiteY0" fmla="*/ 0 h 456258"/>
                  <a:gd name="connsiteX1" fmla="*/ 82206 w 3781081"/>
                  <a:gd name="connsiteY1" fmla="*/ 428477 h 456258"/>
                  <a:gd name="connsiteX2" fmla="*/ 169518 w 3781081"/>
                  <a:gd name="connsiteY2" fmla="*/ 456258 h 456258"/>
                  <a:gd name="connsiteX3" fmla="*/ 642593 w 3781081"/>
                  <a:gd name="connsiteY3" fmla="*/ 262583 h 456258"/>
                  <a:gd name="connsiteX4" fmla="*/ 1264894 w 3781081"/>
                  <a:gd name="connsiteY4" fmla="*/ 122239 h 456258"/>
                  <a:gd name="connsiteX5" fmla="*/ 1940237 w 3781081"/>
                  <a:gd name="connsiteY5" fmla="*/ 94307 h 456258"/>
                  <a:gd name="connsiteX6" fmla="*/ 2527749 w 3781081"/>
                  <a:gd name="connsiteY6" fmla="*/ 254645 h 456258"/>
                  <a:gd name="connsiteX7" fmla="*/ 3144493 w 3781081"/>
                  <a:gd name="connsiteY7" fmla="*/ 213371 h 456258"/>
                  <a:gd name="connsiteX8" fmla="*/ 3781081 w 3781081"/>
                  <a:gd name="connsiteY8" fmla="*/ 53033 h 456258"/>
                  <a:gd name="connsiteX0" fmla="*/ 0 w 3781081"/>
                  <a:gd name="connsiteY0" fmla="*/ 0 h 466232"/>
                  <a:gd name="connsiteX1" fmla="*/ 82206 w 3781081"/>
                  <a:gd name="connsiteY1" fmla="*/ 428477 h 466232"/>
                  <a:gd name="connsiteX2" fmla="*/ 166193 w 3781081"/>
                  <a:gd name="connsiteY2" fmla="*/ 466232 h 466232"/>
                  <a:gd name="connsiteX3" fmla="*/ 642593 w 3781081"/>
                  <a:gd name="connsiteY3" fmla="*/ 262583 h 466232"/>
                  <a:gd name="connsiteX4" fmla="*/ 1264894 w 3781081"/>
                  <a:gd name="connsiteY4" fmla="*/ 122239 h 466232"/>
                  <a:gd name="connsiteX5" fmla="*/ 1940237 w 3781081"/>
                  <a:gd name="connsiteY5" fmla="*/ 94307 h 466232"/>
                  <a:gd name="connsiteX6" fmla="*/ 2527749 w 3781081"/>
                  <a:gd name="connsiteY6" fmla="*/ 254645 h 466232"/>
                  <a:gd name="connsiteX7" fmla="*/ 3144493 w 3781081"/>
                  <a:gd name="connsiteY7" fmla="*/ 213371 h 466232"/>
                  <a:gd name="connsiteX8" fmla="*/ 3781081 w 3781081"/>
                  <a:gd name="connsiteY8" fmla="*/ 53033 h 466232"/>
                  <a:gd name="connsiteX0" fmla="*/ 0 w 3781081"/>
                  <a:gd name="connsiteY0" fmla="*/ 0 h 466232"/>
                  <a:gd name="connsiteX1" fmla="*/ 88856 w 3781081"/>
                  <a:gd name="connsiteY1" fmla="*/ 441775 h 466232"/>
                  <a:gd name="connsiteX2" fmla="*/ 166193 w 3781081"/>
                  <a:gd name="connsiteY2" fmla="*/ 466232 h 466232"/>
                  <a:gd name="connsiteX3" fmla="*/ 642593 w 3781081"/>
                  <a:gd name="connsiteY3" fmla="*/ 262583 h 466232"/>
                  <a:gd name="connsiteX4" fmla="*/ 1264894 w 3781081"/>
                  <a:gd name="connsiteY4" fmla="*/ 122239 h 466232"/>
                  <a:gd name="connsiteX5" fmla="*/ 1940237 w 3781081"/>
                  <a:gd name="connsiteY5" fmla="*/ 94307 h 466232"/>
                  <a:gd name="connsiteX6" fmla="*/ 2527749 w 3781081"/>
                  <a:gd name="connsiteY6" fmla="*/ 254645 h 466232"/>
                  <a:gd name="connsiteX7" fmla="*/ 3144493 w 3781081"/>
                  <a:gd name="connsiteY7" fmla="*/ 213371 h 466232"/>
                  <a:gd name="connsiteX8" fmla="*/ 3781081 w 3781081"/>
                  <a:gd name="connsiteY8" fmla="*/ 53033 h 466232"/>
                  <a:gd name="connsiteX0" fmla="*/ 0 w 3781081"/>
                  <a:gd name="connsiteY0" fmla="*/ 0 h 462908"/>
                  <a:gd name="connsiteX1" fmla="*/ 88856 w 3781081"/>
                  <a:gd name="connsiteY1" fmla="*/ 441775 h 462908"/>
                  <a:gd name="connsiteX2" fmla="*/ 166193 w 3781081"/>
                  <a:gd name="connsiteY2" fmla="*/ 462908 h 462908"/>
                  <a:gd name="connsiteX3" fmla="*/ 642593 w 3781081"/>
                  <a:gd name="connsiteY3" fmla="*/ 262583 h 462908"/>
                  <a:gd name="connsiteX4" fmla="*/ 1264894 w 3781081"/>
                  <a:gd name="connsiteY4" fmla="*/ 122239 h 462908"/>
                  <a:gd name="connsiteX5" fmla="*/ 1940237 w 3781081"/>
                  <a:gd name="connsiteY5" fmla="*/ 94307 h 462908"/>
                  <a:gd name="connsiteX6" fmla="*/ 2527749 w 3781081"/>
                  <a:gd name="connsiteY6" fmla="*/ 254645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9215 w 3781081"/>
                  <a:gd name="connsiteY3" fmla="*/ 269231 h 462908"/>
                  <a:gd name="connsiteX4" fmla="*/ 1264894 w 3781081"/>
                  <a:gd name="connsiteY4" fmla="*/ 122239 h 462908"/>
                  <a:gd name="connsiteX5" fmla="*/ 1940237 w 3781081"/>
                  <a:gd name="connsiteY5" fmla="*/ 94307 h 462908"/>
                  <a:gd name="connsiteX6" fmla="*/ 2527749 w 3781081"/>
                  <a:gd name="connsiteY6" fmla="*/ 254645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5891 w 3781081"/>
                  <a:gd name="connsiteY3" fmla="*/ 259258 h 462908"/>
                  <a:gd name="connsiteX4" fmla="*/ 1264894 w 3781081"/>
                  <a:gd name="connsiteY4" fmla="*/ 122239 h 462908"/>
                  <a:gd name="connsiteX5" fmla="*/ 1940237 w 3781081"/>
                  <a:gd name="connsiteY5" fmla="*/ 94307 h 462908"/>
                  <a:gd name="connsiteX6" fmla="*/ 2527749 w 3781081"/>
                  <a:gd name="connsiteY6" fmla="*/ 254645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5891 w 3781081"/>
                  <a:gd name="connsiteY3" fmla="*/ 259258 h 462908"/>
                  <a:gd name="connsiteX4" fmla="*/ 1264894 w 3781081"/>
                  <a:gd name="connsiteY4" fmla="*/ 122239 h 462908"/>
                  <a:gd name="connsiteX5" fmla="*/ 1940237 w 3781081"/>
                  <a:gd name="connsiteY5" fmla="*/ 94307 h 462908"/>
                  <a:gd name="connsiteX6" fmla="*/ 2527749 w 3781081"/>
                  <a:gd name="connsiteY6" fmla="*/ 254645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5891 w 3781081"/>
                  <a:gd name="connsiteY3" fmla="*/ 259258 h 462908"/>
                  <a:gd name="connsiteX4" fmla="*/ 1301463 w 3781081"/>
                  <a:gd name="connsiteY4" fmla="*/ 125564 h 462908"/>
                  <a:gd name="connsiteX5" fmla="*/ 1940237 w 3781081"/>
                  <a:gd name="connsiteY5" fmla="*/ 94307 h 462908"/>
                  <a:gd name="connsiteX6" fmla="*/ 2527749 w 3781081"/>
                  <a:gd name="connsiteY6" fmla="*/ 254645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5891 w 3781081"/>
                  <a:gd name="connsiteY3" fmla="*/ 259258 h 462908"/>
                  <a:gd name="connsiteX4" fmla="*/ 1301463 w 3781081"/>
                  <a:gd name="connsiteY4" fmla="*/ 125564 h 462908"/>
                  <a:gd name="connsiteX5" fmla="*/ 1940237 w 3781081"/>
                  <a:gd name="connsiteY5" fmla="*/ 94307 h 462908"/>
                  <a:gd name="connsiteX6" fmla="*/ 2527749 w 3781081"/>
                  <a:gd name="connsiteY6" fmla="*/ 254645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5891 w 3781081"/>
                  <a:gd name="connsiteY3" fmla="*/ 259258 h 462908"/>
                  <a:gd name="connsiteX4" fmla="*/ 1301463 w 3781081"/>
                  <a:gd name="connsiteY4" fmla="*/ 125564 h 462908"/>
                  <a:gd name="connsiteX5" fmla="*/ 1940237 w 3781081"/>
                  <a:gd name="connsiteY5" fmla="*/ 94307 h 462908"/>
                  <a:gd name="connsiteX6" fmla="*/ 2587590 w 3781081"/>
                  <a:gd name="connsiteY6" fmla="*/ 257971 h 462908"/>
                  <a:gd name="connsiteX7" fmla="*/ 3144493 w 3781081"/>
                  <a:gd name="connsiteY7" fmla="*/ 213371 h 462908"/>
                  <a:gd name="connsiteX8" fmla="*/ 3781081 w 3781081"/>
                  <a:gd name="connsiteY8" fmla="*/ 53033 h 462908"/>
                  <a:gd name="connsiteX0" fmla="*/ 0 w 3781081"/>
                  <a:gd name="connsiteY0" fmla="*/ 0 h 462908"/>
                  <a:gd name="connsiteX1" fmla="*/ 88856 w 3781081"/>
                  <a:gd name="connsiteY1" fmla="*/ 441775 h 462908"/>
                  <a:gd name="connsiteX2" fmla="*/ 166193 w 3781081"/>
                  <a:gd name="connsiteY2" fmla="*/ 462908 h 462908"/>
                  <a:gd name="connsiteX3" fmla="*/ 655891 w 3781081"/>
                  <a:gd name="connsiteY3" fmla="*/ 259258 h 462908"/>
                  <a:gd name="connsiteX4" fmla="*/ 1301463 w 3781081"/>
                  <a:gd name="connsiteY4" fmla="*/ 125564 h 462908"/>
                  <a:gd name="connsiteX5" fmla="*/ 1940237 w 3781081"/>
                  <a:gd name="connsiteY5" fmla="*/ 94307 h 462908"/>
                  <a:gd name="connsiteX6" fmla="*/ 2587590 w 3781081"/>
                  <a:gd name="connsiteY6" fmla="*/ 257971 h 462908"/>
                  <a:gd name="connsiteX7" fmla="*/ 3230929 w 3781081"/>
                  <a:gd name="connsiteY7" fmla="*/ 206721 h 462908"/>
                  <a:gd name="connsiteX8" fmla="*/ 3781081 w 3781081"/>
                  <a:gd name="connsiteY8" fmla="*/ 53033 h 462908"/>
                  <a:gd name="connsiteX0" fmla="*/ 0 w 3884141"/>
                  <a:gd name="connsiteY0" fmla="*/ 0 h 462908"/>
                  <a:gd name="connsiteX1" fmla="*/ 88856 w 3884141"/>
                  <a:gd name="connsiteY1" fmla="*/ 441775 h 462908"/>
                  <a:gd name="connsiteX2" fmla="*/ 166193 w 3884141"/>
                  <a:gd name="connsiteY2" fmla="*/ 462908 h 462908"/>
                  <a:gd name="connsiteX3" fmla="*/ 655891 w 3884141"/>
                  <a:gd name="connsiteY3" fmla="*/ 259258 h 462908"/>
                  <a:gd name="connsiteX4" fmla="*/ 1301463 w 3884141"/>
                  <a:gd name="connsiteY4" fmla="*/ 125564 h 462908"/>
                  <a:gd name="connsiteX5" fmla="*/ 1940237 w 3884141"/>
                  <a:gd name="connsiteY5" fmla="*/ 94307 h 462908"/>
                  <a:gd name="connsiteX6" fmla="*/ 2587590 w 3884141"/>
                  <a:gd name="connsiteY6" fmla="*/ 257971 h 462908"/>
                  <a:gd name="connsiteX7" fmla="*/ 3230929 w 3884141"/>
                  <a:gd name="connsiteY7" fmla="*/ 206721 h 462908"/>
                  <a:gd name="connsiteX8" fmla="*/ 3884141 w 3884141"/>
                  <a:gd name="connsiteY8" fmla="*/ 56358 h 46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84141" h="462908">
                    <a:moveTo>
                      <a:pt x="0" y="0"/>
                    </a:moveTo>
                    <a:lnTo>
                      <a:pt x="88856" y="441775"/>
                    </a:lnTo>
                    <a:lnTo>
                      <a:pt x="166193" y="462908"/>
                    </a:lnTo>
                    <a:lnTo>
                      <a:pt x="655891" y="259258"/>
                    </a:lnTo>
                    <a:lnTo>
                      <a:pt x="1301463" y="125564"/>
                    </a:lnTo>
                    <a:lnTo>
                      <a:pt x="1940237" y="94307"/>
                    </a:lnTo>
                    <a:lnTo>
                      <a:pt x="2587590" y="257971"/>
                    </a:lnTo>
                    <a:lnTo>
                      <a:pt x="3230929" y="206721"/>
                    </a:lnTo>
                    <a:lnTo>
                      <a:pt x="3884141" y="56358"/>
                    </a:lnTo>
                  </a:path>
                </a:pathLst>
              </a:custGeom>
              <a:noFill/>
              <a:ln w="1905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08" name="Group 507">
                <a:extLst>
                  <a:ext uri="{FF2B5EF4-FFF2-40B4-BE49-F238E27FC236}">
                    <a16:creationId xmlns:a16="http://schemas.microsoft.com/office/drawing/2014/main" id="{2877C648-A9D9-4EA9-B8DC-66B1BF377D12}"/>
                  </a:ext>
                </a:extLst>
              </p:cNvPr>
              <p:cNvGrpSpPr/>
              <p:nvPr/>
            </p:nvGrpSpPr>
            <p:grpSpPr>
              <a:xfrm>
                <a:off x="6649661" y="3448119"/>
                <a:ext cx="53362" cy="120207"/>
                <a:chOff x="9029700" y="4535234"/>
                <a:chExt cx="64008" cy="214609"/>
              </a:xfrm>
            </p:grpSpPr>
            <p:cxnSp>
              <p:nvCxnSpPr>
                <p:cNvPr id="672" name="Straight Connector 671">
                  <a:extLst>
                    <a:ext uri="{FF2B5EF4-FFF2-40B4-BE49-F238E27FC236}">
                      <a16:creationId xmlns:a16="http://schemas.microsoft.com/office/drawing/2014/main" id="{AAE1F42D-230B-405A-9270-D14CC166D7F9}"/>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673" name="Straight Connector 672">
                  <a:extLst>
                    <a:ext uri="{FF2B5EF4-FFF2-40B4-BE49-F238E27FC236}">
                      <a16:creationId xmlns:a16="http://schemas.microsoft.com/office/drawing/2014/main" id="{BC2AB881-AB5D-477B-AB09-5969A8F85033}"/>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674" name="Straight Connector 673">
                  <a:extLst>
                    <a:ext uri="{FF2B5EF4-FFF2-40B4-BE49-F238E27FC236}">
                      <a16:creationId xmlns:a16="http://schemas.microsoft.com/office/drawing/2014/main" id="{AE622FB1-6D23-484B-BCA4-A7632F27172E}"/>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509" name="Group 508">
                <a:extLst>
                  <a:ext uri="{FF2B5EF4-FFF2-40B4-BE49-F238E27FC236}">
                    <a16:creationId xmlns:a16="http://schemas.microsoft.com/office/drawing/2014/main" id="{EB9E6206-73A9-4CE8-8A8A-C166ECCD794D}"/>
                  </a:ext>
                </a:extLst>
              </p:cNvPr>
              <p:cNvGrpSpPr/>
              <p:nvPr/>
            </p:nvGrpSpPr>
            <p:grpSpPr>
              <a:xfrm>
                <a:off x="7113135" y="3445738"/>
                <a:ext cx="53362" cy="139896"/>
                <a:chOff x="9029700" y="4535234"/>
                <a:chExt cx="64008" cy="214609"/>
              </a:xfrm>
            </p:grpSpPr>
            <p:cxnSp>
              <p:nvCxnSpPr>
                <p:cNvPr id="669" name="Straight Connector 668">
                  <a:extLst>
                    <a:ext uri="{FF2B5EF4-FFF2-40B4-BE49-F238E27FC236}">
                      <a16:creationId xmlns:a16="http://schemas.microsoft.com/office/drawing/2014/main" id="{4E5A234C-43F9-4161-8983-542EE7479BB4}"/>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670" name="Straight Connector 669">
                  <a:extLst>
                    <a:ext uri="{FF2B5EF4-FFF2-40B4-BE49-F238E27FC236}">
                      <a16:creationId xmlns:a16="http://schemas.microsoft.com/office/drawing/2014/main" id="{5488FDEC-010D-4DCB-9707-BBB0DAE42407}"/>
                    </a:ext>
                  </a:extLst>
                </p:cNvPr>
                <p:cNvCxnSpPr/>
                <p:nvPr/>
              </p:nvCxnSpPr>
              <p:spPr>
                <a:xfrm>
                  <a:off x="9029700" y="4742435"/>
                  <a:ext cx="64008" cy="0"/>
                </a:xfrm>
                <a:prstGeom prst="line">
                  <a:avLst/>
                </a:prstGeom>
                <a:noFill/>
                <a:ln w="9525" cap="flat" cmpd="sng" algn="ctr">
                  <a:solidFill>
                    <a:schemeClr val="tx2"/>
                  </a:solidFill>
                  <a:prstDash val="solid"/>
                </a:ln>
                <a:effectLst/>
              </p:spPr>
            </p:cxnSp>
            <p:cxnSp>
              <p:nvCxnSpPr>
                <p:cNvPr id="671" name="Straight Connector 670">
                  <a:extLst>
                    <a:ext uri="{FF2B5EF4-FFF2-40B4-BE49-F238E27FC236}">
                      <a16:creationId xmlns:a16="http://schemas.microsoft.com/office/drawing/2014/main" id="{F6FB336C-1E44-4D29-BA91-52583EBB2DBA}"/>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510" name="Group 509">
                <a:extLst>
                  <a:ext uri="{FF2B5EF4-FFF2-40B4-BE49-F238E27FC236}">
                    <a16:creationId xmlns:a16="http://schemas.microsoft.com/office/drawing/2014/main" id="{8C1350F9-E832-402F-B47B-DDB533E6D977}"/>
                  </a:ext>
                </a:extLst>
              </p:cNvPr>
              <p:cNvGrpSpPr/>
              <p:nvPr/>
            </p:nvGrpSpPr>
            <p:grpSpPr>
              <a:xfrm>
                <a:off x="7574330" y="3492622"/>
                <a:ext cx="53362" cy="168731"/>
                <a:chOff x="9029700" y="4535234"/>
                <a:chExt cx="64008" cy="214609"/>
              </a:xfrm>
            </p:grpSpPr>
            <p:cxnSp>
              <p:nvCxnSpPr>
                <p:cNvPr id="666" name="Straight Connector 665">
                  <a:extLst>
                    <a:ext uri="{FF2B5EF4-FFF2-40B4-BE49-F238E27FC236}">
                      <a16:creationId xmlns:a16="http://schemas.microsoft.com/office/drawing/2014/main" id="{9ECF0EB3-E422-4F36-85D5-7B5F4A52CE20}"/>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667" name="Straight Connector 666">
                  <a:extLst>
                    <a:ext uri="{FF2B5EF4-FFF2-40B4-BE49-F238E27FC236}">
                      <a16:creationId xmlns:a16="http://schemas.microsoft.com/office/drawing/2014/main" id="{3C9826D9-56AF-4479-BD6A-82F467208CE9}"/>
                    </a:ext>
                  </a:extLst>
                </p:cNvPr>
                <p:cNvCxnSpPr/>
                <p:nvPr/>
              </p:nvCxnSpPr>
              <p:spPr>
                <a:xfrm>
                  <a:off x="9029700" y="4749117"/>
                  <a:ext cx="64008" cy="0"/>
                </a:xfrm>
                <a:prstGeom prst="line">
                  <a:avLst/>
                </a:prstGeom>
                <a:noFill/>
                <a:ln w="9525" cap="flat" cmpd="sng" algn="ctr">
                  <a:solidFill>
                    <a:schemeClr val="tx2"/>
                  </a:solidFill>
                  <a:prstDash val="solid"/>
                </a:ln>
                <a:effectLst/>
              </p:spPr>
            </p:cxnSp>
            <p:cxnSp>
              <p:nvCxnSpPr>
                <p:cNvPr id="668" name="Straight Connector 667">
                  <a:extLst>
                    <a:ext uri="{FF2B5EF4-FFF2-40B4-BE49-F238E27FC236}">
                      <a16:creationId xmlns:a16="http://schemas.microsoft.com/office/drawing/2014/main" id="{ECCB3FC6-5CD1-435D-8236-0D14B77BF48D}"/>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sp>
            <p:nvSpPr>
              <p:cNvPr id="511" name="Oval 510">
                <a:extLst>
                  <a:ext uri="{FF2B5EF4-FFF2-40B4-BE49-F238E27FC236}">
                    <a16:creationId xmlns:a16="http://schemas.microsoft.com/office/drawing/2014/main" id="{F3AD2461-ECE9-4F07-B298-5ED5F33594CC}"/>
                  </a:ext>
                </a:extLst>
              </p:cNvPr>
              <p:cNvSpPr/>
              <p:nvPr/>
            </p:nvSpPr>
            <p:spPr>
              <a:xfrm>
                <a:off x="8035892" y="3567967"/>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12" name="Freeform: Shape 511">
                <a:extLst>
                  <a:ext uri="{FF2B5EF4-FFF2-40B4-BE49-F238E27FC236}">
                    <a16:creationId xmlns:a16="http://schemas.microsoft.com/office/drawing/2014/main" id="{3E42B927-C5FC-49C0-90F5-0A9575D3AB72}"/>
                  </a:ext>
                </a:extLst>
              </p:cNvPr>
              <p:cNvSpPr/>
              <p:nvPr/>
            </p:nvSpPr>
            <p:spPr>
              <a:xfrm>
                <a:off x="5751204" y="3460971"/>
                <a:ext cx="2772586" cy="144410"/>
              </a:xfrm>
              <a:custGeom>
                <a:avLst/>
                <a:gdLst>
                  <a:gd name="connsiteX0" fmla="*/ 0 w 3759200"/>
                  <a:gd name="connsiteY0" fmla="*/ 165100 h 438150"/>
                  <a:gd name="connsiteX1" fmla="*/ 85725 w 3759200"/>
                  <a:gd name="connsiteY1" fmla="*/ 361950 h 438150"/>
                  <a:gd name="connsiteX2" fmla="*/ 177800 w 3759200"/>
                  <a:gd name="connsiteY2" fmla="*/ 438150 h 438150"/>
                  <a:gd name="connsiteX3" fmla="*/ 641350 w 3759200"/>
                  <a:gd name="connsiteY3" fmla="*/ 219075 h 438150"/>
                  <a:gd name="connsiteX4" fmla="*/ 1260475 w 3759200"/>
                  <a:gd name="connsiteY4" fmla="*/ 168275 h 438150"/>
                  <a:gd name="connsiteX5" fmla="*/ 1882775 w 3759200"/>
                  <a:gd name="connsiteY5" fmla="*/ 95250 h 438150"/>
                  <a:gd name="connsiteX6" fmla="*/ 2508250 w 3759200"/>
                  <a:gd name="connsiteY6" fmla="*/ 180975 h 438150"/>
                  <a:gd name="connsiteX7" fmla="*/ 3133725 w 3759200"/>
                  <a:gd name="connsiteY7" fmla="*/ 15875 h 438150"/>
                  <a:gd name="connsiteX8" fmla="*/ 3759200 w 3759200"/>
                  <a:gd name="connsiteY8" fmla="*/ 0 h 438150"/>
                  <a:gd name="connsiteX0" fmla="*/ 0 w 3759200"/>
                  <a:gd name="connsiteY0" fmla="*/ 165100 h 364331"/>
                  <a:gd name="connsiteX1" fmla="*/ 85725 w 3759200"/>
                  <a:gd name="connsiteY1" fmla="*/ 361950 h 364331"/>
                  <a:gd name="connsiteX2" fmla="*/ 168275 w 3759200"/>
                  <a:gd name="connsiteY2" fmla="*/ 364331 h 364331"/>
                  <a:gd name="connsiteX3" fmla="*/ 641350 w 3759200"/>
                  <a:gd name="connsiteY3" fmla="*/ 219075 h 364331"/>
                  <a:gd name="connsiteX4" fmla="*/ 1260475 w 3759200"/>
                  <a:gd name="connsiteY4" fmla="*/ 168275 h 364331"/>
                  <a:gd name="connsiteX5" fmla="*/ 1882775 w 3759200"/>
                  <a:gd name="connsiteY5" fmla="*/ 95250 h 364331"/>
                  <a:gd name="connsiteX6" fmla="*/ 2508250 w 3759200"/>
                  <a:gd name="connsiteY6" fmla="*/ 180975 h 364331"/>
                  <a:gd name="connsiteX7" fmla="*/ 3133725 w 3759200"/>
                  <a:gd name="connsiteY7" fmla="*/ 15875 h 364331"/>
                  <a:gd name="connsiteX8" fmla="*/ 3759200 w 3759200"/>
                  <a:gd name="connsiteY8" fmla="*/ 0 h 364331"/>
                  <a:gd name="connsiteX0" fmla="*/ 0 w 3759200"/>
                  <a:gd name="connsiteY0" fmla="*/ 165100 h 364331"/>
                  <a:gd name="connsiteX1" fmla="*/ 85725 w 3759200"/>
                  <a:gd name="connsiteY1" fmla="*/ 361950 h 364331"/>
                  <a:gd name="connsiteX2" fmla="*/ 168275 w 3759200"/>
                  <a:gd name="connsiteY2" fmla="*/ 364331 h 364331"/>
                  <a:gd name="connsiteX3" fmla="*/ 641350 w 3759200"/>
                  <a:gd name="connsiteY3" fmla="*/ 219075 h 364331"/>
                  <a:gd name="connsiteX4" fmla="*/ 1260475 w 3759200"/>
                  <a:gd name="connsiteY4" fmla="*/ 168275 h 364331"/>
                  <a:gd name="connsiteX5" fmla="*/ 1882775 w 3759200"/>
                  <a:gd name="connsiteY5" fmla="*/ 95250 h 364331"/>
                  <a:gd name="connsiteX6" fmla="*/ 2508250 w 3759200"/>
                  <a:gd name="connsiteY6" fmla="*/ 180975 h 364331"/>
                  <a:gd name="connsiteX7" fmla="*/ 3133725 w 3759200"/>
                  <a:gd name="connsiteY7" fmla="*/ 15875 h 364331"/>
                  <a:gd name="connsiteX8" fmla="*/ 3759200 w 3759200"/>
                  <a:gd name="connsiteY8" fmla="*/ 0 h 364331"/>
                  <a:gd name="connsiteX0" fmla="*/ 0 w 3759200"/>
                  <a:gd name="connsiteY0" fmla="*/ 165100 h 364331"/>
                  <a:gd name="connsiteX1" fmla="*/ 85725 w 3759200"/>
                  <a:gd name="connsiteY1" fmla="*/ 361950 h 364331"/>
                  <a:gd name="connsiteX2" fmla="*/ 168275 w 3759200"/>
                  <a:gd name="connsiteY2" fmla="*/ 364331 h 364331"/>
                  <a:gd name="connsiteX3" fmla="*/ 634207 w 3759200"/>
                  <a:gd name="connsiteY3" fmla="*/ 161925 h 364331"/>
                  <a:gd name="connsiteX4" fmla="*/ 1260475 w 3759200"/>
                  <a:gd name="connsiteY4" fmla="*/ 168275 h 364331"/>
                  <a:gd name="connsiteX5" fmla="*/ 1882775 w 3759200"/>
                  <a:gd name="connsiteY5" fmla="*/ 95250 h 364331"/>
                  <a:gd name="connsiteX6" fmla="*/ 2508250 w 3759200"/>
                  <a:gd name="connsiteY6" fmla="*/ 180975 h 364331"/>
                  <a:gd name="connsiteX7" fmla="*/ 3133725 w 3759200"/>
                  <a:gd name="connsiteY7" fmla="*/ 15875 h 364331"/>
                  <a:gd name="connsiteX8" fmla="*/ 3759200 w 3759200"/>
                  <a:gd name="connsiteY8" fmla="*/ 0 h 364331"/>
                  <a:gd name="connsiteX0" fmla="*/ 0 w 3759200"/>
                  <a:gd name="connsiteY0" fmla="*/ 165100 h 364331"/>
                  <a:gd name="connsiteX1" fmla="*/ 85725 w 3759200"/>
                  <a:gd name="connsiteY1" fmla="*/ 361950 h 364331"/>
                  <a:gd name="connsiteX2" fmla="*/ 168275 w 3759200"/>
                  <a:gd name="connsiteY2" fmla="*/ 364331 h 364331"/>
                  <a:gd name="connsiteX3" fmla="*/ 634207 w 3759200"/>
                  <a:gd name="connsiteY3" fmla="*/ 161925 h 364331"/>
                  <a:gd name="connsiteX4" fmla="*/ 1262857 w 3759200"/>
                  <a:gd name="connsiteY4" fmla="*/ 225425 h 364331"/>
                  <a:gd name="connsiteX5" fmla="*/ 1882775 w 3759200"/>
                  <a:gd name="connsiteY5" fmla="*/ 95250 h 364331"/>
                  <a:gd name="connsiteX6" fmla="*/ 2508250 w 3759200"/>
                  <a:gd name="connsiteY6" fmla="*/ 180975 h 364331"/>
                  <a:gd name="connsiteX7" fmla="*/ 3133725 w 3759200"/>
                  <a:gd name="connsiteY7" fmla="*/ 15875 h 364331"/>
                  <a:gd name="connsiteX8" fmla="*/ 3759200 w 3759200"/>
                  <a:gd name="connsiteY8" fmla="*/ 0 h 364331"/>
                  <a:gd name="connsiteX0" fmla="*/ 0 w 3759200"/>
                  <a:gd name="connsiteY0" fmla="*/ 165100 h 364331"/>
                  <a:gd name="connsiteX1" fmla="*/ 85725 w 3759200"/>
                  <a:gd name="connsiteY1" fmla="*/ 361950 h 364331"/>
                  <a:gd name="connsiteX2" fmla="*/ 168275 w 3759200"/>
                  <a:gd name="connsiteY2" fmla="*/ 364331 h 364331"/>
                  <a:gd name="connsiteX3" fmla="*/ 634207 w 3759200"/>
                  <a:gd name="connsiteY3" fmla="*/ 161925 h 364331"/>
                  <a:gd name="connsiteX4" fmla="*/ 1262857 w 3759200"/>
                  <a:gd name="connsiteY4" fmla="*/ 225425 h 364331"/>
                  <a:gd name="connsiteX5" fmla="*/ 1894681 w 3759200"/>
                  <a:gd name="connsiteY5" fmla="*/ 230981 h 364331"/>
                  <a:gd name="connsiteX6" fmla="*/ 2508250 w 3759200"/>
                  <a:gd name="connsiteY6" fmla="*/ 180975 h 364331"/>
                  <a:gd name="connsiteX7" fmla="*/ 3133725 w 3759200"/>
                  <a:gd name="connsiteY7" fmla="*/ 15875 h 364331"/>
                  <a:gd name="connsiteX8" fmla="*/ 3759200 w 3759200"/>
                  <a:gd name="connsiteY8" fmla="*/ 0 h 364331"/>
                  <a:gd name="connsiteX0" fmla="*/ 0 w 3759200"/>
                  <a:gd name="connsiteY0" fmla="*/ 165100 h 364331"/>
                  <a:gd name="connsiteX1" fmla="*/ 85725 w 3759200"/>
                  <a:gd name="connsiteY1" fmla="*/ 361950 h 364331"/>
                  <a:gd name="connsiteX2" fmla="*/ 168275 w 3759200"/>
                  <a:gd name="connsiteY2" fmla="*/ 364331 h 364331"/>
                  <a:gd name="connsiteX3" fmla="*/ 634207 w 3759200"/>
                  <a:gd name="connsiteY3" fmla="*/ 161925 h 364331"/>
                  <a:gd name="connsiteX4" fmla="*/ 1262857 w 3759200"/>
                  <a:gd name="connsiteY4" fmla="*/ 225425 h 364331"/>
                  <a:gd name="connsiteX5" fmla="*/ 1894681 w 3759200"/>
                  <a:gd name="connsiteY5" fmla="*/ 230981 h 364331"/>
                  <a:gd name="connsiteX6" fmla="*/ 2536825 w 3759200"/>
                  <a:gd name="connsiteY6" fmla="*/ 328613 h 364331"/>
                  <a:gd name="connsiteX7" fmla="*/ 3133725 w 3759200"/>
                  <a:gd name="connsiteY7" fmla="*/ 15875 h 364331"/>
                  <a:gd name="connsiteX8" fmla="*/ 3759200 w 3759200"/>
                  <a:gd name="connsiteY8" fmla="*/ 0 h 364331"/>
                  <a:gd name="connsiteX0" fmla="*/ 0 w 3759200"/>
                  <a:gd name="connsiteY0" fmla="*/ 165100 h 364331"/>
                  <a:gd name="connsiteX1" fmla="*/ 85725 w 3759200"/>
                  <a:gd name="connsiteY1" fmla="*/ 361950 h 364331"/>
                  <a:gd name="connsiteX2" fmla="*/ 168275 w 3759200"/>
                  <a:gd name="connsiteY2" fmla="*/ 364331 h 364331"/>
                  <a:gd name="connsiteX3" fmla="*/ 634207 w 3759200"/>
                  <a:gd name="connsiteY3" fmla="*/ 161925 h 364331"/>
                  <a:gd name="connsiteX4" fmla="*/ 1262857 w 3759200"/>
                  <a:gd name="connsiteY4" fmla="*/ 225425 h 364331"/>
                  <a:gd name="connsiteX5" fmla="*/ 1894681 w 3759200"/>
                  <a:gd name="connsiteY5" fmla="*/ 230981 h 364331"/>
                  <a:gd name="connsiteX6" fmla="*/ 2536825 w 3759200"/>
                  <a:gd name="connsiteY6" fmla="*/ 328613 h 364331"/>
                  <a:gd name="connsiteX7" fmla="*/ 3162300 w 3759200"/>
                  <a:gd name="connsiteY7" fmla="*/ 351632 h 364331"/>
                  <a:gd name="connsiteX8" fmla="*/ 3759200 w 3759200"/>
                  <a:gd name="connsiteY8" fmla="*/ 0 h 364331"/>
                  <a:gd name="connsiteX0" fmla="*/ 0 w 3771107"/>
                  <a:gd name="connsiteY0" fmla="*/ 3175 h 202406"/>
                  <a:gd name="connsiteX1" fmla="*/ 85725 w 3771107"/>
                  <a:gd name="connsiteY1" fmla="*/ 200025 h 202406"/>
                  <a:gd name="connsiteX2" fmla="*/ 168275 w 3771107"/>
                  <a:gd name="connsiteY2" fmla="*/ 202406 h 202406"/>
                  <a:gd name="connsiteX3" fmla="*/ 634207 w 3771107"/>
                  <a:gd name="connsiteY3" fmla="*/ 0 h 202406"/>
                  <a:gd name="connsiteX4" fmla="*/ 1262857 w 3771107"/>
                  <a:gd name="connsiteY4" fmla="*/ 63500 h 202406"/>
                  <a:gd name="connsiteX5" fmla="*/ 1894681 w 3771107"/>
                  <a:gd name="connsiteY5" fmla="*/ 69056 h 202406"/>
                  <a:gd name="connsiteX6" fmla="*/ 2536825 w 3771107"/>
                  <a:gd name="connsiteY6" fmla="*/ 166688 h 202406"/>
                  <a:gd name="connsiteX7" fmla="*/ 3162300 w 3771107"/>
                  <a:gd name="connsiteY7" fmla="*/ 189707 h 202406"/>
                  <a:gd name="connsiteX8" fmla="*/ 3771107 w 3771107"/>
                  <a:gd name="connsiteY8" fmla="*/ 176212 h 202406"/>
                  <a:gd name="connsiteX0" fmla="*/ 0 w 3771107"/>
                  <a:gd name="connsiteY0" fmla="*/ 3175 h 200025"/>
                  <a:gd name="connsiteX1" fmla="*/ 85725 w 3771107"/>
                  <a:gd name="connsiteY1" fmla="*/ 200025 h 200025"/>
                  <a:gd name="connsiteX2" fmla="*/ 163513 w 3771107"/>
                  <a:gd name="connsiteY2" fmla="*/ 195262 h 200025"/>
                  <a:gd name="connsiteX3" fmla="*/ 634207 w 3771107"/>
                  <a:gd name="connsiteY3" fmla="*/ 0 h 200025"/>
                  <a:gd name="connsiteX4" fmla="*/ 1262857 w 3771107"/>
                  <a:gd name="connsiteY4" fmla="*/ 63500 h 200025"/>
                  <a:gd name="connsiteX5" fmla="*/ 1894681 w 3771107"/>
                  <a:gd name="connsiteY5" fmla="*/ 69056 h 200025"/>
                  <a:gd name="connsiteX6" fmla="*/ 2536825 w 3771107"/>
                  <a:gd name="connsiteY6" fmla="*/ 166688 h 200025"/>
                  <a:gd name="connsiteX7" fmla="*/ 3162300 w 3771107"/>
                  <a:gd name="connsiteY7" fmla="*/ 189707 h 200025"/>
                  <a:gd name="connsiteX8" fmla="*/ 3771107 w 3771107"/>
                  <a:gd name="connsiteY8" fmla="*/ 176212 h 200025"/>
                  <a:gd name="connsiteX0" fmla="*/ 0 w 3771107"/>
                  <a:gd name="connsiteY0" fmla="*/ 3175 h 204787"/>
                  <a:gd name="connsiteX1" fmla="*/ 76200 w 3771107"/>
                  <a:gd name="connsiteY1" fmla="*/ 204787 h 204787"/>
                  <a:gd name="connsiteX2" fmla="*/ 163513 w 3771107"/>
                  <a:gd name="connsiteY2" fmla="*/ 195262 h 204787"/>
                  <a:gd name="connsiteX3" fmla="*/ 634207 w 3771107"/>
                  <a:gd name="connsiteY3" fmla="*/ 0 h 204787"/>
                  <a:gd name="connsiteX4" fmla="*/ 1262857 w 3771107"/>
                  <a:gd name="connsiteY4" fmla="*/ 63500 h 204787"/>
                  <a:gd name="connsiteX5" fmla="*/ 1894681 w 3771107"/>
                  <a:gd name="connsiteY5" fmla="*/ 69056 h 204787"/>
                  <a:gd name="connsiteX6" fmla="*/ 2536825 w 3771107"/>
                  <a:gd name="connsiteY6" fmla="*/ 166688 h 204787"/>
                  <a:gd name="connsiteX7" fmla="*/ 3162300 w 3771107"/>
                  <a:gd name="connsiteY7" fmla="*/ 189707 h 204787"/>
                  <a:gd name="connsiteX8" fmla="*/ 3771107 w 3771107"/>
                  <a:gd name="connsiteY8" fmla="*/ 176212 h 204787"/>
                  <a:gd name="connsiteX0" fmla="*/ 0 w 3771107"/>
                  <a:gd name="connsiteY0" fmla="*/ 0 h 201612"/>
                  <a:gd name="connsiteX1" fmla="*/ 76200 w 3771107"/>
                  <a:gd name="connsiteY1" fmla="*/ 201612 h 201612"/>
                  <a:gd name="connsiteX2" fmla="*/ 163513 w 3771107"/>
                  <a:gd name="connsiteY2" fmla="*/ 192087 h 201612"/>
                  <a:gd name="connsiteX3" fmla="*/ 650830 w 3771107"/>
                  <a:gd name="connsiteY3" fmla="*/ 6799 h 201612"/>
                  <a:gd name="connsiteX4" fmla="*/ 1262857 w 3771107"/>
                  <a:gd name="connsiteY4" fmla="*/ 60325 h 201612"/>
                  <a:gd name="connsiteX5" fmla="*/ 1894681 w 3771107"/>
                  <a:gd name="connsiteY5" fmla="*/ 65881 h 201612"/>
                  <a:gd name="connsiteX6" fmla="*/ 2536825 w 3771107"/>
                  <a:gd name="connsiteY6" fmla="*/ 163513 h 201612"/>
                  <a:gd name="connsiteX7" fmla="*/ 3162300 w 3771107"/>
                  <a:gd name="connsiteY7" fmla="*/ 186532 h 201612"/>
                  <a:gd name="connsiteX8" fmla="*/ 3771107 w 3771107"/>
                  <a:gd name="connsiteY8" fmla="*/ 173037 h 201612"/>
                  <a:gd name="connsiteX0" fmla="*/ 0 w 3771107"/>
                  <a:gd name="connsiteY0" fmla="*/ 0 h 201612"/>
                  <a:gd name="connsiteX1" fmla="*/ 76200 w 3771107"/>
                  <a:gd name="connsiteY1" fmla="*/ 201612 h 201612"/>
                  <a:gd name="connsiteX2" fmla="*/ 163513 w 3771107"/>
                  <a:gd name="connsiteY2" fmla="*/ 192087 h 201612"/>
                  <a:gd name="connsiteX3" fmla="*/ 650830 w 3771107"/>
                  <a:gd name="connsiteY3" fmla="*/ 6799 h 201612"/>
                  <a:gd name="connsiteX4" fmla="*/ 1289452 w 3771107"/>
                  <a:gd name="connsiteY4" fmla="*/ 66973 h 201612"/>
                  <a:gd name="connsiteX5" fmla="*/ 1894681 w 3771107"/>
                  <a:gd name="connsiteY5" fmla="*/ 65881 h 201612"/>
                  <a:gd name="connsiteX6" fmla="*/ 2536825 w 3771107"/>
                  <a:gd name="connsiteY6" fmla="*/ 163513 h 201612"/>
                  <a:gd name="connsiteX7" fmla="*/ 3162300 w 3771107"/>
                  <a:gd name="connsiteY7" fmla="*/ 186532 h 201612"/>
                  <a:gd name="connsiteX8" fmla="*/ 3771107 w 3771107"/>
                  <a:gd name="connsiteY8" fmla="*/ 173037 h 201612"/>
                  <a:gd name="connsiteX0" fmla="*/ 0 w 3771107"/>
                  <a:gd name="connsiteY0" fmla="*/ 0 h 201612"/>
                  <a:gd name="connsiteX1" fmla="*/ 76200 w 3771107"/>
                  <a:gd name="connsiteY1" fmla="*/ 201612 h 201612"/>
                  <a:gd name="connsiteX2" fmla="*/ 163513 w 3771107"/>
                  <a:gd name="connsiteY2" fmla="*/ 192087 h 201612"/>
                  <a:gd name="connsiteX3" fmla="*/ 650830 w 3771107"/>
                  <a:gd name="connsiteY3" fmla="*/ 6799 h 201612"/>
                  <a:gd name="connsiteX4" fmla="*/ 1289452 w 3771107"/>
                  <a:gd name="connsiteY4" fmla="*/ 66973 h 201612"/>
                  <a:gd name="connsiteX5" fmla="*/ 1927926 w 3771107"/>
                  <a:gd name="connsiteY5" fmla="*/ 65881 h 201612"/>
                  <a:gd name="connsiteX6" fmla="*/ 2536825 w 3771107"/>
                  <a:gd name="connsiteY6" fmla="*/ 163513 h 201612"/>
                  <a:gd name="connsiteX7" fmla="*/ 3162300 w 3771107"/>
                  <a:gd name="connsiteY7" fmla="*/ 186532 h 201612"/>
                  <a:gd name="connsiteX8" fmla="*/ 3771107 w 3771107"/>
                  <a:gd name="connsiteY8" fmla="*/ 173037 h 201612"/>
                  <a:gd name="connsiteX0" fmla="*/ 0 w 3771107"/>
                  <a:gd name="connsiteY0" fmla="*/ 0 h 201612"/>
                  <a:gd name="connsiteX1" fmla="*/ 76200 w 3771107"/>
                  <a:gd name="connsiteY1" fmla="*/ 201612 h 201612"/>
                  <a:gd name="connsiteX2" fmla="*/ 163513 w 3771107"/>
                  <a:gd name="connsiteY2" fmla="*/ 192087 h 201612"/>
                  <a:gd name="connsiteX3" fmla="*/ 650830 w 3771107"/>
                  <a:gd name="connsiteY3" fmla="*/ 6799 h 201612"/>
                  <a:gd name="connsiteX4" fmla="*/ 1289452 w 3771107"/>
                  <a:gd name="connsiteY4" fmla="*/ 66973 h 201612"/>
                  <a:gd name="connsiteX5" fmla="*/ 1927926 w 3771107"/>
                  <a:gd name="connsiteY5" fmla="*/ 65881 h 201612"/>
                  <a:gd name="connsiteX6" fmla="*/ 2593341 w 3771107"/>
                  <a:gd name="connsiteY6" fmla="*/ 170162 h 201612"/>
                  <a:gd name="connsiteX7" fmla="*/ 3162300 w 3771107"/>
                  <a:gd name="connsiteY7" fmla="*/ 186532 h 201612"/>
                  <a:gd name="connsiteX8" fmla="*/ 3771107 w 3771107"/>
                  <a:gd name="connsiteY8" fmla="*/ 173037 h 201612"/>
                  <a:gd name="connsiteX0" fmla="*/ 0 w 3771107"/>
                  <a:gd name="connsiteY0" fmla="*/ 0 h 201612"/>
                  <a:gd name="connsiteX1" fmla="*/ 76200 w 3771107"/>
                  <a:gd name="connsiteY1" fmla="*/ 201612 h 201612"/>
                  <a:gd name="connsiteX2" fmla="*/ 163513 w 3771107"/>
                  <a:gd name="connsiteY2" fmla="*/ 192087 h 201612"/>
                  <a:gd name="connsiteX3" fmla="*/ 650830 w 3771107"/>
                  <a:gd name="connsiteY3" fmla="*/ 6799 h 201612"/>
                  <a:gd name="connsiteX4" fmla="*/ 1289452 w 3771107"/>
                  <a:gd name="connsiteY4" fmla="*/ 66973 h 201612"/>
                  <a:gd name="connsiteX5" fmla="*/ 1927926 w 3771107"/>
                  <a:gd name="connsiteY5" fmla="*/ 65881 h 201612"/>
                  <a:gd name="connsiteX6" fmla="*/ 2593341 w 3771107"/>
                  <a:gd name="connsiteY6" fmla="*/ 170162 h 201612"/>
                  <a:gd name="connsiteX7" fmla="*/ 3225466 w 3771107"/>
                  <a:gd name="connsiteY7" fmla="*/ 186533 h 201612"/>
                  <a:gd name="connsiteX8" fmla="*/ 3771107 w 3771107"/>
                  <a:gd name="connsiteY8" fmla="*/ 173037 h 201612"/>
                  <a:gd name="connsiteX0" fmla="*/ 0 w 3870842"/>
                  <a:gd name="connsiteY0" fmla="*/ 0 h 201612"/>
                  <a:gd name="connsiteX1" fmla="*/ 76200 w 3870842"/>
                  <a:gd name="connsiteY1" fmla="*/ 201612 h 201612"/>
                  <a:gd name="connsiteX2" fmla="*/ 163513 w 3870842"/>
                  <a:gd name="connsiteY2" fmla="*/ 192087 h 201612"/>
                  <a:gd name="connsiteX3" fmla="*/ 650830 w 3870842"/>
                  <a:gd name="connsiteY3" fmla="*/ 6799 h 201612"/>
                  <a:gd name="connsiteX4" fmla="*/ 1289452 w 3870842"/>
                  <a:gd name="connsiteY4" fmla="*/ 66973 h 201612"/>
                  <a:gd name="connsiteX5" fmla="*/ 1927926 w 3870842"/>
                  <a:gd name="connsiteY5" fmla="*/ 65881 h 201612"/>
                  <a:gd name="connsiteX6" fmla="*/ 2593341 w 3870842"/>
                  <a:gd name="connsiteY6" fmla="*/ 170162 h 201612"/>
                  <a:gd name="connsiteX7" fmla="*/ 3225466 w 3870842"/>
                  <a:gd name="connsiteY7" fmla="*/ 186533 h 201612"/>
                  <a:gd name="connsiteX8" fmla="*/ 3870842 w 3870842"/>
                  <a:gd name="connsiteY8" fmla="*/ 183009 h 201612"/>
                  <a:gd name="connsiteX0" fmla="*/ 0 w 3870842"/>
                  <a:gd name="connsiteY0" fmla="*/ 0 h 201612"/>
                  <a:gd name="connsiteX1" fmla="*/ 76200 w 3870842"/>
                  <a:gd name="connsiteY1" fmla="*/ 201612 h 201612"/>
                  <a:gd name="connsiteX2" fmla="*/ 163513 w 3870842"/>
                  <a:gd name="connsiteY2" fmla="*/ 192087 h 201612"/>
                  <a:gd name="connsiteX3" fmla="*/ 650830 w 3870842"/>
                  <a:gd name="connsiteY3" fmla="*/ 6799 h 201612"/>
                  <a:gd name="connsiteX4" fmla="*/ 1289452 w 3870842"/>
                  <a:gd name="connsiteY4" fmla="*/ 66973 h 201612"/>
                  <a:gd name="connsiteX5" fmla="*/ 1927926 w 3870842"/>
                  <a:gd name="connsiteY5" fmla="*/ 65881 h 201612"/>
                  <a:gd name="connsiteX6" fmla="*/ 2593341 w 3870842"/>
                  <a:gd name="connsiteY6" fmla="*/ 170162 h 201612"/>
                  <a:gd name="connsiteX7" fmla="*/ 3225466 w 3870842"/>
                  <a:gd name="connsiteY7" fmla="*/ 186533 h 201612"/>
                  <a:gd name="connsiteX8" fmla="*/ 3870842 w 3870842"/>
                  <a:gd name="connsiteY8" fmla="*/ 176359 h 201612"/>
                  <a:gd name="connsiteX0" fmla="*/ 0 w 3870842"/>
                  <a:gd name="connsiteY0" fmla="*/ 0 h 201612"/>
                  <a:gd name="connsiteX1" fmla="*/ 76200 w 3870842"/>
                  <a:gd name="connsiteY1" fmla="*/ 201612 h 201612"/>
                  <a:gd name="connsiteX2" fmla="*/ 163513 w 3870842"/>
                  <a:gd name="connsiteY2" fmla="*/ 192087 h 201612"/>
                  <a:gd name="connsiteX3" fmla="*/ 650830 w 3870842"/>
                  <a:gd name="connsiteY3" fmla="*/ 6799 h 201612"/>
                  <a:gd name="connsiteX4" fmla="*/ 1289452 w 3870842"/>
                  <a:gd name="connsiteY4" fmla="*/ 66973 h 201612"/>
                  <a:gd name="connsiteX5" fmla="*/ 1934575 w 3870842"/>
                  <a:gd name="connsiteY5" fmla="*/ 69205 h 201612"/>
                  <a:gd name="connsiteX6" fmla="*/ 2593341 w 3870842"/>
                  <a:gd name="connsiteY6" fmla="*/ 170162 h 201612"/>
                  <a:gd name="connsiteX7" fmla="*/ 3225466 w 3870842"/>
                  <a:gd name="connsiteY7" fmla="*/ 186533 h 201612"/>
                  <a:gd name="connsiteX8" fmla="*/ 3870842 w 3870842"/>
                  <a:gd name="connsiteY8" fmla="*/ 176359 h 201612"/>
                  <a:gd name="connsiteX0" fmla="*/ 0 w 3870842"/>
                  <a:gd name="connsiteY0" fmla="*/ 0 h 201612"/>
                  <a:gd name="connsiteX1" fmla="*/ 76200 w 3870842"/>
                  <a:gd name="connsiteY1" fmla="*/ 201612 h 201612"/>
                  <a:gd name="connsiteX2" fmla="*/ 163513 w 3870842"/>
                  <a:gd name="connsiteY2" fmla="*/ 192087 h 201612"/>
                  <a:gd name="connsiteX3" fmla="*/ 650830 w 3870842"/>
                  <a:gd name="connsiteY3" fmla="*/ 6799 h 201612"/>
                  <a:gd name="connsiteX4" fmla="*/ 1289452 w 3870842"/>
                  <a:gd name="connsiteY4" fmla="*/ 56999 h 201612"/>
                  <a:gd name="connsiteX5" fmla="*/ 1934575 w 3870842"/>
                  <a:gd name="connsiteY5" fmla="*/ 69205 h 201612"/>
                  <a:gd name="connsiteX6" fmla="*/ 2593341 w 3870842"/>
                  <a:gd name="connsiteY6" fmla="*/ 170162 h 201612"/>
                  <a:gd name="connsiteX7" fmla="*/ 3225466 w 3870842"/>
                  <a:gd name="connsiteY7" fmla="*/ 186533 h 201612"/>
                  <a:gd name="connsiteX8" fmla="*/ 3870842 w 3870842"/>
                  <a:gd name="connsiteY8" fmla="*/ 176359 h 20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0842" h="201612">
                    <a:moveTo>
                      <a:pt x="0" y="0"/>
                    </a:moveTo>
                    <a:lnTo>
                      <a:pt x="76200" y="201612"/>
                    </a:lnTo>
                    <a:lnTo>
                      <a:pt x="163513" y="192087"/>
                    </a:lnTo>
                    <a:lnTo>
                      <a:pt x="650830" y="6799"/>
                    </a:lnTo>
                    <a:lnTo>
                      <a:pt x="1289452" y="56999"/>
                    </a:lnTo>
                    <a:lnTo>
                      <a:pt x="1934575" y="69205"/>
                    </a:lnTo>
                    <a:lnTo>
                      <a:pt x="2593341" y="170162"/>
                    </a:lnTo>
                    <a:lnTo>
                      <a:pt x="3225466" y="186533"/>
                    </a:lnTo>
                    <a:lnTo>
                      <a:pt x="3870842" y="176359"/>
                    </a:lnTo>
                  </a:path>
                </a:pathLst>
              </a:custGeom>
              <a:noFill/>
              <a:ln w="1905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13" name="Group 512">
                <a:extLst>
                  <a:ext uri="{FF2B5EF4-FFF2-40B4-BE49-F238E27FC236}">
                    <a16:creationId xmlns:a16="http://schemas.microsoft.com/office/drawing/2014/main" id="{9834C2FB-0D66-47E5-AA8E-C16410237AA8}"/>
                  </a:ext>
                </a:extLst>
              </p:cNvPr>
              <p:cNvGrpSpPr/>
              <p:nvPr/>
            </p:nvGrpSpPr>
            <p:grpSpPr>
              <a:xfrm>
                <a:off x="8497060" y="3468932"/>
                <a:ext cx="53705" cy="242198"/>
                <a:chOff x="9123552" y="4535234"/>
                <a:chExt cx="64419" cy="214609"/>
              </a:xfrm>
            </p:grpSpPr>
            <p:cxnSp>
              <p:nvCxnSpPr>
                <p:cNvPr id="663" name="Straight Connector 662">
                  <a:extLst>
                    <a:ext uri="{FF2B5EF4-FFF2-40B4-BE49-F238E27FC236}">
                      <a16:creationId xmlns:a16="http://schemas.microsoft.com/office/drawing/2014/main" id="{747440C6-B8A4-48D9-A939-F9FCFB603364}"/>
                    </a:ext>
                  </a:extLst>
                </p:cNvPr>
                <p:cNvCxnSpPr>
                  <a:cxnSpLocks/>
                </p:cNvCxnSpPr>
                <p:nvPr/>
              </p:nvCxnSpPr>
              <p:spPr>
                <a:xfrm>
                  <a:off x="9155962" y="4535234"/>
                  <a:ext cx="0" cy="214609"/>
                </a:xfrm>
                <a:prstGeom prst="line">
                  <a:avLst/>
                </a:prstGeom>
                <a:noFill/>
                <a:ln w="9525" cap="flat" cmpd="sng" algn="ctr">
                  <a:solidFill>
                    <a:schemeClr val="tx2"/>
                  </a:solidFill>
                  <a:prstDash val="solid"/>
                </a:ln>
                <a:effectLst/>
              </p:spPr>
            </p:cxnSp>
            <p:cxnSp>
              <p:nvCxnSpPr>
                <p:cNvPr id="664" name="Straight Connector 663">
                  <a:extLst>
                    <a:ext uri="{FF2B5EF4-FFF2-40B4-BE49-F238E27FC236}">
                      <a16:creationId xmlns:a16="http://schemas.microsoft.com/office/drawing/2014/main" id="{1D1271CE-DD03-4003-B324-68F5F5A75E7E}"/>
                    </a:ext>
                  </a:extLst>
                </p:cNvPr>
                <p:cNvCxnSpPr/>
                <p:nvPr/>
              </p:nvCxnSpPr>
              <p:spPr>
                <a:xfrm>
                  <a:off x="9123552" y="4536281"/>
                  <a:ext cx="64009" cy="0"/>
                </a:xfrm>
                <a:prstGeom prst="line">
                  <a:avLst/>
                </a:prstGeom>
                <a:noFill/>
                <a:ln w="9525" cap="flat" cmpd="sng" algn="ctr">
                  <a:solidFill>
                    <a:schemeClr val="tx2"/>
                  </a:solidFill>
                  <a:prstDash val="solid"/>
                </a:ln>
                <a:effectLst/>
              </p:spPr>
            </p:cxnSp>
            <p:cxnSp>
              <p:nvCxnSpPr>
                <p:cNvPr id="665" name="Straight Connector 664">
                  <a:extLst>
                    <a:ext uri="{FF2B5EF4-FFF2-40B4-BE49-F238E27FC236}">
                      <a16:creationId xmlns:a16="http://schemas.microsoft.com/office/drawing/2014/main" id="{693AD38E-F5AE-44A1-A7B3-E72DC8DA8D56}"/>
                    </a:ext>
                  </a:extLst>
                </p:cNvPr>
                <p:cNvCxnSpPr/>
                <p:nvPr/>
              </p:nvCxnSpPr>
              <p:spPr>
                <a:xfrm>
                  <a:off x="9123963" y="4746088"/>
                  <a:ext cx="64008" cy="0"/>
                </a:xfrm>
                <a:prstGeom prst="line">
                  <a:avLst/>
                </a:prstGeom>
                <a:noFill/>
                <a:ln w="9525" cap="flat" cmpd="sng" algn="ctr">
                  <a:solidFill>
                    <a:schemeClr val="tx2"/>
                  </a:solidFill>
                  <a:prstDash val="solid"/>
                </a:ln>
                <a:effectLst/>
              </p:spPr>
            </p:cxnSp>
          </p:grpSp>
          <p:grpSp>
            <p:nvGrpSpPr>
              <p:cNvPr id="514" name="Group 513">
                <a:extLst>
                  <a:ext uri="{FF2B5EF4-FFF2-40B4-BE49-F238E27FC236}">
                    <a16:creationId xmlns:a16="http://schemas.microsoft.com/office/drawing/2014/main" id="{B211AD25-7979-4CAB-901B-11734D971052}"/>
                  </a:ext>
                </a:extLst>
              </p:cNvPr>
              <p:cNvGrpSpPr/>
              <p:nvPr/>
            </p:nvGrpSpPr>
            <p:grpSpPr>
              <a:xfrm>
                <a:off x="1617330" y="4827403"/>
                <a:ext cx="3641921" cy="276999"/>
                <a:chOff x="908181" y="5709096"/>
                <a:chExt cx="5084533" cy="386722"/>
              </a:xfrm>
            </p:grpSpPr>
            <p:sp>
              <p:nvSpPr>
                <p:cNvPr id="655" name="TextBox 654">
                  <a:extLst>
                    <a:ext uri="{FF2B5EF4-FFF2-40B4-BE49-F238E27FC236}">
                      <a16:creationId xmlns:a16="http://schemas.microsoft.com/office/drawing/2014/main" id="{3D477FCA-502A-4028-860D-5479EFBFF1A6}"/>
                    </a:ext>
                  </a:extLst>
                </p:cNvPr>
                <p:cNvSpPr txBox="1"/>
                <p:nvPr/>
              </p:nvSpPr>
              <p:spPr>
                <a:xfrm>
                  <a:off x="1767863"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8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821</a:t>
                  </a:r>
                </a:p>
              </p:txBody>
            </p:sp>
            <p:sp>
              <p:nvSpPr>
                <p:cNvPr id="656" name="TextBox 655">
                  <a:extLst>
                    <a:ext uri="{FF2B5EF4-FFF2-40B4-BE49-F238E27FC236}">
                      <a16:creationId xmlns:a16="http://schemas.microsoft.com/office/drawing/2014/main" id="{266B1ED6-C32F-4400-BAA9-77B6D8B0F8DB}"/>
                    </a:ext>
                  </a:extLst>
                </p:cNvPr>
                <p:cNvSpPr txBox="1"/>
                <p:nvPr/>
              </p:nvSpPr>
              <p:spPr>
                <a:xfrm>
                  <a:off x="908181" y="5709096"/>
                  <a:ext cx="941578" cy="369332"/>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000000"/>
                      </a:solidFill>
                      <a:effectLst/>
                      <a:uLnTx/>
                      <a:uFillTx/>
                      <a:latin typeface="Arial" panose="020B0604020202020204"/>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000000"/>
                      </a:solidFill>
                      <a:effectLst/>
                      <a:uLnTx/>
                      <a:uFillTx/>
                      <a:latin typeface="Arial" panose="020B0604020202020204"/>
                      <a:ea typeface="MS PGothic" charset="0"/>
                      <a:cs typeface="+mn-cs"/>
                    </a:rPr>
                    <a:t>Placebo</a:t>
                  </a:r>
                </a:p>
              </p:txBody>
            </p:sp>
            <p:sp>
              <p:nvSpPr>
                <p:cNvPr id="657" name="TextBox 656">
                  <a:extLst>
                    <a:ext uri="{FF2B5EF4-FFF2-40B4-BE49-F238E27FC236}">
                      <a16:creationId xmlns:a16="http://schemas.microsoft.com/office/drawing/2014/main" id="{74B850A5-0534-4B32-A04F-8A1B38C7ED09}"/>
                    </a:ext>
                  </a:extLst>
                </p:cNvPr>
                <p:cNvSpPr txBox="1"/>
                <p:nvPr/>
              </p:nvSpPr>
              <p:spPr>
                <a:xfrm>
                  <a:off x="2385043"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5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588</a:t>
                  </a:r>
                </a:p>
              </p:txBody>
            </p:sp>
            <p:sp>
              <p:nvSpPr>
                <p:cNvPr id="658" name="TextBox 657">
                  <a:extLst>
                    <a:ext uri="{FF2B5EF4-FFF2-40B4-BE49-F238E27FC236}">
                      <a16:creationId xmlns:a16="http://schemas.microsoft.com/office/drawing/2014/main" id="{B6545430-C7D4-4426-A4F0-35C37F5108AC}"/>
                    </a:ext>
                  </a:extLst>
                </p:cNvPr>
                <p:cNvSpPr txBox="1"/>
                <p:nvPr/>
              </p:nvSpPr>
              <p:spPr>
                <a:xfrm>
                  <a:off x="3002223"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3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293</a:t>
                  </a:r>
                </a:p>
              </p:txBody>
            </p:sp>
            <p:sp>
              <p:nvSpPr>
                <p:cNvPr id="659" name="TextBox 658">
                  <a:extLst>
                    <a:ext uri="{FF2B5EF4-FFF2-40B4-BE49-F238E27FC236}">
                      <a16:creationId xmlns:a16="http://schemas.microsoft.com/office/drawing/2014/main" id="{05ADBF35-D621-4029-A9E0-A125038F9CE8}"/>
                    </a:ext>
                  </a:extLst>
                </p:cNvPr>
                <p:cNvSpPr txBox="1"/>
                <p:nvPr/>
              </p:nvSpPr>
              <p:spPr>
                <a:xfrm>
                  <a:off x="3630176"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20</a:t>
                  </a:r>
                </a:p>
              </p:txBody>
            </p:sp>
            <p:sp>
              <p:nvSpPr>
                <p:cNvPr id="660" name="TextBox 659">
                  <a:extLst>
                    <a:ext uri="{FF2B5EF4-FFF2-40B4-BE49-F238E27FC236}">
                      <a16:creationId xmlns:a16="http://schemas.microsoft.com/office/drawing/2014/main" id="{58BA2B82-8804-4883-B18A-9B996F6D7C02}"/>
                    </a:ext>
                  </a:extLst>
                </p:cNvPr>
                <p:cNvSpPr txBox="1"/>
                <p:nvPr/>
              </p:nvSpPr>
              <p:spPr>
                <a:xfrm>
                  <a:off x="4252742"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7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72</a:t>
                  </a:r>
                </a:p>
              </p:txBody>
            </p:sp>
            <p:sp>
              <p:nvSpPr>
                <p:cNvPr id="661" name="TextBox 660">
                  <a:extLst>
                    <a:ext uri="{FF2B5EF4-FFF2-40B4-BE49-F238E27FC236}">
                      <a16:creationId xmlns:a16="http://schemas.microsoft.com/office/drawing/2014/main" id="{6CEDF7A9-47ED-41C1-BE3B-434443B3EA04}"/>
                    </a:ext>
                  </a:extLst>
                </p:cNvPr>
                <p:cNvSpPr txBox="1"/>
                <p:nvPr/>
              </p:nvSpPr>
              <p:spPr>
                <a:xfrm>
                  <a:off x="4896960"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02</a:t>
                  </a:r>
                </a:p>
              </p:txBody>
            </p:sp>
            <p:sp>
              <p:nvSpPr>
                <p:cNvPr id="662" name="TextBox 661">
                  <a:extLst>
                    <a:ext uri="{FF2B5EF4-FFF2-40B4-BE49-F238E27FC236}">
                      <a16:creationId xmlns:a16="http://schemas.microsoft.com/office/drawing/2014/main" id="{3C879F19-08B2-40C8-89AC-8857CD979CF2}"/>
                    </a:ext>
                  </a:extLst>
                </p:cNvPr>
                <p:cNvSpPr txBox="1"/>
                <p:nvPr/>
              </p:nvSpPr>
              <p:spPr>
                <a:xfrm>
                  <a:off x="5524812"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26</a:t>
                  </a:r>
                </a:p>
              </p:txBody>
            </p:sp>
          </p:grpSp>
          <p:grpSp>
            <p:nvGrpSpPr>
              <p:cNvPr id="515" name="Group 514">
                <a:extLst>
                  <a:ext uri="{FF2B5EF4-FFF2-40B4-BE49-F238E27FC236}">
                    <a16:creationId xmlns:a16="http://schemas.microsoft.com/office/drawing/2014/main" id="{6CDBAB48-3693-47EA-AA61-9DD3914382CC}"/>
                  </a:ext>
                </a:extLst>
              </p:cNvPr>
              <p:cNvGrpSpPr/>
              <p:nvPr/>
            </p:nvGrpSpPr>
            <p:grpSpPr>
              <a:xfrm>
                <a:off x="2331540" y="4451980"/>
                <a:ext cx="2926965" cy="138499"/>
                <a:chOff x="1423401" y="4535964"/>
                <a:chExt cx="2926965" cy="138499"/>
              </a:xfrm>
            </p:grpSpPr>
            <p:sp>
              <p:nvSpPr>
                <p:cNvPr id="648" name="TextBox 647">
                  <a:extLst>
                    <a:ext uri="{FF2B5EF4-FFF2-40B4-BE49-F238E27FC236}">
                      <a16:creationId xmlns:a16="http://schemas.microsoft.com/office/drawing/2014/main" id="{E70B5B40-F0C2-4DFF-B657-31358D39F135}"/>
                    </a:ext>
                  </a:extLst>
                </p:cNvPr>
                <p:cNvSpPr txBox="1"/>
                <p:nvPr/>
              </p:nvSpPr>
              <p:spPr>
                <a:xfrm>
                  <a:off x="1423401" y="4535964"/>
                  <a:ext cx="133138"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sp>
              <p:nvSpPr>
                <p:cNvPr id="649" name="TextBox 648">
                  <a:extLst>
                    <a:ext uri="{FF2B5EF4-FFF2-40B4-BE49-F238E27FC236}">
                      <a16:creationId xmlns:a16="http://schemas.microsoft.com/office/drawing/2014/main" id="{0F1792F8-464D-4CF0-A0E6-9B5C354F9C3D}"/>
                    </a:ext>
                  </a:extLst>
                </p:cNvPr>
                <p:cNvSpPr txBox="1"/>
                <p:nvPr/>
              </p:nvSpPr>
              <p:spPr>
                <a:xfrm>
                  <a:off x="1770220"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6</a:t>
                  </a:r>
                </a:p>
              </p:txBody>
            </p:sp>
            <p:sp>
              <p:nvSpPr>
                <p:cNvPr id="650" name="TextBox 649">
                  <a:extLst>
                    <a:ext uri="{FF2B5EF4-FFF2-40B4-BE49-F238E27FC236}">
                      <a16:creationId xmlns:a16="http://schemas.microsoft.com/office/drawing/2014/main" id="{ADC0D771-0934-4159-88E4-F8341B39C21A}"/>
                    </a:ext>
                  </a:extLst>
                </p:cNvPr>
                <p:cNvSpPr txBox="1"/>
                <p:nvPr/>
              </p:nvSpPr>
              <p:spPr>
                <a:xfrm>
                  <a:off x="2216177"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2</a:t>
                  </a:r>
                </a:p>
              </p:txBody>
            </p:sp>
            <p:sp>
              <p:nvSpPr>
                <p:cNvPr id="651" name="TextBox 650">
                  <a:extLst>
                    <a:ext uri="{FF2B5EF4-FFF2-40B4-BE49-F238E27FC236}">
                      <a16:creationId xmlns:a16="http://schemas.microsoft.com/office/drawing/2014/main" id="{3A1C4DC0-A11F-4EBA-8B39-14D0E5F9AB4C}"/>
                    </a:ext>
                  </a:extLst>
                </p:cNvPr>
                <p:cNvSpPr txBox="1"/>
                <p:nvPr/>
              </p:nvSpPr>
              <p:spPr>
                <a:xfrm>
                  <a:off x="2663748"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8</a:t>
                  </a:r>
                </a:p>
              </p:txBody>
            </p:sp>
            <p:sp>
              <p:nvSpPr>
                <p:cNvPr id="652" name="TextBox 651">
                  <a:extLst>
                    <a:ext uri="{FF2B5EF4-FFF2-40B4-BE49-F238E27FC236}">
                      <a16:creationId xmlns:a16="http://schemas.microsoft.com/office/drawing/2014/main" id="{392D7B04-30A9-40C5-988D-028633F221F7}"/>
                    </a:ext>
                  </a:extLst>
                </p:cNvPr>
                <p:cNvSpPr txBox="1"/>
                <p:nvPr/>
              </p:nvSpPr>
              <p:spPr>
                <a:xfrm>
                  <a:off x="3112684"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4</a:t>
                  </a:r>
                </a:p>
              </p:txBody>
            </p:sp>
            <p:sp>
              <p:nvSpPr>
                <p:cNvPr id="653" name="TextBox 652">
                  <a:extLst>
                    <a:ext uri="{FF2B5EF4-FFF2-40B4-BE49-F238E27FC236}">
                      <a16:creationId xmlns:a16="http://schemas.microsoft.com/office/drawing/2014/main" id="{FF989B6D-C11B-4EDA-89F3-F4F6C26676CA}"/>
                    </a:ext>
                  </a:extLst>
                </p:cNvPr>
                <p:cNvSpPr txBox="1"/>
                <p:nvPr/>
              </p:nvSpPr>
              <p:spPr>
                <a:xfrm>
                  <a:off x="3559239"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80</a:t>
                  </a:r>
                </a:p>
              </p:txBody>
            </p:sp>
            <p:sp>
              <p:nvSpPr>
                <p:cNvPr id="654" name="TextBox 653">
                  <a:extLst>
                    <a:ext uri="{FF2B5EF4-FFF2-40B4-BE49-F238E27FC236}">
                      <a16:creationId xmlns:a16="http://schemas.microsoft.com/office/drawing/2014/main" id="{70C445DD-F60F-48A2-A830-B77694C1ABA6}"/>
                    </a:ext>
                  </a:extLst>
                </p:cNvPr>
                <p:cNvSpPr txBox="1"/>
                <p:nvPr/>
              </p:nvSpPr>
              <p:spPr>
                <a:xfrm>
                  <a:off x="4010296"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6</a:t>
                  </a:r>
                </a:p>
              </p:txBody>
            </p:sp>
          </p:grpSp>
          <p:grpSp>
            <p:nvGrpSpPr>
              <p:cNvPr id="516" name="Group 515">
                <a:extLst>
                  <a:ext uri="{FF2B5EF4-FFF2-40B4-BE49-F238E27FC236}">
                    <a16:creationId xmlns:a16="http://schemas.microsoft.com/office/drawing/2014/main" id="{F885341F-C2FA-4976-BA85-A5FB328959A6}"/>
                  </a:ext>
                </a:extLst>
              </p:cNvPr>
              <p:cNvGrpSpPr/>
              <p:nvPr/>
            </p:nvGrpSpPr>
            <p:grpSpPr>
              <a:xfrm>
                <a:off x="2397098" y="4362682"/>
                <a:ext cx="2689210" cy="52397"/>
                <a:chOff x="1488959" y="4446666"/>
                <a:chExt cx="2689210" cy="52397"/>
              </a:xfrm>
            </p:grpSpPr>
            <p:cxnSp>
              <p:nvCxnSpPr>
                <p:cNvPr id="641" name="Straight Connector 640">
                  <a:extLst>
                    <a:ext uri="{FF2B5EF4-FFF2-40B4-BE49-F238E27FC236}">
                      <a16:creationId xmlns:a16="http://schemas.microsoft.com/office/drawing/2014/main" id="{483EA63C-086D-48FD-ACA5-B4CD422BA55E}"/>
                    </a:ext>
                  </a:extLst>
                </p:cNvPr>
                <p:cNvCxnSpPr/>
                <p:nvPr/>
              </p:nvCxnSpPr>
              <p:spPr>
                <a:xfrm>
                  <a:off x="1488959" y="4446666"/>
                  <a:ext cx="0" cy="52397"/>
                </a:xfrm>
                <a:prstGeom prst="line">
                  <a:avLst/>
                </a:prstGeom>
                <a:noFill/>
                <a:ln w="12700" cap="flat" cmpd="sng" algn="ctr">
                  <a:solidFill>
                    <a:srgbClr val="000000"/>
                  </a:solidFill>
                  <a:prstDash val="solid"/>
                </a:ln>
                <a:effectLst/>
              </p:spPr>
            </p:cxnSp>
            <p:cxnSp>
              <p:nvCxnSpPr>
                <p:cNvPr id="642" name="Straight Connector 641">
                  <a:extLst>
                    <a:ext uri="{FF2B5EF4-FFF2-40B4-BE49-F238E27FC236}">
                      <a16:creationId xmlns:a16="http://schemas.microsoft.com/office/drawing/2014/main" id="{4E64D42E-FC82-4B94-B9EF-56FB1132C846}"/>
                    </a:ext>
                  </a:extLst>
                </p:cNvPr>
                <p:cNvCxnSpPr/>
                <p:nvPr/>
              </p:nvCxnSpPr>
              <p:spPr>
                <a:xfrm>
                  <a:off x="1937161" y="4446666"/>
                  <a:ext cx="0" cy="52397"/>
                </a:xfrm>
                <a:prstGeom prst="line">
                  <a:avLst/>
                </a:prstGeom>
                <a:noFill/>
                <a:ln w="12700" cap="flat" cmpd="sng" algn="ctr">
                  <a:solidFill>
                    <a:srgbClr val="000000"/>
                  </a:solidFill>
                  <a:prstDash val="solid"/>
                </a:ln>
                <a:effectLst/>
              </p:spPr>
            </p:cxnSp>
            <p:cxnSp>
              <p:nvCxnSpPr>
                <p:cNvPr id="643" name="Straight Connector 642">
                  <a:extLst>
                    <a:ext uri="{FF2B5EF4-FFF2-40B4-BE49-F238E27FC236}">
                      <a16:creationId xmlns:a16="http://schemas.microsoft.com/office/drawing/2014/main" id="{B072C596-976A-4A2F-9713-58E74FBD7F97}"/>
                    </a:ext>
                  </a:extLst>
                </p:cNvPr>
                <p:cNvCxnSpPr/>
                <p:nvPr/>
              </p:nvCxnSpPr>
              <p:spPr>
                <a:xfrm>
                  <a:off x="2385363" y="4446666"/>
                  <a:ext cx="0" cy="52397"/>
                </a:xfrm>
                <a:prstGeom prst="line">
                  <a:avLst/>
                </a:prstGeom>
                <a:noFill/>
                <a:ln w="12700" cap="flat" cmpd="sng" algn="ctr">
                  <a:solidFill>
                    <a:srgbClr val="000000"/>
                  </a:solidFill>
                  <a:prstDash val="solid"/>
                </a:ln>
                <a:effectLst/>
              </p:spPr>
            </p:cxnSp>
            <p:cxnSp>
              <p:nvCxnSpPr>
                <p:cNvPr id="644" name="Straight Connector 643">
                  <a:extLst>
                    <a:ext uri="{FF2B5EF4-FFF2-40B4-BE49-F238E27FC236}">
                      <a16:creationId xmlns:a16="http://schemas.microsoft.com/office/drawing/2014/main" id="{19548D2C-FF99-4E14-81F7-B3252E646ACF}"/>
                    </a:ext>
                  </a:extLst>
                </p:cNvPr>
                <p:cNvCxnSpPr/>
                <p:nvPr/>
              </p:nvCxnSpPr>
              <p:spPr>
                <a:xfrm>
                  <a:off x="2833565" y="4446666"/>
                  <a:ext cx="0" cy="52397"/>
                </a:xfrm>
                <a:prstGeom prst="line">
                  <a:avLst/>
                </a:prstGeom>
                <a:noFill/>
                <a:ln w="12700" cap="flat" cmpd="sng" algn="ctr">
                  <a:solidFill>
                    <a:srgbClr val="000000"/>
                  </a:solidFill>
                  <a:prstDash val="solid"/>
                </a:ln>
                <a:effectLst/>
              </p:spPr>
            </p:cxnSp>
            <p:cxnSp>
              <p:nvCxnSpPr>
                <p:cNvPr id="645" name="Straight Connector 644">
                  <a:extLst>
                    <a:ext uri="{FF2B5EF4-FFF2-40B4-BE49-F238E27FC236}">
                      <a16:creationId xmlns:a16="http://schemas.microsoft.com/office/drawing/2014/main" id="{B7064F84-9B8D-4AFA-873D-9DD90DF0044C}"/>
                    </a:ext>
                  </a:extLst>
                </p:cNvPr>
                <p:cNvCxnSpPr/>
                <p:nvPr/>
              </p:nvCxnSpPr>
              <p:spPr>
                <a:xfrm>
                  <a:off x="3281767" y="4446666"/>
                  <a:ext cx="0" cy="52397"/>
                </a:xfrm>
                <a:prstGeom prst="line">
                  <a:avLst/>
                </a:prstGeom>
                <a:noFill/>
                <a:ln w="12700" cap="flat" cmpd="sng" algn="ctr">
                  <a:solidFill>
                    <a:srgbClr val="000000"/>
                  </a:solidFill>
                  <a:prstDash val="solid"/>
                </a:ln>
                <a:effectLst/>
              </p:spPr>
            </p:cxnSp>
            <p:cxnSp>
              <p:nvCxnSpPr>
                <p:cNvPr id="646" name="Straight Connector 645">
                  <a:extLst>
                    <a:ext uri="{FF2B5EF4-FFF2-40B4-BE49-F238E27FC236}">
                      <a16:creationId xmlns:a16="http://schemas.microsoft.com/office/drawing/2014/main" id="{91659D04-C6F6-486A-A4C6-AE85CDFF5355}"/>
                    </a:ext>
                  </a:extLst>
                </p:cNvPr>
                <p:cNvCxnSpPr/>
                <p:nvPr/>
              </p:nvCxnSpPr>
              <p:spPr>
                <a:xfrm>
                  <a:off x="3729969" y="4446666"/>
                  <a:ext cx="0" cy="52397"/>
                </a:xfrm>
                <a:prstGeom prst="line">
                  <a:avLst/>
                </a:prstGeom>
                <a:noFill/>
                <a:ln w="12700" cap="flat" cmpd="sng" algn="ctr">
                  <a:solidFill>
                    <a:srgbClr val="000000"/>
                  </a:solidFill>
                  <a:prstDash val="solid"/>
                </a:ln>
                <a:effectLst/>
              </p:spPr>
            </p:cxnSp>
            <p:cxnSp>
              <p:nvCxnSpPr>
                <p:cNvPr id="647" name="Straight Connector 646">
                  <a:extLst>
                    <a:ext uri="{FF2B5EF4-FFF2-40B4-BE49-F238E27FC236}">
                      <a16:creationId xmlns:a16="http://schemas.microsoft.com/office/drawing/2014/main" id="{E02D664F-F3BC-4B4C-8A64-39E83044DFA2}"/>
                    </a:ext>
                  </a:extLst>
                </p:cNvPr>
                <p:cNvCxnSpPr/>
                <p:nvPr/>
              </p:nvCxnSpPr>
              <p:spPr>
                <a:xfrm>
                  <a:off x="4178169" y="4446666"/>
                  <a:ext cx="0" cy="52397"/>
                </a:xfrm>
                <a:prstGeom prst="line">
                  <a:avLst/>
                </a:prstGeom>
                <a:noFill/>
                <a:ln w="12700" cap="flat" cmpd="sng" algn="ctr">
                  <a:solidFill>
                    <a:srgbClr val="000000"/>
                  </a:solidFill>
                  <a:prstDash val="solid"/>
                </a:ln>
                <a:effectLst/>
              </p:spPr>
            </p:cxnSp>
          </p:grpSp>
          <p:grpSp>
            <p:nvGrpSpPr>
              <p:cNvPr id="517" name="Group 516">
                <a:extLst>
                  <a:ext uri="{FF2B5EF4-FFF2-40B4-BE49-F238E27FC236}">
                    <a16:creationId xmlns:a16="http://schemas.microsoft.com/office/drawing/2014/main" id="{1A3278B9-4FE3-4675-BA15-BD915AA9707A}"/>
                  </a:ext>
                </a:extLst>
              </p:cNvPr>
              <p:cNvGrpSpPr/>
              <p:nvPr/>
            </p:nvGrpSpPr>
            <p:grpSpPr>
              <a:xfrm>
                <a:off x="1946212" y="2699959"/>
                <a:ext cx="327129" cy="1522513"/>
                <a:chOff x="1038073" y="2783943"/>
                <a:chExt cx="327129" cy="1522513"/>
              </a:xfrm>
            </p:grpSpPr>
            <p:cxnSp>
              <p:nvCxnSpPr>
                <p:cNvPr id="631" name="Straight Connector 630">
                  <a:extLst>
                    <a:ext uri="{FF2B5EF4-FFF2-40B4-BE49-F238E27FC236}">
                      <a16:creationId xmlns:a16="http://schemas.microsoft.com/office/drawing/2014/main" id="{00700BBD-8B1E-4B8E-9CBD-0B14089C9799}"/>
                    </a:ext>
                  </a:extLst>
                </p:cNvPr>
                <p:cNvCxnSpPr>
                  <a:cxnSpLocks/>
                </p:cNvCxnSpPr>
                <p:nvPr/>
              </p:nvCxnSpPr>
              <p:spPr>
                <a:xfrm rot="5400000">
                  <a:off x="1339004" y="4210152"/>
                  <a:ext cx="0" cy="52397"/>
                </a:xfrm>
                <a:prstGeom prst="line">
                  <a:avLst/>
                </a:prstGeom>
                <a:noFill/>
                <a:ln w="12700" cap="flat" cmpd="sng" algn="ctr">
                  <a:solidFill>
                    <a:srgbClr val="000000"/>
                  </a:solidFill>
                  <a:prstDash val="solid"/>
                </a:ln>
                <a:effectLst/>
              </p:spPr>
            </p:cxnSp>
            <p:sp>
              <p:nvSpPr>
                <p:cNvPr id="632" name="TextBox 631">
                  <a:extLst>
                    <a:ext uri="{FF2B5EF4-FFF2-40B4-BE49-F238E27FC236}">
                      <a16:creationId xmlns:a16="http://schemas.microsoft.com/office/drawing/2014/main" id="{479A00DD-110E-4D05-883B-4BF6166E8B44}"/>
                    </a:ext>
                  </a:extLst>
                </p:cNvPr>
                <p:cNvSpPr txBox="1"/>
                <p:nvPr/>
              </p:nvSpPr>
              <p:spPr>
                <a:xfrm>
                  <a:off x="1038073" y="4167957"/>
                  <a:ext cx="230928"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cxnSp>
              <p:nvCxnSpPr>
                <p:cNvPr id="633" name="Straight Connector 632">
                  <a:extLst>
                    <a:ext uri="{FF2B5EF4-FFF2-40B4-BE49-F238E27FC236}">
                      <a16:creationId xmlns:a16="http://schemas.microsoft.com/office/drawing/2014/main" id="{007D6CD9-15E2-47CC-A268-4A9733850E54}"/>
                    </a:ext>
                  </a:extLst>
                </p:cNvPr>
                <p:cNvCxnSpPr>
                  <a:cxnSpLocks/>
                </p:cNvCxnSpPr>
                <p:nvPr/>
              </p:nvCxnSpPr>
              <p:spPr>
                <a:xfrm rot="5400000">
                  <a:off x="1339004" y="3864432"/>
                  <a:ext cx="0" cy="52397"/>
                </a:xfrm>
                <a:prstGeom prst="line">
                  <a:avLst/>
                </a:prstGeom>
                <a:noFill/>
                <a:ln w="12700" cap="flat" cmpd="sng" algn="ctr">
                  <a:solidFill>
                    <a:srgbClr val="000000"/>
                  </a:solidFill>
                  <a:prstDash val="solid"/>
                </a:ln>
                <a:effectLst/>
              </p:spPr>
            </p:cxnSp>
            <p:sp>
              <p:nvSpPr>
                <p:cNvPr id="634" name="TextBox 633">
                  <a:extLst>
                    <a:ext uri="{FF2B5EF4-FFF2-40B4-BE49-F238E27FC236}">
                      <a16:creationId xmlns:a16="http://schemas.microsoft.com/office/drawing/2014/main" id="{865E7D74-3014-4933-AEF9-B1D1BEEFD1B9}"/>
                    </a:ext>
                  </a:extLst>
                </p:cNvPr>
                <p:cNvSpPr txBox="1"/>
                <p:nvPr/>
              </p:nvSpPr>
              <p:spPr>
                <a:xfrm>
                  <a:off x="1138137" y="3822237"/>
                  <a:ext cx="130864"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a:t>
                  </a:r>
                </a:p>
              </p:txBody>
            </p:sp>
            <p:cxnSp>
              <p:nvCxnSpPr>
                <p:cNvPr id="635" name="Straight Connector 634">
                  <a:extLst>
                    <a:ext uri="{FF2B5EF4-FFF2-40B4-BE49-F238E27FC236}">
                      <a16:creationId xmlns:a16="http://schemas.microsoft.com/office/drawing/2014/main" id="{56DADC28-F3EA-4696-A1B6-FB74D6A637EA}"/>
                    </a:ext>
                  </a:extLst>
                </p:cNvPr>
                <p:cNvCxnSpPr>
                  <a:cxnSpLocks/>
                </p:cNvCxnSpPr>
                <p:nvPr/>
              </p:nvCxnSpPr>
              <p:spPr>
                <a:xfrm rot="5400000">
                  <a:off x="1339004" y="3520987"/>
                  <a:ext cx="0" cy="52397"/>
                </a:xfrm>
                <a:prstGeom prst="line">
                  <a:avLst/>
                </a:prstGeom>
                <a:noFill/>
                <a:ln w="12700" cap="flat" cmpd="sng" algn="ctr">
                  <a:solidFill>
                    <a:srgbClr val="000000"/>
                  </a:solidFill>
                  <a:prstDash val="solid"/>
                </a:ln>
                <a:effectLst/>
              </p:spPr>
            </p:cxnSp>
            <p:sp>
              <p:nvSpPr>
                <p:cNvPr id="636" name="TextBox 635">
                  <a:extLst>
                    <a:ext uri="{FF2B5EF4-FFF2-40B4-BE49-F238E27FC236}">
                      <a16:creationId xmlns:a16="http://schemas.microsoft.com/office/drawing/2014/main" id="{8AB8EADB-D33D-416B-BEDF-612B29037827}"/>
                    </a:ext>
                  </a:extLst>
                </p:cNvPr>
                <p:cNvSpPr txBox="1"/>
                <p:nvPr/>
              </p:nvSpPr>
              <p:spPr>
                <a:xfrm>
                  <a:off x="1138137" y="3478793"/>
                  <a:ext cx="130864"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cxnSp>
              <p:nvCxnSpPr>
                <p:cNvPr id="637" name="Straight Connector 636">
                  <a:extLst>
                    <a:ext uri="{FF2B5EF4-FFF2-40B4-BE49-F238E27FC236}">
                      <a16:creationId xmlns:a16="http://schemas.microsoft.com/office/drawing/2014/main" id="{48F0E48C-4A3C-4572-B08E-7E88732EE64D}"/>
                    </a:ext>
                  </a:extLst>
                </p:cNvPr>
                <p:cNvCxnSpPr>
                  <a:cxnSpLocks/>
                </p:cNvCxnSpPr>
                <p:nvPr/>
              </p:nvCxnSpPr>
              <p:spPr>
                <a:xfrm rot="5400000">
                  <a:off x="1339004" y="3171040"/>
                  <a:ext cx="0" cy="52397"/>
                </a:xfrm>
                <a:prstGeom prst="line">
                  <a:avLst/>
                </a:prstGeom>
                <a:noFill/>
                <a:ln w="12700" cap="flat" cmpd="sng" algn="ctr">
                  <a:solidFill>
                    <a:srgbClr val="000000"/>
                  </a:solidFill>
                  <a:prstDash val="solid"/>
                </a:ln>
                <a:effectLst/>
              </p:spPr>
            </p:cxnSp>
            <p:sp>
              <p:nvSpPr>
                <p:cNvPr id="638" name="TextBox 637">
                  <a:extLst>
                    <a:ext uri="{FF2B5EF4-FFF2-40B4-BE49-F238E27FC236}">
                      <a16:creationId xmlns:a16="http://schemas.microsoft.com/office/drawing/2014/main" id="{B988B5F4-00D8-4410-9F1B-AE3F820FF255}"/>
                    </a:ext>
                  </a:extLst>
                </p:cNvPr>
                <p:cNvSpPr txBox="1"/>
                <p:nvPr/>
              </p:nvSpPr>
              <p:spPr>
                <a:xfrm>
                  <a:off x="1138137" y="3128846"/>
                  <a:ext cx="130864"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a:t>
                  </a:r>
                </a:p>
              </p:txBody>
            </p:sp>
            <p:cxnSp>
              <p:nvCxnSpPr>
                <p:cNvPr id="639" name="Straight Connector 638">
                  <a:extLst>
                    <a:ext uri="{FF2B5EF4-FFF2-40B4-BE49-F238E27FC236}">
                      <a16:creationId xmlns:a16="http://schemas.microsoft.com/office/drawing/2014/main" id="{C0E1AA06-2CED-46FF-B8D8-F367DFD84713}"/>
                    </a:ext>
                  </a:extLst>
                </p:cNvPr>
                <p:cNvCxnSpPr>
                  <a:cxnSpLocks/>
                </p:cNvCxnSpPr>
                <p:nvPr/>
              </p:nvCxnSpPr>
              <p:spPr>
                <a:xfrm rot="5400000">
                  <a:off x="1339004" y="2824549"/>
                  <a:ext cx="0" cy="52397"/>
                </a:xfrm>
                <a:prstGeom prst="line">
                  <a:avLst/>
                </a:prstGeom>
                <a:noFill/>
                <a:ln w="12700" cap="flat" cmpd="sng" algn="ctr">
                  <a:solidFill>
                    <a:srgbClr val="000000"/>
                  </a:solidFill>
                  <a:prstDash val="solid"/>
                </a:ln>
                <a:effectLst/>
              </p:spPr>
            </p:cxnSp>
            <p:sp>
              <p:nvSpPr>
                <p:cNvPr id="640" name="TextBox 639">
                  <a:extLst>
                    <a:ext uri="{FF2B5EF4-FFF2-40B4-BE49-F238E27FC236}">
                      <a16:creationId xmlns:a16="http://schemas.microsoft.com/office/drawing/2014/main" id="{CB4CABBC-86BC-4258-8981-AAE9F60D7A81}"/>
                    </a:ext>
                  </a:extLst>
                </p:cNvPr>
                <p:cNvSpPr txBox="1"/>
                <p:nvPr/>
              </p:nvSpPr>
              <p:spPr>
                <a:xfrm>
                  <a:off x="1038073" y="2783943"/>
                  <a:ext cx="230928"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grpSp>
          <p:sp>
            <p:nvSpPr>
              <p:cNvPr id="518" name="Freeform: Shape 517">
                <a:extLst>
                  <a:ext uri="{FF2B5EF4-FFF2-40B4-BE49-F238E27FC236}">
                    <a16:creationId xmlns:a16="http://schemas.microsoft.com/office/drawing/2014/main" id="{527EF8F7-3F81-48B1-9184-A020F4A2E479}"/>
                  </a:ext>
                </a:extLst>
              </p:cNvPr>
              <p:cNvSpPr/>
              <p:nvPr/>
            </p:nvSpPr>
            <p:spPr>
              <a:xfrm>
                <a:off x="2271288" y="2762098"/>
                <a:ext cx="2821502" cy="1596468"/>
              </a:xfrm>
              <a:custGeom>
                <a:avLst/>
                <a:gdLst>
                  <a:gd name="connsiteX0" fmla="*/ 0 w 3981450"/>
                  <a:gd name="connsiteY0" fmla="*/ 0 h 2228850"/>
                  <a:gd name="connsiteX1" fmla="*/ 0 w 3981450"/>
                  <a:gd name="connsiteY1" fmla="*/ 2228850 h 2228850"/>
                  <a:gd name="connsiteX2" fmla="*/ 3981450 w 3981450"/>
                  <a:gd name="connsiteY2" fmla="*/ 2228850 h 2228850"/>
                </a:gdLst>
                <a:ahLst/>
                <a:cxnLst>
                  <a:cxn ang="0">
                    <a:pos x="connsiteX0" y="connsiteY0"/>
                  </a:cxn>
                  <a:cxn ang="0">
                    <a:pos x="connsiteX1" y="connsiteY1"/>
                  </a:cxn>
                  <a:cxn ang="0">
                    <a:pos x="connsiteX2" y="connsiteY2"/>
                  </a:cxn>
                </a:cxnLst>
                <a:rect l="l" t="t" r="r" b="b"/>
                <a:pathLst>
                  <a:path w="3981450" h="2228850">
                    <a:moveTo>
                      <a:pt x="0" y="0"/>
                    </a:moveTo>
                    <a:lnTo>
                      <a:pt x="0" y="2228850"/>
                    </a:lnTo>
                    <a:lnTo>
                      <a:pt x="3981450" y="2228850"/>
                    </a:lnTo>
                  </a:path>
                </a:pathLst>
              </a:custGeom>
              <a:noFill/>
              <a:ln w="127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19" name="Group 518">
                <a:extLst>
                  <a:ext uri="{FF2B5EF4-FFF2-40B4-BE49-F238E27FC236}">
                    <a16:creationId xmlns:a16="http://schemas.microsoft.com/office/drawing/2014/main" id="{BD15F3E2-C65B-4475-A40B-AF58FEB0AF65}"/>
                  </a:ext>
                </a:extLst>
              </p:cNvPr>
              <p:cNvGrpSpPr/>
              <p:nvPr/>
            </p:nvGrpSpPr>
            <p:grpSpPr>
              <a:xfrm>
                <a:off x="2336160" y="2739466"/>
                <a:ext cx="744594" cy="264543"/>
                <a:chOff x="1720358" y="1373707"/>
                <a:chExt cx="1039537" cy="369332"/>
              </a:xfrm>
            </p:grpSpPr>
            <p:sp>
              <p:nvSpPr>
                <p:cNvPr id="628" name="TextBox 627">
                  <a:extLst>
                    <a:ext uri="{FF2B5EF4-FFF2-40B4-BE49-F238E27FC236}">
                      <a16:creationId xmlns:a16="http://schemas.microsoft.com/office/drawing/2014/main" id="{DD3E8784-2FE7-4A23-AAE6-D711E40A8629}"/>
                    </a:ext>
                  </a:extLst>
                </p:cNvPr>
                <p:cNvSpPr txBox="1"/>
                <p:nvPr/>
              </p:nvSpPr>
              <p:spPr>
                <a:xfrm>
                  <a:off x="1911893" y="1373707"/>
                  <a:ext cx="848002" cy="369332"/>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Placebo</a:t>
                  </a:r>
                </a:p>
              </p:txBody>
            </p:sp>
            <p:sp>
              <p:nvSpPr>
                <p:cNvPr id="629" name="Oval 628">
                  <a:extLst>
                    <a:ext uri="{FF2B5EF4-FFF2-40B4-BE49-F238E27FC236}">
                      <a16:creationId xmlns:a16="http://schemas.microsoft.com/office/drawing/2014/main" id="{712BBF88-53B3-4321-A0EC-D0A3609CE5C1}"/>
                    </a:ext>
                  </a:extLst>
                </p:cNvPr>
                <p:cNvSpPr/>
                <p:nvPr/>
              </p:nvSpPr>
              <p:spPr>
                <a:xfrm>
                  <a:off x="1720358" y="1406835"/>
                  <a:ext cx="126739" cy="126739"/>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630" name="Oval 629">
                  <a:extLst>
                    <a:ext uri="{FF2B5EF4-FFF2-40B4-BE49-F238E27FC236}">
                      <a16:creationId xmlns:a16="http://schemas.microsoft.com/office/drawing/2014/main" id="{B5502F44-53CC-4A29-A18C-60B40614BE75}"/>
                    </a:ext>
                  </a:extLst>
                </p:cNvPr>
                <p:cNvSpPr/>
                <p:nvPr/>
              </p:nvSpPr>
              <p:spPr>
                <a:xfrm>
                  <a:off x="1720358" y="1583403"/>
                  <a:ext cx="126739" cy="126739"/>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sp>
            <p:nvSpPr>
              <p:cNvPr id="520" name="TextBox 519">
                <a:extLst>
                  <a:ext uri="{FF2B5EF4-FFF2-40B4-BE49-F238E27FC236}">
                    <a16:creationId xmlns:a16="http://schemas.microsoft.com/office/drawing/2014/main" id="{C15282C0-2C03-450F-B3AC-1F488275E1F1}"/>
                  </a:ext>
                </a:extLst>
              </p:cNvPr>
              <p:cNvSpPr txBox="1"/>
              <p:nvPr/>
            </p:nvSpPr>
            <p:spPr>
              <a:xfrm>
                <a:off x="2744668" y="2395128"/>
                <a:ext cx="1960892" cy="161583"/>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000000"/>
                    </a:solidFill>
                    <a:effectLst/>
                    <a:uLnTx/>
                    <a:uFillTx/>
                    <a:latin typeface="Arial" panose="020B0604020202020204"/>
                    <a:ea typeface="MS PGothic" charset="0"/>
                    <a:cs typeface="+mn-cs"/>
                  </a:rPr>
                  <a:t>Age ≤75 years</a:t>
                </a:r>
              </a:p>
            </p:txBody>
          </p:sp>
          <p:sp>
            <p:nvSpPr>
              <p:cNvPr id="521" name="TextBox 520">
                <a:extLst>
                  <a:ext uri="{FF2B5EF4-FFF2-40B4-BE49-F238E27FC236}">
                    <a16:creationId xmlns:a16="http://schemas.microsoft.com/office/drawing/2014/main" id="{0B8AAA8B-6C2D-4DB1-83FE-2BAC9D9369AB}"/>
                  </a:ext>
                </a:extLst>
              </p:cNvPr>
              <p:cNvSpPr txBox="1"/>
              <p:nvPr/>
            </p:nvSpPr>
            <p:spPr>
              <a:xfrm rot="16200000">
                <a:off x="1225076" y="3340016"/>
                <a:ext cx="1190045"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000000"/>
                    </a:solidFill>
                    <a:effectLst/>
                    <a:uLnTx/>
                    <a:uFillTx/>
                    <a:latin typeface="Arial" panose="020B0604020202020204"/>
                    <a:ea typeface="MS PGothic" charset="0"/>
                    <a:cs typeface="+mn-cs"/>
                  </a:rPr>
                  <a:t>SBP change from baseline</a:t>
                </a:r>
              </a:p>
            </p:txBody>
          </p:sp>
          <p:grpSp>
            <p:nvGrpSpPr>
              <p:cNvPr id="522" name="Group 521">
                <a:extLst>
                  <a:ext uri="{FF2B5EF4-FFF2-40B4-BE49-F238E27FC236}">
                    <a16:creationId xmlns:a16="http://schemas.microsoft.com/office/drawing/2014/main" id="{96414D29-24FF-4DFE-AB4F-E4A6B1447781}"/>
                  </a:ext>
                </a:extLst>
              </p:cNvPr>
              <p:cNvGrpSpPr/>
              <p:nvPr/>
            </p:nvGrpSpPr>
            <p:grpSpPr>
              <a:xfrm>
                <a:off x="5575770" y="4827403"/>
                <a:ext cx="3107175" cy="276999"/>
                <a:chOff x="1778637" y="5709096"/>
                <a:chExt cx="4337968" cy="386722"/>
              </a:xfrm>
            </p:grpSpPr>
            <p:sp>
              <p:nvSpPr>
                <p:cNvPr id="621" name="TextBox 620">
                  <a:extLst>
                    <a:ext uri="{FF2B5EF4-FFF2-40B4-BE49-F238E27FC236}">
                      <a16:creationId xmlns:a16="http://schemas.microsoft.com/office/drawing/2014/main" id="{51E91809-BA47-41EA-B59E-2E69C33728AB}"/>
                    </a:ext>
                  </a:extLst>
                </p:cNvPr>
                <p:cNvSpPr txBox="1"/>
                <p:nvPr/>
              </p:nvSpPr>
              <p:spPr>
                <a:xfrm>
                  <a:off x="1778637"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7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94</a:t>
                  </a:r>
                </a:p>
              </p:txBody>
            </p:sp>
            <p:sp>
              <p:nvSpPr>
                <p:cNvPr id="622" name="TextBox 621">
                  <a:extLst>
                    <a:ext uri="{FF2B5EF4-FFF2-40B4-BE49-F238E27FC236}">
                      <a16:creationId xmlns:a16="http://schemas.microsoft.com/office/drawing/2014/main" id="{429BE63C-CF20-4611-8C87-E1AAAC7F2DBE}"/>
                    </a:ext>
                  </a:extLst>
                </p:cNvPr>
                <p:cNvSpPr txBox="1"/>
                <p:nvPr/>
              </p:nvSpPr>
              <p:spPr>
                <a:xfrm>
                  <a:off x="2422750"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85</a:t>
                  </a:r>
                </a:p>
              </p:txBody>
            </p:sp>
            <p:sp>
              <p:nvSpPr>
                <p:cNvPr id="623" name="TextBox 622">
                  <a:extLst>
                    <a:ext uri="{FF2B5EF4-FFF2-40B4-BE49-F238E27FC236}">
                      <a16:creationId xmlns:a16="http://schemas.microsoft.com/office/drawing/2014/main" id="{F550D95F-5E78-4DD6-8039-E398BF61E022}"/>
                    </a:ext>
                  </a:extLst>
                </p:cNvPr>
                <p:cNvSpPr txBox="1"/>
                <p:nvPr/>
              </p:nvSpPr>
              <p:spPr>
                <a:xfrm>
                  <a:off x="3066864"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81</a:t>
                  </a:r>
                </a:p>
              </p:txBody>
            </p:sp>
            <p:sp>
              <p:nvSpPr>
                <p:cNvPr id="624" name="TextBox 623">
                  <a:extLst>
                    <a:ext uri="{FF2B5EF4-FFF2-40B4-BE49-F238E27FC236}">
                      <a16:creationId xmlns:a16="http://schemas.microsoft.com/office/drawing/2014/main" id="{CB1AA2CC-6E71-49EC-9028-F48E52F50813}"/>
                    </a:ext>
                  </a:extLst>
                </p:cNvPr>
                <p:cNvSpPr txBox="1"/>
                <p:nvPr/>
              </p:nvSpPr>
              <p:spPr>
                <a:xfrm>
                  <a:off x="3705589"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58</a:t>
                  </a:r>
                </a:p>
              </p:txBody>
            </p:sp>
            <p:sp>
              <p:nvSpPr>
                <p:cNvPr id="625" name="TextBox 624">
                  <a:extLst>
                    <a:ext uri="{FF2B5EF4-FFF2-40B4-BE49-F238E27FC236}">
                      <a16:creationId xmlns:a16="http://schemas.microsoft.com/office/drawing/2014/main" id="{52F41DB3-F262-41EB-A6D4-BE78DFD3F36C}"/>
                    </a:ext>
                  </a:extLst>
                </p:cNvPr>
                <p:cNvSpPr txBox="1"/>
                <p:nvPr/>
              </p:nvSpPr>
              <p:spPr>
                <a:xfrm>
                  <a:off x="4360475"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52</a:t>
                  </a:r>
                </a:p>
              </p:txBody>
            </p:sp>
            <p:sp>
              <p:nvSpPr>
                <p:cNvPr id="626" name="TextBox 625">
                  <a:extLst>
                    <a:ext uri="{FF2B5EF4-FFF2-40B4-BE49-F238E27FC236}">
                      <a16:creationId xmlns:a16="http://schemas.microsoft.com/office/drawing/2014/main" id="{0CE4DBCA-0F55-44F7-8772-828D1860E54D}"/>
                    </a:ext>
                  </a:extLst>
                </p:cNvPr>
                <p:cNvSpPr txBox="1"/>
                <p:nvPr/>
              </p:nvSpPr>
              <p:spPr>
                <a:xfrm>
                  <a:off x="5009974"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84</a:t>
                  </a:r>
                </a:p>
              </p:txBody>
            </p:sp>
            <p:sp>
              <p:nvSpPr>
                <p:cNvPr id="627" name="TextBox 626">
                  <a:extLst>
                    <a:ext uri="{FF2B5EF4-FFF2-40B4-BE49-F238E27FC236}">
                      <a16:creationId xmlns:a16="http://schemas.microsoft.com/office/drawing/2014/main" id="{285C073C-4332-465F-8E8B-17D02C42B005}"/>
                    </a:ext>
                  </a:extLst>
                </p:cNvPr>
                <p:cNvSpPr txBox="1"/>
                <p:nvPr/>
              </p:nvSpPr>
              <p:spPr>
                <a:xfrm>
                  <a:off x="5648703" y="5709096"/>
                  <a:ext cx="467902" cy="386722"/>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26</a:t>
                  </a:r>
                </a:p>
              </p:txBody>
            </p:sp>
          </p:grpSp>
          <p:grpSp>
            <p:nvGrpSpPr>
              <p:cNvPr id="523" name="Group 522">
                <a:extLst>
                  <a:ext uri="{FF2B5EF4-FFF2-40B4-BE49-F238E27FC236}">
                    <a16:creationId xmlns:a16="http://schemas.microsoft.com/office/drawing/2014/main" id="{A35BA2E9-CA85-4ED4-A821-A45D8F46D498}"/>
                  </a:ext>
                </a:extLst>
              </p:cNvPr>
              <p:cNvGrpSpPr/>
              <p:nvPr/>
            </p:nvGrpSpPr>
            <p:grpSpPr>
              <a:xfrm>
                <a:off x="5354698" y="2699959"/>
                <a:ext cx="327128" cy="1522513"/>
                <a:chOff x="4446559" y="2783943"/>
                <a:chExt cx="327128" cy="1522513"/>
              </a:xfrm>
            </p:grpSpPr>
            <p:cxnSp>
              <p:nvCxnSpPr>
                <p:cNvPr id="611" name="Straight Connector 610">
                  <a:extLst>
                    <a:ext uri="{FF2B5EF4-FFF2-40B4-BE49-F238E27FC236}">
                      <a16:creationId xmlns:a16="http://schemas.microsoft.com/office/drawing/2014/main" id="{1086D7F2-9D93-4193-A584-90A4005170DF}"/>
                    </a:ext>
                  </a:extLst>
                </p:cNvPr>
                <p:cNvCxnSpPr>
                  <a:cxnSpLocks/>
                </p:cNvCxnSpPr>
                <p:nvPr/>
              </p:nvCxnSpPr>
              <p:spPr>
                <a:xfrm rot="5400000">
                  <a:off x="4747489" y="4210152"/>
                  <a:ext cx="0" cy="52397"/>
                </a:xfrm>
                <a:prstGeom prst="line">
                  <a:avLst/>
                </a:prstGeom>
                <a:noFill/>
                <a:ln w="12700" cap="flat" cmpd="sng" algn="ctr">
                  <a:solidFill>
                    <a:srgbClr val="000000"/>
                  </a:solidFill>
                  <a:prstDash val="solid"/>
                </a:ln>
                <a:effectLst/>
              </p:spPr>
            </p:cxnSp>
            <p:sp>
              <p:nvSpPr>
                <p:cNvPr id="612" name="TextBox 611">
                  <a:extLst>
                    <a:ext uri="{FF2B5EF4-FFF2-40B4-BE49-F238E27FC236}">
                      <a16:creationId xmlns:a16="http://schemas.microsoft.com/office/drawing/2014/main" id="{D79F71C5-379A-4394-A82C-7BAC9E65AE89}"/>
                    </a:ext>
                  </a:extLst>
                </p:cNvPr>
                <p:cNvSpPr txBox="1"/>
                <p:nvPr/>
              </p:nvSpPr>
              <p:spPr>
                <a:xfrm>
                  <a:off x="4446559" y="4167957"/>
                  <a:ext cx="230928"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cxnSp>
              <p:nvCxnSpPr>
                <p:cNvPr id="613" name="Straight Connector 612">
                  <a:extLst>
                    <a:ext uri="{FF2B5EF4-FFF2-40B4-BE49-F238E27FC236}">
                      <a16:creationId xmlns:a16="http://schemas.microsoft.com/office/drawing/2014/main" id="{1A871D3E-FACD-4B73-9FD1-84B5C68F3689}"/>
                    </a:ext>
                  </a:extLst>
                </p:cNvPr>
                <p:cNvCxnSpPr>
                  <a:cxnSpLocks/>
                </p:cNvCxnSpPr>
                <p:nvPr/>
              </p:nvCxnSpPr>
              <p:spPr>
                <a:xfrm rot="5400000">
                  <a:off x="4747489" y="3864432"/>
                  <a:ext cx="0" cy="52397"/>
                </a:xfrm>
                <a:prstGeom prst="line">
                  <a:avLst/>
                </a:prstGeom>
                <a:noFill/>
                <a:ln w="12700" cap="flat" cmpd="sng" algn="ctr">
                  <a:solidFill>
                    <a:srgbClr val="000000"/>
                  </a:solidFill>
                  <a:prstDash val="solid"/>
                </a:ln>
                <a:effectLst/>
              </p:spPr>
            </p:cxnSp>
            <p:sp>
              <p:nvSpPr>
                <p:cNvPr id="614" name="TextBox 613">
                  <a:extLst>
                    <a:ext uri="{FF2B5EF4-FFF2-40B4-BE49-F238E27FC236}">
                      <a16:creationId xmlns:a16="http://schemas.microsoft.com/office/drawing/2014/main" id="{6AA779C5-D476-438D-801E-0AD2CB6A066F}"/>
                    </a:ext>
                  </a:extLst>
                </p:cNvPr>
                <p:cNvSpPr txBox="1"/>
                <p:nvPr/>
              </p:nvSpPr>
              <p:spPr>
                <a:xfrm>
                  <a:off x="4546622" y="3822237"/>
                  <a:ext cx="130864"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a:t>
                  </a:r>
                </a:p>
              </p:txBody>
            </p:sp>
            <p:cxnSp>
              <p:nvCxnSpPr>
                <p:cNvPr id="615" name="Straight Connector 614">
                  <a:extLst>
                    <a:ext uri="{FF2B5EF4-FFF2-40B4-BE49-F238E27FC236}">
                      <a16:creationId xmlns:a16="http://schemas.microsoft.com/office/drawing/2014/main" id="{B3A8299B-FDE6-4508-88BE-2468B20A35FE}"/>
                    </a:ext>
                  </a:extLst>
                </p:cNvPr>
                <p:cNvCxnSpPr>
                  <a:cxnSpLocks/>
                </p:cNvCxnSpPr>
                <p:nvPr/>
              </p:nvCxnSpPr>
              <p:spPr>
                <a:xfrm rot="5400000">
                  <a:off x="4747489" y="3520987"/>
                  <a:ext cx="0" cy="52397"/>
                </a:xfrm>
                <a:prstGeom prst="line">
                  <a:avLst/>
                </a:prstGeom>
                <a:noFill/>
                <a:ln w="12700" cap="flat" cmpd="sng" algn="ctr">
                  <a:solidFill>
                    <a:srgbClr val="000000"/>
                  </a:solidFill>
                  <a:prstDash val="solid"/>
                </a:ln>
                <a:effectLst/>
              </p:spPr>
            </p:cxnSp>
            <p:sp>
              <p:nvSpPr>
                <p:cNvPr id="616" name="TextBox 615">
                  <a:extLst>
                    <a:ext uri="{FF2B5EF4-FFF2-40B4-BE49-F238E27FC236}">
                      <a16:creationId xmlns:a16="http://schemas.microsoft.com/office/drawing/2014/main" id="{9D64EDC5-73F8-451B-A844-AE3CC6BE4FD7}"/>
                    </a:ext>
                  </a:extLst>
                </p:cNvPr>
                <p:cNvSpPr txBox="1"/>
                <p:nvPr/>
              </p:nvSpPr>
              <p:spPr>
                <a:xfrm>
                  <a:off x="4546622" y="3478793"/>
                  <a:ext cx="130864"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cxnSp>
              <p:nvCxnSpPr>
                <p:cNvPr id="617" name="Straight Connector 616">
                  <a:extLst>
                    <a:ext uri="{FF2B5EF4-FFF2-40B4-BE49-F238E27FC236}">
                      <a16:creationId xmlns:a16="http://schemas.microsoft.com/office/drawing/2014/main" id="{18836589-8FDB-4A5D-B430-6AA771F81586}"/>
                    </a:ext>
                  </a:extLst>
                </p:cNvPr>
                <p:cNvCxnSpPr>
                  <a:cxnSpLocks/>
                </p:cNvCxnSpPr>
                <p:nvPr/>
              </p:nvCxnSpPr>
              <p:spPr>
                <a:xfrm rot="5400000">
                  <a:off x="4747489" y="3171040"/>
                  <a:ext cx="0" cy="52397"/>
                </a:xfrm>
                <a:prstGeom prst="line">
                  <a:avLst/>
                </a:prstGeom>
                <a:noFill/>
                <a:ln w="12700" cap="flat" cmpd="sng" algn="ctr">
                  <a:solidFill>
                    <a:srgbClr val="000000"/>
                  </a:solidFill>
                  <a:prstDash val="solid"/>
                </a:ln>
                <a:effectLst/>
              </p:spPr>
            </p:cxnSp>
            <p:sp>
              <p:nvSpPr>
                <p:cNvPr id="618" name="TextBox 617">
                  <a:extLst>
                    <a:ext uri="{FF2B5EF4-FFF2-40B4-BE49-F238E27FC236}">
                      <a16:creationId xmlns:a16="http://schemas.microsoft.com/office/drawing/2014/main" id="{A942CD90-D78A-4B7B-B715-A27C83534815}"/>
                    </a:ext>
                  </a:extLst>
                </p:cNvPr>
                <p:cNvSpPr txBox="1"/>
                <p:nvPr/>
              </p:nvSpPr>
              <p:spPr>
                <a:xfrm>
                  <a:off x="4546622" y="3128846"/>
                  <a:ext cx="130864"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a:t>
                  </a:r>
                </a:p>
              </p:txBody>
            </p:sp>
            <p:cxnSp>
              <p:nvCxnSpPr>
                <p:cNvPr id="619" name="Straight Connector 618">
                  <a:extLst>
                    <a:ext uri="{FF2B5EF4-FFF2-40B4-BE49-F238E27FC236}">
                      <a16:creationId xmlns:a16="http://schemas.microsoft.com/office/drawing/2014/main" id="{890E2A57-38D6-446C-ACAE-1856DA8300D6}"/>
                    </a:ext>
                  </a:extLst>
                </p:cNvPr>
                <p:cNvCxnSpPr>
                  <a:cxnSpLocks/>
                </p:cNvCxnSpPr>
                <p:nvPr/>
              </p:nvCxnSpPr>
              <p:spPr>
                <a:xfrm rot="5400000">
                  <a:off x="4747489" y="2826137"/>
                  <a:ext cx="0" cy="52397"/>
                </a:xfrm>
                <a:prstGeom prst="line">
                  <a:avLst/>
                </a:prstGeom>
                <a:noFill/>
                <a:ln w="12700" cap="flat" cmpd="sng" algn="ctr">
                  <a:solidFill>
                    <a:srgbClr val="000000"/>
                  </a:solidFill>
                  <a:prstDash val="solid"/>
                </a:ln>
                <a:effectLst/>
              </p:spPr>
            </p:cxnSp>
            <p:sp>
              <p:nvSpPr>
                <p:cNvPr id="620" name="TextBox 619">
                  <a:extLst>
                    <a:ext uri="{FF2B5EF4-FFF2-40B4-BE49-F238E27FC236}">
                      <a16:creationId xmlns:a16="http://schemas.microsoft.com/office/drawing/2014/main" id="{9AB08232-1F22-4972-AC73-49A003CC75E0}"/>
                    </a:ext>
                  </a:extLst>
                </p:cNvPr>
                <p:cNvSpPr txBox="1"/>
                <p:nvPr/>
              </p:nvSpPr>
              <p:spPr>
                <a:xfrm>
                  <a:off x="4446559" y="2783943"/>
                  <a:ext cx="230928"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grpSp>
          <p:sp>
            <p:nvSpPr>
              <p:cNvPr id="524" name="Freeform: Shape 523">
                <a:extLst>
                  <a:ext uri="{FF2B5EF4-FFF2-40B4-BE49-F238E27FC236}">
                    <a16:creationId xmlns:a16="http://schemas.microsoft.com/office/drawing/2014/main" id="{DBCA1909-9656-439B-ABE9-713379502AA0}"/>
                  </a:ext>
                </a:extLst>
              </p:cNvPr>
              <p:cNvSpPr/>
              <p:nvPr/>
            </p:nvSpPr>
            <p:spPr>
              <a:xfrm>
                <a:off x="5677630" y="2762801"/>
                <a:ext cx="2851811" cy="1596468"/>
              </a:xfrm>
              <a:custGeom>
                <a:avLst/>
                <a:gdLst>
                  <a:gd name="connsiteX0" fmla="*/ 0 w 3981450"/>
                  <a:gd name="connsiteY0" fmla="*/ 0 h 2228850"/>
                  <a:gd name="connsiteX1" fmla="*/ 0 w 3981450"/>
                  <a:gd name="connsiteY1" fmla="*/ 2228850 h 2228850"/>
                  <a:gd name="connsiteX2" fmla="*/ 3981450 w 3981450"/>
                  <a:gd name="connsiteY2" fmla="*/ 2228850 h 2228850"/>
                </a:gdLst>
                <a:ahLst/>
                <a:cxnLst>
                  <a:cxn ang="0">
                    <a:pos x="connsiteX0" y="connsiteY0"/>
                  </a:cxn>
                  <a:cxn ang="0">
                    <a:pos x="connsiteX1" y="connsiteY1"/>
                  </a:cxn>
                  <a:cxn ang="0">
                    <a:pos x="connsiteX2" y="connsiteY2"/>
                  </a:cxn>
                </a:cxnLst>
                <a:rect l="l" t="t" r="r" b="b"/>
                <a:pathLst>
                  <a:path w="3981450" h="2228850">
                    <a:moveTo>
                      <a:pt x="0" y="0"/>
                    </a:moveTo>
                    <a:lnTo>
                      <a:pt x="0" y="2228850"/>
                    </a:lnTo>
                    <a:lnTo>
                      <a:pt x="3981450" y="2228850"/>
                    </a:lnTo>
                  </a:path>
                </a:pathLst>
              </a:custGeom>
              <a:noFill/>
              <a:ln w="127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25" name="Group 524">
                <a:extLst>
                  <a:ext uri="{FF2B5EF4-FFF2-40B4-BE49-F238E27FC236}">
                    <a16:creationId xmlns:a16="http://schemas.microsoft.com/office/drawing/2014/main" id="{A86239D5-2CDA-4FB6-9246-8141568E3B36}"/>
                  </a:ext>
                </a:extLst>
              </p:cNvPr>
              <p:cNvGrpSpPr/>
              <p:nvPr/>
            </p:nvGrpSpPr>
            <p:grpSpPr>
              <a:xfrm>
                <a:off x="5777979" y="2740665"/>
                <a:ext cx="839605" cy="264543"/>
                <a:chOff x="1720358" y="1375382"/>
                <a:chExt cx="1172183" cy="369332"/>
              </a:xfrm>
            </p:grpSpPr>
            <p:sp>
              <p:nvSpPr>
                <p:cNvPr id="608" name="TextBox 607">
                  <a:extLst>
                    <a:ext uri="{FF2B5EF4-FFF2-40B4-BE49-F238E27FC236}">
                      <a16:creationId xmlns:a16="http://schemas.microsoft.com/office/drawing/2014/main" id="{CE245CA5-3598-4E13-BE42-9CA0436BCCB0}"/>
                    </a:ext>
                  </a:extLst>
                </p:cNvPr>
                <p:cNvSpPr txBox="1"/>
                <p:nvPr/>
              </p:nvSpPr>
              <p:spPr>
                <a:xfrm>
                  <a:off x="1911893" y="1375382"/>
                  <a:ext cx="980648" cy="369332"/>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Placebo</a:t>
                  </a:r>
                </a:p>
              </p:txBody>
            </p:sp>
            <p:sp>
              <p:nvSpPr>
                <p:cNvPr id="609" name="Oval 608">
                  <a:extLst>
                    <a:ext uri="{FF2B5EF4-FFF2-40B4-BE49-F238E27FC236}">
                      <a16:creationId xmlns:a16="http://schemas.microsoft.com/office/drawing/2014/main" id="{57BF6FB5-A92C-400E-A5FC-593F71C178C3}"/>
                    </a:ext>
                  </a:extLst>
                </p:cNvPr>
                <p:cNvSpPr/>
                <p:nvPr/>
              </p:nvSpPr>
              <p:spPr>
                <a:xfrm>
                  <a:off x="1720358" y="1408511"/>
                  <a:ext cx="126739" cy="126739"/>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610" name="Oval 609">
                  <a:extLst>
                    <a:ext uri="{FF2B5EF4-FFF2-40B4-BE49-F238E27FC236}">
                      <a16:creationId xmlns:a16="http://schemas.microsoft.com/office/drawing/2014/main" id="{2BB673E3-ADA3-4B08-B3FA-5CAC1C3F4137}"/>
                    </a:ext>
                  </a:extLst>
                </p:cNvPr>
                <p:cNvSpPr/>
                <p:nvPr/>
              </p:nvSpPr>
              <p:spPr>
                <a:xfrm>
                  <a:off x="1720358" y="1585077"/>
                  <a:ext cx="126739" cy="126739"/>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sp>
            <p:nvSpPr>
              <p:cNvPr id="526" name="TextBox 525">
                <a:extLst>
                  <a:ext uri="{FF2B5EF4-FFF2-40B4-BE49-F238E27FC236}">
                    <a16:creationId xmlns:a16="http://schemas.microsoft.com/office/drawing/2014/main" id="{C9096412-4826-4E15-8B95-3B4F2EF65DD5}"/>
                  </a:ext>
                </a:extLst>
              </p:cNvPr>
              <p:cNvSpPr txBox="1"/>
              <p:nvPr/>
            </p:nvSpPr>
            <p:spPr>
              <a:xfrm>
                <a:off x="6186486" y="2395128"/>
                <a:ext cx="1960892" cy="161583"/>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000000"/>
                    </a:solidFill>
                    <a:effectLst/>
                    <a:uLnTx/>
                    <a:uFillTx/>
                    <a:latin typeface="Arial" panose="020B0604020202020204"/>
                    <a:ea typeface="MS PGothic" charset="0"/>
                    <a:cs typeface="+mn-cs"/>
                  </a:rPr>
                  <a:t>Age &gt;75 years</a:t>
                </a:r>
              </a:p>
            </p:txBody>
          </p:sp>
          <p:sp>
            <p:nvSpPr>
              <p:cNvPr id="527" name="Oval 526">
                <a:extLst>
                  <a:ext uri="{FF2B5EF4-FFF2-40B4-BE49-F238E27FC236}">
                    <a16:creationId xmlns:a16="http://schemas.microsoft.com/office/drawing/2014/main" id="{D798F725-D7CD-427C-89C8-6F46D5D857FE}"/>
                  </a:ext>
                </a:extLst>
              </p:cNvPr>
              <p:cNvSpPr/>
              <p:nvPr/>
            </p:nvSpPr>
            <p:spPr>
              <a:xfrm>
                <a:off x="8497696" y="3562003"/>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28" name="Oval 527">
                <a:extLst>
                  <a:ext uri="{FF2B5EF4-FFF2-40B4-BE49-F238E27FC236}">
                    <a16:creationId xmlns:a16="http://schemas.microsoft.com/office/drawing/2014/main" id="{8B536C31-4DB3-40D6-948C-57B875425906}"/>
                  </a:ext>
                </a:extLst>
              </p:cNvPr>
              <p:cNvSpPr/>
              <p:nvPr/>
            </p:nvSpPr>
            <p:spPr>
              <a:xfrm>
                <a:off x="6648201" y="3476936"/>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29" name="Oval 528">
                <a:extLst>
                  <a:ext uri="{FF2B5EF4-FFF2-40B4-BE49-F238E27FC236}">
                    <a16:creationId xmlns:a16="http://schemas.microsoft.com/office/drawing/2014/main" id="{74BFCC09-2E2C-4E50-AE82-DEBDAEE7621B}"/>
                  </a:ext>
                </a:extLst>
              </p:cNvPr>
              <p:cNvSpPr/>
              <p:nvPr/>
            </p:nvSpPr>
            <p:spPr>
              <a:xfrm>
                <a:off x="7575789" y="3554400"/>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30" name="Oval 529">
                <a:extLst>
                  <a:ext uri="{FF2B5EF4-FFF2-40B4-BE49-F238E27FC236}">
                    <a16:creationId xmlns:a16="http://schemas.microsoft.com/office/drawing/2014/main" id="{38C9B518-16CF-443B-94FF-36A664B1FD91}"/>
                  </a:ext>
                </a:extLst>
              </p:cNvPr>
              <p:cNvSpPr/>
              <p:nvPr/>
            </p:nvSpPr>
            <p:spPr>
              <a:xfrm>
                <a:off x="7112354" y="3483836"/>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31" name="Group 530">
                <a:extLst>
                  <a:ext uri="{FF2B5EF4-FFF2-40B4-BE49-F238E27FC236}">
                    <a16:creationId xmlns:a16="http://schemas.microsoft.com/office/drawing/2014/main" id="{D6AD2430-ECA5-4944-9BD1-D751ACE9AFE6}"/>
                  </a:ext>
                </a:extLst>
              </p:cNvPr>
              <p:cNvGrpSpPr/>
              <p:nvPr/>
            </p:nvGrpSpPr>
            <p:grpSpPr>
              <a:xfrm>
                <a:off x="8497060" y="3388722"/>
                <a:ext cx="53705" cy="242198"/>
                <a:chOff x="9123552" y="4535234"/>
                <a:chExt cx="64419" cy="214609"/>
              </a:xfrm>
            </p:grpSpPr>
            <p:cxnSp>
              <p:nvCxnSpPr>
                <p:cNvPr id="605" name="Straight Connector 604">
                  <a:extLst>
                    <a:ext uri="{FF2B5EF4-FFF2-40B4-BE49-F238E27FC236}">
                      <a16:creationId xmlns:a16="http://schemas.microsoft.com/office/drawing/2014/main" id="{54E24EED-B8F6-4BC3-876C-56CE957EF574}"/>
                    </a:ext>
                  </a:extLst>
                </p:cNvPr>
                <p:cNvCxnSpPr/>
                <p:nvPr/>
              </p:nvCxnSpPr>
              <p:spPr>
                <a:xfrm>
                  <a:off x="9123552" y="4536281"/>
                  <a:ext cx="64009" cy="0"/>
                </a:xfrm>
                <a:prstGeom prst="line">
                  <a:avLst/>
                </a:prstGeom>
                <a:noFill/>
                <a:ln w="9525" cap="flat" cmpd="sng" algn="ctr">
                  <a:solidFill>
                    <a:schemeClr val="accent1"/>
                  </a:solidFill>
                  <a:prstDash val="solid"/>
                </a:ln>
                <a:effectLst/>
              </p:spPr>
            </p:cxnSp>
            <p:cxnSp>
              <p:nvCxnSpPr>
                <p:cNvPr id="606" name="Straight Connector 605">
                  <a:extLst>
                    <a:ext uri="{FF2B5EF4-FFF2-40B4-BE49-F238E27FC236}">
                      <a16:creationId xmlns:a16="http://schemas.microsoft.com/office/drawing/2014/main" id="{37AF3B8D-0256-4AD0-9B72-50104E00C9EF}"/>
                    </a:ext>
                  </a:extLst>
                </p:cNvPr>
                <p:cNvCxnSpPr/>
                <p:nvPr/>
              </p:nvCxnSpPr>
              <p:spPr>
                <a:xfrm>
                  <a:off x="9123963" y="4748198"/>
                  <a:ext cx="64008" cy="0"/>
                </a:xfrm>
                <a:prstGeom prst="line">
                  <a:avLst/>
                </a:prstGeom>
                <a:noFill/>
                <a:ln w="9525" cap="flat" cmpd="sng" algn="ctr">
                  <a:solidFill>
                    <a:schemeClr val="accent1"/>
                  </a:solidFill>
                  <a:prstDash val="solid"/>
                </a:ln>
                <a:effectLst/>
              </p:spPr>
            </p:cxnSp>
            <p:cxnSp>
              <p:nvCxnSpPr>
                <p:cNvPr id="607" name="Straight Connector 606">
                  <a:extLst>
                    <a:ext uri="{FF2B5EF4-FFF2-40B4-BE49-F238E27FC236}">
                      <a16:creationId xmlns:a16="http://schemas.microsoft.com/office/drawing/2014/main" id="{36C5E6AF-A975-4DDD-A32C-0D3F3E987CED}"/>
                    </a:ext>
                  </a:extLst>
                </p:cNvPr>
                <p:cNvCxnSpPr>
                  <a:cxnSpLocks/>
                </p:cNvCxnSpPr>
                <p:nvPr/>
              </p:nvCxnSpPr>
              <p:spPr>
                <a:xfrm>
                  <a:off x="9155902" y="4535234"/>
                  <a:ext cx="0" cy="214609"/>
                </a:xfrm>
                <a:prstGeom prst="line">
                  <a:avLst/>
                </a:prstGeom>
                <a:noFill/>
                <a:ln w="9525" cap="flat" cmpd="sng" algn="ctr">
                  <a:solidFill>
                    <a:schemeClr val="accent1"/>
                  </a:solidFill>
                  <a:prstDash val="solid"/>
                </a:ln>
                <a:effectLst/>
              </p:spPr>
            </p:cxnSp>
          </p:grpSp>
          <p:grpSp>
            <p:nvGrpSpPr>
              <p:cNvPr id="532" name="Group 531">
                <a:extLst>
                  <a:ext uri="{FF2B5EF4-FFF2-40B4-BE49-F238E27FC236}">
                    <a16:creationId xmlns:a16="http://schemas.microsoft.com/office/drawing/2014/main" id="{5E1850FC-0C93-44E2-B3BD-0B683CAEE2EB}"/>
                  </a:ext>
                </a:extLst>
              </p:cNvPr>
              <p:cNvGrpSpPr/>
              <p:nvPr/>
            </p:nvGrpSpPr>
            <p:grpSpPr>
              <a:xfrm>
                <a:off x="8034886" y="3498559"/>
                <a:ext cx="53362" cy="191657"/>
                <a:chOff x="9029700" y="4535225"/>
                <a:chExt cx="64008" cy="214609"/>
              </a:xfrm>
            </p:grpSpPr>
            <p:cxnSp>
              <p:nvCxnSpPr>
                <p:cNvPr id="602" name="Straight Connector 601">
                  <a:extLst>
                    <a:ext uri="{FF2B5EF4-FFF2-40B4-BE49-F238E27FC236}">
                      <a16:creationId xmlns:a16="http://schemas.microsoft.com/office/drawing/2014/main" id="{72552372-65AD-47CC-8107-A3726502840E}"/>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603" name="Straight Connector 602">
                  <a:extLst>
                    <a:ext uri="{FF2B5EF4-FFF2-40B4-BE49-F238E27FC236}">
                      <a16:creationId xmlns:a16="http://schemas.microsoft.com/office/drawing/2014/main" id="{F2B7E92D-99AB-489A-8CBC-760A59044E94}"/>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604" name="Straight Connector 603">
                  <a:extLst>
                    <a:ext uri="{FF2B5EF4-FFF2-40B4-BE49-F238E27FC236}">
                      <a16:creationId xmlns:a16="http://schemas.microsoft.com/office/drawing/2014/main" id="{37CADD0C-C119-4E30-86D7-D24E5C9E0F66}"/>
                    </a:ext>
                  </a:extLst>
                </p:cNvPr>
                <p:cNvCxnSpPr>
                  <a:cxnSpLocks/>
                </p:cNvCxnSpPr>
                <p:nvPr/>
              </p:nvCxnSpPr>
              <p:spPr>
                <a:xfrm>
                  <a:off x="9061704" y="4535225"/>
                  <a:ext cx="0" cy="214609"/>
                </a:xfrm>
                <a:prstGeom prst="line">
                  <a:avLst/>
                </a:prstGeom>
                <a:noFill/>
                <a:ln w="9525" cap="flat" cmpd="sng" algn="ctr">
                  <a:solidFill>
                    <a:schemeClr val="tx2"/>
                  </a:solidFill>
                  <a:prstDash val="solid"/>
                </a:ln>
                <a:effectLst/>
              </p:spPr>
            </p:cxnSp>
          </p:grpSp>
          <p:cxnSp>
            <p:nvCxnSpPr>
              <p:cNvPr id="533" name="Straight Connector 532">
                <a:extLst>
                  <a:ext uri="{FF2B5EF4-FFF2-40B4-BE49-F238E27FC236}">
                    <a16:creationId xmlns:a16="http://schemas.microsoft.com/office/drawing/2014/main" id="{59E2EF69-E382-4A98-B4E3-52CF17105DCB}"/>
                  </a:ext>
                </a:extLst>
              </p:cNvPr>
              <p:cNvCxnSpPr>
                <a:cxnSpLocks/>
              </p:cNvCxnSpPr>
              <p:nvPr/>
            </p:nvCxnSpPr>
            <p:spPr>
              <a:xfrm>
                <a:off x="5724534" y="3463905"/>
                <a:ext cx="54000" cy="0"/>
              </a:xfrm>
              <a:prstGeom prst="line">
                <a:avLst/>
              </a:prstGeom>
              <a:noFill/>
              <a:ln w="9525" cap="flat" cmpd="sng" algn="ctr">
                <a:solidFill>
                  <a:schemeClr val="accent1"/>
                </a:solidFill>
                <a:prstDash val="solid"/>
              </a:ln>
              <a:effectLst/>
            </p:spPr>
          </p:cxnSp>
          <p:sp>
            <p:nvSpPr>
              <p:cNvPr id="534" name="Oval 533">
                <a:extLst>
                  <a:ext uri="{FF2B5EF4-FFF2-40B4-BE49-F238E27FC236}">
                    <a16:creationId xmlns:a16="http://schemas.microsoft.com/office/drawing/2014/main" id="{1E5D4288-514E-40C0-BEAA-CCF5E2513748}"/>
                  </a:ext>
                </a:extLst>
              </p:cNvPr>
              <p:cNvSpPr/>
              <p:nvPr/>
            </p:nvSpPr>
            <p:spPr>
              <a:xfrm>
                <a:off x="8496510" y="3483054"/>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35" name="Group 534">
                <a:extLst>
                  <a:ext uri="{FF2B5EF4-FFF2-40B4-BE49-F238E27FC236}">
                    <a16:creationId xmlns:a16="http://schemas.microsoft.com/office/drawing/2014/main" id="{9829B5D5-35A1-4120-B387-6A9E319C3383}"/>
                  </a:ext>
                </a:extLst>
              </p:cNvPr>
              <p:cNvGrpSpPr/>
              <p:nvPr/>
            </p:nvGrpSpPr>
            <p:grpSpPr>
              <a:xfrm>
                <a:off x="8033251" y="3516689"/>
                <a:ext cx="53680" cy="199558"/>
                <a:chOff x="9100733" y="4535234"/>
                <a:chExt cx="64389" cy="214609"/>
              </a:xfrm>
            </p:grpSpPr>
            <p:cxnSp>
              <p:nvCxnSpPr>
                <p:cNvPr id="599" name="Straight Connector 598">
                  <a:extLst>
                    <a:ext uri="{FF2B5EF4-FFF2-40B4-BE49-F238E27FC236}">
                      <a16:creationId xmlns:a16="http://schemas.microsoft.com/office/drawing/2014/main" id="{02F80B94-772D-4F42-8B06-19A509F7C6FE}"/>
                    </a:ext>
                  </a:extLst>
                </p:cNvPr>
                <p:cNvCxnSpPr/>
                <p:nvPr/>
              </p:nvCxnSpPr>
              <p:spPr>
                <a:xfrm>
                  <a:off x="9100733" y="4536281"/>
                  <a:ext cx="64009" cy="0"/>
                </a:xfrm>
                <a:prstGeom prst="line">
                  <a:avLst/>
                </a:prstGeom>
                <a:noFill/>
                <a:ln w="9525" cap="flat" cmpd="sng" algn="ctr">
                  <a:solidFill>
                    <a:schemeClr val="accent1"/>
                  </a:solidFill>
                  <a:prstDash val="solid"/>
                </a:ln>
                <a:effectLst/>
              </p:spPr>
            </p:cxnSp>
            <p:cxnSp>
              <p:nvCxnSpPr>
                <p:cNvPr id="600" name="Straight Connector 599">
                  <a:extLst>
                    <a:ext uri="{FF2B5EF4-FFF2-40B4-BE49-F238E27FC236}">
                      <a16:creationId xmlns:a16="http://schemas.microsoft.com/office/drawing/2014/main" id="{E924B01B-98B4-453D-9433-8E2040216B24}"/>
                    </a:ext>
                  </a:extLst>
                </p:cNvPr>
                <p:cNvCxnSpPr/>
                <p:nvPr/>
              </p:nvCxnSpPr>
              <p:spPr>
                <a:xfrm>
                  <a:off x="9101114" y="4746088"/>
                  <a:ext cx="64008" cy="0"/>
                </a:xfrm>
                <a:prstGeom prst="line">
                  <a:avLst/>
                </a:prstGeom>
                <a:noFill/>
                <a:ln w="9525" cap="flat" cmpd="sng" algn="ctr">
                  <a:solidFill>
                    <a:schemeClr val="accent1"/>
                  </a:solidFill>
                  <a:prstDash val="solid"/>
                </a:ln>
                <a:effectLst/>
              </p:spPr>
            </p:cxnSp>
            <p:cxnSp>
              <p:nvCxnSpPr>
                <p:cNvPr id="601" name="Straight Connector 600">
                  <a:extLst>
                    <a:ext uri="{FF2B5EF4-FFF2-40B4-BE49-F238E27FC236}">
                      <a16:creationId xmlns:a16="http://schemas.microsoft.com/office/drawing/2014/main" id="{35074482-4225-40E2-AA3E-F4BFBAE3DE5F}"/>
                    </a:ext>
                  </a:extLst>
                </p:cNvPr>
                <p:cNvCxnSpPr>
                  <a:cxnSpLocks/>
                </p:cNvCxnSpPr>
                <p:nvPr/>
              </p:nvCxnSpPr>
              <p:spPr>
                <a:xfrm>
                  <a:off x="9133115" y="4535234"/>
                  <a:ext cx="0" cy="214609"/>
                </a:xfrm>
                <a:prstGeom prst="line">
                  <a:avLst/>
                </a:prstGeom>
                <a:noFill/>
                <a:ln w="9525" cap="flat" cmpd="sng" algn="ctr">
                  <a:solidFill>
                    <a:schemeClr val="accent1"/>
                  </a:solidFill>
                  <a:prstDash val="solid"/>
                </a:ln>
                <a:effectLst/>
              </p:spPr>
            </p:cxnSp>
          </p:grpSp>
          <p:sp>
            <p:nvSpPr>
              <p:cNvPr id="536" name="Oval 535">
                <a:extLst>
                  <a:ext uri="{FF2B5EF4-FFF2-40B4-BE49-F238E27FC236}">
                    <a16:creationId xmlns:a16="http://schemas.microsoft.com/office/drawing/2014/main" id="{2586EA24-6F53-4F5C-8298-EA73BAF8501D}"/>
                  </a:ext>
                </a:extLst>
              </p:cNvPr>
              <p:cNvSpPr/>
              <p:nvPr/>
            </p:nvSpPr>
            <p:spPr>
              <a:xfrm>
                <a:off x="8035896" y="3592650"/>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37" name="Group 536">
                <a:extLst>
                  <a:ext uri="{FF2B5EF4-FFF2-40B4-BE49-F238E27FC236}">
                    <a16:creationId xmlns:a16="http://schemas.microsoft.com/office/drawing/2014/main" id="{DC8EA55B-1DCE-40FE-AC14-B121DEAAD1E8}"/>
                  </a:ext>
                </a:extLst>
              </p:cNvPr>
              <p:cNvGrpSpPr/>
              <p:nvPr/>
            </p:nvGrpSpPr>
            <p:grpSpPr>
              <a:xfrm>
                <a:off x="7574210" y="3562741"/>
                <a:ext cx="53770" cy="168731"/>
                <a:chOff x="9089203" y="4535234"/>
                <a:chExt cx="64495" cy="214609"/>
              </a:xfrm>
            </p:grpSpPr>
            <p:cxnSp>
              <p:nvCxnSpPr>
                <p:cNvPr id="596" name="Straight Connector 595">
                  <a:extLst>
                    <a:ext uri="{FF2B5EF4-FFF2-40B4-BE49-F238E27FC236}">
                      <a16:creationId xmlns:a16="http://schemas.microsoft.com/office/drawing/2014/main" id="{C7A224E1-63A1-4261-896F-FEA0A4636C61}"/>
                    </a:ext>
                  </a:extLst>
                </p:cNvPr>
                <p:cNvCxnSpPr/>
                <p:nvPr/>
              </p:nvCxnSpPr>
              <p:spPr>
                <a:xfrm>
                  <a:off x="9089203" y="4542338"/>
                  <a:ext cx="64009" cy="0"/>
                </a:xfrm>
                <a:prstGeom prst="line">
                  <a:avLst/>
                </a:prstGeom>
                <a:noFill/>
                <a:ln w="9525" cap="flat" cmpd="sng" algn="ctr">
                  <a:solidFill>
                    <a:schemeClr val="accent1"/>
                  </a:solidFill>
                  <a:prstDash val="solid"/>
                </a:ln>
                <a:effectLst/>
              </p:spPr>
            </p:cxnSp>
            <p:cxnSp>
              <p:nvCxnSpPr>
                <p:cNvPr id="597" name="Straight Connector 596">
                  <a:extLst>
                    <a:ext uri="{FF2B5EF4-FFF2-40B4-BE49-F238E27FC236}">
                      <a16:creationId xmlns:a16="http://schemas.microsoft.com/office/drawing/2014/main" id="{FC3C2391-9623-4E27-8A3B-41617360B4C6}"/>
                    </a:ext>
                  </a:extLst>
                </p:cNvPr>
                <p:cNvCxnSpPr/>
                <p:nvPr/>
              </p:nvCxnSpPr>
              <p:spPr>
                <a:xfrm>
                  <a:off x="9089690" y="4746088"/>
                  <a:ext cx="64008" cy="0"/>
                </a:xfrm>
                <a:prstGeom prst="line">
                  <a:avLst/>
                </a:prstGeom>
                <a:noFill/>
                <a:ln w="9525" cap="flat" cmpd="sng" algn="ctr">
                  <a:solidFill>
                    <a:schemeClr val="accent1"/>
                  </a:solidFill>
                  <a:prstDash val="solid"/>
                </a:ln>
                <a:effectLst/>
              </p:spPr>
            </p:cxnSp>
            <p:cxnSp>
              <p:nvCxnSpPr>
                <p:cNvPr id="598" name="Straight Connector 597">
                  <a:extLst>
                    <a:ext uri="{FF2B5EF4-FFF2-40B4-BE49-F238E27FC236}">
                      <a16:creationId xmlns:a16="http://schemas.microsoft.com/office/drawing/2014/main" id="{11FBA8C2-4FEE-4E9C-8AF9-AE4ABB79E4D8}"/>
                    </a:ext>
                  </a:extLst>
                </p:cNvPr>
                <p:cNvCxnSpPr>
                  <a:cxnSpLocks/>
                </p:cNvCxnSpPr>
                <p:nvPr/>
              </p:nvCxnSpPr>
              <p:spPr>
                <a:xfrm>
                  <a:off x="9121691" y="4535234"/>
                  <a:ext cx="0" cy="214609"/>
                </a:xfrm>
                <a:prstGeom prst="line">
                  <a:avLst/>
                </a:prstGeom>
                <a:noFill/>
                <a:ln w="9525" cap="flat" cmpd="sng" algn="ctr">
                  <a:solidFill>
                    <a:schemeClr val="accent1"/>
                  </a:solidFill>
                  <a:prstDash val="solid"/>
                </a:ln>
                <a:effectLst/>
              </p:spPr>
            </p:cxnSp>
          </p:grpSp>
          <p:sp>
            <p:nvSpPr>
              <p:cNvPr id="538" name="Oval 537">
                <a:extLst>
                  <a:ext uri="{FF2B5EF4-FFF2-40B4-BE49-F238E27FC236}">
                    <a16:creationId xmlns:a16="http://schemas.microsoft.com/office/drawing/2014/main" id="{435D00B2-9D65-424F-BF0A-515E28845415}"/>
                  </a:ext>
                </a:extLst>
              </p:cNvPr>
              <p:cNvSpPr/>
              <p:nvPr/>
            </p:nvSpPr>
            <p:spPr>
              <a:xfrm>
                <a:off x="7575295" y="3622505"/>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39" name="Group 538">
                <a:extLst>
                  <a:ext uri="{FF2B5EF4-FFF2-40B4-BE49-F238E27FC236}">
                    <a16:creationId xmlns:a16="http://schemas.microsoft.com/office/drawing/2014/main" id="{C3C738B7-86BE-40FB-9220-225EDF091535}"/>
                  </a:ext>
                </a:extLst>
              </p:cNvPr>
              <p:cNvGrpSpPr/>
              <p:nvPr/>
            </p:nvGrpSpPr>
            <p:grpSpPr>
              <a:xfrm>
                <a:off x="7112163" y="3462109"/>
                <a:ext cx="53589" cy="134779"/>
                <a:chOff x="9075134" y="4535234"/>
                <a:chExt cx="64280" cy="214609"/>
              </a:xfrm>
            </p:grpSpPr>
            <p:cxnSp>
              <p:nvCxnSpPr>
                <p:cNvPr id="593" name="Straight Connector 592">
                  <a:extLst>
                    <a:ext uri="{FF2B5EF4-FFF2-40B4-BE49-F238E27FC236}">
                      <a16:creationId xmlns:a16="http://schemas.microsoft.com/office/drawing/2014/main" id="{65D61002-A7E2-4CB7-B771-05AC81D323B9}"/>
                    </a:ext>
                  </a:extLst>
                </p:cNvPr>
                <p:cNvCxnSpPr/>
                <p:nvPr/>
              </p:nvCxnSpPr>
              <p:spPr>
                <a:xfrm>
                  <a:off x="9075134" y="4536282"/>
                  <a:ext cx="64009" cy="0"/>
                </a:xfrm>
                <a:prstGeom prst="line">
                  <a:avLst/>
                </a:prstGeom>
                <a:noFill/>
                <a:ln w="9525" cap="flat" cmpd="sng" algn="ctr">
                  <a:solidFill>
                    <a:schemeClr val="accent1"/>
                  </a:solidFill>
                  <a:prstDash val="solid"/>
                </a:ln>
                <a:effectLst/>
              </p:spPr>
            </p:cxnSp>
            <p:cxnSp>
              <p:nvCxnSpPr>
                <p:cNvPr id="594" name="Straight Connector 593">
                  <a:extLst>
                    <a:ext uri="{FF2B5EF4-FFF2-40B4-BE49-F238E27FC236}">
                      <a16:creationId xmlns:a16="http://schemas.microsoft.com/office/drawing/2014/main" id="{34808C2E-C672-4AA2-9B56-E00617BCB2BC}"/>
                    </a:ext>
                  </a:extLst>
                </p:cNvPr>
                <p:cNvCxnSpPr/>
                <p:nvPr/>
              </p:nvCxnSpPr>
              <p:spPr>
                <a:xfrm>
                  <a:off x="9075406" y="4746088"/>
                  <a:ext cx="64008" cy="0"/>
                </a:xfrm>
                <a:prstGeom prst="line">
                  <a:avLst/>
                </a:prstGeom>
                <a:noFill/>
                <a:ln w="9525" cap="flat" cmpd="sng" algn="ctr">
                  <a:solidFill>
                    <a:schemeClr val="accent1"/>
                  </a:solidFill>
                  <a:prstDash val="solid"/>
                </a:ln>
                <a:effectLst/>
              </p:spPr>
            </p:cxnSp>
            <p:cxnSp>
              <p:nvCxnSpPr>
                <p:cNvPr id="595" name="Straight Connector 594">
                  <a:extLst>
                    <a:ext uri="{FF2B5EF4-FFF2-40B4-BE49-F238E27FC236}">
                      <a16:creationId xmlns:a16="http://schemas.microsoft.com/office/drawing/2014/main" id="{FF56B35A-BBAD-48D5-AD9D-ADB237D25A68}"/>
                    </a:ext>
                  </a:extLst>
                </p:cNvPr>
                <p:cNvCxnSpPr>
                  <a:cxnSpLocks/>
                </p:cNvCxnSpPr>
                <p:nvPr/>
              </p:nvCxnSpPr>
              <p:spPr>
                <a:xfrm>
                  <a:off x="9107406" y="4535234"/>
                  <a:ext cx="0" cy="214609"/>
                </a:xfrm>
                <a:prstGeom prst="line">
                  <a:avLst/>
                </a:prstGeom>
                <a:noFill/>
                <a:ln w="9525" cap="flat" cmpd="sng" algn="ctr">
                  <a:solidFill>
                    <a:schemeClr val="accent1"/>
                  </a:solidFill>
                  <a:prstDash val="solid"/>
                </a:ln>
                <a:effectLst/>
              </p:spPr>
            </p:cxnSp>
          </p:grpSp>
          <p:sp>
            <p:nvSpPr>
              <p:cNvPr id="540" name="Oval 539">
                <a:extLst>
                  <a:ext uri="{FF2B5EF4-FFF2-40B4-BE49-F238E27FC236}">
                    <a16:creationId xmlns:a16="http://schemas.microsoft.com/office/drawing/2014/main" id="{88E08C28-4BB4-40EA-B419-01AB4FF1EBA5}"/>
                  </a:ext>
                </a:extLst>
              </p:cNvPr>
              <p:cNvSpPr/>
              <p:nvPr/>
            </p:nvSpPr>
            <p:spPr>
              <a:xfrm>
                <a:off x="7110932" y="3511167"/>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41" name="Group 540">
                <a:extLst>
                  <a:ext uri="{FF2B5EF4-FFF2-40B4-BE49-F238E27FC236}">
                    <a16:creationId xmlns:a16="http://schemas.microsoft.com/office/drawing/2014/main" id="{8521132C-9BBD-482F-95C5-C6FC090782A1}"/>
                  </a:ext>
                </a:extLst>
              </p:cNvPr>
              <p:cNvGrpSpPr/>
              <p:nvPr/>
            </p:nvGrpSpPr>
            <p:grpSpPr>
              <a:xfrm>
                <a:off x="6651968" y="3491105"/>
                <a:ext cx="53500" cy="119284"/>
                <a:chOff x="9060957" y="4535234"/>
                <a:chExt cx="64173" cy="214609"/>
              </a:xfrm>
            </p:grpSpPr>
            <p:cxnSp>
              <p:nvCxnSpPr>
                <p:cNvPr id="590" name="Straight Connector 589">
                  <a:extLst>
                    <a:ext uri="{FF2B5EF4-FFF2-40B4-BE49-F238E27FC236}">
                      <a16:creationId xmlns:a16="http://schemas.microsoft.com/office/drawing/2014/main" id="{FD618112-149C-4942-85D6-BA3E6FA901B3}"/>
                    </a:ext>
                  </a:extLst>
                </p:cNvPr>
                <p:cNvCxnSpPr/>
                <p:nvPr/>
              </p:nvCxnSpPr>
              <p:spPr>
                <a:xfrm>
                  <a:off x="9060957" y="4536281"/>
                  <a:ext cx="64008" cy="0"/>
                </a:xfrm>
                <a:prstGeom prst="line">
                  <a:avLst/>
                </a:prstGeom>
                <a:noFill/>
                <a:ln w="9525" cap="flat" cmpd="sng" algn="ctr">
                  <a:solidFill>
                    <a:schemeClr val="accent1"/>
                  </a:solidFill>
                  <a:prstDash val="solid"/>
                </a:ln>
                <a:effectLst/>
              </p:spPr>
            </p:cxnSp>
            <p:cxnSp>
              <p:nvCxnSpPr>
                <p:cNvPr id="591" name="Straight Connector 590">
                  <a:extLst>
                    <a:ext uri="{FF2B5EF4-FFF2-40B4-BE49-F238E27FC236}">
                      <a16:creationId xmlns:a16="http://schemas.microsoft.com/office/drawing/2014/main" id="{C0F0F645-9F6D-4431-A83D-D525DC8D9518}"/>
                    </a:ext>
                  </a:extLst>
                </p:cNvPr>
                <p:cNvCxnSpPr/>
                <p:nvPr/>
              </p:nvCxnSpPr>
              <p:spPr>
                <a:xfrm>
                  <a:off x="9061122" y="4746088"/>
                  <a:ext cx="64008" cy="0"/>
                </a:xfrm>
                <a:prstGeom prst="line">
                  <a:avLst/>
                </a:prstGeom>
                <a:noFill/>
                <a:ln w="9525" cap="flat" cmpd="sng" algn="ctr">
                  <a:solidFill>
                    <a:schemeClr val="accent1"/>
                  </a:solidFill>
                  <a:prstDash val="solid"/>
                </a:ln>
                <a:effectLst/>
              </p:spPr>
            </p:cxnSp>
            <p:cxnSp>
              <p:nvCxnSpPr>
                <p:cNvPr id="592" name="Straight Connector 591">
                  <a:extLst>
                    <a:ext uri="{FF2B5EF4-FFF2-40B4-BE49-F238E27FC236}">
                      <a16:creationId xmlns:a16="http://schemas.microsoft.com/office/drawing/2014/main" id="{A31A70A9-6135-41C7-9BB5-EFC8FFACF700}"/>
                    </a:ext>
                  </a:extLst>
                </p:cNvPr>
                <p:cNvCxnSpPr>
                  <a:cxnSpLocks/>
                </p:cNvCxnSpPr>
                <p:nvPr/>
              </p:nvCxnSpPr>
              <p:spPr>
                <a:xfrm>
                  <a:off x="9093048" y="4535234"/>
                  <a:ext cx="0" cy="214609"/>
                </a:xfrm>
                <a:prstGeom prst="line">
                  <a:avLst/>
                </a:prstGeom>
                <a:noFill/>
                <a:ln w="9525" cap="flat" cmpd="sng" algn="ctr">
                  <a:solidFill>
                    <a:schemeClr val="accent1"/>
                  </a:solidFill>
                  <a:prstDash val="solid"/>
                </a:ln>
                <a:effectLst/>
              </p:spPr>
            </p:cxnSp>
          </p:grpSp>
          <p:sp>
            <p:nvSpPr>
              <p:cNvPr id="542" name="Oval 541">
                <a:extLst>
                  <a:ext uri="{FF2B5EF4-FFF2-40B4-BE49-F238E27FC236}">
                    <a16:creationId xmlns:a16="http://schemas.microsoft.com/office/drawing/2014/main" id="{22E6C845-3BEE-4F87-A7F1-BFFF9615D0E4}"/>
                  </a:ext>
                </a:extLst>
              </p:cNvPr>
              <p:cNvSpPr/>
              <p:nvPr/>
            </p:nvSpPr>
            <p:spPr>
              <a:xfrm>
                <a:off x="6650582" y="3529797"/>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43" name="Group 542">
                <a:extLst>
                  <a:ext uri="{FF2B5EF4-FFF2-40B4-BE49-F238E27FC236}">
                    <a16:creationId xmlns:a16="http://schemas.microsoft.com/office/drawing/2014/main" id="{AFA266CF-5645-469B-96D1-9C38A53CC437}"/>
                  </a:ext>
                </a:extLst>
              </p:cNvPr>
              <p:cNvGrpSpPr/>
              <p:nvPr/>
            </p:nvGrpSpPr>
            <p:grpSpPr>
              <a:xfrm>
                <a:off x="6188291" y="3603672"/>
                <a:ext cx="53364" cy="99030"/>
                <a:chOff x="9043978" y="4535234"/>
                <a:chExt cx="64010" cy="201181"/>
              </a:xfrm>
            </p:grpSpPr>
            <p:cxnSp>
              <p:nvCxnSpPr>
                <p:cNvPr id="587" name="Straight Connector 586">
                  <a:extLst>
                    <a:ext uri="{FF2B5EF4-FFF2-40B4-BE49-F238E27FC236}">
                      <a16:creationId xmlns:a16="http://schemas.microsoft.com/office/drawing/2014/main" id="{8FA193AF-B95D-491D-ADB2-102D13E1C768}"/>
                    </a:ext>
                  </a:extLst>
                </p:cNvPr>
                <p:cNvCxnSpPr/>
                <p:nvPr/>
              </p:nvCxnSpPr>
              <p:spPr>
                <a:xfrm>
                  <a:off x="9043978" y="4545954"/>
                  <a:ext cx="64008" cy="0"/>
                </a:xfrm>
                <a:prstGeom prst="line">
                  <a:avLst/>
                </a:prstGeom>
                <a:noFill/>
                <a:ln w="9525" cap="flat" cmpd="sng" algn="ctr">
                  <a:solidFill>
                    <a:schemeClr val="accent1"/>
                  </a:solidFill>
                  <a:prstDash val="solid"/>
                </a:ln>
                <a:effectLst/>
              </p:spPr>
            </p:cxnSp>
            <p:cxnSp>
              <p:nvCxnSpPr>
                <p:cNvPr id="588" name="Straight Connector 587">
                  <a:extLst>
                    <a:ext uri="{FF2B5EF4-FFF2-40B4-BE49-F238E27FC236}">
                      <a16:creationId xmlns:a16="http://schemas.microsoft.com/office/drawing/2014/main" id="{A634D067-491A-4898-A481-4FC3071C0DDD}"/>
                    </a:ext>
                  </a:extLst>
                </p:cNvPr>
                <p:cNvCxnSpPr/>
                <p:nvPr/>
              </p:nvCxnSpPr>
              <p:spPr>
                <a:xfrm>
                  <a:off x="9043980" y="4736415"/>
                  <a:ext cx="64008" cy="0"/>
                </a:xfrm>
                <a:prstGeom prst="line">
                  <a:avLst/>
                </a:prstGeom>
                <a:noFill/>
                <a:ln w="9525" cap="flat" cmpd="sng" algn="ctr">
                  <a:solidFill>
                    <a:schemeClr val="accent1"/>
                  </a:solidFill>
                  <a:prstDash val="solid"/>
                </a:ln>
                <a:effectLst/>
              </p:spPr>
            </p:cxnSp>
            <p:cxnSp>
              <p:nvCxnSpPr>
                <p:cNvPr id="589" name="Straight Connector 588">
                  <a:extLst>
                    <a:ext uri="{FF2B5EF4-FFF2-40B4-BE49-F238E27FC236}">
                      <a16:creationId xmlns:a16="http://schemas.microsoft.com/office/drawing/2014/main" id="{AE60B69E-9122-4F87-B7FC-4F4DDC0AD252}"/>
                    </a:ext>
                  </a:extLst>
                </p:cNvPr>
                <p:cNvCxnSpPr>
                  <a:cxnSpLocks/>
                </p:cNvCxnSpPr>
                <p:nvPr/>
              </p:nvCxnSpPr>
              <p:spPr>
                <a:xfrm>
                  <a:off x="9075984" y="4535234"/>
                  <a:ext cx="0" cy="199816"/>
                </a:xfrm>
                <a:prstGeom prst="line">
                  <a:avLst/>
                </a:prstGeom>
                <a:noFill/>
                <a:ln w="9525" cap="flat" cmpd="sng" algn="ctr">
                  <a:solidFill>
                    <a:schemeClr val="accent1"/>
                  </a:solidFill>
                  <a:prstDash val="solid"/>
                </a:ln>
                <a:effectLst/>
              </p:spPr>
            </p:cxnSp>
          </p:grpSp>
          <p:sp>
            <p:nvSpPr>
              <p:cNvPr id="544" name="Oval 543">
                <a:extLst>
                  <a:ext uri="{FF2B5EF4-FFF2-40B4-BE49-F238E27FC236}">
                    <a16:creationId xmlns:a16="http://schemas.microsoft.com/office/drawing/2014/main" id="{DEBFF1D2-2E5D-42ED-A6B4-79D1EC5173CF}"/>
                  </a:ext>
                </a:extLst>
              </p:cNvPr>
              <p:cNvSpPr/>
              <p:nvPr/>
            </p:nvSpPr>
            <p:spPr>
              <a:xfrm>
                <a:off x="6190627" y="3630353"/>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45" name="Group 544">
                <a:extLst>
                  <a:ext uri="{FF2B5EF4-FFF2-40B4-BE49-F238E27FC236}">
                    <a16:creationId xmlns:a16="http://schemas.microsoft.com/office/drawing/2014/main" id="{10962919-123A-4839-9090-6BDFEA2223CB}"/>
                  </a:ext>
                </a:extLst>
              </p:cNvPr>
              <p:cNvGrpSpPr/>
              <p:nvPr/>
            </p:nvGrpSpPr>
            <p:grpSpPr>
              <a:xfrm>
                <a:off x="6190627" y="3411863"/>
                <a:ext cx="53362" cy="105640"/>
                <a:chOff x="9032556" y="4535234"/>
                <a:chExt cx="64008" cy="214609"/>
              </a:xfrm>
            </p:grpSpPr>
            <p:cxnSp>
              <p:nvCxnSpPr>
                <p:cNvPr id="584" name="Straight Connector 583">
                  <a:extLst>
                    <a:ext uri="{FF2B5EF4-FFF2-40B4-BE49-F238E27FC236}">
                      <a16:creationId xmlns:a16="http://schemas.microsoft.com/office/drawing/2014/main" id="{536A75CB-A75E-47F5-B0F4-5890477AB48A}"/>
                    </a:ext>
                  </a:extLst>
                </p:cNvPr>
                <p:cNvCxnSpPr/>
                <p:nvPr/>
              </p:nvCxnSpPr>
              <p:spPr>
                <a:xfrm>
                  <a:off x="9032556" y="4541117"/>
                  <a:ext cx="64008" cy="0"/>
                </a:xfrm>
                <a:prstGeom prst="line">
                  <a:avLst/>
                </a:prstGeom>
                <a:noFill/>
                <a:ln w="9525" cap="flat" cmpd="sng" algn="ctr">
                  <a:solidFill>
                    <a:schemeClr val="tx2"/>
                  </a:solidFill>
                  <a:prstDash val="solid"/>
                </a:ln>
                <a:effectLst/>
              </p:spPr>
            </p:cxnSp>
            <p:cxnSp>
              <p:nvCxnSpPr>
                <p:cNvPr id="585" name="Straight Connector 584">
                  <a:extLst>
                    <a:ext uri="{FF2B5EF4-FFF2-40B4-BE49-F238E27FC236}">
                      <a16:creationId xmlns:a16="http://schemas.microsoft.com/office/drawing/2014/main" id="{A9C4801E-C80B-46D5-A2FD-186DCD3C6778}"/>
                    </a:ext>
                  </a:extLst>
                </p:cNvPr>
                <p:cNvCxnSpPr/>
                <p:nvPr/>
              </p:nvCxnSpPr>
              <p:spPr>
                <a:xfrm>
                  <a:off x="9032556" y="4746089"/>
                  <a:ext cx="64008" cy="0"/>
                </a:xfrm>
                <a:prstGeom prst="line">
                  <a:avLst/>
                </a:prstGeom>
                <a:noFill/>
                <a:ln w="9525" cap="flat" cmpd="sng" algn="ctr">
                  <a:solidFill>
                    <a:schemeClr val="tx2"/>
                  </a:solidFill>
                  <a:prstDash val="solid"/>
                </a:ln>
                <a:effectLst/>
              </p:spPr>
            </p:cxnSp>
            <p:cxnSp>
              <p:nvCxnSpPr>
                <p:cNvPr id="586" name="Straight Connector 585">
                  <a:extLst>
                    <a:ext uri="{FF2B5EF4-FFF2-40B4-BE49-F238E27FC236}">
                      <a16:creationId xmlns:a16="http://schemas.microsoft.com/office/drawing/2014/main" id="{61B84BF9-A71D-4ABD-9E24-446D090F0AD9}"/>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sp>
            <p:nvSpPr>
              <p:cNvPr id="546" name="Oval 545">
                <a:extLst>
                  <a:ext uri="{FF2B5EF4-FFF2-40B4-BE49-F238E27FC236}">
                    <a16:creationId xmlns:a16="http://schemas.microsoft.com/office/drawing/2014/main" id="{1DE4CF60-13C8-4613-B609-8A171D2F761D}"/>
                  </a:ext>
                </a:extLst>
              </p:cNvPr>
              <p:cNvSpPr/>
              <p:nvPr/>
            </p:nvSpPr>
            <p:spPr>
              <a:xfrm>
                <a:off x="6190627" y="3438291"/>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47" name="Group 546">
                <a:extLst>
                  <a:ext uri="{FF2B5EF4-FFF2-40B4-BE49-F238E27FC236}">
                    <a16:creationId xmlns:a16="http://schemas.microsoft.com/office/drawing/2014/main" id="{4EE6475A-94E1-4C9D-B209-A0949AFBFF1D}"/>
                  </a:ext>
                </a:extLst>
              </p:cNvPr>
              <p:cNvGrpSpPr/>
              <p:nvPr/>
            </p:nvGrpSpPr>
            <p:grpSpPr>
              <a:xfrm>
                <a:off x="5841525" y="3560477"/>
                <a:ext cx="53362" cy="82190"/>
                <a:chOff x="9029700" y="4535234"/>
                <a:chExt cx="64008" cy="214609"/>
              </a:xfrm>
            </p:grpSpPr>
            <p:cxnSp>
              <p:nvCxnSpPr>
                <p:cNvPr id="581" name="Straight Connector 580">
                  <a:extLst>
                    <a:ext uri="{FF2B5EF4-FFF2-40B4-BE49-F238E27FC236}">
                      <a16:creationId xmlns:a16="http://schemas.microsoft.com/office/drawing/2014/main" id="{31907200-C785-4F8A-98E5-D221AC4B5227}"/>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582" name="Straight Connector 581">
                  <a:extLst>
                    <a:ext uri="{FF2B5EF4-FFF2-40B4-BE49-F238E27FC236}">
                      <a16:creationId xmlns:a16="http://schemas.microsoft.com/office/drawing/2014/main" id="{BAE8F7BE-A49C-4D0F-B0F7-7081A3BF98AE}"/>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583" name="Straight Connector 582">
                  <a:extLst>
                    <a:ext uri="{FF2B5EF4-FFF2-40B4-BE49-F238E27FC236}">
                      <a16:creationId xmlns:a16="http://schemas.microsoft.com/office/drawing/2014/main" id="{34C65E56-1398-438A-9D52-4B5DB5AEAA01}"/>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548" name="Group 547">
                <a:extLst>
                  <a:ext uri="{FF2B5EF4-FFF2-40B4-BE49-F238E27FC236}">
                    <a16:creationId xmlns:a16="http://schemas.microsoft.com/office/drawing/2014/main" id="{00E3CC85-E2BF-4AA3-B3A4-85F7165BFE3F}"/>
                  </a:ext>
                </a:extLst>
              </p:cNvPr>
              <p:cNvGrpSpPr/>
              <p:nvPr/>
            </p:nvGrpSpPr>
            <p:grpSpPr>
              <a:xfrm>
                <a:off x="5780262" y="3578310"/>
                <a:ext cx="55742" cy="75987"/>
                <a:chOff x="9029700" y="4547676"/>
                <a:chExt cx="66862" cy="198412"/>
              </a:xfrm>
            </p:grpSpPr>
            <p:cxnSp>
              <p:nvCxnSpPr>
                <p:cNvPr id="578" name="Straight Connector 577">
                  <a:extLst>
                    <a:ext uri="{FF2B5EF4-FFF2-40B4-BE49-F238E27FC236}">
                      <a16:creationId xmlns:a16="http://schemas.microsoft.com/office/drawing/2014/main" id="{3E3092FF-CD1B-402B-A6CC-B8126D210023}"/>
                    </a:ext>
                  </a:extLst>
                </p:cNvPr>
                <p:cNvCxnSpPr/>
                <p:nvPr/>
              </p:nvCxnSpPr>
              <p:spPr>
                <a:xfrm>
                  <a:off x="9032554" y="4548715"/>
                  <a:ext cx="64008" cy="0"/>
                </a:xfrm>
                <a:prstGeom prst="line">
                  <a:avLst/>
                </a:prstGeom>
                <a:noFill/>
                <a:ln w="9525" cap="flat" cmpd="sng" algn="ctr">
                  <a:solidFill>
                    <a:schemeClr val="tx2"/>
                  </a:solidFill>
                  <a:prstDash val="solid"/>
                </a:ln>
                <a:effectLst/>
              </p:spPr>
            </p:cxnSp>
            <p:cxnSp>
              <p:nvCxnSpPr>
                <p:cNvPr id="579" name="Straight Connector 578">
                  <a:extLst>
                    <a:ext uri="{FF2B5EF4-FFF2-40B4-BE49-F238E27FC236}">
                      <a16:creationId xmlns:a16="http://schemas.microsoft.com/office/drawing/2014/main" id="{5481ABE3-1AB6-4185-8D6C-D2A68E44D295}"/>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580" name="Straight Connector 579">
                  <a:extLst>
                    <a:ext uri="{FF2B5EF4-FFF2-40B4-BE49-F238E27FC236}">
                      <a16:creationId xmlns:a16="http://schemas.microsoft.com/office/drawing/2014/main" id="{6EE3A880-4094-4670-B29A-B96D12E60B2B}"/>
                    </a:ext>
                  </a:extLst>
                </p:cNvPr>
                <p:cNvCxnSpPr>
                  <a:cxnSpLocks/>
                </p:cNvCxnSpPr>
                <p:nvPr/>
              </p:nvCxnSpPr>
              <p:spPr>
                <a:xfrm>
                  <a:off x="9061704" y="4547676"/>
                  <a:ext cx="0" cy="188001"/>
                </a:xfrm>
                <a:prstGeom prst="line">
                  <a:avLst/>
                </a:prstGeom>
                <a:noFill/>
                <a:ln w="9525" cap="flat" cmpd="sng" algn="ctr">
                  <a:solidFill>
                    <a:schemeClr val="tx2"/>
                  </a:solidFill>
                  <a:prstDash val="solid"/>
                </a:ln>
                <a:effectLst/>
              </p:spPr>
            </p:cxnSp>
          </p:grpSp>
          <p:sp>
            <p:nvSpPr>
              <p:cNvPr id="549" name="Oval 548">
                <a:extLst>
                  <a:ext uri="{FF2B5EF4-FFF2-40B4-BE49-F238E27FC236}">
                    <a16:creationId xmlns:a16="http://schemas.microsoft.com/office/drawing/2014/main" id="{030E6436-B9EB-4017-AB9E-5E9315899D06}"/>
                  </a:ext>
                </a:extLst>
              </p:cNvPr>
              <p:cNvSpPr/>
              <p:nvPr/>
            </p:nvSpPr>
            <p:spPr>
              <a:xfrm>
                <a:off x="5842718" y="3573985"/>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50" name="Oval 549">
                <a:extLst>
                  <a:ext uri="{FF2B5EF4-FFF2-40B4-BE49-F238E27FC236}">
                    <a16:creationId xmlns:a16="http://schemas.microsoft.com/office/drawing/2014/main" id="{32EF43D0-E266-417B-8C0A-61DFF3A27C01}"/>
                  </a:ext>
                </a:extLst>
              </p:cNvPr>
              <p:cNvSpPr/>
              <p:nvPr/>
            </p:nvSpPr>
            <p:spPr>
              <a:xfrm>
                <a:off x="5782859" y="3588201"/>
                <a:ext cx="52397" cy="52397"/>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51" name="Group 550">
                <a:extLst>
                  <a:ext uri="{FF2B5EF4-FFF2-40B4-BE49-F238E27FC236}">
                    <a16:creationId xmlns:a16="http://schemas.microsoft.com/office/drawing/2014/main" id="{DCD277C2-BCCD-4926-BCDE-0A945C51B8D2}"/>
                  </a:ext>
                </a:extLst>
              </p:cNvPr>
              <p:cNvGrpSpPr/>
              <p:nvPr/>
            </p:nvGrpSpPr>
            <p:grpSpPr>
              <a:xfrm>
                <a:off x="5836763" y="3753827"/>
                <a:ext cx="53362" cy="88418"/>
                <a:chOff x="9029700" y="4535234"/>
                <a:chExt cx="64008" cy="214609"/>
              </a:xfrm>
            </p:grpSpPr>
            <p:cxnSp>
              <p:nvCxnSpPr>
                <p:cNvPr id="575" name="Straight Connector 574">
                  <a:extLst>
                    <a:ext uri="{FF2B5EF4-FFF2-40B4-BE49-F238E27FC236}">
                      <a16:creationId xmlns:a16="http://schemas.microsoft.com/office/drawing/2014/main" id="{767E98E4-0FF1-49A1-B75D-0040B9144D30}"/>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576" name="Straight Connector 575">
                  <a:extLst>
                    <a:ext uri="{FF2B5EF4-FFF2-40B4-BE49-F238E27FC236}">
                      <a16:creationId xmlns:a16="http://schemas.microsoft.com/office/drawing/2014/main" id="{58049B31-2837-4242-9919-AB4F47570B00}"/>
                    </a:ext>
                  </a:extLst>
                </p:cNvPr>
                <p:cNvCxnSpPr/>
                <p:nvPr/>
              </p:nvCxnSpPr>
              <p:spPr>
                <a:xfrm>
                  <a:off x="9029700" y="4740309"/>
                  <a:ext cx="64008" cy="0"/>
                </a:xfrm>
                <a:prstGeom prst="line">
                  <a:avLst/>
                </a:prstGeom>
                <a:noFill/>
                <a:ln w="9525" cap="flat" cmpd="sng" algn="ctr">
                  <a:solidFill>
                    <a:schemeClr val="accent1"/>
                  </a:solidFill>
                  <a:prstDash val="solid"/>
                </a:ln>
                <a:effectLst/>
              </p:spPr>
            </p:cxnSp>
            <p:cxnSp>
              <p:nvCxnSpPr>
                <p:cNvPr id="577" name="Straight Connector 576">
                  <a:extLst>
                    <a:ext uri="{FF2B5EF4-FFF2-40B4-BE49-F238E27FC236}">
                      <a16:creationId xmlns:a16="http://schemas.microsoft.com/office/drawing/2014/main" id="{1306D993-D4EA-42A4-8C61-E73878A95A31}"/>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grpSp>
            <p:nvGrpSpPr>
              <p:cNvPr id="552" name="Group 551">
                <a:extLst>
                  <a:ext uri="{FF2B5EF4-FFF2-40B4-BE49-F238E27FC236}">
                    <a16:creationId xmlns:a16="http://schemas.microsoft.com/office/drawing/2014/main" id="{FD6FB49C-2C80-4C11-BA34-74574FBB8E46}"/>
                  </a:ext>
                </a:extLst>
              </p:cNvPr>
              <p:cNvGrpSpPr/>
              <p:nvPr/>
            </p:nvGrpSpPr>
            <p:grpSpPr>
              <a:xfrm>
                <a:off x="5781893" y="3737899"/>
                <a:ext cx="53362" cy="82188"/>
                <a:chOff x="9029700" y="4535234"/>
                <a:chExt cx="64008" cy="214609"/>
              </a:xfrm>
            </p:grpSpPr>
            <p:cxnSp>
              <p:nvCxnSpPr>
                <p:cNvPr id="572" name="Straight Connector 571">
                  <a:extLst>
                    <a:ext uri="{FF2B5EF4-FFF2-40B4-BE49-F238E27FC236}">
                      <a16:creationId xmlns:a16="http://schemas.microsoft.com/office/drawing/2014/main" id="{C9C3D0A3-5CBD-47F9-8B42-65AD995FE7E9}"/>
                    </a:ext>
                  </a:extLst>
                </p:cNvPr>
                <p:cNvCxnSpPr/>
                <p:nvPr/>
              </p:nvCxnSpPr>
              <p:spPr>
                <a:xfrm>
                  <a:off x="9029700" y="4542498"/>
                  <a:ext cx="64008" cy="0"/>
                </a:xfrm>
                <a:prstGeom prst="line">
                  <a:avLst/>
                </a:prstGeom>
                <a:noFill/>
                <a:ln w="9525" cap="flat" cmpd="sng" algn="ctr">
                  <a:solidFill>
                    <a:schemeClr val="accent1"/>
                  </a:solidFill>
                  <a:prstDash val="solid"/>
                </a:ln>
                <a:effectLst/>
              </p:spPr>
            </p:cxnSp>
            <p:cxnSp>
              <p:nvCxnSpPr>
                <p:cNvPr id="573" name="Straight Connector 572">
                  <a:extLst>
                    <a:ext uri="{FF2B5EF4-FFF2-40B4-BE49-F238E27FC236}">
                      <a16:creationId xmlns:a16="http://schemas.microsoft.com/office/drawing/2014/main" id="{85619C7F-067A-4DB1-80DB-DDA9D2E4D23F}"/>
                    </a:ext>
                  </a:extLst>
                </p:cNvPr>
                <p:cNvCxnSpPr/>
                <p:nvPr/>
              </p:nvCxnSpPr>
              <p:spPr>
                <a:xfrm>
                  <a:off x="9029700" y="4739871"/>
                  <a:ext cx="64008" cy="0"/>
                </a:xfrm>
                <a:prstGeom prst="line">
                  <a:avLst/>
                </a:prstGeom>
                <a:noFill/>
                <a:ln w="9525" cap="flat" cmpd="sng" algn="ctr">
                  <a:solidFill>
                    <a:schemeClr val="accent1"/>
                  </a:solidFill>
                  <a:prstDash val="solid"/>
                </a:ln>
                <a:effectLst/>
              </p:spPr>
            </p:cxnSp>
            <p:cxnSp>
              <p:nvCxnSpPr>
                <p:cNvPr id="574" name="Straight Connector 573">
                  <a:extLst>
                    <a:ext uri="{FF2B5EF4-FFF2-40B4-BE49-F238E27FC236}">
                      <a16:creationId xmlns:a16="http://schemas.microsoft.com/office/drawing/2014/main" id="{784836AC-0CE8-4BF1-81DF-AA403ED25F04}"/>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sp>
            <p:nvSpPr>
              <p:cNvPr id="553" name="Oval 552">
                <a:extLst>
                  <a:ext uri="{FF2B5EF4-FFF2-40B4-BE49-F238E27FC236}">
                    <a16:creationId xmlns:a16="http://schemas.microsoft.com/office/drawing/2014/main" id="{463FB97F-ECD7-458D-90C4-A3FC93CE51AA}"/>
                  </a:ext>
                </a:extLst>
              </p:cNvPr>
              <p:cNvSpPr/>
              <p:nvPr/>
            </p:nvSpPr>
            <p:spPr>
              <a:xfrm>
                <a:off x="5841525" y="3770216"/>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54" name="Oval 553">
                <a:extLst>
                  <a:ext uri="{FF2B5EF4-FFF2-40B4-BE49-F238E27FC236}">
                    <a16:creationId xmlns:a16="http://schemas.microsoft.com/office/drawing/2014/main" id="{4C78C067-2A2F-4985-BB45-0727B4F2C615}"/>
                  </a:ext>
                </a:extLst>
              </p:cNvPr>
              <p:cNvSpPr/>
              <p:nvPr/>
            </p:nvSpPr>
            <p:spPr>
              <a:xfrm>
                <a:off x="5784095" y="3752807"/>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555" name="Oval 554">
                <a:extLst>
                  <a:ext uri="{FF2B5EF4-FFF2-40B4-BE49-F238E27FC236}">
                    <a16:creationId xmlns:a16="http://schemas.microsoft.com/office/drawing/2014/main" id="{9226F260-2749-42BE-AC2F-FC14134D81DD}"/>
                  </a:ext>
                </a:extLst>
              </p:cNvPr>
              <p:cNvSpPr/>
              <p:nvPr/>
            </p:nvSpPr>
            <p:spPr>
              <a:xfrm>
                <a:off x="5724397" y="3438708"/>
                <a:ext cx="52397" cy="52397"/>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556" name="Group 555">
                <a:extLst>
                  <a:ext uri="{FF2B5EF4-FFF2-40B4-BE49-F238E27FC236}">
                    <a16:creationId xmlns:a16="http://schemas.microsoft.com/office/drawing/2014/main" id="{0E4BA4CD-FECF-4F5D-A42C-F8869C47F3BA}"/>
                  </a:ext>
                </a:extLst>
              </p:cNvPr>
              <p:cNvGrpSpPr/>
              <p:nvPr/>
            </p:nvGrpSpPr>
            <p:grpSpPr>
              <a:xfrm>
                <a:off x="5684274" y="4451980"/>
                <a:ext cx="3007133" cy="138499"/>
                <a:chOff x="4776135" y="4535964"/>
                <a:chExt cx="3007133" cy="138499"/>
              </a:xfrm>
            </p:grpSpPr>
            <p:sp>
              <p:nvSpPr>
                <p:cNvPr id="565" name="TextBox 564">
                  <a:extLst>
                    <a:ext uri="{FF2B5EF4-FFF2-40B4-BE49-F238E27FC236}">
                      <a16:creationId xmlns:a16="http://schemas.microsoft.com/office/drawing/2014/main" id="{22ED0BAB-FC9E-4AE1-8F44-42F36B6A86B7}"/>
                    </a:ext>
                  </a:extLst>
                </p:cNvPr>
                <p:cNvSpPr txBox="1"/>
                <p:nvPr/>
              </p:nvSpPr>
              <p:spPr>
                <a:xfrm>
                  <a:off x="4776135" y="4535964"/>
                  <a:ext cx="133138"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sp>
              <p:nvSpPr>
                <p:cNvPr id="566" name="TextBox 565">
                  <a:extLst>
                    <a:ext uri="{FF2B5EF4-FFF2-40B4-BE49-F238E27FC236}">
                      <a16:creationId xmlns:a16="http://schemas.microsoft.com/office/drawing/2014/main" id="{B6674CC7-43D8-435D-884B-7E8A29559611}"/>
                    </a:ext>
                  </a:extLst>
                </p:cNvPr>
                <p:cNvSpPr txBox="1"/>
                <p:nvPr/>
              </p:nvSpPr>
              <p:spPr>
                <a:xfrm>
                  <a:off x="5133618"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6</a:t>
                  </a:r>
                </a:p>
              </p:txBody>
            </p:sp>
            <p:sp>
              <p:nvSpPr>
                <p:cNvPr id="567" name="TextBox 566">
                  <a:extLst>
                    <a:ext uri="{FF2B5EF4-FFF2-40B4-BE49-F238E27FC236}">
                      <a16:creationId xmlns:a16="http://schemas.microsoft.com/office/drawing/2014/main" id="{FDCCEF00-F7B2-413A-9945-91492EB2E0FD}"/>
                    </a:ext>
                  </a:extLst>
                </p:cNvPr>
                <p:cNvSpPr txBox="1"/>
                <p:nvPr/>
              </p:nvSpPr>
              <p:spPr>
                <a:xfrm>
                  <a:off x="5596665"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2</a:t>
                  </a:r>
                </a:p>
              </p:txBody>
            </p:sp>
            <p:sp>
              <p:nvSpPr>
                <p:cNvPr id="568" name="TextBox 567">
                  <a:extLst>
                    <a:ext uri="{FF2B5EF4-FFF2-40B4-BE49-F238E27FC236}">
                      <a16:creationId xmlns:a16="http://schemas.microsoft.com/office/drawing/2014/main" id="{4A419715-DE3E-47A5-9CE1-8250B141C925}"/>
                    </a:ext>
                  </a:extLst>
                </p:cNvPr>
                <p:cNvSpPr txBox="1"/>
                <p:nvPr/>
              </p:nvSpPr>
              <p:spPr>
                <a:xfrm>
                  <a:off x="6058388"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8</a:t>
                  </a:r>
                </a:p>
              </p:txBody>
            </p:sp>
            <p:sp>
              <p:nvSpPr>
                <p:cNvPr id="569" name="TextBox 568">
                  <a:extLst>
                    <a:ext uri="{FF2B5EF4-FFF2-40B4-BE49-F238E27FC236}">
                      <a16:creationId xmlns:a16="http://schemas.microsoft.com/office/drawing/2014/main" id="{47C00AF1-3B4B-4FC9-BF7F-3EB0B74C9B57}"/>
                    </a:ext>
                  </a:extLst>
                </p:cNvPr>
                <p:cNvSpPr txBox="1"/>
                <p:nvPr/>
              </p:nvSpPr>
              <p:spPr>
                <a:xfrm>
                  <a:off x="6519498"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4</a:t>
                  </a:r>
                </a:p>
              </p:txBody>
            </p:sp>
            <p:sp>
              <p:nvSpPr>
                <p:cNvPr id="570" name="TextBox 569">
                  <a:extLst>
                    <a:ext uri="{FF2B5EF4-FFF2-40B4-BE49-F238E27FC236}">
                      <a16:creationId xmlns:a16="http://schemas.microsoft.com/office/drawing/2014/main" id="{A1C0FF41-C1E4-4055-8000-917ACDBA672F}"/>
                    </a:ext>
                  </a:extLst>
                </p:cNvPr>
                <p:cNvSpPr txBox="1"/>
                <p:nvPr/>
              </p:nvSpPr>
              <p:spPr>
                <a:xfrm>
                  <a:off x="6982088"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80</a:t>
                  </a:r>
                </a:p>
              </p:txBody>
            </p:sp>
            <p:sp>
              <p:nvSpPr>
                <p:cNvPr id="571" name="TextBox 570">
                  <a:extLst>
                    <a:ext uri="{FF2B5EF4-FFF2-40B4-BE49-F238E27FC236}">
                      <a16:creationId xmlns:a16="http://schemas.microsoft.com/office/drawing/2014/main" id="{6ABF79F8-7AC3-4783-AAE4-E52DFB5B139C}"/>
                    </a:ext>
                  </a:extLst>
                </p:cNvPr>
                <p:cNvSpPr txBox="1"/>
                <p:nvPr/>
              </p:nvSpPr>
              <p:spPr>
                <a:xfrm>
                  <a:off x="7443198" y="4535964"/>
                  <a:ext cx="34007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6</a:t>
                  </a:r>
                </a:p>
              </p:txBody>
            </p:sp>
          </p:grpSp>
          <p:grpSp>
            <p:nvGrpSpPr>
              <p:cNvPr id="557" name="Group 556">
                <a:extLst>
                  <a:ext uri="{FF2B5EF4-FFF2-40B4-BE49-F238E27FC236}">
                    <a16:creationId xmlns:a16="http://schemas.microsoft.com/office/drawing/2014/main" id="{500DA1B1-2BAB-4160-AE5A-34BD0AFFC979}"/>
                  </a:ext>
                </a:extLst>
              </p:cNvPr>
              <p:cNvGrpSpPr/>
              <p:nvPr/>
            </p:nvGrpSpPr>
            <p:grpSpPr>
              <a:xfrm>
                <a:off x="5749832" y="4362682"/>
                <a:ext cx="2771759" cy="52397"/>
                <a:chOff x="4841693" y="4446666"/>
                <a:chExt cx="2771759" cy="52397"/>
              </a:xfrm>
            </p:grpSpPr>
            <p:cxnSp>
              <p:nvCxnSpPr>
                <p:cNvPr id="558" name="Straight Connector 557">
                  <a:extLst>
                    <a:ext uri="{FF2B5EF4-FFF2-40B4-BE49-F238E27FC236}">
                      <a16:creationId xmlns:a16="http://schemas.microsoft.com/office/drawing/2014/main" id="{45BFB9EB-F82D-4166-B938-691641D3BBE6}"/>
                    </a:ext>
                  </a:extLst>
                </p:cNvPr>
                <p:cNvCxnSpPr/>
                <p:nvPr/>
              </p:nvCxnSpPr>
              <p:spPr>
                <a:xfrm>
                  <a:off x="4841693" y="4446666"/>
                  <a:ext cx="0" cy="52397"/>
                </a:xfrm>
                <a:prstGeom prst="line">
                  <a:avLst/>
                </a:prstGeom>
                <a:noFill/>
                <a:ln w="12700" cap="flat" cmpd="sng" algn="ctr">
                  <a:solidFill>
                    <a:srgbClr val="000000"/>
                  </a:solidFill>
                  <a:prstDash val="solid"/>
                </a:ln>
                <a:effectLst/>
              </p:spPr>
            </p:cxnSp>
            <p:cxnSp>
              <p:nvCxnSpPr>
                <p:cNvPr id="559" name="Straight Connector 558">
                  <a:extLst>
                    <a:ext uri="{FF2B5EF4-FFF2-40B4-BE49-F238E27FC236}">
                      <a16:creationId xmlns:a16="http://schemas.microsoft.com/office/drawing/2014/main" id="{56E1E03F-DC21-4361-B569-FED2CCDCF218}"/>
                    </a:ext>
                  </a:extLst>
                </p:cNvPr>
                <p:cNvCxnSpPr/>
                <p:nvPr/>
              </p:nvCxnSpPr>
              <p:spPr>
                <a:xfrm>
                  <a:off x="5303653" y="4446666"/>
                  <a:ext cx="0" cy="52397"/>
                </a:xfrm>
                <a:prstGeom prst="line">
                  <a:avLst/>
                </a:prstGeom>
                <a:noFill/>
                <a:ln w="12700" cap="flat" cmpd="sng" algn="ctr">
                  <a:solidFill>
                    <a:srgbClr val="000000"/>
                  </a:solidFill>
                  <a:prstDash val="solid"/>
                </a:ln>
                <a:effectLst/>
              </p:spPr>
            </p:cxnSp>
            <p:cxnSp>
              <p:nvCxnSpPr>
                <p:cNvPr id="560" name="Straight Connector 559">
                  <a:extLst>
                    <a:ext uri="{FF2B5EF4-FFF2-40B4-BE49-F238E27FC236}">
                      <a16:creationId xmlns:a16="http://schemas.microsoft.com/office/drawing/2014/main" id="{6B6E852F-5D69-41A4-A6A4-136EE8B63275}"/>
                    </a:ext>
                  </a:extLst>
                </p:cNvPr>
                <p:cNvCxnSpPr/>
                <p:nvPr/>
              </p:nvCxnSpPr>
              <p:spPr>
                <a:xfrm>
                  <a:off x="5765613" y="4446666"/>
                  <a:ext cx="0" cy="52397"/>
                </a:xfrm>
                <a:prstGeom prst="line">
                  <a:avLst/>
                </a:prstGeom>
                <a:noFill/>
                <a:ln w="12700" cap="flat" cmpd="sng" algn="ctr">
                  <a:solidFill>
                    <a:srgbClr val="000000"/>
                  </a:solidFill>
                  <a:prstDash val="solid"/>
                </a:ln>
                <a:effectLst/>
              </p:spPr>
            </p:cxnSp>
            <p:cxnSp>
              <p:nvCxnSpPr>
                <p:cNvPr id="561" name="Straight Connector 560">
                  <a:extLst>
                    <a:ext uri="{FF2B5EF4-FFF2-40B4-BE49-F238E27FC236}">
                      <a16:creationId xmlns:a16="http://schemas.microsoft.com/office/drawing/2014/main" id="{EFD60582-D6BB-4596-A27F-803B3FBB6234}"/>
                    </a:ext>
                  </a:extLst>
                </p:cNvPr>
                <p:cNvCxnSpPr/>
                <p:nvPr/>
              </p:nvCxnSpPr>
              <p:spPr>
                <a:xfrm>
                  <a:off x="6227573" y="4446666"/>
                  <a:ext cx="0" cy="52397"/>
                </a:xfrm>
                <a:prstGeom prst="line">
                  <a:avLst/>
                </a:prstGeom>
                <a:noFill/>
                <a:ln w="12700" cap="flat" cmpd="sng" algn="ctr">
                  <a:solidFill>
                    <a:srgbClr val="000000"/>
                  </a:solidFill>
                  <a:prstDash val="solid"/>
                </a:ln>
                <a:effectLst/>
              </p:spPr>
            </p:cxnSp>
            <p:cxnSp>
              <p:nvCxnSpPr>
                <p:cNvPr id="562" name="Straight Connector 561">
                  <a:extLst>
                    <a:ext uri="{FF2B5EF4-FFF2-40B4-BE49-F238E27FC236}">
                      <a16:creationId xmlns:a16="http://schemas.microsoft.com/office/drawing/2014/main" id="{FCC96BE3-6680-4602-A880-62F36ECF06DB}"/>
                    </a:ext>
                  </a:extLst>
                </p:cNvPr>
                <p:cNvCxnSpPr/>
                <p:nvPr/>
              </p:nvCxnSpPr>
              <p:spPr>
                <a:xfrm>
                  <a:off x="6689533" y="4446666"/>
                  <a:ext cx="0" cy="52397"/>
                </a:xfrm>
                <a:prstGeom prst="line">
                  <a:avLst/>
                </a:prstGeom>
                <a:noFill/>
                <a:ln w="12700" cap="flat" cmpd="sng" algn="ctr">
                  <a:solidFill>
                    <a:srgbClr val="000000"/>
                  </a:solidFill>
                  <a:prstDash val="solid"/>
                </a:ln>
                <a:effectLst/>
              </p:spPr>
            </p:cxnSp>
            <p:cxnSp>
              <p:nvCxnSpPr>
                <p:cNvPr id="563" name="Straight Connector 562">
                  <a:extLst>
                    <a:ext uri="{FF2B5EF4-FFF2-40B4-BE49-F238E27FC236}">
                      <a16:creationId xmlns:a16="http://schemas.microsoft.com/office/drawing/2014/main" id="{7F673F54-B9B6-4E9C-A844-F4CC09C8B571}"/>
                    </a:ext>
                  </a:extLst>
                </p:cNvPr>
                <p:cNvCxnSpPr/>
                <p:nvPr/>
              </p:nvCxnSpPr>
              <p:spPr>
                <a:xfrm>
                  <a:off x="7151493" y="4446666"/>
                  <a:ext cx="0" cy="52397"/>
                </a:xfrm>
                <a:prstGeom prst="line">
                  <a:avLst/>
                </a:prstGeom>
                <a:noFill/>
                <a:ln w="12700" cap="flat" cmpd="sng" algn="ctr">
                  <a:solidFill>
                    <a:srgbClr val="000000"/>
                  </a:solidFill>
                  <a:prstDash val="solid"/>
                </a:ln>
                <a:effectLst/>
              </p:spPr>
            </p:cxnSp>
            <p:cxnSp>
              <p:nvCxnSpPr>
                <p:cNvPr id="564" name="Straight Connector 563">
                  <a:extLst>
                    <a:ext uri="{FF2B5EF4-FFF2-40B4-BE49-F238E27FC236}">
                      <a16:creationId xmlns:a16="http://schemas.microsoft.com/office/drawing/2014/main" id="{B0A11F13-3FE4-496C-82D7-2D37AD9DCBD7}"/>
                    </a:ext>
                  </a:extLst>
                </p:cNvPr>
                <p:cNvCxnSpPr/>
                <p:nvPr/>
              </p:nvCxnSpPr>
              <p:spPr>
                <a:xfrm>
                  <a:off x="7613452" y="4446666"/>
                  <a:ext cx="0" cy="52397"/>
                </a:xfrm>
                <a:prstGeom prst="line">
                  <a:avLst/>
                </a:prstGeom>
                <a:noFill/>
                <a:ln w="12700" cap="flat" cmpd="sng" algn="ctr">
                  <a:solidFill>
                    <a:srgbClr val="000000"/>
                  </a:solidFill>
                  <a:prstDash val="solid"/>
                </a:ln>
                <a:effectLst/>
              </p:spPr>
            </p:cxnSp>
          </p:grpSp>
        </p:grpSp>
      </p:grpSp>
      <p:grpSp>
        <p:nvGrpSpPr>
          <p:cNvPr id="245" name="Group 244">
            <a:extLst>
              <a:ext uri="{FF2B5EF4-FFF2-40B4-BE49-F238E27FC236}">
                <a16:creationId xmlns:a16="http://schemas.microsoft.com/office/drawing/2014/main" id="{BE95F382-6D57-48F8-BCE5-BB93741C5BDA}"/>
              </a:ext>
            </a:extLst>
          </p:cNvPr>
          <p:cNvGrpSpPr/>
          <p:nvPr/>
        </p:nvGrpSpPr>
        <p:grpSpPr>
          <a:xfrm>
            <a:off x="1559496" y="2601867"/>
            <a:ext cx="7514498" cy="2840934"/>
            <a:chOff x="2204217" y="2793711"/>
            <a:chExt cx="7514498" cy="2840934"/>
          </a:xfrm>
        </p:grpSpPr>
        <p:sp>
          <p:nvSpPr>
            <p:cNvPr id="246" name="Oval 245">
              <a:extLst>
                <a:ext uri="{FF2B5EF4-FFF2-40B4-BE49-F238E27FC236}">
                  <a16:creationId xmlns:a16="http://schemas.microsoft.com/office/drawing/2014/main" id="{E3C1FC61-38F9-4CD7-A461-24ABF1A8DC90}"/>
                </a:ext>
              </a:extLst>
            </p:cNvPr>
            <p:cNvSpPr/>
            <p:nvPr/>
          </p:nvSpPr>
          <p:spPr>
            <a:xfrm>
              <a:off x="4881558" y="4252903"/>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47" name="Oval 246">
              <a:extLst>
                <a:ext uri="{FF2B5EF4-FFF2-40B4-BE49-F238E27FC236}">
                  <a16:creationId xmlns:a16="http://schemas.microsoft.com/office/drawing/2014/main" id="{B7E3431E-AF19-4E11-B491-F3D4A824DB23}"/>
                </a:ext>
              </a:extLst>
            </p:cNvPr>
            <p:cNvSpPr/>
            <p:nvPr/>
          </p:nvSpPr>
          <p:spPr>
            <a:xfrm>
              <a:off x="4437372" y="4188113"/>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48" name="Oval 247">
              <a:extLst>
                <a:ext uri="{FF2B5EF4-FFF2-40B4-BE49-F238E27FC236}">
                  <a16:creationId xmlns:a16="http://schemas.microsoft.com/office/drawing/2014/main" id="{49DCEEC6-5E46-47B8-A926-46C829B9F7D4}"/>
                </a:ext>
              </a:extLst>
            </p:cNvPr>
            <p:cNvSpPr/>
            <p:nvPr/>
          </p:nvSpPr>
          <p:spPr>
            <a:xfrm>
              <a:off x="4000114" y="4227135"/>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49" name="Group 248">
              <a:extLst>
                <a:ext uri="{FF2B5EF4-FFF2-40B4-BE49-F238E27FC236}">
                  <a16:creationId xmlns:a16="http://schemas.microsoft.com/office/drawing/2014/main" id="{4AA19E34-13EF-452A-A8E5-C576C64D3E3C}"/>
                </a:ext>
              </a:extLst>
            </p:cNvPr>
            <p:cNvGrpSpPr/>
            <p:nvPr/>
          </p:nvGrpSpPr>
          <p:grpSpPr>
            <a:xfrm>
              <a:off x="3221724" y="4325617"/>
              <a:ext cx="53091" cy="39972"/>
              <a:chOff x="9029700" y="4535234"/>
              <a:chExt cx="64008" cy="214884"/>
            </a:xfrm>
          </p:grpSpPr>
          <p:cxnSp>
            <p:nvCxnSpPr>
              <p:cNvPr id="500" name="Straight Connector 499">
                <a:extLst>
                  <a:ext uri="{FF2B5EF4-FFF2-40B4-BE49-F238E27FC236}">
                    <a16:creationId xmlns:a16="http://schemas.microsoft.com/office/drawing/2014/main" id="{FE6C9FD6-5D40-4EA4-81CD-50BDDF94B977}"/>
                  </a:ext>
                </a:extLst>
              </p:cNvPr>
              <p:cNvCxnSpPr/>
              <p:nvPr/>
            </p:nvCxnSpPr>
            <p:spPr>
              <a:xfrm>
                <a:off x="9029700" y="4536281"/>
                <a:ext cx="64008" cy="0"/>
              </a:xfrm>
              <a:prstGeom prst="line">
                <a:avLst/>
              </a:prstGeom>
              <a:noFill/>
              <a:ln w="9525" cap="flat" cmpd="sng" algn="ctr">
                <a:solidFill>
                  <a:srgbClr val="7F7F7F"/>
                </a:solidFill>
                <a:prstDash val="solid"/>
              </a:ln>
              <a:effectLst/>
            </p:spPr>
          </p:cxnSp>
          <p:cxnSp>
            <p:nvCxnSpPr>
              <p:cNvPr id="501" name="Straight Connector 500">
                <a:extLst>
                  <a:ext uri="{FF2B5EF4-FFF2-40B4-BE49-F238E27FC236}">
                    <a16:creationId xmlns:a16="http://schemas.microsoft.com/office/drawing/2014/main" id="{686BBFF9-D729-4BD5-B36A-8E3D345B26BB}"/>
                  </a:ext>
                </a:extLst>
              </p:cNvPr>
              <p:cNvCxnSpPr/>
              <p:nvPr/>
            </p:nvCxnSpPr>
            <p:spPr>
              <a:xfrm>
                <a:off x="9029700" y="4750118"/>
                <a:ext cx="64008" cy="0"/>
              </a:xfrm>
              <a:prstGeom prst="line">
                <a:avLst/>
              </a:prstGeom>
              <a:noFill/>
              <a:ln w="9525" cap="flat" cmpd="sng" algn="ctr">
                <a:solidFill>
                  <a:srgbClr val="7F7F7F"/>
                </a:solidFill>
                <a:prstDash val="solid"/>
              </a:ln>
              <a:effectLst/>
            </p:spPr>
          </p:cxnSp>
          <p:cxnSp>
            <p:nvCxnSpPr>
              <p:cNvPr id="502" name="Straight Connector 501">
                <a:extLst>
                  <a:ext uri="{FF2B5EF4-FFF2-40B4-BE49-F238E27FC236}">
                    <a16:creationId xmlns:a16="http://schemas.microsoft.com/office/drawing/2014/main" id="{272E706E-D7E2-4634-BC1A-05B78703005E}"/>
                  </a:ext>
                </a:extLst>
              </p:cNvPr>
              <p:cNvCxnSpPr>
                <a:cxnSpLocks/>
              </p:cNvCxnSpPr>
              <p:nvPr/>
            </p:nvCxnSpPr>
            <p:spPr>
              <a:xfrm>
                <a:off x="9061704" y="4535234"/>
                <a:ext cx="0" cy="214609"/>
              </a:xfrm>
              <a:prstGeom prst="line">
                <a:avLst/>
              </a:prstGeom>
              <a:noFill/>
              <a:ln w="9525" cap="flat" cmpd="sng" algn="ctr">
                <a:solidFill>
                  <a:srgbClr val="7F7F7F"/>
                </a:solidFill>
                <a:prstDash val="solid"/>
              </a:ln>
              <a:effectLst/>
            </p:spPr>
          </p:cxnSp>
        </p:grpSp>
        <p:grpSp>
          <p:nvGrpSpPr>
            <p:cNvPr id="250" name="Group 249">
              <a:extLst>
                <a:ext uri="{FF2B5EF4-FFF2-40B4-BE49-F238E27FC236}">
                  <a16:creationId xmlns:a16="http://schemas.microsoft.com/office/drawing/2014/main" id="{D3C987D5-7FB3-4155-8CBE-CAF0C0D2412A}"/>
                </a:ext>
              </a:extLst>
            </p:cNvPr>
            <p:cNvGrpSpPr/>
            <p:nvPr/>
          </p:nvGrpSpPr>
          <p:grpSpPr>
            <a:xfrm>
              <a:off x="3161826" y="4284910"/>
              <a:ext cx="53091" cy="39972"/>
              <a:chOff x="9029700" y="4535234"/>
              <a:chExt cx="64008" cy="214884"/>
            </a:xfrm>
          </p:grpSpPr>
          <p:cxnSp>
            <p:nvCxnSpPr>
              <p:cNvPr id="497" name="Straight Connector 496">
                <a:extLst>
                  <a:ext uri="{FF2B5EF4-FFF2-40B4-BE49-F238E27FC236}">
                    <a16:creationId xmlns:a16="http://schemas.microsoft.com/office/drawing/2014/main" id="{354F2128-5333-4EB6-9E20-4D0A4C050D7C}"/>
                  </a:ext>
                </a:extLst>
              </p:cNvPr>
              <p:cNvCxnSpPr/>
              <p:nvPr/>
            </p:nvCxnSpPr>
            <p:spPr>
              <a:xfrm>
                <a:off x="9029700" y="4750118"/>
                <a:ext cx="64008" cy="0"/>
              </a:xfrm>
              <a:prstGeom prst="line">
                <a:avLst/>
              </a:prstGeom>
              <a:noFill/>
              <a:ln w="9525" cap="flat" cmpd="sng" algn="ctr">
                <a:solidFill>
                  <a:srgbClr val="7F7F7F"/>
                </a:solidFill>
                <a:prstDash val="solid"/>
              </a:ln>
              <a:effectLst/>
            </p:spPr>
          </p:cxnSp>
          <p:cxnSp>
            <p:nvCxnSpPr>
              <p:cNvPr id="498" name="Straight Connector 497">
                <a:extLst>
                  <a:ext uri="{FF2B5EF4-FFF2-40B4-BE49-F238E27FC236}">
                    <a16:creationId xmlns:a16="http://schemas.microsoft.com/office/drawing/2014/main" id="{0BE38947-BB45-4087-9185-3C14B1C6B259}"/>
                  </a:ext>
                </a:extLst>
              </p:cNvPr>
              <p:cNvCxnSpPr/>
              <p:nvPr/>
            </p:nvCxnSpPr>
            <p:spPr>
              <a:xfrm>
                <a:off x="9029700" y="4536281"/>
                <a:ext cx="64008" cy="0"/>
              </a:xfrm>
              <a:prstGeom prst="line">
                <a:avLst/>
              </a:prstGeom>
              <a:noFill/>
              <a:ln w="9525" cap="flat" cmpd="sng" algn="ctr">
                <a:solidFill>
                  <a:srgbClr val="7F7F7F"/>
                </a:solidFill>
                <a:prstDash val="solid"/>
              </a:ln>
              <a:effectLst/>
            </p:spPr>
          </p:cxnSp>
          <p:cxnSp>
            <p:nvCxnSpPr>
              <p:cNvPr id="499" name="Straight Connector 498">
                <a:extLst>
                  <a:ext uri="{FF2B5EF4-FFF2-40B4-BE49-F238E27FC236}">
                    <a16:creationId xmlns:a16="http://schemas.microsoft.com/office/drawing/2014/main" id="{64FBF47D-1324-4849-8593-B7AC491E6FB4}"/>
                  </a:ext>
                </a:extLst>
              </p:cNvPr>
              <p:cNvCxnSpPr>
                <a:cxnSpLocks/>
              </p:cNvCxnSpPr>
              <p:nvPr/>
            </p:nvCxnSpPr>
            <p:spPr>
              <a:xfrm>
                <a:off x="9061704" y="4535234"/>
                <a:ext cx="0" cy="214609"/>
              </a:xfrm>
              <a:prstGeom prst="line">
                <a:avLst/>
              </a:prstGeom>
              <a:noFill/>
              <a:ln w="9525" cap="flat" cmpd="sng" algn="ctr">
                <a:solidFill>
                  <a:srgbClr val="7F7F7F"/>
                </a:solidFill>
                <a:prstDash val="solid"/>
              </a:ln>
              <a:effectLst/>
            </p:spPr>
          </p:cxnSp>
        </p:grpSp>
        <p:sp>
          <p:nvSpPr>
            <p:cNvPr id="251" name="Rectangle 250">
              <a:extLst>
                <a:ext uri="{FF2B5EF4-FFF2-40B4-BE49-F238E27FC236}">
                  <a16:creationId xmlns:a16="http://schemas.microsoft.com/office/drawing/2014/main" id="{D4028D47-C692-4C8A-BEFB-CD18B0764159}"/>
                </a:ext>
              </a:extLst>
            </p:cNvPr>
            <p:cNvSpPr/>
            <p:nvPr/>
          </p:nvSpPr>
          <p:spPr>
            <a:xfrm>
              <a:off x="2204217" y="2793711"/>
              <a:ext cx="7514498" cy="2840934"/>
            </a:xfrm>
            <a:prstGeom prst="rect">
              <a:avLst/>
            </a:prstGeom>
            <a:solidFill>
              <a:srgbClr val="FFFFFF"/>
            </a:solidFill>
            <a:ln w="19050" cap="flat" cmpd="sng" algn="ctr">
              <a:solidFill>
                <a:schemeClr val="accent4"/>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52" name="Group 251">
              <a:extLst>
                <a:ext uri="{FF2B5EF4-FFF2-40B4-BE49-F238E27FC236}">
                  <a16:creationId xmlns:a16="http://schemas.microsoft.com/office/drawing/2014/main" id="{A8B787F7-EA43-4EA7-898F-71695ABF3B09}"/>
                </a:ext>
              </a:extLst>
            </p:cNvPr>
            <p:cNvGrpSpPr/>
            <p:nvPr/>
          </p:nvGrpSpPr>
          <p:grpSpPr>
            <a:xfrm>
              <a:off x="2651445" y="3037565"/>
              <a:ext cx="325464" cy="138499"/>
              <a:chOff x="1320800" y="1775582"/>
              <a:chExt cx="456706" cy="194348"/>
            </a:xfrm>
          </p:grpSpPr>
          <p:cxnSp>
            <p:nvCxnSpPr>
              <p:cNvPr id="495" name="Straight Connector 494">
                <a:extLst>
                  <a:ext uri="{FF2B5EF4-FFF2-40B4-BE49-F238E27FC236}">
                    <a16:creationId xmlns:a16="http://schemas.microsoft.com/office/drawing/2014/main" id="{8B6E396C-2708-435C-B63D-FEDFAB049473}"/>
                  </a:ext>
                </a:extLst>
              </p:cNvPr>
              <p:cNvCxnSpPr>
                <a:cxnSpLocks/>
              </p:cNvCxnSpPr>
              <p:nvPr/>
            </p:nvCxnSpPr>
            <p:spPr>
              <a:xfrm rot="5400000">
                <a:off x="1740931" y="1832298"/>
                <a:ext cx="0" cy="73151"/>
              </a:xfrm>
              <a:prstGeom prst="line">
                <a:avLst/>
              </a:prstGeom>
              <a:noFill/>
              <a:ln w="12700" cap="flat" cmpd="sng" algn="ctr">
                <a:solidFill>
                  <a:srgbClr val="000000"/>
                </a:solidFill>
                <a:prstDash val="solid"/>
              </a:ln>
              <a:effectLst/>
            </p:spPr>
          </p:cxnSp>
          <p:sp>
            <p:nvSpPr>
              <p:cNvPr id="496" name="TextBox 495">
                <a:extLst>
                  <a:ext uri="{FF2B5EF4-FFF2-40B4-BE49-F238E27FC236}">
                    <a16:creationId xmlns:a16="http://schemas.microsoft.com/office/drawing/2014/main" id="{957C9D22-0F5B-4753-A58C-8092815092DC}"/>
                  </a:ext>
                </a:extLst>
              </p:cNvPr>
              <p:cNvSpPr txBox="1"/>
              <p:nvPr/>
            </p:nvSpPr>
            <p:spPr>
              <a:xfrm>
                <a:off x="1320800" y="1775582"/>
                <a:ext cx="322403" cy="19434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0</a:t>
                </a:r>
              </a:p>
            </p:txBody>
          </p:sp>
        </p:grpSp>
        <p:grpSp>
          <p:nvGrpSpPr>
            <p:cNvPr id="253" name="Group 252">
              <a:extLst>
                <a:ext uri="{FF2B5EF4-FFF2-40B4-BE49-F238E27FC236}">
                  <a16:creationId xmlns:a16="http://schemas.microsoft.com/office/drawing/2014/main" id="{5E5DB780-B931-4583-8D08-A25AC3B1316F}"/>
                </a:ext>
              </a:extLst>
            </p:cNvPr>
            <p:cNvGrpSpPr/>
            <p:nvPr/>
          </p:nvGrpSpPr>
          <p:grpSpPr>
            <a:xfrm>
              <a:off x="2651445" y="3545506"/>
              <a:ext cx="325465" cy="138499"/>
              <a:chOff x="1320800" y="1768900"/>
              <a:chExt cx="456708" cy="194348"/>
            </a:xfrm>
          </p:grpSpPr>
          <p:cxnSp>
            <p:nvCxnSpPr>
              <p:cNvPr id="493" name="Straight Connector 492">
                <a:extLst>
                  <a:ext uri="{FF2B5EF4-FFF2-40B4-BE49-F238E27FC236}">
                    <a16:creationId xmlns:a16="http://schemas.microsoft.com/office/drawing/2014/main" id="{B5078891-1A7D-40A3-AF89-A017207A72C7}"/>
                  </a:ext>
                </a:extLst>
              </p:cNvPr>
              <p:cNvCxnSpPr>
                <a:cxnSpLocks/>
              </p:cNvCxnSpPr>
              <p:nvPr/>
            </p:nvCxnSpPr>
            <p:spPr>
              <a:xfrm rot="5400000">
                <a:off x="1740932" y="1827842"/>
                <a:ext cx="0" cy="73152"/>
              </a:xfrm>
              <a:prstGeom prst="line">
                <a:avLst/>
              </a:prstGeom>
              <a:noFill/>
              <a:ln w="12700" cap="flat" cmpd="sng" algn="ctr">
                <a:solidFill>
                  <a:srgbClr val="000000"/>
                </a:solidFill>
                <a:prstDash val="solid"/>
              </a:ln>
              <a:effectLst/>
            </p:spPr>
          </p:cxnSp>
          <p:sp>
            <p:nvSpPr>
              <p:cNvPr id="494" name="TextBox 493">
                <a:extLst>
                  <a:ext uri="{FF2B5EF4-FFF2-40B4-BE49-F238E27FC236}">
                    <a16:creationId xmlns:a16="http://schemas.microsoft.com/office/drawing/2014/main" id="{488D3F64-C473-4AD6-B538-A9523A1AFE46}"/>
                  </a:ext>
                </a:extLst>
              </p:cNvPr>
              <p:cNvSpPr txBox="1"/>
              <p:nvPr/>
            </p:nvSpPr>
            <p:spPr>
              <a:xfrm>
                <a:off x="1320800" y="1768900"/>
                <a:ext cx="322403" cy="19434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grpSp>
        <p:grpSp>
          <p:nvGrpSpPr>
            <p:cNvPr id="254" name="Group 253">
              <a:extLst>
                <a:ext uri="{FF2B5EF4-FFF2-40B4-BE49-F238E27FC236}">
                  <a16:creationId xmlns:a16="http://schemas.microsoft.com/office/drawing/2014/main" id="{018115D6-7551-4E17-903B-130A1E54E981}"/>
                </a:ext>
              </a:extLst>
            </p:cNvPr>
            <p:cNvGrpSpPr/>
            <p:nvPr/>
          </p:nvGrpSpPr>
          <p:grpSpPr>
            <a:xfrm>
              <a:off x="2651445" y="4060201"/>
              <a:ext cx="325465" cy="138499"/>
              <a:chOff x="1320800" y="1768900"/>
              <a:chExt cx="456708" cy="194348"/>
            </a:xfrm>
          </p:grpSpPr>
          <p:cxnSp>
            <p:nvCxnSpPr>
              <p:cNvPr id="491" name="Straight Connector 490">
                <a:extLst>
                  <a:ext uri="{FF2B5EF4-FFF2-40B4-BE49-F238E27FC236}">
                    <a16:creationId xmlns:a16="http://schemas.microsoft.com/office/drawing/2014/main" id="{835482F3-82CD-4E51-9824-2318F52EA378}"/>
                  </a:ext>
                </a:extLst>
              </p:cNvPr>
              <p:cNvCxnSpPr>
                <a:cxnSpLocks/>
              </p:cNvCxnSpPr>
              <p:nvPr/>
            </p:nvCxnSpPr>
            <p:spPr>
              <a:xfrm rot="5400000">
                <a:off x="1740932" y="1827842"/>
                <a:ext cx="0" cy="73152"/>
              </a:xfrm>
              <a:prstGeom prst="line">
                <a:avLst/>
              </a:prstGeom>
              <a:noFill/>
              <a:ln w="12700" cap="flat" cmpd="sng" algn="ctr">
                <a:solidFill>
                  <a:srgbClr val="000000"/>
                </a:solidFill>
                <a:prstDash val="solid"/>
              </a:ln>
              <a:effectLst/>
            </p:spPr>
          </p:cxnSp>
          <p:sp>
            <p:nvSpPr>
              <p:cNvPr id="492" name="TextBox 491">
                <a:extLst>
                  <a:ext uri="{FF2B5EF4-FFF2-40B4-BE49-F238E27FC236}">
                    <a16:creationId xmlns:a16="http://schemas.microsoft.com/office/drawing/2014/main" id="{39157F1E-BCDC-4D2E-A1C1-85D49FC02B61}"/>
                  </a:ext>
                </a:extLst>
              </p:cNvPr>
              <p:cNvSpPr txBox="1"/>
              <p:nvPr/>
            </p:nvSpPr>
            <p:spPr>
              <a:xfrm>
                <a:off x="1320800" y="1768900"/>
                <a:ext cx="322403" cy="19434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grpSp>
        <p:grpSp>
          <p:nvGrpSpPr>
            <p:cNvPr id="255" name="Group 254">
              <a:extLst>
                <a:ext uri="{FF2B5EF4-FFF2-40B4-BE49-F238E27FC236}">
                  <a16:creationId xmlns:a16="http://schemas.microsoft.com/office/drawing/2014/main" id="{2EFE0AC7-4E02-4EE4-9574-601106B40523}"/>
                </a:ext>
              </a:extLst>
            </p:cNvPr>
            <p:cNvGrpSpPr/>
            <p:nvPr/>
          </p:nvGrpSpPr>
          <p:grpSpPr>
            <a:xfrm>
              <a:off x="2651445" y="4573862"/>
              <a:ext cx="325465" cy="138499"/>
              <a:chOff x="1320800" y="1768900"/>
              <a:chExt cx="456708" cy="194348"/>
            </a:xfrm>
          </p:grpSpPr>
          <p:cxnSp>
            <p:nvCxnSpPr>
              <p:cNvPr id="489" name="Straight Connector 488">
                <a:extLst>
                  <a:ext uri="{FF2B5EF4-FFF2-40B4-BE49-F238E27FC236}">
                    <a16:creationId xmlns:a16="http://schemas.microsoft.com/office/drawing/2014/main" id="{A702D511-4EFD-4252-8167-C9B1F7664EC5}"/>
                  </a:ext>
                </a:extLst>
              </p:cNvPr>
              <p:cNvCxnSpPr>
                <a:cxnSpLocks/>
              </p:cNvCxnSpPr>
              <p:nvPr/>
            </p:nvCxnSpPr>
            <p:spPr>
              <a:xfrm rot="5400000">
                <a:off x="1740932" y="1827842"/>
                <a:ext cx="0" cy="73152"/>
              </a:xfrm>
              <a:prstGeom prst="line">
                <a:avLst/>
              </a:prstGeom>
              <a:noFill/>
              <a:ln w="12700" cap="flat" cmpd="sng" algn="ctr">
                <a:solidFill>
                  <a:srgbClr val="000000"/>
                </a:solidFill>
                <a:prstDash val="solid"/>
              </a:ln>
              <a:effectLst/>
            </p:spPr>
          </p:cxnSp>
          <p:sp>
            <p:nvSpPr>
              <p:cNvPr id="490" name="TextBox 489">
                <a:extLst>
                  <a:ext uri="{FF2B5EF4-FFF2-40B4-BE49-F238E27FC236}">
                    <a16:creationId xmlns:a16="http://schemas.microsoft.com/office/drawing/2014/main" id="{4176F9B2-7600-4C42-B24E-8E55FEC92885}"/>
                  </a:ext>
                </a:extLst>
              </p:cNvPr>
              <p:cNvSpPr txBox="1"/>
              <p:nvPr/>
            </p:nvSpPr>
            <p:spPr>
              <a:xfrm>
                <a:off x="1320800" y="1768900"/>
                <a:ext cx="322403" cy="19434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grpSp>
        <p:sp>
          <p:nvSpPr>
            <p:cNvPr id="256" name="Freeform: Shape 255">
              <a:extLst>
                <a:ext uri="{FF2B5EF4-FFF2-40B4-BE49-F238E27FC236}">
                  <a16:creationId xmlns:a16="http://schemas.microsoft.com/office/drawing/2014/main" id="{3E750E1E-B0E6-48E2-A5E2-A61EEBA731F9}"/>
                </a:ext>
              </a:extLst>
            </p:cNvPr>
            <p:cNvSpPr/>
            <p:nvPr/>
          </p:nvSpPr>
          <p:spPr>
            <a:xfrm>
              <a:off x="2972736" y="3100872"/>
              <a:ext cx="2837311" cy="1725876"/>
            </a:xfrm>
            <a:custGeom>
              <a:avLst/>
              <a:gdLst>
                <a:gd name="connsiteX0" fmla="*/ 0 w 3981450"/>
                <a:gd name="connsiteY0" fmla="*/ 0 h 2228850"/>
                <a:gd name="connsiteX1" fmla="*/ 0 w 3981450"/>
                <a:gd name="connsiteY1" fmla="*/ 2228850 h 2228850"/>
                <a:gd name="connsiteX2" fmla="*/ 3981450 w 3981450"/>
                <a:gd name="connsiteY2" fmla="*/ 2228850 h 2228850"/>
              </a:gdLst>
              <a:ahLst/>
              <a:cxnLst>
                <a:cxn ang="0">
                  <a:pos x="connsiteX0" y="connsiteY0"/>
                </a:cxn>
                <a:cxn ang="0">
                  <a:pos x="connsiteX1" y="connsiteY1"/>
                </a:cxn>
                <a:cxn ang="0">
                  <a:pos x="connsiteX2" y="connsiteY2"/>
                </a:cxn>
              </a:cxnLst>
              <a:rect l="l" t="t" r="r" b="b"/>
              <a:pathLst>
                <a:path w="3981450" h="2228850">
                  <a:moveTo>
                    <a:pt x="0" y="0"/>
                  </a:moveTo>
                  <a:lnTo>
                    <a:pt x="0" y="2228850"/>
                  </a:lnTo>
                  <a:lnTo>
                    <a:pt x="3981450" y="2228850"/>
                  </a:lnTo>
                </a:path>
              </a:pathLst>
            </a:custGeom>
            <a:noFill/>
            <a:ln w="127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57" name="Group 256">
              <a:extLst>
                <a:ext uri="{FF2B5EF4-FFF2-40B4-BE49-F238E27FC236}">
                  <a16:creationId xmlns:a16="http://schemas.microsoft.com/office/drawing/2014/main" id="{A260B92A-0128-4620-8686-F37EE71555C8}"/>
                </a:ext>
              </a:extLst>
            </p:cNvPr>
            <p:cNvGrpSpPr/>
            <p:nvPr/>
          </p:nvGrpSpPr>
          <p:grpSpPr>
            <a:xfrm>
              <a:off x="3068004" y="4830144"/>
              <a:ext cx="2907334" cy="227343"/>
              <a:chOff x="1905334" y="4291014"/>
              <a:chExt cx="4079709" cy="319018"/>
            </a:xfrm>
          </p:grpSpPr>
          <p:grpSp>
            <p:nvGrpSpPr>
              <p:cNvPr id="473" name="Group 472">
                <a:extLst>
                  <a:ext uri="{FF2B5EF4-FFF2-40B4-BE49-F238E27FC236}">
                    <a16:creationId xmlns:a16="http://schemas.microsoft.com/office/drawing/2014/main" id="{80127FFF-3F58-4883-A876-7DEB2BB15CAE}"/>
                  </a:ext>
                </a:extLst>
              </p:cNvPr>
              <p:cNvGrpSpPr/>
              <p:nvPr/>
            </p:nvGrpSpPr>
            <p:grpSpPr>
              <a:xfrm>
                <a:off x="1905334" y="4415684"/>
                <a:ext cx="4079709" cy="194348"/>
                <a:chOff x="1894558" y="5709096"/>
                <a:chExt cx="4020651" cy="194348"/>
              </a:xfrm>
            </p:grpSpPr>
            <p:sp>
              <p:nvSpPr>
                <p:cNvPr id="482" name="TextBox 481">
                  <a:extLst>
                    <a:ext uri="{FF2B5EF4-FFF2-40B4-BE49-F238E27FC236}">
                      <a16:creationId xmlns:a16="http://schemas.microsoft.com/office/drawing/2014/main" id="{536A2FF3-C87D-4B09-A393-B2236192DF0D}"/>
                    </a:ext>
                  </a:extLst>
                </p:cNvPr>
                <p:cNvSpPr txBox="1"/>
                <p:nvPr/>
              </p:nvSpPr>
              <p:spPr>
                <a:xfrm>
                  <a:off x="1894558" y="5709096"/>
                  <a:ext cx="183185"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sp>
              <p:nvSpPr>
                <p:cNvPr id="483" name="TextBox 482">
                  <a:extLst>
                    <a:ext uri="{FF2B5EF4-FFF2-40B4-BE49-F238E27FC236}">
                      <a16:creationId xmlns:a16="http://schemas.microsoft.com/office/drawing/2014/main" id="{6076FF51-778A-41A6-BF65-C25C2C52EF44}"/>
                    </a:ext>
                  </a:extLst>
                </p:cNvPr>
                <p:cNvSpPr txBox="1"/>
                <p:nvPr/>
              </p:nvSpPr>
              <p:spPr>
                <a:xfrm>
                  <a:off x="2364696"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6</a:t>
                  </a:r>
                </a:p>
              </p:txBody>
            </p:sp>
            <p:sp>
              <p:nvSpPr>
                <p:cNvPr id="484" name="TextBox 483">
                  <a:extLst>
                    <a:ext uri="{FF2B5EF4-FFF2-40B4-BE49-F238E27FC236}">
                      <a16:creationId xmlns:a16="http://schemas.microsoft.com/office/drawing/2014/main" id="{64057B89-BF5C-4E37-8805-CE9842BBD6B8}"/>
                    </a:ext>
                  </a:extLst>
                </p:cNvPr>
                <p:cNvSpPr txBox="1"/>
                <p:nvPr/>
              </p:nvSpPr>
              <p:spPr>
                <a:xfrm>
                  <a:off x="2985169"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2</a:t>
                  </a:r>
                </a:p>
              </p:txBody>
            </p:sp>
            <p:sp>
              <p:nvSpPr>
                <p:cNvPr id="485" name="TextBox 484">
                  <a:extLst>
                    <a:ext uri="{FF2B5EF4-FFF2-40B4-BE49-F238E27FC236}">
                      <a16:creationId xmlns:a16="http://schemas.microsoft.com/office/drawing/2014/main" id="{9ED3FB22-C647-4640-9CCF-8263A0BCABC8}"/>
                    </a:ext>
                  </a:extLst>
                </p:cNvPr>
                <p:cNvSpPr txBox="1"/>
                <p:nvPr/>
              </p:nvSpPr>
              <p:spPr>
                <a:xfrm>
                  <a:off x="3599059"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8</a:t>
                  </a:r>
                </a:p>
              </p:txBody>
            </p:sp>
            <p:sp>
              <p:nvSpPr>
                <p:cNvPr id="486" name="TextBox 485">
                  <a:extLst>
                    <a:ext uri="{FF2B5EF4-FFF2-40B4-BE49-F238E27FC236}">
                      <a16:creationId xmlns:a16="http://schemas.microsoft.com/office/drawing/2014/main" id="{C2A17997-8298-4153-93E2-793FD946CE86}"/>
                    </a:ext>
                  </a:extLst>
                </p:cNvPr>
                <p:cNvSpPr txBox="1"/>
                <p:nvPr/>
              </p:nvSpPr>
              <p:spPr>
                <a:xfrm>
                  <a:off x="4212944"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4</a:t>
                  </a:r>
                </a:p>
              </p:txBody>
            </p:sp>
            <p:sp>
              <p:nvSpPr>
                <p:cNvPr id="487" name="TextBox 486">
                  <a:extLst>
                    <a:ext uri="{FF2B5EF4-FFF2-40B4-BE49-F238E27FC236}">
                      <a16:creationId xmlns:a16="http://schemas.microsoft.com/office/drawing/2014/main" id="{F076AB61-2DBD-44E2-A40C-50498D773D44}"/>
                    </a:ext>
                  </a:extLst>
                </p:cNvPr>
                <p:cNvSpPr txBox="1"/>
                <p:nvPr/>
              </p:nvSpPr>
              <p:spPr>
                <a:xfrm>
                  <a:off x="4836710"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80</a:t>
                  </a:r>
                </a:p>
              </p:txBody>
            </p:sp>
            <p:sp>
              <p:nvSpPr>
                <p:cNvPr id="488" name="TextBox 487">
                  <a:extLst>
                    <a:ext uri="{FF2B5EF4-FFF2-40B4-BE49-F238E27FC236}">
                      <a16:creationId xmlns:a16="http://schemas.microsoft.com/office/drawing/2014/main" id="{906A3EAB-517D-4767-B780-ADE76005D7CF}"/>
                    </a:ext>
                  </a:extLst>
                </p:cNvPr>
                <p:cNvSpPr txBox="1"/>
                <p:nvPr/>
              </p:nvSpPr>
              <p:spPr>
                <a:xfrm>
                  <a:off x="5447307"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6</a:t>
                  </a:r>
                </a:p>
              </p:txBody>
            </p:sp>
          </p:grpSp>
          <p:grpSp>
            <p:nvGrpSpPr>
              <p:cNvPr id="474" name="Group 473">
                <a:extLst>
                  <a:ext uri="{FF2B5EF4-FFF2-40B4-BE49-F238E27FC236}">
                    <a16:creationId xmlns:a16="http://schemas.microsoft.com/office/drawing/2014/main" id="{28119318-B892-4BE3-8CF5-D428C1E8C414}"/>
                  </a:ext>
                </a:extLst>
              </p:cNvPr>
              <p:cNvGrpSpPr/>
              <p:nvPr/>
            </p:nvGrpSpPr>
            <p:grpSpPr>
              <a:xfrm>
                <a:off x="1996825" y="4291014"/>
                <a:ext cx="3750008" cy="73152"/>
                <a:chOff x="1996825" y="4291014"/>
                <a:chExt cx="3750008" cy="73152"/>
              </a:xfrm>
            </p:grpSpPr>
            <p:cxnSp>
              <p:nvCxnSpPr>
                <p:cNvPr id="475" name="Straight Connector 474">
                  <a:extLst>
                    <a:ext uri="{FF2B5EF4-FFF2-40B4-BE49-F238E27FC236}">
                      <a16:creationId xmlns:a16="http://schemas.microsoft.com/office/drawing/2014/main" id="{5DC77ED5-0BF5-4315-9C8A-909E2140C090}"/>
                    </a:ext>
                  </a:extLst>
                </p:cNvPr>
                <p:cNvCxnSpPr/>
                <p:nvPr/>
              </p:nvCxnSpPr>
              <p:spPr>
                <a:xfrm>
                  <a:off x="1996825" y="4291014"/>
                  <a:ext cx="0" cy="73152"/>
                </a:xfrm>
                <a:prstGeom prst="line">
                  <a:avLst/>
                </a:prstGeom>
                <a:noFill/>
                <a:ln w="12700" cap="flat" cmpd="sng" algn="ctr">
                  <a:solidFill>
                    <a:srgbClr val="000000"/>
                  </a:solidFill>
                  <a:prstDash val="solid"/>
                </a:ln>
                <a:effectLst/>
              </p:spPr>
            </p:cxnSp>
            <p:cxnSp>
              <p:nvCxnSpPr>
                <p:cNvPr id="476" name="Straight Connector 475">
                  <a:extLst>
                    <a:ext uri="{FF2B5EF4-FFF2-40B4-BE49-F238E27FC236}">
                      <a16:creationId xmlns:a16="http://schemas.microsoft.com/office/drawing/2014/main" id="{65F5BBAA-4009-4CA1-9AC5-838676F9EC80}"/>
                    </a:ext>
                  </a:extLst>
                </p:cNvPr>
                <p:cNvCxnSpPr/>
                <p:nvPr/>
              </p:nvCxnSpPr>
              <p:spPr>
                <a:xfrm>
                  <a:off x="2619434" y="4291014"/>
                  <a:ext cx="0" cy="73152"/>
                </a:xfrm>
                <a:prstGeom prst="line">
                  <a:avLst/>
                </a:prstGeom>
                <a:noFill/>
                <a:ln w="12700" cap="flat" cmpd="sng" algn="ctr">
                  <a:solidFill>
                    <a:srgbClr val="000000"/>
                  </a:solidFill>
                  <a:prstDash val="solid"/>
                </a:ln>
                <a:effectLst/>
              </p:spPr>
            </p:cxnSp>
            <p:cxnSp>
              <p:nvCxnSpPr>
                <p:cNvPr id="477" name="Straight Connector 476">
                  <a:extLst>
                    <a:ext uri="{FF2B5EF4-FFF2-40B4-BE49-F238E27FC236}">
                      <a16:creationId xmlns:a16="http://schemas.microsoft.com/office/drawing/2014/main" id="{99C52624-D1A1-4053-AA6A-07C3DED3C26E}"/>
                    </a:ext>
                  </a:extLst>
                </p:cNvPr>
                <p:cNvCxnSpPr/>
                <p:nvPr/>
              </p:nvCxnSpPr>
              <p:spPr>
                <a:xfrm>
                  <a:off x="3248604" y="4291014"/>
                  <a:ext cx="0" cy="73152"/>
                </a:xfrm>
                <a:prstGeom prst="line">
                  <a:avLst/>
                </a:prstGeom>
                <a:noFill/>
                <a:ln w="12700" cap="flat" cmpd="sng" algn="ctr">
                  <a:solidFill>
                    <a:srgbClr val="000000"/>
                  </a:solidFill>
                  <a:prstDash val="solid"/>
                </a:ln>
                <a:effectLst/>
              </p:spPr>
            </p:cxnSp>
            <p:cxnSp>
              <p:nvCxnSpPr>
                <p:cNvPr id="478" name="Straight Connector 477">
                  <a:extLst>
                    <a:ext uri="{FF2B5EF4-FFF2-40B4-BE49-F238E27FC236}">
                      <a16:creationId xmlns:a16="http://schemas.microsoft.com/office/drawing/2014/main" id="{5629CD99-B7E9-4F40-91B4-75ED717244A1}"/>
                    </a:ext>
                  </a:extLst>
                </p:cNvPr>
                <p:cNvCxnSpPr/>
                <p:nvPr/>
              </p:nvCxnSpPr>
              <p:spPr>
                <a:xfrm>
                  <a:off x="3871213" y="4291014"/>
                  <a:ext cx="0" cy="73152"/>
                </a:xfrm>
                <a:prstGeom prst="line">
                  <a:avLst/>
                </a:prstGeom>
                <a:noFill/>
                <a:ln w="12700" cap="flat" cmpd="sng" algn="ctr">
                  <a:solidFill>
                    <a:srgbClr val="000000"/>
                  </a:solidFill>
                  <a:prstDash val="solid"/>
                </a:ln>
                <a:effectLst/>
              </p:spPr>
            </p:cxnSp>
            <p:cxnSp>
              <p:nvCxnSpPr>
                <p:cNvPr id="479" name="Straight Connector 478">
                  <a:extLst>
                    <a:ext uri="{FF2B5EF4-FFF2-40B4-BE49-F238E27FC236}">
                      <a16:creationId xmlns:a16="http://schemas.microsoft.com/office/drawing/2014/main" id="{49B6D428-800A-4BCA-9B33-832BCEE715F0}"/>
                    </a:ext>
                  </a:extLst>
                </p:cNvPr>
                <p:cNvCxnSpPr/>
                <p:nvPr/>
              </p:nvCxnSpPr>
              <p:spPr>
                <a:xfrm>
                  <a:off x="4495054" y="4291014"/>
                  <a:ext cx="0" cy="73152"/>
                </a:xfrm>
                <a:prstGeom prst="line">
                  <a:avLst/>
                </a:prstGeom>
                <a:noFill/>
                <a:ln w="12700" cap="flat" cmpd="sng" algn="ctr">
                  <a:solidFill>
                    <a:srgbClr val="000000"/>
                  </a:solidFill>
                  <a:prstDash val="solid"/>
                </a:ln>
                <a:effectLst/>
              </p:spPr>
            </p:cxnSp>
            <p:cxnSp>
              <p:nvCxnSpPr>
                <p:cNvPr id="480" name="Straight Connector 479">
                  <a:extLst>
                    <a:ext uri="{FF2B5EF4-FFF2-40B4-BE49-F238E27FC236}">
                      <a16:creationId xmlns:a16="http://schemas.microsoft.com/office/drawing/2014/main" id="{EA009AC9-8E4C-4941-8552-32269A20F087}"/>
                    </a:ext>
                  </a:extLst>
                </p:cNvPr>
                <p:cNvCxnSpPr/>
                <p:nvPr/>
              </p:nvCxnSpPr>
              <p:spPr>
                <a:xfrm>
                  <a:off x="5124224" y="4291014"/>
                  <a:ext cx="0" cy="73152"/>
                </a:xfrm>
                <a:prstGeom prst="line">
                  <a:avLst/>
                </a:prstGeom>
                <a:noFill/>
                <a:ln w="12700" cap="flat" cmpd="sng" algn="ctr">
                  <a:solidFill>
                    <a:srgbClr val="000000"/>
                  </a:solidFill>
                  <a:prstDash val="solid"/>
                </a:ln>
                <a:effectLst/>
              </p:spPr>
            </p:cxnSp>
            <p:cxnSp>
              <p:nvCxnSpPr>
                <p:cNvPr id="481" name="Straight Connector 480">
                  <a:extLst>
                    <a:ext uri="{FF2B5EF4-FFF2-40B4-BE49-F238E27FC236}">
                      <a16:creationId xmlns:a16="http://schemas.microsoft.com/office/drawing/2014/main" id="{AADED482-06DC-407F-8F0F-C2F2DD3F04E3}"/>
                    </a:ext>
                  </a:extLst>
                </p:cNvPr>
                <p:cNvCxnSpPr/>
                <p:nvPr/>
              </p:nvCxnSpPr>
              <p:spPr>
                <a:xfrm>
                  <a:off x="5746833" y="4291014"/>
                  <a:ext cx="0" cy="73152"/>
                </a:xfrm>
                <a:prstGeom prst="line">
                  <a:avLst/>
                </a:prstGeom>
                <a:noFill/>
                <a:ln w="12700" cap="flat" cmpd="sng" algn="ctr">
                  <a:solidFill>
                    <a:srgbClr val="000000"/>
                  </a:solidFill>
                  <a:prstDash val="solid"/>
                </a:ln>
                <a:effectLst/>
              </p:spPr>
            </p:cxnSp>
          </p:grpSp>
        </p:grpSp>
        <p:grpSp>
          <p:nvGrpSpPr>
            <p:cNvPr id="258" name="Group 257">
              <a:extLst>
                <a:ext uri="{FF2B5EF4-FFF2-40B4-BE49-F238E27FC236}">
                  <a16:creationId xmlns:a16="http://schemas.microsoft.com/office/drawing/2014/main" id="{E51206F0-F431-4A00-B956-4777590E3009}"/>
                </a:ext>
              </a:extLst>
            </p:cNvPr>
            <p:cNvGrpSpPr/>
            <p:nvPr/>
          </p:nvGrpSpPr>
          <p:grpSpPr>
            <a:xfrm>
              <a:off x="2348233" y="5279639"/>
              <a:ext cx="3623347" cy="276999"/>
              <a:chOff x="895321" y="5709096"/>
              <a:chExt cx="5084454" cy="388698"/>
            </a:xfrm>
          </p:grpSpPr>
          <p:sp>
            <p:nvSpPr>
              <p:cNvPr id="465" name="TextBox 464">
                <a:extLst>
                  <a:ext uri="{FF2B5EF4-FFF2-40B4-BE49-F238E27FC236}">
                    <a16:creationId xmlns:a16="http://schemas.microsoft.com/office/drawing/2014/main" id="{9C36113B-1FC2-4EA3-B230-519C0EB52554}"/>
                  </a:ext>
                </a:extLst>
              </p:cNvPr>
              <p:cNvSpPr txBox="1"/>
              <p:nvPr/>
            </p:nvSpPr>
            <p:spPr>
              <a:xfrm>
                <a:off x="1753268"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8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862</a:t>
                </a:r>
              </a:p>
            </p:txBody>
          </p:sp>
          <p:sp>
            <p:nvSpPr>
              <p:cNvPr id="466" name="TextBox 465">
                <a:extLst>
                  <a:ext uri="{FF2B5EF4-FFF2-40B4-BE49-F238E27FC236}">
                    <a16:creationId xmlns:a16="http://schemas.microsoft.com/office/drawing/2014/main" id="{86153991-231B-4392-BC66-A7A31FAC2183}"/>
                  </a:ext>
                </a:extLst>
              </p:cNvPr>
              <p:cNvSpPr txBox="1"/>
              <p:nvPr/>
            </p:nvSpPr>
            <p:spPr>
              <a:xfrm>
                <a:off x="895321" y="5709096"/>
                <a:ext cx="994755" cy="369332"/>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000000"/>
                    </a:solidFill>
                    <a:effectLst/>
                    <a:uLnTx/>
                    <a:uFillTx/>
                    <a:latin typeface="Arial" panose="020B0604020202020204"/>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000000"/>
                    </a:solidFill>
                    <a:effectLst/>
                    <a:uLnTx/>
                    <a:uFillTx/>
                    <a:latin typeface="Arial" panose="020B0604020202020204"/>
                    <a:ea typeface="MS PGothic" charset="0"/>
                    <a:cs typeface="+mn-cs"/>
                  </a:rPr>
                  <a:t>Placebo</a:t>
                </a:r>
              </a:p>
            </p:txBody>
          </p:sp>
          <p:sp>
            <p:nvSpPr>
              <p:cNvPr id="467" name="TextBox 466">
                <a:extLst>
                  <a:ext uri="{FF2B5EF4-FFF2-40B4-BE49-F238E27FC236}">
                    <a16:creationId xmlns:a16="http://schemas.microsoft.com/office/drawing/2014/main" id="{6EEBA604-FE8B-45DC-ADCF-0E620CB4A50E}"/>
                  </a:ext>
                </a:extLst>
              </p:cNvPr>
              <p:cNvSpPr txBox="1"/>
              <p:nvPr/>
            </p:nvSpPr>
            <p:spPr>
              <a:xfrm>
                <a:off x="2382788"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58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629</a:t>
                </a:r>
              </a:p>
            </p:txBody>
          </p:sp>
          <p:sp>
            <p:nvSpPr>
              <p:cNvPr id="468" name="TextBox 467">
                <a:extLst>
                  <a:ext uri="{FF2B5EF4-FFF2-40B4-BE49-F238E27FC236}">
                    <a16:creationId xmlns:a16="http://schemas.microsoft.com/office/drawing/2014/main" id="{8287EF94-3769-4C46-8D07-5C488A48B83D}"/>
                  </a:ext>
                </a:extLst>
              </p:cNvPr>
              <p:cNvSpPr txBox="1"/>
              <p:nvPr/>
            </p:nvSpPr>
            <p:spPr>
              <a:xfrm>
                <a:off x="3006136"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3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350</a:t>
                </a:r>
              </a:p>
            </p:txBody>
          </p:sp>
          <p:sp>
            <p:nvSpPr>
              <p:cNvPr id="469" name="TextBox 468">
                <a:extLst>
                  <a:ext uri="{FF2B5EF4-FFF2-40B4-BE49-F238E27FC236}">
                    <a16:creationId xmlns:a16="http://schemas.microsoft.com/office/drawing/2014/main" id="{4AE2ABDC-367C-41DF-B171-F1056A5CF6B7}"/>
                  </a:ext>
                </a:extLst>
              </p:cNvPr>
              <p:cNvSpPr txBox="1"/>
              <p:nvPr/>
            </p:nvSpPr>
            <p:spPr>
              <a:xfrm>
                <a:off x="3635654"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90</a:t>
                </a:r>
              </a:p>
            </p:txBody>
          </p:sp>
          <p:sp>
            <p:nvSpPr>
              <p:cNvPr id="470" name="TextBox 469">
                <a:extLst>
                  <a:ext uri="{FF2B5EF4-FFF2-40B4-BE49-F238E27FC236}">
                    <a16:creationId xmlns:a16="http://schemas.microsoft.com/office/drawing/2014/main" id="{FDB5A529-2D88-4C04-8F55-8BC09444D656}"/>
                  </a:ext>
                </a:extLst>
              </p:cNvPr>
              <p:cNvSpPr txBox="1"/>
              <p:nvPr/>
            </p:nvSpPr>
            <p:spPr>
              <a:xfrm>
                <a:off x="4259004"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717</a:t>
                </a:r>
              </a:p>
            </p:txBody>
          </p:sp>
          <p:sp>
            <p:nvSpPr>
              <p:cNvPr id="471" name="TextBox 470">
                <a:extLst>
                  <a:ext uri="{FF2B5EF4-FFF2-40B4-BE49-F238E27FC236}">
                    <a16:creationId xmlns:a16="http://schemas.microsoft.com/office/drawing/2014/main" id="{79BFA5FE-C3EC-48AC-9D44-4EABFDF34E38}"/>
                  </a:ext>
                </a:extLst>
              </p:cNvPr>
              <p:cNvSpPr txBox="1"/>
              <p:nvPr/>
            </p:nvSpPr>
            <p:spPr>
              <a:xfrm>
                <a:off x="4888521"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30</a:t>
                </a:r>
              </a:p>
            </p:txBody>
          </p:sp>
          <p:sp>
            <p:nvSpPr>
              <p:cNvPr id="472" name="TextBox 471">
                <a:extLst>
                  <a:ext uri="{FF2B5EF4-FFF2-40B4-BE49-F238E27FC236}">
                    <a16:creationId xmlns:a16="http://schemas.microsoft.com/office/drawing/2014/main" id="{F0FB1C49-A996-4F35-8B07-BFD76C7178B2}"/>
                  </a:ext>
                </a:extLst>
              </p:cNvPr>
              <p:cNvSpPr txBox="1"/>
              <p:nvPr/>
            </p:nvSpPr>
            <p:spPr>
              <a:xfrm>
                <a:off x="5511873"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5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58</a:t>
                </a:r>
              </a:p>
            </p:txBody>
          </p:sp>
        </p:grpSp>
        <p:grpSp>
          <p:nvGrpSpPr>
            <p:cNvPr id="259" name="Group 258">
              <a:extLst>
                <a:ext uri="{FF2B5EF4-FFF2-40B4-BE49-F238E27FC236}">
                  <a16:creationId xmlns:a16="http://schemas.microsoft.com/office/drawing/2014/main" id="{072B2931-CC00-4133-BBD4-09E7A8708E3C}"/>
                </a:ext>
              </a:extLst>
            </p:cNvPr>
            <p:cNvGrpSpPr/>
            <p:nvPr/>
          </p:nvGrpSpPr>
          <p:grpSpPr>
            <a:xfrm>
              <a:off x="3072575" y="3103404"/>
              <a:ext cx="948619" cy="263198"/>
              <a:chOff x="1720358" y="1216855"/>
              <a:chExt cx="1331148" cy="369332"/>
            </a:xfrm>
          </p:grpSpPr>
          <p:sp>
            <p:nvSpPr>
              <p:cNvPr id="462" name="TextBox 461">
                <a:extLst>
                  <a:ext uri="{FF2B5EF4-FFF2-40B4-BE49-F238E27FC236}">
                    <a16:creationId xmlns:a16="http://schemas.microsoft.com/office/drawing/2014/main" id="{E2293908-5231-4575-A0E1-67FEF463EA7C}"/>
                  </a:ext>
                </a:extLst>
              </p:cNvPr>
              <p:cNvSpPr txBox="1"/>
              <p:nvPr/>
            </p:nvSpPr>
            <p:spPr>
              <a:xfrm>
                <a:off x="1911893" y="1216855"/>
                <a:ext cx="1139613" cy="369332"/>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Placebo</a:t>
                </a:r>
              </a:p>
            </p:txBody>
          </p:sp>
          <p:sp>
            <p:nvSpPr>
              <p:cNvPr id="463" name="Oval 462">
                <a:extLst>
                  <a:ext uri="{FF2B5EF4-FFF2-40B4-BE49-F238E27FC236}">
                    <a16:creationId xmlns:a16="http://schemas.microsoft.com/office/drawing/2014/main" id="{3D9071BB-DA3E-4E51-A140-DA7B5BDCF3D7}"/>
                  </a:ext>
                </a:extLst>
              </p:cNvPr>
              <p:cNvSpPr/>
              <p:nvPr/>
            </p:nvSpPr>
            <p:spPr>
              <a:xfrm>
                <a:off x="1720358" y="1249984"/>
                <a:ext cx="126739" cy="126739"/>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464" name="Oval 463">
                <a:extLst>
                  <a:ext uri="{FF2B5EF4-FFF2-40B4-BE49-F238E27FC236}">
                    <a16:creationId xmlns:a16="http://schemas.microsoft.com/office/drawing/2014/main" id="{A1377502-D3D1-46C7-A731-04ECBED2DFF7}"/>
                  </a:ext>
                </a:extLst>
              </p:cNvPr>
              <p:cNvSpPr/>
              <p:nvPr/>
            </p:nvSpPr>
            <p:spPr>
              <a:xfrm>
                <a:off x="1720358" y="1426550"/>
                <a:ext cx="126739" cy="126739"/>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sp>
          <p:nvSpPr>
            <p:cNvPr id="260" name="TextBox 259">
              <a:extLst>
                <a:ext uri="{FF2B5EF4-FFF2-40B4-BE49-F238E27FC236}">
                  <a16:creationId xmlns:a16="http://schemas.microsoft.com/office/drawing/2014/main" id="{3B751034-35F9-4954-8CAA-C2F7989B715B}"/>
                </a:ext>
              </a:extLst>
            </p:cNvPr>
            <p:cNvSpPr txBox="1"/>
            <p:nvPr/>
          </p:nvSpPr>
          <p:spPr>
            <a:xfrm>
              <a:off x="3479006" y="2859719"/>
              <a:ext cx="1950923" cy="161583"/>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000000"/>
                  </a:solidFill>
                  <a:effectLst/>
                  <a:uLnTx/>
                  <a:uFillTx/>
                  <a:latin typeface="Arial" panose="020B0604020202020204"/>
                  <a:ea typeface="MS PGothic" charset="0"/>
                  <a:cs typeface="+mn-cs"/>
                </a:rPr>
                <a:t>SBP ≥110 mmHg</a:t>
              </a:r>
            </a:p>
          </p:txBody>
        </p:sp>
        <p:grpSp>
          <p:nvGrpSpPr>
            <p:cNvPr id="261" name="Group 260">
              <a:extLst>
                <a:ext uri="{FF2B5EF4-FFF2-40B4-BE49-F238E27FC236}">
                  <a16:creationId xmlns:a16="http://schemas.microsoft.com/office/drawing/2014/main" id="{43945643-8E5E-489F-A8DE-D6440A3AD5A1}"/>
                </a:ext>
              </a:extLst>
            </p:cNvPr>
            <p:cNvGrpSpPr/>
            <p:nvPr/>
          </p:nvGrpSpPr>
          <p:grpSpPr>
            <a:xfrm>
              <a:off x="6496894" y="3103404"/>
              <a:ext cx="769382" cy="263198"/>
              <a:chOff x="1720358" y="1216855"/>
              <a:chExt cx="1079634" cy="369332"/>
            </a:xfrm>
          </p:grpSpPr>
          <p:sp>
            <p:nvSpPr>
              <p:cNvPr id="459" name="TextBox 458">
                <a:extLst>
                  <a:ext uri="{FF2B5EF4-FFF2-40B4-BE49-F238E27FC236}">
                    <a16:creationId xmlns:a16="http://schemas.microsoft.com/office/drawing/2014/main" id="{FFC3E23C-E912-439D-8659-E4FAFD0271D9}"/>
                  </a:ext>
                </a:extLst>
              </p:cNvPr>
              <p:cNvSpPr txBox="1"/>
              <p:nvPr/>
            </p:nvSpPr>
            <p:spPr>
              <a:xfrm>
                <a:off x="1911893" y="1216855"/>
                <a:ext cx="888099" cy="369332"/>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Placebo</a:t>
                </a:r>
              </a:p>
            </p:txBody>
          </p:sp>
          <p:sp>
            <p:nvSpPr>
              <p:cNvPr id="460" name="Oval 459">
                <a:extLst>
                  <a:ext uri="{FF2B5EF4-FFF2-40B4-BE49-F238E27FC236}">
                    <a16:creationId xmlns:a16="http://schemas.microsoft.com/office/drawing/2014/main" id="{015565CA-4ADE-47DB-BA5F-FA988B0792EE}"/>
                  </a:ext>
                </a:extLst>
              </p:cNvPr>
              <p:cNvSpPr/>
              <p:nvPr/>
            </p:nvSpPr>
            <p:spPr>
              <a:xfrm>
                <a:off x="1720358" y="1249984"/>
                <a:ext cx="126739" cy="126739"/>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461" name="Oval 460">
                <a:extLst>
                  <a:ext uri="{FF2B5EF4-FFF2-40B4-BE49-F238E27FC236}">
                    <a16:creationId xmlns:a16="http://schemas.microsoft.com/office/drawing/2014/main" id="{BE545249-5C94-4538-9D31-B9E9655585FF}"/>
                  </a:ext>
                </a:extLst>
              </p:cNvPr>
              <p:cNvSpPr/>
              <p:nvPr/>
            </p:nvSpPr>
            <p:spPr>
              <a:xfrm>
                <a:off x="1720358" y="1426550"/>
                <a:ext cx="126739" cy="126739"/>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sp>
          <p:nvSpPr>
            <p:cNvPr id="262" name="TextBox 261">
              <a:extLst>
                <a:ext uri="{FF2B5EF4-FFF2-40B4-BE49-F238E27FC236}">
                  <a16:creationId xmlns:a16="http://schemas.microsoft.com/office/drawing/2014/main" id="{230FB85E-1C62-46CE-B35E-0138F01735E3}"/>
                </a:ext>
              </a:extLst>
            </p:cNvPr>
            <p:cNvSpPr txBox="1"/>
            <p:nvPr/>
          </p:nvSpPr>
          <p:spPr>
            <a:xfrm>
              <a:off x="7220639" y="2859719"/>
              <a:ext cx="1950923" cy="161583"/>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000000"/>
                  </a:solidFill>
                  <a:effectLst/>
                  <a:uLnTx/>
                  <a:uFillTx/>
                  <a:latin typeface="Arial" panose="020B0604020202020204"/>
                  <a:ea typeface="MS PGothic" charset="0"/>
                  <a:cs typeface="+mn-cs"/>
                </a:rPr>
                <a:t>SBP &lt;110 mmHg</a:t>
              </a:r>
            </a:p>
          </p:txBody>
        </p:sp>
        <p:sp>
          <p:nvSpPr>
            <p:cNvPr id="263" name="TextBox 262">
              <a:extLst>
                <a:ext uri="{FF2B5EF4-FFF2-40B4-BE49-F238E27FC236}">
                  <a16:creationId xmlns:a16="http://schemas.microsoft.com/office/drawing/2014/main" id="{A71EC5D7-D27F-41C3-8A23-B10E64D2EFE2}"/>
                </a:ext>
              </a:extLst>
            </p:cNvPr>
            <p:cNvSpPr txBox="1"/>
            <p:nvPr/>
          </p:nvSpPr>
          <p:spPr>
            <a:xfrm rot="16200000">
              <a:off x="1986314" y="3811972"/>
              <a:ext cx="1183995" cy="276999"/>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000000"/>
                  </a:solidFill>
                  <a:effectLst/>
                  <a:uLnTx/>
                  <a:uFillTx/>
                  <a:latin typeface="Arial" panose="020B0604020202020204"/>
                  <a:ea typeface="MS PGothic" charset="0"/>
                  <a:cs typeface="+mn-cs"/>
                </a:rPr>
                <a:t>SBP change from baseline</a:t>
              </a:r>
            </a:p>
          </p:txBody>
        </p:sp>
        <p:sp>
          <p:nvSpPr>
            <p:cNvPr id="264" name="Freeform: Shape 263">
              <a:extLst>
                <a:ext uri="{FF2B5EF4-FFF2-40B4-BE49-F238E27FC236}">
                  <a16:creationId xmlns:a16="http://schemas.microsoft.com/office/drawing/2014/main" id="{7299B2F5-CBB5-4C82-A4AE-DC4FA190DBE8}"/>
                </a:ext>
              </a:extLst>
            </p:cNvPr>
            <p:cNvSpPr/>
            <p:nvPr/>
          </p:nvSpPr>
          <p:spPr>
            <a:xfrm>
              <a:off x="6413513" y="3100872"/>
              <a:ext cx="2837311" cy="1725876"/>
            </a:xfrm>
            <a:custGeom>
              <a:avLst/>
              <a:gdLst>
                <a:gd name="connsiteX0" fmla="*/ 0 w 3981450"/>
                <a:gd name="connsiteY0" fmla="*/ 0 h 2228850"/>
                <a:gd name="connsiteX1" fmla="*/ 0 w 3981450"/>
                <a:gd name="connsiteY1" fmla="*/ 2228850 h 2228850"/>
                <a:gd name="connsiteX2" fmla="*/ 3981450 w 3981450"/>
                <a:gd name="connsiteY2" fmla="*/ 2228850 h 2228850"/>
              </a:gdLst>
              <a:ahLst/>
              <a:cxnLst>
                <a:cxn ang="0">
                  <a:pos x="connsiteX0" y="connsiteY0"/>
                </a:cxn>
                <a:cxn ang="0">
                  <a:pos x="connsiteX1" y="connsiteY1"/>
                </a:cxn>
                <a:cxn ang="0">
                  <a:pos x="connsiteX2" y="connsiteY2"/>
                </a:cxn>
              </a:cxnLst>
              <a:rect l="l" t="t" r="r" b="b"/>
              <a:pathLst>
                <a:path w="3981450" h="2228850">
                  <a:moveTo>
                    <a:pt x="0" y="0"/>
                  </a:moveTo>
                  <a:lnTo>
                    <a:pt x="0" y="2228850"/>
                  </a:lnTo>
                  <a:lnTo>
                    <a:pt x="3981450" y="2228850"/>
                  </a:lnTo>
                </a:path>
              </a:pathLst>
            </a:custGeom>
            <a:noFill/>
            <a:ln w="127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65" name="Group 264">
              <a:extLst>
                <a:ext uri="{FF2B5EF4-FFF2-40B4-BE49-F238E27FC236}">
                  <a16:creationId xmlns:a16="http://schemas.microsoft.com/office/drawing/2014/main" id="{5FFC0EF0-59E9-4B41-993F-D9A8E249E1C0}"/>
                </a:ext>
              </a:extLst>
            </p:cNvPr>
            <p:cNvGrpSpPr/>
            <p:nvPr/>
          </p:nvGrpSpPr>
          <p:grpSpPr>
            <a:xfrm>
              <a:off x="6504018" y="4830144"/>
              <a:ext cx="2909715" cy="227343"/>
              <a:chOff x="1898650" y="4291014"/>
              <a:chExt cx="4083050" cy="319018"/>
            </a:xfrm>
          </p:grpSpPr>
          <p:grpSp>
            <p:nvGrpSpPr>
              <p:cNvPr id="443" name="Group 442">
                <a:extLst>
                  <a:ext uri="{FF2B5EF4-FFF2-40B4-BE49-F238E27FC236}">
                    <a16:creationId xmlns:a16="http://schemas.microsoft.com/office/drawing/2014/main" id="{36F069C5-9F3E-4C3C-99A9-2520C3995924}"/>
                  </a:ext>
                </a:extLst>
              </p:cNvPr>
              <p:cNvGrpSpPr/>
              <p:nvPr/>
            </p:nvGrpSpPr>
            <p:grpSpPr>
              <a:xfrm>
                <a:off x="1898650" y="4415684"/>
                <a:ext cx="4083050" cy="194348"/>
                <a:chOff x="1887972" y="5709096"/>
                <a:chExt cx="4023944" cy="194348"/>
              </a:xfrm>
            </p:grpSpPr>
            <p:sp>
              <p:nvSpPr>
                <p:cNvPr id="452" name="TextBox 451">
                  <a:extLst>
                    <a:ext uri="{FF2B5EF4-FFF2-40B4-BE49-F238E27FC236}">
                      <a16:creationId xmlns:a16="http://schemas.microsoft.com/office/drawing/2014/main" id="{884E7EDB-3B80-4B71-B5CA-5F9BB4A49DA6}"/>
                    </a:ext>
                  </a:extLst>
                </p:cNvPr>
                <p:cNvSpPr txBox="1"/>
                <p:nvPr/>
              </p:nvSpPr>
              <p:spPr>
                <a:xfrm>
                  <a:off x="1887972" y="5709096"/>
                  <a:ext cx="183185"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sp>
              <p:nvSpPr>
                <p:cNvPr id="453" name="TextBox 452">
                  <a:extLst>
                    <a:ext uri="{FF2B5EF4-FFF2-40B4-BE49-F238E27FC236}">
                      <a16:creationId xmlns:a16="http://schemas.microsoft.com/office/drawing/2014/main" id="{0A8EC63A-E05D-454A-8EAD-F12139916885}"/>
                    </a:ext>
                  </a:extLst>
                </p:cNvPr>
                <p:cNvSpPr txBox="1"/>
                <p:nvPr/>
              </p:nvSpPr>
              <p:spPr>
                <a:xfrm>
                  <a:off x="2358111"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6</a:t>
                  </a:r>
                </a:p>
              </p:txBody>
            </p:sp>
            <p:sp>
              <p:nvSpPr>
                <p:cNvPr id="454" name="TextBox 453">
                  <a:extLst>
                    <a:ext uri="{FF2B5EF4-FFF2-40B4-BE49-F238E27FC236}">
                      <a16:creationId xmlns:a16="http://schemas.microsoft.com/office/drawing/2014/main" id="{E781DDF3-5FF3-4D71-8623-E74BE5328205}"/>
                    </a:ext>
                  </a:extLst>
                </p:cNvPr>
                <p:cNvSpPr txBox="1"/>
                <p:nvPr/>
              </p:nvSpPr>
              <p:spPr>
                <a:xfrm>
                  <a:off x="2975291"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2</a:t>
                  </a:r>
                </a:p>
              </p:txBody>
            </p:sp>
            <p:sp>
              <p:nvSpPr>
                <p:cNvPr id="455" name="TextBox 454">
                  <a:extLst>
                    <a:ext uri="{FF2B5EF4-FFF2-40B4-BE49-F238E27FC236}">
                      <a16:creationId xmlns:a16="http://schemas.microsoft.com/office/drawing/2014/main" id="{3835AFBC-F733-470C-8730-E23F9E9FCE44}"/>
                    </a:ext>
                  </a:extLst>
                </p:cNvPr>
                <p:cNvSpPr txBox="1"/>
                <p:nvPr/>
              </p:nvSpPr>
              <p:spPr>
                <a:xfrm>
                  <a:off x="3592473"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8</a:t>
                  </a:r>
                </a:p>
              </p:txBody>
            </p:sp>
            <p:sp>
              <p:nvSpPr>
                <p:cNvPr id="456" name="TextBox 455">
                  <a:extLst>
                    <a:ext uri="{FF2B5EF4-FFF2-40B4-BE49-F238E27FC236}">
                      <a16:creationId xmlns:a16="http://schemas.microsoft.com/office/drawing/2014/main" id="{E54FF149-86DC-4C8D-AA08-B0785CA37609}"/>
                    </a:ext>
                  </a:extLst>
                </p:cNvPr>
                <p:cNvSpPr txBox="1"/>
                <p:nvPr/>
              </p:nvSpPr>
              <p:spPr>
                <a:xfrm>
                  <a:off x="4209651"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4</a:t>
                  </a:r>
                </a:p>
              </p:txBody>
            </p:sp>
            <p:sp>
              <p:nvSpPr>
                <p:cNvPr id="457" name="TextBox 456">
                  <a:extLst>
                    <a:ext uri="{FF2B5EF4-FFF2-40B4-BE49-F238E27FC236}">
                      <a16:creationId xmlns:a16="http://schemas.microsoft.com/office/drawing/2014/main" id="{FC42FB57-62A0-4B5B-96B8-5B6BA811307A}"/>
                    </a:ext>
                  </a:extLst>
                </p:cNvPr>
                <p:cNvSpPr txBox="1"/>
                <p:nvPr/>
              </p:nvSpPr>
              <p:spPr>
                <a:xfrm>
                  <a:off x="4826831"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80</a:t>
                  </a:r>
                </a:p>
              </p:txBody>
            </p:sp>
            <p:sp>
              <p:nvSpPr>
                <p:cNvPr id="458" name="TextBox 457">
                  <a:extLst>
                    <a:ext uri="{FF2B5EF4-FFF2-40B4-BE49-F238E27FC236}">
                      <a16:creationId xmlns:a16="http://schemas.microsoft.com/office/drawing/2014/main" id="{ADB1FE22-AA90-4D52-B700-A0F107F8D537}"/>
                    </a:ext>
                  </a:extLst>
                </p:cNvPr>
                <p:cNvSpPr txBox="1"/>
                <p:nvPr/>
              </p:nvSpPr>
              <p:spPr>
                <a:xfrm>
                  <a:off x="5444014" y="5709096"/>
                  <a:ext cx="467902" cy="19434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6</a:t>
                  </a:r>
                </a:p>
              </p:txBody>
            </p:sp>
          </p:grpSp>
          <p:grpSp>
            <p:nvGrpSpPr>
              <p:cNvPr id="444" name="Group 443">
                <a:extLst>
                  <a:ext uri="{FF2B5EF4-FFF2-40B4-BE49-F238E27FC236}">
                    <a16:creationId xmlns:a16="http://schemas.microsoft.com/office/drawing/2014/main" id="{E68249B4-32F0-4555-8D9E-370586EAE113}"/>
                  </a:ext>
                </a:extLst>
              </p:cNvPr>
              <p:cNvGrpSpPr/>
              <p:nvPr/>
            </p:nvGrpSpPr>
            <p:grpSpPr>
              <a:xfrm>
                <a:off x="1996825" y="4291014"/>
                <a:ext cx="3750008" cy="73152"/>
                <a:chOff x="1996825" y="4291014"/>
                <a:chExt cx="3750008" cy="73152"/>
              </a:xfrm>
            </p:grpSpPr>
            <p:cxnSp>
              <p:nvCxnSpPr>
                <p:cNvPr id="445" name="Straight Connector 444">
                  <a:extLst>
                    <a:ext uri="{FF2B5EF4-FFF2-40B4-BE49-F238E27FC236}">
                      <a16:creationId xmlns:a16="http://schemas.microsoft.com/office/drawing/2014/main" id="{B63B6471-6AC1-41B0-8462-FBCE192FD45B}"/>
                    </a:ext>
                  </a:extLst>
                </p:cNvPr>
                <p:cNvCxnSpPr/>
                <p:nvPr/>
              </p:nvCxnSpPr>
              <p:spPr>
                <a:xfrm>
                  <a:off x="1996825" y="4291014"/>
                  <a:ext cx="0" cy="73152"/>
                </a:xfrm>
                <a:prstGeom prst="line">
                  <a:avLst/>
                </a:prstGeom>
                <a:noFill/>
                <a:ln w="12700" cap="flat" cmpd="sng" algn="ctr">
                  <a:solidFill>
                    <a:srgbClr val="000000"/>
                  </a:solidFill>
                  <a:prstDash val="solid"/>
                </a:ln>
                <a:effectLst/>
              </p:spPr>
            </p:cxnSp>
            <p:cxnSp>
              <p:nvCxnSpPr>
                <p:cNvPr id="446" name="Straight Connector 445">
                  <a:extLst>
                    <a:ext uri="{FF2B5EF4-FFF2-40B4-BE49-F238E27FC236}">
                      <a16:creationId xmlns:a16="http://schemas.microsoft.com/office/drawing/2014/main" id="{B18F02CF-AE40-4373-A7B2-DC908E1B5345}"/>
                    </a:ext>
                  </a:extLst>
                </p:cNvPr>
                <p:cNvCxnSpPr/>
                <p:nvPr/>
              </p:nvCxnSpPr>
              <p:spPr>
                <a:xfrm>
                  <a:off x="2619434" y="4291014"/>
                  <a:ext cx="0" cy="73152"/>
                </a:xfrm>
                <a:prstGeom prst="line">
                  <a:avLst/>
                </a:prstGeom>
                <a:noFill/>
                <a:ln w="12700" cap="flat" cmpd="sng" algn="ctr">
                  <a:solidFill>
                    <a:srgbClr val="000000"/>
                  </a:solidFill>
                  <a:prstDash val="solid"/>
                </a:ln>
                <a:effectLst/>
              </p:spPr>
            </p:cxnSp>
            <p:cxnSp>
              <p:nvCxnSpPr>
                <p:cNvPr id="447" name="Straight Connector 446">
                  <a:extLst>
                    <a:ext uri="{FF2B5EF4-FFF2-40B4-BE49-F238E27FC236}">
                      <a16:creationId xmlns:a16="http://schemas.microsoft.com/office/drawing/2014/main" id="{2F7E0764-9817-459A-A9FD-03F571A90133}"/>
                    </a:ext>
                  </a:extLst>
                </p:cNvPr>
                <p:cNvCxnSpPr/>
                <p:nvPr/>
              </p:nvCxnSpPr>
              <p:spPr>
                <a:xfrm>
                  <a:off x="3248604" y="4291014"/>
                  <a:ext cx="0" cy="73152"/>
                </a:xfrm>
                <a:prstGeom prst="line">
                  <a:avLst/>
                </a:prstGeom>
                <a:noFill/>
                <a:ln w="12700" cap="flat" cmpd="sng" algn="ctr">
                  <a:solidFill>
                    <a:srgbClr val="000000"/>
                  </a:solidFill>
                  <a:prstDash val="solid"/>
                </a:ln>
                <a:effectLst/>
              </p:spPr>
            </p:cxnSp>
            <p:cxnSp>
              <p:nvCxnSpPr>
                <p:cNvPr id="448" name="Straight Connector 447">
                  <a:extLst>
                    <a:ext uri="{FF2B5EF4-FFF2-40B4-BE49-F238E27FC236}">
                      <a16:creationId xmlns:a16="http://schemas.microsoft.com/office/drawing/2014/main" id="{FB7C242A-012F-4272-8131-88E5977CD1CA}"/>
                    </a:ext>
                  </a:extLst>
                </p:cNvPr>
                <p:cNvCxnSpPr/>
                <p:nvPr/>
              </p:nvCxnSpPr>
              <p:spPr>
                <a:xfrm>
                  <a:off x="3871213" y="4291014"/>
                  <a:ext cx="0" cy="73152"/>
                </a:xfrm>
                <a:prstGeom prst="line">
                  <a:avLst/>
                </a:prstGeom>
                <a:noFill/>
                <a:ln w="12700" cap="flat" cmpd="sng" algn="ctr">
                  <a:solidFill>
                    <a:srgbClr val="000000"/>
                  </a:solidFill>
                  <a:prstDash val="solid"/>
                </a:ln>
                <a:effectLst/>
              </p:spPr>
            </p:cxnSp>
            <p:cxnSp>
              <p:nvCxnSpPr>
                <p:cNvPr id="449" name="Straight Connector 448">
                  <a:extLst>
                    <a:ext uri="{FF2B5EF4-FFF2-40B4-BE49-F238E27FC236}">
                      <a16:creationId xmlns:a16="http://schemas.microsoft.com/office/drawing/2014/main" id="{35B8022E-1450-4EB5-B150-F5616677EBFA}"/>
                    </a:ext>
                  </a:extLst>
                </p:cNvPr>
                <p:cNvCxnSpPr/>
                <p:nvPr/>
              </p:nvCxnSpPr>
              <p:spPr>
                <a:xfrm>
                  <a:off x="4495054" y="4291014"/>
                  <a:ext cx="0" cy="73152"/>
                </a:xfrm>
                <a:prstGeom prst="line">
                  <a:avLst/>
                </a:prstGeom>
                <a:noFill/>
                <a:ln w="12700" cap="flat" cmpd="sng" algn="ctr">
                  <a:solidFill>
                    <a:srgbClr val="000000"/>
                  </a:solidFill>
                  <a:prstDash val="solid"/>
                </a:ln>
                <a:effectLst/>
              </p:spPr>
            </p:cxnSp>
            <p:cxnSp>
              <p:nvCxnSpPr>
                <p:cNvPr id="450" name="Straight Connector 449">
                  <a:extLst>
                    <a:ext uri="{FF2B5EF4-FFF2-40B4-BE49-F238E27FC236}">
                      <a16:creationId xmlns:a16="http://schemas.microsoft.com/office/drawing/2014/main" id="{E17D0165-995C-4383-BAF0-E6F7C6D7A580}"/>
                    </a:ext>
                  </a:extLst>
                </p:cNvPr>
                <p:cNvCxnSpPr/>
                <p:nvPr/>
              </p:nvCxnSpPr>
              <p:spPr>
                <a:xfrm>
                  <a:off x="5124224" y="4291014"/>
                  <a:ext cx="0" cy="73152"/>
                </a:xfrm>
                <a:prstGeom prst="line">
                  <a:avLst/>
                </a:prstGeom>
                <a:noFill/>
                <a:ln w="12700" cap="flat" cmpd="sng" algn="ctr">
                  <a:solidFill>
                    <a:srgbClr val="000000"/>
                  </a:solidFill>
                  <a:prstDash val="solid"/>
                </a:ln>
                <a:effectLst/>
              </p:spPr>
            </p:cxnSp>
            <p:cxnSp>
              <p:nvCxnSpPr>
                <p:cNvPr id="451" name="Straight Connector 450">
                  <a:extLst>
                    <a:ext uri="{FF2B5EF4-FFF2-40B4-BE49-F238E27FC236}">
                      <a16:creationId xmlns:a16="http://schemas.microsoft.com/office/drawing/2014/main" id="{B21116C3-0F28-4419-8802-DB02C2718C60}"/>
                    </a:ext>
                  </a:extLst>
                </p:cNvPr>
                <p:cNvCxnSpPr/>
                <p:nvPr/>
              </p:nvCxnSpPr>
              <p:spPr>
                <a:xfrm>
                  <a:off x="5746833" y="4291014"/>
                  <a:ext cx="0" cy="73152"/>
                </a:xfrm>
                <a:prstGeom prst="line">
                  <a:avLst/>
                </a:prstGeom>
                <a:noFill/>
                <a:ln w="12700" cap="flat" cmpd="sng" algn="ctr">
                  <a:solidFill>
                    <a:srgbClr val="000000"/>
                  </a:solidFill>
                  <a:prstDash val="solid"/>
                </a:ln>
                <a:effectLst/>
              </p:spPr>
            </p:cxnSp>
          </p:grpSp>
        </p:grpSp>
        <p:grpSp>
          <p:nvGrpSpPr>
            <p:cNvPr id="266" name="Group 265">
              <a:extLst>
                <a:ext uri="{FF2B5EF4-FFF2-40B4-BE49-F238E27FC236}">
                  <a16:creationId xmlns:a16="http://schemas.microsoft.com/office/drawing/2014/main" id="{B7E4C873-49A7-4281-9229-597BB6F27F8B}"/>
                </a:ext>
              </a:extLst>
            </p:cNvPr>
            <p:cNvGrpSpPr/>
            <p:nvPr/>
          </p:nvGrpSpPr>
          <p:grpSpPr>
            <a:xfrm>
              <a:off x="6401937" y="5279639"/>
              <a:ext cx="3010197" cy="276999"/>
              <a:chOff x="1755404" y="5709096"/>
              <a:chExt cx="4224053" cy="388698"/>
            </a:xfrm>
          </p:grpSpPr>
          <p:sp>
            <p:nvSpPr>
              <p:cNvPr id="436" name="TextBox 435">
                <a:extLst>
                  <a:ext uri="{FF2B5EF4-FFF2-40B4-BE49-F238E27FC236}">
                    <a16:creationId xmlns:a16="http://schemas.microsoft.com/office/drawing/2014/main" id="{9C263C3F-5300-4F51-8A08-53CDD6FEEBEF}"/>
                  </a:ext>
                </a:extLst>
              </p:cNvPr>
              <p:cNvSpPr txBox="1"/>
              <p:nvPr/>
            </p:nvSpPr>
            <p:spPr>
              <a:xfrm>
                <a:off x="1755404"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653</a:t>
                </a:r>
              </a:p>
            </p:txBody>
          </p:sp>
          <p:sp>
            <p:nvSpPr>
              <p:cNvPr id="437" name="TextBox 436">
                <a:extLst>
                  <a:ext uri="{FF2B5EF4-FFF2-40B4-BE49-F238E27FC236}">
                    <a16:creationId xmlns:a16="http://schemas.microsoft.com/office/drawing/2014/main" id="{48A1642D-1A8C-4BE6-9A40-A8EE7685A747}"/>
                  </a:ext>
                </a:extLst>
              </p:cNvPr>
              <p:cNvSpPr txBox="1"/>
              <p:nvPr/>
            </p:nvSpPr>
            <p:spPr>
              <a:xfrm>
                <a:off x="2382234"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544</a:t>
                </a:r>
              </a:p>
            </p:txBody>
          </p:sp>
          <p:sp>
            <p:nvSpPr>
              <p:cNvPr id="438" name="TextBox 437">
                <a:extLst>
                  <a:ext uri="{FF2B5EF4-FFF2-40B4-BE49-F238E27FC236}">
                    <a16:creationId xmlns:a16="http://schemas.microsoft.com/office/drawing/2014/main" id="{7CD237B1-98D1-4C39-BD6F-A1DA4E7F69D1}"/>
                  </a:ext>
                </a:extLst>
              </p:cNvPr>
              <p:cNvSpPr txBox="1"/>
              <p:nvPr/>
            </p:nvSpPr>
            <p:spPr>
              <a:xfrm>
                <a:off x="3009063"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5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424</a:t>
                </a:r>
              </a:p>
            </p:txBody>
          </p:sp>
          <p:sp>
            <p:nvSpPr>
              <p:cNvPr id="439" name="TextBox 438">
                <a:extLst>
                  <a:ext uri="{FF2B5EF4-FFF2-40B4-BE49-F238E27FC236}">
                    <a16:creationId xmlns:a16="http://schemas.microsoft.com/office/drawing/2014/main" id="{40A3C696-84A2-4CA2-AA46-9AB754038B6D}"/>
                  </a:ext>
                </a:extLst>
              </p:cNvPr>
              <p:cNvSpPr txBox="1"/>
              <p:nvPr/>
            </p:nvSpPr>
            <p:spPr>
              <a:xfrm>
                <a:off x="3635890"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3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88</a:t>
                </a:r>
              </a:p>
            </p:txBody>
          </p:sp>
          <p:sp>
            <p:nvSpPr>
              <p:cNvPr id="440" name="TextBox 439">
                <a:extLst>
                  <a:ext uri="{FF2B5EF4-FFF2-40B4-BE49-F238E27FC236}">
                    <a16:creationId xmlns:a16="http://schemas.microsoft.com/office/drawing/2014/main" id="{D7808EE7-4888-4A64-AD8D-5C8A0CB06C28}"/>
                  </a:ext>
                </a:extLst>
              </p:cNvPr>
              <p:cNvSpPr txBox="1"/>
              <p:nvPr/>
            </p:nvSpPr>
            <p:spPr>
              <a:xfrm>
                <a:off x="4257894"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07</a:t>
                </a:r>
              </a:p>
            </p:txBody>
          </p:sp>
          <p:sp>
            <p:nvSpPr>
              <p:cNvPr id="441" name="TextBox 440">
                <a:extLst>
                  <a:ext uri="{FF2B5EF4-FFF2-40B4-BE49-F238E27FC236}">
                    <a16:creationId xmlns:a16="http://schemas.microsoft.com/office/drawing/2014/main" id="{58B31D8A-10B1-4DA1-89DD-EEEA3088EA43}"/>
                  </a:ext>
                </a:extLst>
              </p:cNvPr>
              <p:cNvSpPr txBox="1"/>
              <p:nvPr/>
            </p:nvSpPr>
            <p:spPr>
              <a:xfrm>
                <a:off x="4884723"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56</a:t>
                </a:r>
              </a:p>
            </p:txBody>
          </p:sp>
          <p:sp>
            <p:nvSpPr>
              <p:cNvPr id="442" name="TextBox 441">
                <a:extLst>
                  <a:ext uri="{FF2B5EF4-FFF2-40B4-BE49-F238E27FC236}">
                    <a16:creationId xmlns:a16="http://schemas.microsoft.com/office/drawing/2014/main" id="{5B37BFE5-95C5-4AB9-9C90-704298C0897D}"/>
                  </a:ext>
                </a:extLst>
              </p:cNvPr>
              <p:cNvSpPr txBox="1"/>
              <p:nvPr/>
            </p:nvSpPr>
            <p:spPr>
              <a:xfrm>
                <a:off x="5511555" y="5709096"/>
                <a:ext cx="467902" cy="3886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94</a:t>
                </a:r>
              </a:p>
            </p:txBody>
          </p:sp>
        </p:grpSp>
        <p:sp>
          <p:nvSpPr>
            <p:cNvPr id="267" name="Oval 266">
              <a:extLst>
                <a:ext uri="{FF2B5EF4-FFF2-40B4-BE49-F238E27FC236}">
                  <a16:creationId xmlns:a16="http://schemas.microsoft.com/office/drawing/2014/main" id="{AA553C35-4E3D-444A-B352-82AE184F3E9D}"/>
                </a:ext>
              </a:extLst>
            </p:cNvPr>
            <p:cNvSpPr/>
            <p:nvPr/>
          </p:nvSpPr>
          <p:spPr>
            <a:xfrm>
              <a:off x="8331628" y="3735167"/>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68" name="Group 267">
              <a:extLst>
                <a:ext uri="{FF2B5EF4-FFF2-40B4-BE49-F238E27FC236}">
                  <a16:creationId xmlns:a16="http://schemas.microsoft.com/office/drawing/2014/main" id="{632BCA68-9331-4E89-9FC3-F5047B995316}"/>
                </a:ext>
              </a:extLst>
            </p:cNvPr>
            <p:cNvGrpSpPr/>
            <p:nvPr/>
          </p:nvGrpSpPr>
          <p:grpSpPr>
            <a:xfrm>
              <a:off x="9217616" y="3326262"/>
              <a:ext cx="53091" cy="175832"/>
              <a:chOff x="9029700" y="4535234"/>
              <a:chExt cx="64008" cy="214609"/>
            </a:xfrm>
          </p:grpSpPr>
          <p:cxnSp>
            <p:nvCxnSpPr>
              <p:cNvPr id="433" name="Straight Connector 432">
                <a:extLst>
                  <a:ext uri="{FF2B5EF4-FFF2-40B4-BE49-F238E27FC236}">
                    <a16:creationId xmlns:a16="http://schemas.microsoft.com/office/drawing/2014/main" id="{E4545CDD-3827-42FE-B191-00277CE28E7A}"/>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434" name="Straight Connector 433">
                <a:extLst>
                  <a:ext uri="{FF2B5EF4-FFF2-40B4-BE49-F238E27FC236}">
                    <a16:creationId xmlns:a16="http://schemas.microsoft.com/office/drawing/2014/main" id="{B9131E02-62A4-4138-A8C4-EC3924D25EB8}"/>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435" name="Straight Connector 434">
                <a:extLst>
                  <a:ext uri="{FF2B5EF4-FFF2-40B4-BE49-F238E27FC236}">
                    <a16:creationId xmlns:a16="http://schemas.microsoft.com/office/drawing/2014/main" id="{E381B62F-D8BC-4ECA-BD2A-666DE4810638}"/>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269" name="Group 268">
              <a:extLst>
                <a:ext uri="{FF2B5EF4-FFF2-40B4-BE49-F238E27FC236}">
                  <a16:creationId xmlns:a16="http://schemas.microsoft.com/office/drawing/2014/main" id="{7FCE675B-062D-4937-8783-54D1F36EFB19}"/>
                </a:ext>
              </a:extLst>
            </p:cNvPr>
            <p:cNvGrpSpPr/>
            <p:nvPr/>
          </p:nvGrpSpPr>
          <p:grpSpPr>
            <a:xfrm>
              <a:off x="8769709" y="3533668"/>
              <a:ext cx="53091" cy="129730"/>
              <a:chOff x="9029700" y="4535234"/>
              <a:chExt cx="64008" cy="214609"/>
            </a:xfrm>
          </p:grpSpPr>
          <p:cxnSp>
            <p:nvCxnSpPr>
              <p:cNvPr id="430" name="Straight Connector 429">
                <a:extLst>
                  <a:ext uri="{FF2B5EF4-FFF2-40B4-BE49-F238E27FC236}">
                    <a16:creationId xmlns:a16="http://schemas.microsoft.com/office/drawing/2014/main" id="{706BBB00-E0A5-445F-B1EF-656D6DE0E46E}"/>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431" name="Straight Connector 430">
                <a:extLst>
                  <a:ext uri="{FF2B5EF4-FFF2-40B4-BE49-F238E27FC236}">
                    <a16:creationId xmlns:a16="http://schemas.microsoft.com/office/drawing/2014/main" id="{DB1D860A-9CE1-45DF-897E-607360CEA8AA}"/>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432" name="Straight Connector 431">
                <a:extLst>
                  <a:ext uri="{FF2B5EF4-FFF2-40B4-BE49-F238E27FC236}">
                    <a16:creationId xmlns:a16="http://schemas.microsoft.com/office/drawing/2014/main" id="{6E12B4FD-9D2F-4783-A118-EFE669C442B9}"/>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sp>
          <p:nvSpPr>
            <p:cNvPr id="270" name="Freeform: Shape 269">
              <a:extLst>
                <a:ext uri="{FF2B5EF4-FFF2-40B4-BE49-F238E27FC236}">
                  <a16:creationId xmlns:a16="http://schemas.microsoft.com/office/drawing/2014/main" id="{2BB0282C-FFD7-46FB-825E-B1D93C39E05D}"/>
                </a:ext>
              </a:extLst>
            </p:cNvPr>
            <p:cNvSpPr/>
            <p:nvPr/>
          </p:nvSpPr>
          <p:spPr>
            <a:xfrm>
              <a:off x="6572998" y="3414214"/>
              <a:ext cx="2670999" cy="720177"/>
            </a:xfrm>
            <a:custGeom>
              <a:avLst/>
              <a:gdLst>
                <a:gd name="connsiteX0" fmla="*/ 3754755 w 3754755"/>
                <a:gd name="connsiteY0" fmla="*/ 0 h 1017270"/>
                <a:gd name="connsiteX1" fmla="*/ 3123248 w 3754755"/>
                <a:gd name="connsiteY1" fmla="*/ 265748 h 1017270"/>
                <a:gd name="connsiteX2" fmla="*/ 2506028 w 3754755"/>
                <a:gd name="connsiteY2" fmla="*/ 497205 h 1017270"/>
                <a:gd name="connsiteX3" fmla="*/ 1883093 w 3754755"/>
                <a:gd name="connsiteY3" fmla="*/ 537210 h 1017270"/>
                <a:gd name="connsiteX4" fmla="*/ 1254443 w 3754755"/>
                <a:gd name="connsiteY4" fmla="*/ 562928 h 1017270"/>
                <a:gd name="connsiteX5" fmla="*/ 625793 w 3754755"/>
                <a:gd name="connsiteY5" fmla="*/ 677228 h 1017270"/>
                <a:gd name="connsiteX6" fmla="*/ 168593 w 3754755"/>
                <a:gd name="connsiteY6" fmla="*/ 885825 h 1017270"/>
                <a:gd name="connsiteX7" fmla="*/ 85725 w 3754755"/>
                <a:gd name="connsiteY7" fmla="*/ 911543 h 1017270"/>
                <a:gd name="connsiteX8" fmla="*/ 0 w 3754755"/>
                <a:gd name="connsiteY8" fmla="*/ 1017270 h 1017270"/>
                <a:gd name="connsiteX0" fmla="*/ 3758096 w 3758096"/>
                <a:gd name="connsiteY0" fmla="*/ 0 h 1023952"/>
                <a:gd name="connsiteX1" fmla="*/ 3123248 w 3758096"/>
                <a:gd name="connsiteY1" fmla="*/ 272430 h 1023952"/>
                <a:gd name="connsiteX2" fmla="*/ 2506028 w 3758096"/>
                <a:gd name="connsiteY2" fmla="*/ 503887 h 1023952"/>
                <a:gd name="connsiteX3" fmla="*/ 1883093 w 3758096"/>
                <a:gd name="connsiteY3" fmla="*/ 543892 h 1023952"/>
                <a:gd name="connsiteX4" fmla="*/ 1254443 w 3758096"/>
                <a:gd name="connsiteY4" fmla="*/ 569610 h 1023952"/>
                <a:gd name="connsiteX5" fmla="*/ 625793 w 3758096"/>
                <a:gd name="connsiteY5" fmla="*/ 683910 h 1023952"/>
                <a:gd name="connsiteX6" fmla="*/ 168593 w 3758096"/>
                <a:gd name="connsiteY6" fmla="*/ 892507 h 1023952"/>
                <a:gd name="connsiteX7" fmla="*/ 85725 w 3758096"/>
                <a:gd name="connsiteY7" fmla="*/ 918225 h 1023952"/>
                <a:gd name="connsiteX8" fmla="*/ 0 w 3758096"/>
                <a:gd name="connsiteY8" fmla="*/ 1023952 h 1023952"/>
                <a:gd name="connsiteX0" fmla="*/ 3758096 w 3758096"/>
                <a:gd name="connsiteY0" fmla="*/ 0 h 1017268"/>
                <a:gd name="connsiteX1" fmla="*/ 3123248 w 3758096"/>
                <a:gd name="connsiteY1" fmla="*/ 265746 h 1017268"/>
                <a:gd name="connsiteX2" fmla="*/ 2506028 w 3758096"/>
                <a:gd name="connsiteY2" fmla="*/ 497203 h 1017268"/>
                <a:gd name="connsiteX3" fmla="*/ 1883093 w 3758096"/>
                <a:gd name="connsiteY3" fmla="*/ 537208 h 1017268"/>
                <a:gd name="connsiteX4" fmla="*/ 1254443 w 3758096"/>
                <a:gd name="connsiteY4" fmla="*/ 562926 h 1017268"/>
                <a:gd name="connsiteX5" fmla="*/ 625793 w 3758096"/>
                <a:gd name="connsiteY5" fmla="*/ 677226 h 1017268"/>
                <a:gd name="connsiteX6" fmla="*/ 168593 w 3758096"/>
                <a:gd name="connsiteY6" fmla="*/ 885823 h 1017268"/>
                <a:gd name="connsiteX7" fmla="*/ 85725 w 3758096"/>
                <a:gd name="connsiteY7" fmla="*/ 911541 h 1017268"/>
                <a:gd name="connsiteX8" fmla="*/ 0 w 3758096"/>
                <a:gd name="connsiteY8" fmla="*/ 1017268 h 1017268"/>
                <a:gd name="connsiteX0" fmla="*/ 3754755 w 3754755"/>
                <a:gd name="connsiteY0" fmla="*/ 0 h 1010586"/>
                <a:gd name="connsiteX1" fmla="*/ 3123248 w 3754755"/>
                <a:gd name="connsiteY1" fmla="*/ 259064 h 1010586"/>
                <a:gd name="connsiteX2" fmla="*/ 2506028 w 3754755"/>
                <a:gd name="connsiteY2" fmla="*/ 490521 h 1010586"/>
                <a:gd name="connsiteX3" fmla="*/ 1883093 w 3754755"/>
                <a:gd name="connsiteY3" fmla="*/ 530526 h 1010586"/>
                <a:gd name="connsiteX4" fmla="*/ 1254443 w 3754755"/>
                <a:gd name="connsiteY4" fmla="*/ 556244 h 1010586"/>
                <a:gd name="connsiteX5" fmla="*/ 625793 w 3754755"/>
                <a:gd name="connsiteY5" fmla="*/ 670544 h 1010586"/>
                <a:gd name="connsiteX6" fmla="*/ 168593 w 3754755"/>
                <a:gd name="connsiteY6" fmla="*/ 879141 h 1010586"/>
                <a:gd name="connsiteX7" fmla="*/ 85725 w 3754755"/>
                <a:gd name="connsiteY7" fmla="*/ 904859 h 1010586"/>
                <a:gd name="connsiteX8" fmla="*/ 0 w 3754755"/>
                <a:gd name="connsiteY8" fmla="*/ 1010586 h 1010586"/>
                <a:gd name="connsiteX0" fmla="*/ 3748073 w 3748073"/>
                <a:gd name="connsiteY0" fmla="*/ 0 h 1010586"/>
                <a:gd name="connsiteX1" fmla="*/ 3123248 w 3748073"/>
                <a:gd name="connsiteY1" fmla="*/ 259064 h 1010586"/>
                <a:gd name="connsiteX2" fmla="*/ 2506028 w 3748073"/>
                <a:gd name="connsiteY2" fmla="*/ 490521 h 1010586"/>
                <a:gd name="connsiteX3" fmla="*/ 1883093 w 3748073"/>
                <a:gd name="connsiteY3" fmla="*/ 530526 h 1010586"/>
                <a:gd name="connsiteX4" fmla="*/ 1254443 w 3748073"/>
                <a:gd name="connsiteY4" fmla="*/ 556244 h 1010586"/>
                <a:gd name="connsiteX5" fmla="*/ 625793 w 3748073"/>
                <a:gd name="connsiteY5" fmla="*/ 670544 h 1010586"/>
                <a:gd name="connsiteX6" fmla="*/ 168593 w 3748073"/>
                <a:gd name="connsiteY6" fmla="*/ 879141 h 1010586"/>
                <a:gd name="connsiteX7" fmla="*/ 85725 w 3748073"/>
                <a:gd name="connsiteY7" fmla="*/ 904859 h 1010586"/>
                <a:gd name="connsiteX8" fmla="*/ 0 w 3748073"/>
                <a:gd name="connsiteY8" fmla="*/ 1010586 h 1010586"/>
                <a:gd name="connsiteX0" fmla="*/ 3748073 w 3748073"/>
                <a:gd name="connsiteY0" fmla="*/ 0 h 1010586"/>
                <a:gd name="connsiteX1" fmla="*/ 3119906 w 3748073"/>
                <a:gd name="connsiteY1" fmla="*/ 252381 h 1010586"/>
                <a:gd name="connsiteX2" fmla="*/ 2506028 w 3748073"/>
                <a:gd name="connsiteY2" fmla="*/ 490521 h 1010586"/>
                <a:gd name="connsiteX3" fmla="*/ 1883093 w 3748073"/>
                <a:gd name="connsiteY3" fmla="*/ 530526 h 1010586"/>
                <a:gd name="connsiteX4" fmla="*/ 1254443 w 3748073"/>
                <a:gd name="connsiteY4" fmla="*/ 556244 h 1010586"/>
                <a:gd name="connsiteX5" fmla="*/ 625793 w 3748073"/>
                <a:gd name="connsiteY5" fmla="*/ 670544 h 1010586"/>
                <a:gd name="connsiteX6" fmla="*/ 168593 w 3748073"/>
                <a:gd name="connsiteY6" fmla="*/ 879141 h 1010586"/>
                <a:gd name="connsiteX7" fmla="*/ 85725 w 3748073"/>
                <a:gd name="connsiteY7" fmla="*/ 904859 h 1010586"/>
                <a:gd name="connsiteX8" fmla="*/ 0 w 3748073"/>
                <a:gd name="connsiteY8" fmla="*/ 1010586 h 101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8073" h="1010586">
                  <a:moveTo>
                    <a:pt x="3748073" y="0"/>
                  </a:moveTo>
                  <a:lnTo>
                    <a:pt x="3119906" y="252381"/>
                  </a:lnTo>
                  <a:lnTo>
                    <a:pt x="2506028" y="490521"/>
                  </a:lnTo>
                  <a:lnTo>
                    <a:pt x="1883093" y="530526"/>
                  </a:lnTo>
                  <a:lnTo>
                    <a:pt x="1254443" y="556244"/>
                  </a:lnTo>
                  <a:lnTo>
                    <a:pt x="625793" y="670544"/>
                  </a:lnTo>
                  <a:lnTo>
                    <a:pt x="168593" y="879141"/>
                  </a:lnTo>
                  <a:lnTo>
                    <a:pt x="85725" y="904859"/>
                  </a:lnTo>
                  <a:lnTo>
                    <a:pt x="0" y="1010586"/>
                  </a:lnTo>
                </a:path>
              </a:pathLst>
            </a:custGeom>
            <a:noFill/>
            <a:ln w="1905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71" name="Group 270">
              <a:extLst>
                <a:ext uri="{FF2B5EF4-FFF2-40B4-BE49-F238E27FC236}">
                  <a16:creationId xmlns:a16="http://schemas.microsoft.com/office/drawing/2014/main" id="{3D161999-22DF-4165-BE00-D836D5D50D9A}"/>
                </a:ext>
              </a:extLst>
            </p:cNvPr>
            <p:cNvGrpSpPr/>
            <p:nvPr/>
          </p:nvGrpSpPr>
          <p:grpSpPr>
            <a:xfrm>
              <a:off x="6996105" y="3861570"/>
              <a:ext cx="53091" cy="62402"/>
              <a:chOff x="9029700" y="4535234"/>
              <a:chExt cx="64008" cy="214609"/>
            </a:xfrm>
          </p:grpSpPr>
          <p:cxnSp>
            <p:nvCxnSpPr>
              <p:cNvPr id="427" name="Straight Connector 426">
                <a:extLst>
                  <a:ext uri="{FF2B5EF4-FFF2-40B4-BE49-F238E27FC236}">
                    <a16:creationId xmlns:a16="http://schemas.microsoft.com/office/drawing/2014/main" id="{D08063B7-D9E2-450A-A47D-094FE4D7292F}"/>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428" name="Straight Connector 427">
                <a:extLst>
                  <a:ext uri="{FF2B5EF4-FFF2-40B4-BE49-F238E27FC236}">
                    <a16:creationId xmlns:a16="http://schemas.microsoft.com/office/drawing/2014/main" id="{D3BCF290-9670-4E06-83FD-A47D1F5FB1EB}"/>
                  </a:ext>
                </a:extLst>
              </p:cNvPr>
              <p:cNvCxnSpPr/>
              <p:nvPr/>
            </p:nvCxnSpPr>
            <p:spPr>
              <a:xfrm>
                <a:off x="9029700" y="4737889"/>
                <a:ext cx="64008" cy="0"/>
              </a:xfrm>
              <a:prstGeom prst="line">
                <a:avLst/>
              </a:prstGeom>
              <a:noFill/>
              <a:ln w="9525" cap="flat" cmpd="sng" algn="ctr">
                <a:solidFill>
                  <a:schemeClr val="tx2"/>
                </a:solidFill>
                <a:prstDash val="solid"/>
              </a:ln>
              <a:effectLst/>
            </p:spPr>
          </p:cxnSp>
          <p:cxnSp>
            <p:nvCxnSpPr>
              <p:cNvPr id="429" name="Straight Connector 428">
                <a:extLst>
                  <a:ext uri="{FF2B5EF4-FFF2-40B4-BE49-F238E27FC236}">
                    <a16:creationId xmlns:a16="http://schemas.microsoft.com/office/drawing/2014/main" id="{C76CB38C-F93F-43FB-A464-A42255EDA1E8}"/>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272" name="Group 271">
              <a:extLst>
                <a:ext uri="{FF2B5EF4-FFF2-40B4-BE49-F238E27FC236}">
                  <a16:creationId xmlns:a16="http://schemas.microsoft.com/office/drawing/2014/main" id="{34E2C4BF-88F8-4F40-B581-3DD722773F48}"/>
                </a:ext>
              </a:extLst>
            </p:cNvPr>
            <p:cNvGrpSpPr/>
            <p:nvPr/>
          </p:nvGrpSpPr>
          <p:grpSpPr>
            <a:xfrm>
              <a:off x="7438796" y="3766557"/>
              <a:ext cx="53091" cy="74324"/>
              <a:chOff x="9029700" y="4535234"/>
              <a:chExt cx="64008" cy="214609"/>
            </a:xfrm>
          </p:grpSpPr>
          <p:cxnSp>
            <p:nvCxnSpPr>
              <p:cNvPr id="424" name="Straight Connector 423">
                <a:extLst>
                  <a:ext uri="{FF2B5EF4-FFF2-40B4-BE49-F238E27FC236}">
                    <a16:creationId xmlns:a16="http://schemas.microsoft.com/office/drawing/2014/main" id="{299A2B1F-B02F-45EC-BD42-FDC388537EF8}"/>
                  </a:ext>
                </a:extLst>
              </p:cNvPr>
              <p:cNvCxnSpPr/>
              <p:nvPr/>
            </p:nvCxnSpPr>
            <p:spPr>
              <a:xfrm>
                <a:off x="9029700" y="4536281"/>
                <a:ext cx="64008" cy="0"/>
              </a:xfrm>
              <a:prstGeom prst="line">
                <a:avLst/>
              </a:prstGeom>
              <a:noFill/>
              <a:ln w="9525" cap="flat" cmpd="sng" algn="ctr">
                <a:solidFill>
                  <a:srgbClr val="7F7F7F"/>
                </a:solidFill>
                <a:prstDash val="solid"/>
              </a:ln>
              <a:effectLst/>
            </p:spPr>
          </p:cxnSp>
          <p:cxnSp>
            <p:nvCxnSpPr>
              <p:cNvPr id="425" name="Straight Connector 424">
                <a:extLst>
                  <a:ext uri="{FF2B5EF4-FFF2-40B4-BE49-F238E27FC236}">
                    <a16:creationId xmlns:a16="http://schemas.microsoft.com/office/drawing/2014/main" id="{3A58503A-D1E6-42AC-9C71-267C93FF4DF6}"/>
                  </a:ext>
                </a:extLst>
              </p:cNvPr>
              <p:cNvCxnSpPr/>
              <p:nvPr/>
            </p:nvCxnSpPr>
            <p:spPr>
              <a:xfrm>
                <a:off x="9029700" y="4746088"/>
                <a:ext cx="64008" cy="0"/>
              </a:xfrm>
              <a:prstGeom prst="line">
                <a:avLst/>
              </a:prstGeom>
              <a:noFill/>
              <a:ln w="9525" cap="flat" cmpd="sng" algn="ctr">
                <a:solidFill>
                  <a:srgbClr val="7F7F7F"/>
                </a:solidFill>
                <a:prstDash val="solid"/>
              </a:ln>
              <a:effectLst/>
            </p:spPr>
          </p:cxnSp>
          <p:cxnSp>
            <p:nvCxnSpPr>
              <p:cNvPr id="426" name="Straight Connector 425">
                <a:extLst>
                  <a:ext uri="{FF2B5EF4-FFF2-40B4-BE49-F238E27FC236}">
                    <a16:creationId xmlns:a16="http://schemas.microsoft.com/office/drawing/2014/main" id="{5A5BFB2B-9B4E-4465-ACE0-03316343DDD4}"/>
                  </a:ext>
                </a:extLst>
              </p:cNvPr>
              <p:cNvCxnSpPr>
                <a:cxnSpLocks/>
              </p:cNvCxnSpPr>
              <p:nvPr/>
            </p:nvCxnSpPr>
            <p:spPr>
              <a:xfrm>
                <a:off x="9061704" y="4535234"/>
                <a:ext cx="0" cy="214609"/>
              </a:xfrm>
              <a:prstGeom prst="line">
                <a:avLst/>
              </a:prstGeom>
              <a:noFill/>
              <a:ln w="9525" cap="flat" cmpd="sng" algn="ctr">
                <a:solidFill>
                  <a:srgbClr val="7F7F7F"/>
                </a:solidFill>
                <a:prstDash val="solid"/>
              </a:ln>
              <a:effectLst/>
            </p:spPr>
          </p:cxnSp>
        </p:grpSp>
        <p:sp>
          <p:nvSpPr>
            <p:cNvPr id="273" name="Oval 272">
              <a:extLst>
                <a:ext uri="{FF2B5EF4-FFF2-40B4-BE49-F238E27FC236}">
                  <a16:creationId xmlns:a16="http://schemas.microsoft.com/office/drawing/2014/main" id="{331A70D0-E048-42A2-837C-22C6F073FFD9}"/>
                </a:ext>
              </a:extLst>
            </p:cNvPr>
            <p:cNvSpPr/>
            <p:nvPr/>
          </p:nvSpPr>
          <p:spPr>
            <a:xfrm>
              <a:off x="9217616" y="3387882"/>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74" name="Group 273">
              <a:extLst>
                <a:ext uri="{FF2B5EF4-FFF2-40B4-BE49-F238E27FC236}">
                  <a16:creationId xmlns:a16="http://schemas.microsoft.com/office/drawing/2014/main" id="{AD55CE85-FC3A-4841-BF2F-334F2184E9E3}"/>
                </a:ext>
              </a:extLst>
            </p:cNvPr>
            <p:cNvGrpSpPr/>
            <p:nvPr/>
          </p:nvGrpSpPr>
          <p:grpSpPr>
            <a:xfrm>
              <a:off x="9216882" y="3640752"/>
              <a:ext cx="53135" cy="166130"/>
              <a:chOff x="9032571" y="4535239"/>
              <a:chExt cx="64062" cy="214609"/>
            </a:xfrm>
          </p:grpSpPr>
          <p:cxnSp>
            <p:nvCxnSpPr>
              <p:cNvPr id="421" name="Straight Connector 420">
                <a:extLst>
                  <a:ext uri="{FF2B5EF4-FFF2-40B4-BE49-F238E27FC236}">
                    <a16:creationId xmlns:a16="http://schemas.microsoft.com/office/drawing/2014/main" id="{150C0A08-E3B9-40AC-BF0E-8B40A161C73B}"/>
                  </a:ext>
                </a:extLst>
              </p:cNvPr>
              <p:cNvCxnSpPr/>
              <p:nvPr/>
            </p:nvCxnSpPr>
            <p:spPr>
              <a:xfrm>
                <a:off x="9032625" y="4539356"/>
                <a:ext cx="64008" cy="0"/>
              </a:xfrm>
              <a:prstGeom prst="line">
                <a:avLst/>
              </a:prstGeom>
              <a:noFill/>
              <a:ln w="9525" cap="flat" cmpd="sng" algn="ctr">
                <a:solidFill>
                  <a:schemeClr val="accent1"/>
                </a:solidFill>
                <a:prstDash val="solid"/>
              </a:ln>
              <a:effectLst/>
            </p:spPr>
          </p:cxnSp>
          <p:cxnSp>
            <p:nvCxnSpPr>
              <p:cNvPr id="422" name="Straight Connector 421">
                <a:extLst>
                  <a:ext uri="{FF2B5EF4-FFF2-40B4-BE49-F238E27FC236}">
                    <a16:creationId xmlns:a16="http://schemas.microsoft.com/office/drawing/2014/main" id="{193B8F75-EB21-4865-B2B1-90002B4C41DD}"/>
                  </a:ext>
                </a:extLst>
              </p:cNvPr>
              <p:cNvCxnSpPr/>
              <p:nvPr/>
            </p:nvCxnSpPr>
            <p:spPr>
              <a:xfrm>
                <a:off x="9032571" y="4746088"/>
                <a:ext cx="64008" cy="0"/>
              </a:xfrm>
              <a:prstGeom prst="line">
                <a:avLst/>
              </a:prstGeom>
              <a:noFill/>
              <a:ln w="9525" cap="flat" cmpd="sng" algn="ctr">
                <a:solidFill>
                  <a:schemeClr val="accent1"/>
                </a:solidFill>
                <a:prstDash val="solid"/>
              </a:ln>
              <a:effectLst/>
            </p:spPr>
          </p:cxnSp>
          <p:cxnSp>
            <p:nvCxnSpPr>
              <p:cNvPr id="423" name="Straight Connector 422">
                <a:extLst>
                  <a:ext uri="{FF2B5EF4-FFF2-40B4-BE49-F238E27FC236}">
                    <a16:creationId xmlns:a16="http://schemas.microsoft.com/office/drawing/2014/main" id="{F1BBD3CE-FD6E-491F-8CA3-4E15ABE46240}"/>
                  </a:ext>
                </a:extLst>
              </p:cNvPr>
              <p:cNvCxnSpPr>
                <a:cxnSpLocks/>
              </p:cNvCxnSpPr>
              <p:nvPr/>
            </p:nvCxnSpPr>
            <p:spPr>
              <a:xfrm>
                <a:off x="9064575" y="4535234"/>
                <a:ext cx="0" cy="214609"/>
              </a:xfrm>
              <a:prstGeom prst="line">
                <a:avLst/>
              </a:prstGeom>
              <a:noFill/>
              <a:ln w="9525" cap="flat" cmpd="sng" algn="ctr">
                <a:solidFill>
                  <a:schemeClr val="accent1"/>
                </a:solidFill>
                <a:prstDash val="solid"/>
              </a:ln>
              <a:effectLst/>
            </p:spPr>
          </p:cxnSp>
        </p:grpSp>
        <p:sp>
          <p:nvSpPr>
            <p:cNvPr id="275" name="Oval 274">
              <a:extLst>
                <a:ext uri="{FF2B5EF4-FFF2-40B4-BE49-F238E27FC236}">
                  <a16:creationId xmlns:a16="http://schemas.microsoft.com/office/drawing/2014/main" id="{BE73C9E6-2A82-4C4B-AA6A-32A5486C60DC}"/>
                </a:ext>
              </a:extLst>
            </p:cNvPr>
            <p:cNvSpPr/>
            <p:nvPr/>
          </p:nvSpPr>
          <p:spPr>
            <a:xfrm>
              <a:off x="8769832" y="3570613"/>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76" name="Oval 275">
              <a:extLst>
                <a:ext uri="{FF2B5EF4-FFF2-40B4-BE49-F238E27FC236}">
                  <a16:creationId xmlns:a16="http://schemas.microsoft.com/office/drawing/2014/main" id="{FEA2D79D-FAA9-4461-AC2F-21B8A5BE59FB}"/>
                </a:ext>
              </a:extLst>
            </p:cNvPr>
            <p:cNvSpPr/>
            <p:nvPr/>
          </p:nvSpPr>
          <p:spPr>
            <a:xfrm>
              <a:off x="7886213" y="3761404"/>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77" name="Oval 276">
              <a:extLst>
                <a:ext uri="{FF2B5EF4-FFF2-40B4-BE49-F238E27FC236}">
                  <a16:creationId xmlns:a16="http://schemas.microsoft.com/office/drawing/2014/main" id="{9F5A3E9B-6352-4D97-860D-D3BE1EC45B48}"/>
                </a:ext>
              </a:extLst>
            </p:cNvPr>
            <p:cNvSpPr/>
            <p:nvPr/>
          </p:nvSpPr>
          <p:spPr>
            <a:xfrm>
              <a:off x="7886213" y="3769887"/>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78" name="Oval 277">
              <a:extLst>
                <a:ext uri="{FF2B5EF4-FFF2-40B4-BE49-F238E27FC236}">
                  <a16:creationId xmlns:a16="http://schemas.microsoft.com/office/drawing/2014/main" id="{AA76E98D-E4EF-47A4-AF22-1051EA767272}"/>
                </a:ext>
              </a:extLst>
            </p:cNvPr>
            <p:cNvSpPr/>
            <p:nvPr/>
          </p:nvSpPr>
          <p:spPr>
            <a:xfrm>
              <a:off x="7438497" y="3778813"/>
              <a:ext cx="52130" cy="52130"/>
            </a:xfrm>
            <a:prstGeom prst="ellipse">
              <a:avLst/>
            </a:prstGeom>
            <a:solidFill>
              <a:srgbClr val="7F7F7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79" name="Oval 278">
              <a:extLst>
                <a:ext uri="{FF2B5EF4-FFF2-40B4-BE49-F238E27FC236}">
                  <a16:creationId xmlns:a16="http://schemas.microsoft.com/office/drawing/2014/main" id="{F5777446-899B-492D-B369-011ADE9D4013}"/>
                </a:ext>
              </a:extLst>
            </p:cNvPr>
            <p:cNvSpPr/>
            <p:nvPr/>
          </p:nvSpPr>
          <p:spPr>
            <a:xfrm>
              <a:off x="7438497" y="3787297"/>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80" name="Oval 279">
              <a:extLst>
                <a:ext uri="{FF2B5EF4-FFF2-40B4-BE49-F238E27FC236}">
                  <a16:creationId xmlns:a16="http://schemas.microsoft.com/office/drawing/2014/main" id="{D8213061-6376-4E77-B3D4-E8414240D6B2}"/>
                </a:ext>
              </a:extLst>
            </p:cNvPr>
            <p:cNvSpPr/>
            <p:nvPr/>
          </p:nvSpPr>
          <p:spPr>
            <a:xfrm>
              <a:off x="6996697" y="3871319"/>
              <a:ext cx="52130" cy="52130"/>
            </a:xfrm>
            <a:prstGeom prst="ellipse">
              <a:avLst/>
            </a:prstGeom>
            <a:solidFill>
              <a:srgbClr val="7F7F7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81" name="Oval 280">
              <a:extLst>
                <a:ext uri="{FF2B5EF4-FFF2-40B4-BE49-F238E27FC236}">
                  <a16:creationId xmlns:a16="http://schemas.microsoft.com/office/drawing/2014/main" id="{A7DDE230-13E2-4D92-B570-97A44B1BE6BF}"/>
                </a:ext>
              </a:extLst>
            </p:cNvPr>
            <p:cNvSpPr/>
            <p:nvPr/>
          </p:nvSpPr>
          <p:spPr>
            <a:xfrm>
              <a:off x="6996697" y="3889984"/>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82" name="Oval 281">
              <a:extLst>
                <a:ext uri="{FF2B5EF4-FFF2-40B4-BE49-F238E27FC236}">
                  <a16:creationId xmlns:a16="http://schemas.microsoft.com/office/drawing/2014/main" id="{09A3F930-25C9-448C-AA90-4869F1FE6CFF}"/>
                </a:ext>
              </a:extLst>
            </p:cNvPr>
            <p:cNvSpPr/>
            <p:nvPr/>
          </p:nvSpPr>
          <p:spPr>
            <a:xfrm>
              <a:off x="8769832" y="3765810"/>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83" name="Oval 282">
              <a:extLst>
                <a:ext uri="{FF2B5EF4-FFF2-40B4-BE49-F238E27FC236}">
                  <a16:creationId xmlns:a16="http://schemas.microsoft.com/office/drawing/2014/main" id="{58B0C542-CE70-4D40-9521-BBF912390D20}"/>
                </a:ext>
              </a:extLst>
            </p:cNvPr>
            <p:cNvSpPr/>
            <p:nvPr/>
          </p:nvSpPr>
          <p:spPr>
            <a:xfrm>
              <a:off x="9217912" y="3697084"/>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84" name="Group 283">
              <a:extLst>
                <a:ext uri="{FF2B5EF4-FFF2-40B4-BE49-F238E27FC236}">
                  <a16:creationId xmlns:a16="http://schemas.microsoft.com/office/drawing/2014/main" id="{25A8EB25-035A-4540-A5E3-EDFED1812B65}"/>
                </a:ext>
              </a:extLst>
            </p:cNvPr>
            <p:cNvGrpSpPr/>
            <p:nvPr/>
          </p:nvGrpSpPr>
          <p:grpSpPr>
            <a:xfrm>
              <a:off x="8769709" y="3735606"/>
              <a:ext cx="53091" cy="117346"/>
              <a:chOff x="9029700" y="4535234"/>
              <a:chExt cx="64008" cy="214609"/>
            </a:xfrm>
          </p:grpSpPr>
          <p:cxnSp>
            <p:nvCxnSpPr>
              <p:cNvPr id="418" name="Straight Connector 417">
                <a:extLst>
                  <a:ext uri="{FF2B5EF4-FFF2-40B4-BE49-F238E27FC236}">
                    <a16:creationId xmlns:a16="http://schemas.microsoft.com/office/drawing/2014/main" id="{F19576BB-FC1C-4315-9572-3099541B8E60}"/>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419" name="Straight Connector 418">
                <a:extLst>
                  <a:ext uri="{FF2B5EF4-FFF2-40B4-BE49-F238E27FC236}">
                    <a16:creationId xmlns:a16="http://schemas.microsoft.com/office/drawing/2014/main" id="{27BA9F41-CC62-40FF-A3C9-73A103FB4105}"/>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420" name="Straight Connector 419">
                <a:extLst>
                  <a:ext uri="{FF2B5EF4-FFF2-40B4-BE49-F238E27FC236}">
                    <a16:creationId xmlns:a16="http://schemas.microsoft.com/office/drawing/2014/main" id="{4644A6B2-2A87-47F7-B588-56F99D9FE00C}"/>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grpSp>
          <p:nvGrpSpPr>
            <p:cNvPr id="285" name="Group 284">
              <a:extLst>
                <a:ext uri="{FF2B5EF4-FFF2-40B4-BE49-F238E27FC236}">
                  <a16:creationId xmlns:a16="http://schemas.microsoft.com/office/drawing/2014/main" id="{3ECE2B2C-7CF7-4654-B28B-65734A855FB5}"/>
                </a:ext>
              </a:extLst>
            </p:cNvPr>
            <p:cNvGrpSpPr/>
            <p:nvPr/>
          </p:nvGrpSpPr>
          <p:grpSpPr>
            <a:xfrm>
              <a:off x="8328535" y="3709699"/>
              <a:ext cx="53091" cy="110623"/>
              <a:chOff x="9029700" y="4535234"/>
              <a:chExt cx="64008" cy="214609"/>
            </a:xfrm>
          </p:grpSpPr>
          <p:cxnSp>
            <p:nvCxnSpPr>
              <p:cNvPr id="415" name="Straight Connector 414">
                <a:extLst>
                  <a:ext uri="{FF2B5EF4-FFF2-40B4-BE49-F238E27FC236}">
                    <a16:creationId xmlns:a16="http://schemas.microsoft.com/office/drawing/2014/main" id="{995DF8F2-F268-4817-B5CC-65492C4F246B}"/>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cxnSp>
            <p:nvCxnSpPr>
              <p:cNvPr id="416" name="Straight Connector 415">
                <a:extLst>
                  <a:ext uri="{FF2B5EF4-FFF2-40B4-BE49-F238E27FC236}">
                    <a16:creationId xmlns:a16="http://schemas.microsoft.com/office/drawing/2014/main" id="{2435D42A-CC82-47B9-8467-F5F4E152AAD8}"/>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417" name="Straight Connector 416">
                <a:extLst>
                  <a:ext uri="{FF2B5EF4-FFF2-40B4-BE49-F238E27FC236}">
                    <a16:creationId xmlns:a16="http://schemas.microsoft.com/office/drawing/2014/main" id="{3E2AF711-7910-4D8F-A18B-BCF69BA44452}"/>
                  </a:ext>
                </a:extLst>
              </p:cNvPr>
              <p:cNvCxnSpPr/>
              <p:nvPr/>
            </p:nvCxnSpPr>
            <p:spPr>
              <a:xfrm>
                <a:off x="9029700" y="4741468"/>
                <a:ext cx="64008" cy="0"/>
              </a:xfrm>
              <a:prstGeom prst="line">
                <a:avLst/>
              </a:prstGeom>
              <a:noFill/>
              <a:ln w="9525" cap="flat" cmpd="sng" algn="ctr">
                <a:solidFill>
                  <a:schemeClr val="tx2"/>
                </a:solidFill>
                <a:prstDash val="solid"/>
              </a:ln>
              <a:effectLst/>
            </p:spPr>
          </p:cxnSp>
        </p:grpSp>
        <p:sp>
          <p:nvSpPr>
            <p:cNvPr id="286" name="Oval 285">
              <a:extLst>
                <a:ext uri="{FF2B5EF4-FFF2-40B4-BE49-F238E27FC236}">
                  <a16:creationId xmlns:a16="http://schemas.microsoft.com/office/drawing/2014/main" id="{39DD4500-BB38-4BDE-9B72-C113A1CC494E}"/>
                </a:ext>
              </a:extLst>
            </p:cNvPr>
            <p:cNvSpPr/>
            <p:nvPr/>
          </p:nvSpPr>
          <p:spPr>
            <a:xfrm>
              <a:off x="8332956" y="3768191"/>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87" name="Group 286">
              <a:extLst>
                <a:ext uri="{FF2B5EF4-FFF2-40B4-BE49-F238E27FC236}">
                  <a16:creationId xmlns:a16="http://schemas.microsoft.com/office/drawing/2014/main" id="{558BAC7F-1F12-445B-8ACA-3330872134AA}"/>
                </a:ext>
              </a:extLst>
            </p:cNvPr>
            <p:cNvGrpSpPr/>
            <p:nvPr/>
          </p:nvGrpSpPr>
          <p:grpSpPr>
            <a:xfrm>
              <a:off x="7886578" y="3743573"/>
              <a:ext cx="53091" cy="104032"/>
              <a:chOff x="9029700" y="4535234"/>
              <a:chExt cx="64008" cy="214609"/>
            </a:xfrm>
          </p:grpSpPr>
          <p:cxnSp>
            <p:nvCxnSpPr>
              <p:cNvPr id="412" name="Straight Connector 411">
                <a:extLst>
                  <a:ext uri="{FF2B5EF4-FFF2-40B4-BE49-F238E27FC236}">
                    <a16:creationId xmlns:a16="http://schemas.microsoft.com/office/drawing/2014/main" id="{6DE0234C-56A1-4A96-9048-5D9ECD34549E}"/>
                  </a:ext>
                </a:extLst>
              </p:cNvPr>
              <p:cNvCxnSpPr/>
              <p:nvPr/>
            </p:nvCxnSpPr>
            <p:spPr>
              <a:xfrm>
                <a:off x="9029700" y="4536281"/>
                <a:ext cx="64008" cy="0"/>
              </a:xfrm>
              <a:prstGeom prst="line">
                <a:avLst/>
              </a:prstGeom>
              <a:noFill/>
              <a:ln w="9525" cap="flat" cmpd="sng" algn="ctr">
                <a:solidFill>
                  <a:srgbClr val="7F7F7F"/>
                </a:solidFill>
                <a:prstDash val="solid"/>
              </a:ln>
              <a:effectLst/>
            </p:spPr>
          </p:cxnSp>
          <p:cxnSp>
            <p:nvCxnSpPr>
              <p:cNvPr id="413" name="Straight Connector 412">
                <a:extLst>
                  <a:ext uri="{FF2B5EF4-FFF2-40B4-BE49-F238E27FC236}">
                    <a16:creationId xmlns:a16="http://schemas.microsoft.com/office/drawing/2014/main" id="{1D8FBA02-A47A-4B51-8D85-162651226D9D}"/>
                  </a:ext>
                </a:extLst>
              </p:cNvPr>
              <p:cNvCxnSpPr/>
              <p:nvPr/>
            </p:nvCxnSpPr>
            <p:spPr>
              <a:xfrm>
                <a:off x="9029700" y="4746088"/>
                <a:ext cx="64008" cy="0"/>
              </a:xfrm>
              <a:prstGeom prst="line">
                <a:avLst/>
              </a:prstGeom>
              <a:noFill/>
              <a:ln w="9525" cap="flat" cmpd="sng" algn="ctr">
                <a:solidFill>
                  <a:srgbClr val="7F7F7F"/>
                </a:solidFill>
                <a:prstDash val="solid"/>
              </a:ln>
              <a:effectLst/>
            </p:spPr>
          </p:cxnSp>
          <p:cxnSp>
            <p:nvCxnSpPr>
              <p:cNvPr id="414" name="Straight Connector 413">
                <a:extLst>
                  <a:ext uri="{FF2B5EF4-FFF2-40B4-BE49-F238E27FC236}">
                    <a16:creationId xmlns:a16="http://schemas.microsoft.com/office/drawing/2014/main" id="{C0EB6A2E-A425-4F69-9451-CB439E3BE7C9}"/>
                  </a:ext>
                </a:extLst>
              </p:cNvPr>
              <p:cNvCxnSpPr>
                <a:cxnSpLocks/>
              </p:cNvCxnSpPr>
              <p:nvPr/>
            </p:nvCxnSpPr>
            <p:spPr>
              <a:xfrm>
                <a:off x="9061704" y="4535234"/>
                <a:ext cx="0" cy="214609"/>
              </a:xfrm>
              <a:prstGeom prst="line">
                <a:avLst/>
              </a:prstGeom>
              <a:noFill/>
              <a:ln w="9525" cap="flat" cmpd="sng" algn="ctr">
                <a:solidFill>
                  <a:srgbClr val="7F7F7F"/>
                </a:solidFill>
                <a:prstDash val="solid"/>
              </a:ln>
              <a:effectLst/>
            </p:spPr>
          </p:cxnSp>
        </p:grpSp>
        <p:grpSp>
          <p:nvGrpSpPr>
            <p:cNvPr id="288" name="Group 287">
              <a:extLst>
                <a:ext uri="{FF2B5EF4-FFF2-40B4-BE49-F238E27FC236}">
                  <a16:creationId xmlns:a16="http://schemas.microsoft.com/office/drawing/2014/main" id="{2390721D-8491-4BF6-ACAE-97A253483482}"/>
                </a:ext>
              </a:extLst>
            </p:cNvPr>
            <p:cNvGrpSpPr/>
            <p:nvPr/>
          </p:nvGrpSpPr>
          <p:grpSpPr>
            <a:xfrm>
              <a:off x="7886578" y="3747484"/>
              <a:ext cx="53091" cy="93333"/>
              <a:chOff x="9029700" y="4535234"/>
              <a:chExt cx="64008" cy="214609"/>
            </a:xfrm>
          </p:grpSpPr>
          <p:cxnSp>
            <p:nvCxnSpPr>
              <p:cNvPr id="409" name="Straight Connector 408">
                <a:extLst>
                  <a:ext uri="{FF2B5EF4-FFF2-40B4-BE49-F238E27FC236}">
                    <a16:creationId xmlns:a16="http://schemas.microsoft.com/office/drawing/2014/main" id="{8818D8EA-948B-40DF-AC0B-14571E7A8C99}"/>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410" name="Straight Connector 409">
                <a:extLst>
                  <a:ext uri="{FF2B5EF4-FFF2-40B4-BE49-F238E27FC236}">
                    <a16:creationId xmlns:a16="http://schemas.microsoft.com/office/drawing/2014/main" id="{7FA63CD9-C2F6-4B7A-9FB6-4CB298E018CE}"/>
                  </a:ext>
                </a:extLst>
              </p:cNvPr>
              <p:cNvCxnSpPr/>
              <p:nvPr/>
            </p:nvCxnSpPr>
            <p:spPr>
              <a:xfrm>
                <a:off x="9029700" y="4740613"/>
                <a:ext cx="64008" cy="0"/>
              </a:xfrm>
              <a:prstGeom prst="line">
                <a:avLst/>
              </a:prstGeom>
              <a:noFill/>
              <a:ln w="9525" cap="flat" cmpd="sng" algn="ctr">
                <a:solidFill>
                  <a:schemeClr val="accent1"/>
                </a:solidFill>
                <a:prstDash val="solid"/>
              </a:ln>
              <a:effectLst/>
            </p:spPr>
          </p:cxnSp>
          <p:cxnSp>
            <p:nvCxnSpPr>
              <p:cNvPr id="411" name="Straight Connector 410">
                <a:extLst>
                  <a:ext uri="{FF2B5EF4-FFF2-40B4-BE49-F238E27FC236}">
                    <a16:creationId xmlns:a16="http://schemas.microsoft.com/office/drawing/2014/main" id="{BC311409-2E04-46E0-A6D8-3AF0D2302C5C}"/>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grpSp>
          <p:nvGrpSpPr>
            <p:cNvPr id="289" name="Group 288">
              <a:extLst>
                <a:ext uri="{FF2B5EF4-FFF2-40B4-BE49-F238E27FC236}">
                  <a16:creationId xmlns:a16="http://schemas.microsoft.com/office/drawing/2014/main" id="{C231625D-B723-47EC-A857-F359E50CA296}"/>
                </a:ext>
              </a:extLst>
            </p:cNvPr>
            <p:cNvGrpSpPr/>
            <p:nvPr/>
          </p:nvGrpSpPr>
          <p:grpSpPr>
            <a:xfrm>
              <a:off x="7438796" y="3773281"/>
              <a:ext cx="53091" cy="74324"/>
              <a:chOff x="9029700" y="4535234"/>
              <a:chExt cx="64008" cy="214609"/>
            </a:xfrm>
          </p:grpSpPr>
          <p:cxnSp>
            <p:nvCxnSpPr>
              <p:cNvPr id="406" name="Straight Connector 405">
                <a:extLst>
                  <a:ext uri="{FF2B5EF4-FFF2-40B4-BE49-F238E27FC236}">
                    <a16:creationId xmlns:a16="http://schemas.microsoft.com/office/drawing/2014/main" id="{CFB6A99B-9DDC-4439-A72A-A9E31CF7D283}"/>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407" name="Straight Connector 406">
                <a:extLst>
                  <a:ext uri="{FF2B5EF4-FFF2-40B4-BE49-F238E27FC236}">
                    <a16:creationId xmlns:a16="http://schemas.microsoft.com/office/drawing/2014/main" id="{DCDDC305-F2BC-43A0-9006-E23D92EBC726}"/>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408" name="Straight Connector 407">
                <a:extLst>
                  <a:ext uri="{FF2B5EF4-FFF2-40B4-BE49-F238E27FC236}">
                    <a16:creationId xmlns:a16="http://schemas.microsoft.com/office/drawing/2014/main" id="{F3C1271F-C72E-4515-832B-8A1403BFD477}"/>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grpSp>
          <p:nvGrpSpPr>
            <p:cNvPr id="290" name="Group 289">
              <a:extLst>
                <a:ext uri="{FF2B5EF4-FFF2-40B4-BE49-F238E27FC236}">
                  <a16:creationId xmlns:a16="http://schemas.microsoft.com/office/drawing/2014/main" id="{52E8D62B-298C-4B78-8A75-18BDE6AA5F44}"/>
                </a:ext>
              </a:extLst>
            </p:cNvPr>
            <p:cNvGrpSpPr/>
            <p:nvPr/>
          </p:nvGrpSpPr>
          <p:grpSpPr>
            <a:xfrm>
              <a:off x="6606843" y="4036465"/>
              <a:ext cx="53091" cy="51262"/>
              <a:chOff x="9029700" y="4535234"/>
              <a:chExt cx="64008" cy="214609"/>
            </a:xfrm>
          </p:grpSpPr>
          <p:cxnSp>
            <p:nvCxnSpPr>
              <p:cNvPr id="403" name="Straight Connector 402">
                <a:extLst>
                  <a:ext uri="{FF2B5EF4-FFF2-40B4-BE49-F238E27FC236}">
                    <a16:creationId xmlns:a16="http://schemas.microsoft.com/office/drawing/2014/main" id="{0999EBB5-AB29-4AAC-B7CE-68F568258606}"/>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404" name="Straight Connector 403">
                <a:extLst>
                  <a:ext uri="{FF2B5EF4-FFF2-40B4-BE49-F238E27FC236}">
                    <a16:creationId xmlns:a16="http://schemas.microsoft.com/office/drawing/2014/main" id="{75863E3C-0F62-4E68-A357-ABEE3E98D629}"/>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405" name="Straight Connector 404">
                <a:extLst>
                  <a:ext uri="{FF2B5EF4-FFF2-40B4-BE49-F238E27FC236}">
                    <a16:creationId xmlns:a16="http://schemas.microsoft.com/office/drawing/2014/main" id="{F952EB11-6FD8-4CBD-A0A0-F83EF68A2192}"/>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sp>
          <p:nvSpPr>
            <p:cNvPr id="291" name="Oval 290">
              <a:extLst>
                <a:ext uri="{FF2B5EF4-FFF2-40B4-BE49-F238E27FC236}">
                  <a16:creationId xmlns:a16="http://schemas.microsoft.com/office/drawing/2014/main" id="{E5256469-472B-4C78-BB0A-B6E680ADF99E}"/>
                </a:ext>
              </a:extLst>
            </p:cNvPr>
            <p:cNvSpPr/>
            <p:nvPr/>
          </p:nvSpPr>
          <p:spPr>
            <a:xfrm>
              <a:off x="6607803" y="4032495"/>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292" name="Group 291">
              <a:extLst>
                <a:ext uri="{FF2B5EF4-FFF2-40B4-BE49-F238E27FC236}">
                  <a16:creationId xmlns:a16="http://schemas.microsoft.com/office/drawing/2014/main" id="{94EDCCE2-51DD-49BA-AC76-3CFF850A29A9}"/>
                </a:ext>
              </a:extLst>
            </p:cNvPr>
            <p:cNvGrpSpPr/>
            <p:nvPr/>
          </p:nvGrpSpPr>
          <p:grpSpPr>
            <a:xfrm>
              <a:off x="6996105" y="3886636"/>
              <a:ext cx="53091" cy="62402"/>
              <a:chOff x="9029700" y="4535234"/>
              <a:chExt cx="64008" cy="214609"/>
            </a:xfrm>
          </p:grpSpPr>
          <p:cxnSp>
            <p:nvCxnSpPr>
              <p:cNvPr id="400" name="Straight Connector 399">
                <a:extLst>
                  <a:ext uri="{FF2B5EF4-FFF2-40B4-BE49-F238E27FC236}">
                    <a16:creationId xmlns:a16="http://schemas.microsoft.com/office/drawing/2014/main" id="{7D82D0B3-007D-43AD-91DB-E4F567E40169}"/>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401" name="Straight Connector 400">
                <a:extLst>
                  <a:ext uri="{FF2B5EF4-FFF2-40B4-BE49-F238E27FC236}">
                    <a16:creationId xmlns:a16="http://schemas.microsoft.com/office/drawing/2014/main" id="{478C907C-FA4F-4BE1-8E06-4E3DF7775AB2}"/>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402" name="Straight Connector 401">
                <a:extLst>
                  <a:ext uri="{FF2B5EF4-FFF2-40B4-BE49-F238E27FC236}">
                    <a16:creationId xmlns:a16="http://schemas.microsoft.com/office/drawing/2014/main" id="{1D3CCA9D-6D57-499F-8B3B-3F87A3DFD6F7}"/>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grpSp>
          <p:nvGrpSpPr>
            <p:cNvPr id="293" name="Group 292">
              <a:extLst>
                <a:ext uri="{FF2B5EF4-FFF2-40B4-BE49-F238E27FC236}">
                  <a16:creationId xmlns:a16="http://schemas.microsoft.com/office/drawing/2014/main" id="{7EACEB6C-4F56-468E-944D-557CFBC12064}"/>
                </a:ext>
              </a:extLst>
            </p:cNvPr>
            <p:cNvGrpSpPr/>
            <p:nvPr/>
          </p:nvGrpSpPr>
          <p:grpSpPr>
            <a:xfrm>
              <a:off x="6662050" y="4083481"/>
              <a:ext cx="53091" cy="51262"/>
              <a:chOff x="9029700" y="4535234"/>
              <a:chExt cx="64008" cy="214609"/>
            </a:xfrm>
          </p:grpSpPr>
          <p:cxnSp>
            <p:nvCxnSpPr>
              <p:cNvPr id="397" name="Straight Connector 396">
                <a:extLst>
                  <a:ext uri="{FF2B5EF4-FFF2-40B4-BE49-F238E27FC236}">
                    <a16:creationId xmlns:a16="http://schemas.microsoft.com/office/drawing/2014/main" id="{4ED7E971-BB1B-4529-BCEA-1F5A896542B0}"/>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398" name="Straight Connector 397">
                <a:extLst>
                  <a:ext uri="{FF2B5EF4-FFF2-40B4-BE49-F238E27FC236}">
                    <a16:creationId xmlns:a16="http://schemas.microsoft.com/office/drawing/2014/main" id="{B8F6DC50-6D62-41E2-BBED-BDCD79F2BBF4}"/>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399" name="Straight Connector 398">
                <a:extLst>
                  <a:ext uri="{FF2B5EF4-FFF2-40B4-BE49-F238E27FC236}">
                    <a16:creationId xmlns:a16="http://schemas.microsoft.com/office/drawing/2014/main" id="{FEB3210A-5B33-4A7F-9C8B-C3876D274A5A}"/>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grpSp>
          <p:nvGrpSpPr>
            <p:cNvPr id="294" name="Group 293">
              <a:extLst>
                <a:ext uri="{FF2B5EF4-FFF2-40B4-BE49-F238E27FC236}">
                  <a16:creationId xmlns:a16="http://schemas.microsoft.com/office/drawing/2014/main" id="{E70526E8-AF3C-4CB9-AF78-56F54C0458B6}"/>
                </a:ext>
              </a:extLst>
            </p:cNvPr>
            <p:cNvGrpSpPr/>
            <p:nvPr/>
          </p:nvGrpSpPr>
          <p:grpSpPr>
            <a:xfrm>
              <a:off x="6662050" y="4013701"/>
              <a:ext cx="53091" cy="51262"/>
              <a:chOff x="9029700" y="4535234"/>
              <a:chExt cx="64008" cy="214609"/>
            </a:xfrm>
          </p:grpSpPr>
          <p:cxnSp>
            <p:nvCxnSpPr>
              <p:cNvPr id="394" name="Straight Connector 393">
                <a:extLst>
                  <a:ext uri="{FF2B5EF4-FFF2-40B4-BE49-F238E27FC236}">
                    <a16:creationId xmlns:a16="http://schemas.microsoft.com/office/drawing/2014/main" id="{E2BC6D24-C0C4-410E-B81F-FAAA4815F611}"/>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95" name="Straight Connector 394">
                <a:extLst>
                  <a:ext uri="{FF2B5EF4-FFF2-40B4-BE49-F238E27FC236}">
                    <a16:creationId xmlns:a16="http://schemas.microsoft.com/office/drawing/2014/main" id="{9EE5D05B-B8E0-4137-A31C-AFD17EE46FB2}"/>
                  </a:ext>
                </a:extLst>
              </p:cNvPr>
              <p:cNvCxnSpPr/>
              <p:nvPr/>
            </p:nvCxnSpPr>
            <p:spPr>
              <a:xfrm>
                <a:off x="9029700" y="4746088"/>
                <a:ext cx="64008" cy="0"/>
              </a:xfrm>
              <a:prstGeom prst="line">
                <a:avLst/>
              </a:prstGeom>
              <a:noFill/>
              <a:ln w="9525" cap="flat" cmpd="sng" algn="ctr">
                <a:solidFill>
                  <a:schemeClr val="tx2"/>
                </a:solidFill>
                <a:prstDash val="solid"/>
              </a:ln>
              <a:effectLst/>
            </p:spPr>
          </p:cxnSp>
          <p:cxnSp>
            <p:nvCxnSpPr>
              <p:cNvPr id="396" name="Straight Connector 395">
                <a:extLst>
                  <a:ext uri="{FF2B5EF4-FFF2-40B4-BE49-F238E27FC236}">
                    <a16:creationId xmlns:a16="http://schemas.microsoft.com/office/drawing/2014/main" id="{8EB444F2-6248-4F23-A2EE-2F2C1D89728B}"/>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295" name="Group 294">
              <a:extLst>
                <a:ext uri="{FF2B5EF4-FFF2-40B4-BE49-F238E27FC236}">
                  <a16:creationId xmlns:a16="http://schemas.microsoft.com/office/drawing/2014/main" id="{CCA447F0-3FA7-45E6-A4F4-1B73C48D3135}"/>
                </a:ext>
              </a:extLst>
            </p:cNvPr>
            <p:cNvGrpSpPr/>
            <p:nvPr/>
          </p:nvGrpSpPr>
          <p:grpSpPr>
            <a:xfrm>
              <a:off x="6534103" y="4089895"/>
              <a:ext cx="125812" cy="45353"/>
              <a:chOff x="8942025" y="4556217"/>
              <a:chExt cx="151683" cy="189871"/>
            </a:xfrm>
          </p:grpSpPr>
          <p:cxnSp>
            <p:nvCxnSpPr>
              <p:cNvPr id="391" name="Straight Connector 390">
                <a:extLst>
                  <a:ext uri="{FF2B5EF4-FFF2-40B4-BE49-F238E27FC236}">
                    <a16:creationId xmlns:a16="http://schemas.microsoft.com/office/drawing/2014/main" id="{09DC9856-4387-4D7A-AC3E-AB7D13B4BDD0}"/>
                  </a:ext>
                </a:extLst>
              </p:cNvPr>
              <p:cNvCxnSpPr/>
              <p:nvPr/>
            </p:nvCxnSpPr>
            <p:spPr>
              <a:xfrm>
                <a:off x="9029700" y="4556217"/>
                <a:ext cx="64008" cy="0"/>
              </a:xfrm>
              <a:prstGeom prst="line">
                <a:avLst/>
              </a:prstGeom>
              <a:noFill/>
              <a:ln w="9525" cap="flat" cmpd="sng" algn="ctr">
                <a:solidFill>
                  <a:schemeClr val="accent1"/>
                </a:solidFill>
                <a:prstDash val="solid"/>
              </a:ln>
              <a:effectLst/>
            </p:spPr>
          </p:cxnSp>
          <p:cxnSp>
            <p:nvCxnSpPr>
              <p:cNvPr id="392" name="Straight Connector 391">
                <a:extLst>
                  <a:ext uri="{FF2B5EF4-FFF2-40B4-BE49-F238E27FC236}">
                    <a16:creationId xmlns:a16="http://schemas.microsoft.com/office/drawing/2014/main" id="{633552F4-1686-4D57-9AE0-7703E33D3862}"/>
                  </a:ext>
                </a:extLst>
              </p:cNvPr>
              <p:cNvCxnSpPr/>
              <p:nvPr/>
            </p:nvCxnSpPr>
            <p:spPr>
              <a:xfrm>
                <a:off x="9029700" y="4746088"/>
                <a:ext cx="64008" cy="0"/>
              </a:xfrm>
              <a:prstGeom prst="line">
                <a:avLst/>
              </a:prstGeom>
              <a:noFill/>
              <a:ln w="9525" cap="flat" cmpd="sng" algn="ctr">
                <a:solidFill>
                  <a:schemeClr val="accent1"/>
                </a:solidFill>
                <a:prstDash val="solid"/>
              </a:ln>
              <a:effectLst/>
            </p:spPr>
          </p:cxnSp>
          <p:cxnSp>
            <p:nvCxnSpPr>
              <p:cNvPr id="393" name="Straight Connector 392">
                <a:extLst>
                  <a:ext uri="{FF2B5EF4-FFF2-40B4-BE49-F238E27FC236}">
                    <a16:creationId xmlns:a16="http://schemas.microsoft.com/office/drawing/2014/main" id="{C159DA9A-4FF7-4B1B-BF1A-7E829CDA67DA}"/>
                  </a:ext>
                </a:extLst>
              </p:cNvPr>
              <p:cNvCxnSpPr>
                <a:cxnSpLocks/>
              </p:cNvCxnSpPr>
              <p:nvPr/>
            </p:nvCxnSpPr>
            <p:spPr>
              <a:xfrm>
                <a:off x="8942025" y="4728532"/>
                <a:ext cx="94766" cy="0"/>
              </a:xfrm>
              <a:prstGeom prst="line">
                <a:avLst/>
              </a:prstGeom>
              <a:noFill/>
              <a:ln w="9525" cap="flat" cmpd="sng" algn="ctr">
                <a:solidFill>
                  <a:schemeClr val="accent1"/>
                </a:solidFill>
                <a:prstDash val="solid"/>
              </a:ln>
              <a:effectLst/>
            </p:spPr>
          </p:cxnSp>
        </p:grpSp>
        <p:sp>
          <p:nvSpPr>
            <p:cNvPr id="296" name="Oval 295">
              <a:extLst>
                <a:ext uri="{FF2B5EF4-FFF2-40B4-BE49-F238E27FC236}">
                  <a16:creationId xmlns:a16="http://schemas.microsoft.com/office/drawing/2014/main" id="{D151168E-BC9E-4C3C-8A96-060ABA4ADB73}"/>
                </a:ext>
              </a:extLst>
            </p:cNvPr>
            <p:cNvSpPr/>
            <p:nvPr/>
          </p:nvSpPr>
          <p:spPr>
            <a:xfrm>
              <a:off x="6548850" y="4110080"/>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97" name="Oval 296">
              <a:extLst>
                <a:ext uri="{FF2B5EF4-FFF2-40B4-BE49-F238E27FC236}">
                  <a16:creationId xmlns:a16="http://schemas.microsoft.com/office/drawing/2014/main" id="{B254A9A6-065D-4759-A6E5-501E9426C013}"/>
                </a:ext>
              </a:extLst>
            </p:cNvPr>
            <p:cNvSpPr/>
            <p:nvPr/>
          </p:nvSpPr>
          <p:spPr>
            <a:xfrm>
              <a:off x="6665811" y="4083481"/>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98" name="Oval 297">
              <a:extLst>
                <a:ext uri="{FF2B5EF4-FFF2-40B4-BE49-F238E27FC236}">
                  <a16:creationId xmlns:a16="http://schemas.microsoft.com/office/drawing/2014/main" id="{0C733AC5-C6C9-4BDE-8789-411BF6488CF3}"/>
                </a:ext>
              </a:extLst>
            </p:cNvPr>
            <p:cNvSpPr/>
            <p:nvPr/>
          </p:nvSpPr>
          <p:spPr>
            <a:xfrm>
              <a:off x="6665811" y="4012148"/>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99" name="Freeform: Shape 298">
              <a:extLst>
                <a:ext uri="{FF2B5EF4-FFF2-40B4-BE49-F238E27FC236}">
                  <a16:creationId xmlns:a16="http://schemas.microsoft.com/office/drawing/2014/main" id="{F832C0E9-2BDE-4143-AD8D-2F4CCC00E09F}"/>
                </a:ext>
              </a:extLst>
            </p:cNvPr>
            <p:cNvSpPr/>
            <p:nvPr/>
          </p:nvSpPr>
          <p:spPr>
            <a:xfrm>
              <a:off x="3140733" y="4136086"/>
              <a:ext cx="2666931" cy="207357"/>
            </a:xfrm>
            <a:custGeom>
              <a:avLst/>
              <a:gdLst>
                <a:gd name="connsiteX0" fmla="*/ 0 w 2483644"/>
                <a:gd name="connsiteY0" fmla="*/ 0 h 302419"/>
                <a:gd name="connsiteX1" fmla="*/ 76200 w 2483644"/>
                <a:gd name="connsiteY1" fmla="*/ 247650 h 302419"/>
                <a:gd name="connsiteX2" fmla="*/ 161925 w 2483644"/>
                <a:gd name="connsiteY2" fmla="*/ 302419 h 302419"/>
                <a:gd name="connsiteX3" fmla="*/ 623887 w 2483644"/>
                <a:gd name="connsiteY3" fmla="*/ 145257 h 302419"/>
                <a:gd name="connsiteX4" fmla="*/ 1245394 w 2483644"/>
                <a:gd name="connsiteY4" fmla="*/ 164307 h 302419"/>
                <a:gd name="connsiteX5" fmla="*/ 1871662 w 2483644"/>
                <a:gd name="connsiteY5" fmla="*/ 100013 h 302419"/>
                <a:gd name="connsiteX6" fmla="*/ 2483644 w 2483644"/>
                <a:gd name="connsiteY6" fmla="*/ 202407 h 302419"/>
                <a:gd name="connsiteX0" fmla="*/ 0 w 2483644"/>
                <a:gd name="connsiteY0" fmla="*/ 0 h 302419"/>
                <a:gd name="connsiteX1" fmla="*/ 76200 w 2483644"/>
                <a:gd name="connsiteY1" fmla="*/ 247650 h 302419"/>
                <a:gd name="connsiteX2" fmla="*/ 161925 w 2483644"/>
                <a:gd name="connsiteY2" fmla="*/ 302419 h 302419"/>
                <a:gd name="connsiteX3" fmla="*/ 623887 w 2483644"/>
                <a:gd name="connsiteY3" fmla="*/ 145257 h 302419"/>
                <a:gd name="connsiteX4" fmla="*/ 1245394 w 2483644"/>
                <a:gd name="connsiteY4" fmla="*/ 164307 h 302419"/>
                <a:gd name="connsiteX5" fmla="*/ 1871662 w 2483644"/>
                <a:gd name="connsiteY5" fmla="*/ 100013 h 302419"/>
                <a:gd name="connsiteX6" fmla="*/ 2436019 w 2483644"/>
                <a:gd name="connsiteY6" fmla="*/ 197644 h 302419"/>
                <a:gd name="connsiteX7" fmla="*/ 2483644 w 2483644"/>
                <a:gd name="connsiteY7" fmla="*/ 202407 h 302419"/>
                <a:gd name="connsiteX0" fmla="*/ 0 w 3745706"/>
                <a:gd name="connsiteY0" fmla="*/ 0 h 302419"/>
                <a:gd name="connsiteX1" fmla="*/ 76200 w 3745706"/>
                <a:gd name="connsiteY1" fmla="*/ 247650 h 302419"/>
                <a:gd name="connsiteX2" fmla="*/ 161925 w 3745706"/>
                <a:gd name="connsiteY2" fmla="*/ 302419 h 302419"/>
                <a:gd name="connsiteX3" fmla="*/ 623887 w 3745706"/>
                <a:gd name="connsiteY3" fmla="*/ 145257 h 302419"/>
                <a:gd name="connsiteX4" fmla="*/ 1245394 w 3745706"/>
                <a:gd name="connsiteY4" fmla="*/ 164307 h 302419"/>
                <a:gd name="connsiteX5" fmla="*/ 1871662 w 3745706"/>
                <a:gd name="connsiteY5" fmla="*/ 100013 h 302419"/>
                <a:gd name="connsiteX6" fmla="*/ 2436019 w 3745706"/>
                <a:gd name="connsiteY6" fmla="*/ 197644 h 302419"/>
                <a:gd name="connsiteX7" fmla="*/ 3745706 w 3745706"/>
                <a:gd name="connsiteY7" fmla="*/ 200026 h 302419"/>
                <a:gd name="connsiteX0" fmla="*/ 0 w 3745706"/>
                <a:gd name="connsiteY0" fmla="*/ 0 h 302419"/>
                <a:gd name="connsiteX1" fmla="*/ 76200 w 3745706"/>
                <a:gd name="connsiteY1" fmla="*/ 247650 h 302419"/>
                <a:gd name="connsiteX2" fmla="*/ 161925 w 3745706"/>
                <a:gd name="connsiteY2" fmla="*/ 302419 h 302419"/>
                <a:gd name="connsiteX3" fmla="*/ 623887 w 3745706"/>
                <a:gd name="connsiteY3" fmla="*/ 145257 h 302419"/>
                <a:gd name="connsiteX4" fmla="*/ 1245394 w 3745706"/>
                <a:gd name="connsiteY4" fmla="*/ 164307 h 302419"/>
                <a:gd name="connsiteX5" fmla="*/ 1871662 w 3745706"/>
                <a:gd name="connsiteY5" fmla="*/ 100013 h 302419"/>
                <a:gd name="connsiteX6" fmla="*/ 2436019 w 3745706"/>
                <a:gd name="connsiteY6" fmla="*/ 197644 h 302419"/>
                <a:gd name="connsiteX7" fmla="*/ 3012281 w 3745706"/>
                <a:gd name="connsiteY7" fmla="*/ 197644 h 302419"/>
                <a:gd name="connsiteX8" fmla="*/ 3745706 w 3745706"/>
                <a:gd name="connsiteY8" fmla="*/ 200026 h 302419"/>
                <a:gd name="connsiteX0" fmla="*/ 0 w 3745706"/>
                <a:gd name="connsiteY0" fmla="*/ 0 h 302419"/>
                <a:gd name="connsiteX1" fmla="*/ 76200 w 3745706"/>
                <a:gd name="connsiteY1" fmla="*/ 247650 h 302419"/>
                <a:gd name="connsiteX2" fmla="*/ 161925 w 3745706"/>
                <a:gd name="connsiteY2" fmla="*/ 302419 h 302419"/>
                <a:gd name="connsiteX3" fmla="*/ 623887 w 3745706"/>
                <a:gd name="connsiteY3" fmla="*/ 145257 h 302419"/>
                <a:gd name="connsiteX4" fmla="*/ 1245394 w 3745706"/>
                <a:gd name="connsiteY4" fmla="*/ 164307 h 302419"/>
                <a:gd name="connsiteX5" fmla="*/ 1871662 w 3745706"/>
                <a:gd name="connsiteY5" fmla="*/ 100013 h 302419"/>
                <a:gd name="connsiteX6" fmla="*/ 2436019 w 3745706"/>
                <a:gd name="connsiteY6" fmla="*/ 197644 h 302419"/>
                <a:gd name="connsiteX7" fmla="*/ 3112293 w 3745706"/>
                <a:gd name="connsiteY7" fmla="*/ 159544 h 302419"/>
                <a:gd name="connsiteX8" fmla="*/ 3745706 w 3745706"/>
                <a:gd name="connsiteY8" fmla="*/ 200026 h 302419"/>
                <a:gd name="connsiteX0" fmla="*/ 0 w 3745706"/>
                <a:gd name="connsiteY0" fmla="*/ 0 h 302419"/>
                <a:gd name="connsiteX1" fmla="*/ 76200 w 3745706"/>
                <a:gd name="connsiteY1" fmla="*/ 247650 h 302419"/>
                <a:gd name="connsiteX2" fmla="*/ 161925 w 3745706"/>
                <a:gd name="connsiteY2" fmla="*/ 302419 h 302419"/>
                <a:gd name="connsiteX3" fmla="*/ 623887 w 3745706"/>
                <a:gd name="connsiteY3" fmla="*/ 145257 h 302419"/>
                <a:gd name="connsiteX4" fmla="*/ 1245394 w 3745706"/>
                <a:gd name="connsiteY4" fmla="*/ 164307 h 302419"/>
                <a:gd name="connsiteX5" fmla="*/ 1871662 w 3745706"/>
                <a:gd name="connsiteY5" fmla="*/ 100013 h 302419"/>
                <a:gd name="connsiteX6" fmla="*/ 2493169 w 3745706"/>
                <a:gd name="connsiteY6" fmla="*/ 207169 h 302419"/>
                <a:gd name="connsiteX7" fmla="*/ 3112293 w 3745706"/>
                <a:gd name="connsiteY7" fmla="*/ 159544 h 302419"/>
                <a:gd name="connsiteX8" fmla="*/ 3745706 w 3745706"/>
                <a:gd name="connsiteY8" fmla="*/ 200026 h 302419"/>
                <a:gd name="connsiteX0" fmla="*/ 0 w 3745706"/>
                <a:gd name="connsiteY0" fmla="*/ 0 h 302419"/>
                <a:gd name="connsiteX1" fmla="*/ 76200 w 3745706"/>
                <a:gd name="connsiteY1" fmla="*/ 247650 h 302419"/>
                <a:gd name="connsiteX2" fmla="*/ 161925 w 3745706"/>
                <a:gd name="connsiteY2" fmla="*/ 302419 h 302419"/>
                <a:gd name="connsiteX3" fmla="*/ 623887 w 3745706"/>
                <a:gd name="connsiteY3" fmla="*/ 145257 h 302419"/>
                <a:gd name="connsiteX4" fmla="*/ 1245394 w 3745706"/>
                <a:gd name="connsiteY4" fmla="*/ 164307 h 302419"/>
                <a:gd name="connsiteX5" fmla="*/ 1871662 w 3745706"/>
                <a:gd name="connsiteY5" fmla="*/ 100013 h 302419"/>
                <a:gd name="connsiteX6" fmla="*/ 2495551 w 3745706"/>
                <a:gd name="connsiteY6" fmla="*/ 204788 h 302419"/>
                <a:gd name="connsiteX7" fmla="*/ 3112293 w 3745706"/>
                <a:gd name="connsiteY7" fmla="*/ 159544 h 302419"/>
                <a:gd name="connsiteX8" fmla="*/ 3745706 w 3745706"/>
                <a:gd name="connsiteY8" fmla="*/ 200026 h 302419"/>
                <a:gd name="connsiteX0" fmla="*/ 0 w 3745706"/>
                <a:gd name="connsiteY0" fmla="*/ 0 h 302419"/>
                <a:gd name="connsiteX1" fmla="*/ 76200 w 3745706"/>
                <a:gd name="connsiteY1" fmla="*/ 247650 h 302419"/>
                <a:gd name="connsiteX2" fmla="*/ 161925 w 3745706"/>
                <a:gd name="connsiteY2" fmla="*/ 302419 h 302419"/>
                <a:gd name="connsiteX3" fmla="*/ 623887 w 3745706"/>
                <a:gd name="connsiteY3" fmla="*/ 145257 h 302419"/>
                <a:gd name="connsiteX4" fmla="*/ 1245394 w 3745706"/>
                <a:gd name="connsiteY4" fmla="*/ 164307 h 302419"/>
                <a:gd name="connsiteX5" fmla="*/ 1862137 w 3745706"/>
                <a:gd name="connsiteY5" fmla="*/ 107156 h 302419"/>
                <a:gd name="connsiteX6" fmla="*/ 2495551 w 3745706"/>
                <a:gd name="connsiteY6" fmla="*/ 204788 h 302419"/>
                <a:gd name="connsiteX7" fmla="*/ 3112293 w 3745706"/>
                <a:gd name="connsiteY7" fmla="*/ 159544 h 302419"/>
                <a:gd name="connsiteX8" fmla="*/ 3745706 w 3745706"/>
                <a:gd name="connsiteY8" fmla="*/ 200026 h 302419"/>
                <a:gd name="connsiteX0" fmla="*/ 0 w 3745706"/>
                <a:gd name="connsiteY0" fmla="*/ 0 h 302419"/>
                <a:gd name="connsiteX1" fmla="*/ 76200 w 3745706"/>
                <a:gd name="connsiteY1" fmla="*/ 247650 h 302419"/>
                <a:gd name="connsiteX2" fmla="*/ 161925 w 3745706"/>
                <a:gd name="connsiteY2" fmla="*/ 302419 h 302419"/>
                <a:gd name="connsiteX3" fmla="*/ 614362 w 3745706"/>
                <a:gd name="connsiteY3" fmla="*/ 152400 h 302419"/>
                <a:gd name="connsiteX4" fmla="*/ 1245394 w 3745706"/>
                <a:gd name="connsiteY4" fmla="*/ 164307 h 302419"/>
                <a:gd name="connsiteX5" fmla="*/ 1862137 w 3745706"/>
                <a:gd name="connsiteY5" fmla="*/ 107156 h 302419"/>
                <a:gd name="connsiteX6" fmla="*/ 2495551 w 3745706"/>
                <a:gd name="connsiteY6" fmla="*/ 204788 h 302419"/>
                <a:gd name="connsiteX7" fmla="*/ 3112293 w 3745706"/>
                <a:gd name="connsiteY7" fmla="*/ 159544 h 302419"/>
                <a:gd name="connsiteX8" fmla="*/ 3745706 w 3745706"/>
                <a:gd name="connsiteY8" fmla="*/ 200026 h 302419"/>
                <a:gd name="connsiteX0" fmla="*/ 0 w 3745706"/>
                <a:gd name="connsiteY0" fmla="*/ 0 h 297657"/>
                <a:gd name="connsiteX1" fmla="*/ 76200 w 3745706"/>
                <a:gd name="connsiteY1" fmla="*/ 247650 h 297657"/>
                <a:gd name="connsiteX2" fmla="*/ 157163 w 3745706"/>
                <a:gd name="connsiteY2" fmla="*/ 297657 h 297657"/>
                <a:gd name="connsiteX3" fmla="*/ 614362 w 3745706"/>
                <a:gd name="connsiteY3" fmla="*/ 152400 h 297657"/>
                <a:gd name="connsiteX4" fmla="*/ 1245394 w 3745706"/>
                <a:gd name="connsiteY4" fmla="*/ 164307 h 297657"/>
                <a:gd name="connsiteX5" fmla="*/ 1862137 w 3745706"/>
                <a:gd name="connsiteY5" fmla="*/ 107156 h 297657"/>
                <a:gd name="connsiteX6" fmla="*/ 2495551 w 3745706"/>
                <a:gd name="connsiteY6" fmla="*/ 204788 h 297657"/>
                <a:gd name="connsiteX7" fmla="*/ 3112293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7163 w 3745706"/>
                <a:gd name="connsiteY2" fmla="*/ 297657 h 297657"/>
                <a:gd name="connsiteX3" fmla="*/ 614362 w 3745706"/>
                <a:gd name="connsiteY3" fmla="*/ 152400 h 297657"/>
                <a:gd name="connsiteX4" fmla="*/ 1245394 w 3745706"/>
                <a:gd name="connsiteY4" fmla="*/ 164307 h 297657"/>
                <a:gd name="connsiteX5" fmla="*/ 1862137 w 3745706"/>
                <a:gd name="connsiteY5" fmla="*/ 107156 h 297657"/>
                <a:gd name="connsiteX6" fmla="*/ 2495551 w 3745706"/>
                <a:gd name="connsiteY6" fmla="*/ 204788 h 297657"/>
                <a:gd name="connsiteX7" fmla="*/ 3112293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5394 w 3745706"/>
                <a:gd name="connsiteY4" fmla="*/ 164307 h 297657"/>
                <a:gd name="connsiteX5" fmla="*/ 1862137 w 3745706"/>
                <a:gd name="connsiteY5" fmla="*/ 107156 h 297657"/>
                <a:gd name="connsiteX6" fmla="*/ 2495551 w 3745706"/>
                <a:gd name="connsiteY6" fmla="*/ 204788 h 297657"/>
                <a:gd name="connsiteX7" fmla="*/ 3112293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8735 w 3745706"/>
                <a:gd name="connsiteY4" fmla="*/ 157623 h 297657"/>
                <a:gd name="connsiteX5" fmla="*/ 1862137 w 3745706"/>
                <a:gd name="connsiteY5" fmla="*/ 107156 h 297657"/>
                <a:gd name="connsiteX6" fmla="*/ 2495551 w 3745706"/>
                <a:gd name="connsiteY6" fmla="*/ 204788 h 297657"/>
                <a:gd name="connsiteX7" fmla="*/ 3112293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8735 w 3745706"/>
                <a:gd name="connsiteY4" fmla="*/ 157623 h 297657"/>
                <a:gd name="connsiteX5" fmla="*/ 1865479 w 3745706"/>
                <a:gd name="connsiteY5" fmla="*/ 100473 h 297657"/>
                <a:gd name="connsiteX6" fmla="*/ 2495551 w 3745706"/>
                <a:gd name="connsiteY6" fmla="*/ 204788 h 297657"/>
                <a:gd name="connsiteX7" fmla="*/ 3112293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8735 w 3745706"/>
                <a:gd name="connsiteY4" fmla="*/ 157623 h 297657"/>
                <a:gd name="connsiteX5" fmla="*/ 1865479 w 3745706"/>
                <a:gd name="connsiteY5" fmla="*/ 100473 h 297657"/>
                <a:gd name="connsiteX6" fmla="*/ 2495551 w 3745706"/>
                <a:gd name="connsiteY6" fmla="*/ 198105 h 297657"/>
                <a:gd name="connsiteX7" fmla="*/ 3112293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8735 w 3745706"/>
                <a:gd name="connsiteY4" fmla="*/ 157623 h 297657"/>
                <a:gd name="connsiteX5" fmla="*/ 1865479 w 3745706"/>
                <a:gd name="connsiteY5" fmla="*/ 100473 h 297657"/>
                <a:gd name="connsiteX6" fmla="*/ 2495551 w 3745706"/>
                <a:gd name="connsiteY6" fmla="*/ 198105 h 297657"/>
                <a:gd name="connsiteX7" fmla="*/ 3122317 w 3745706"/>
                <a:gd name="connsiteY7" fmla="*/ 159544 h 297657"/>
                <a:gd name="connsiteX8" fmla="*/ 3745706 w 3745706"/>
                <a:gd name="connsiteY8" fmla="*/ 200026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8735 w 3745706"/>
                <a:gd name="connsiteY4" fmla="*/ 157623 h 297657"/>
                <a:gd name="connsiteX5" fmla="*/ 1865479 w 3745706"/>
                <a:gd name="connsiteY5" fmla="*/ 100473 h 297657"/>
                <a:gd name="connsiteX6" fmla="*/ 2495551 w 3745706"/>
                <a:gd name="connsiteY6" fmla="*/ 198105 h 297657"/>
                <a:gd name="connsiteX7" fmla="*/ 3122317 w 3745706"/>
                <a:gd name="connsiteY7" fmla="*/ 159544 h 297657"/>
                <a:gd name="connsiteX8" fmla="*/ 3745706 w 3745706"/>
                <a:gd name="connsiteY8" fmla="*/ 193344 h 297657"/>
                <a:gd name="connsiteX0" fmla="*/ 0 w 3745706"/>
                <a:gd name="connsiteY0" fmla="*/ 0 h 297657"/>
                <a:gd name="connsiteX1" fmla="*/ 62835 w 3745706"/>
                <a:gd name="connsiteY1" fmla="*/ 230941 h 297657"/>
                <a:gd name="connsiteX2" fmla="*/ 150479 w 3745706"/>
                <a:gd name="connsiteY2" fmla="*/ 297657 h 297657"/>
                <a:gd name="connsiteX3" fmla="*/ 614362 w 3745706"/>
                <a:gd name="connsiteY3" fmla="*/ 152400 h 297657"/>
                <a:gd name="connsiteX4" fmla="*/ 1248735 w 3745706"/>
                <a:gd name="connsiteY4" fmla="*/ 157623 h 297657"/>
                <a:gd name="connsiteX5" fmla="*/ 1865479 w 3745706"/>
                <a:gd name="connsiteY5" fmla="*/ 100473 h 297657"/>
                <a:gd name="connsiteX6" fmla="*/ 2495551 w 3745706"/>
                <a:gd name="connsiteY6" fmla="*/ 198105 h 297657"/>
                <a:gd name="connsiteX7" fmla="*/ 3122317 w 3745706"/>
                <a:gd name="connsiteY7" fmla="*/ 159544 h 297657"/>
                <a:gd name="connsiteX8" fmla="*/ 3745706 w 3745706"/>
                <a:gd name="connsiteY8" fmla="*/ 196685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52400 h 297657"/>
                <a:gd name="connsiteX4" fmla="*/ 1248735 w 3742365"/>
                <a:gd name="connsiteY4" fmla="*/ 157623 h 297657"/>
                <a:gd name="connsiteX5" fmla="*/ 1865479 w 3742365"/>
                <a:gd name="connsiteY5" fmla="*/ 100473 h 297657"/>
                <a:gd name="connsiteX6" fmla="*/ 2495551 w 3742365"/>
                <a:gd name="connsiteY6" fmla="*/ 198105 h 297657"/>
                <a:gd name="connsiteX7" fmla="*/ 3122317 w 3742365"/>
                <a:gd name="connsiteY7" fmla="*/ 159544 h 297657"/>
                <a:gd name="connsiteX8" fmla="*/ 3742365 w 3742365"/>
                <a:gd name="connsiteY8" fmla="*/ 193344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52400 h 297657"/>
                <a:gd name="connsiteX4" fmla="*/ 1248735 w 3742365"/>
                <a:gd name="connsiteY4" fmla="*/ 157623 h 297657"/>
                <a:gd name="connsiteX5" fmla="*/ 1865479 w 3742365"/>
                <a:gd name="connsiteY5" fmla="*/ 100473 h 297657"/>
                <a:gd name="connsiteX6" fmla="*/ 2495551 w 3742365"/>
                <a:gd name="connsiteY6" fmla="*/ 198105 h 297657"/>
                <a:gd name="connsiteX7" fmla="*/ 3122317 w 3742365"/>
                <a:gd name="connsiteY7" fmla="*/ 159544 h 297657"/>
                <a:gd name="connsiteX8" fmla="*/ 3742365 w 3742365"/>
                <a:gd name="connsiteY8" fmla="*/ 190003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52400 h 297657"/>
                <a:gd name="connsiteX4" fmla="*/ 1248735 w 3742365"/>
                <a:gd name="connsiteY4" fmla="*/ 157623 h 297657"/>
                <a:gd name="connsiteX5" fmla="*/ 1865479 w 3742365"/>
                <a:gd name="connsiteY5" fmla="*/ 100473 h 297657"/>
                <a:gd name="connsiteX6" fmla="*/ 2495551 w 3742365"/>
                <a:gd name="connsiteY6" fmla="*/ 198105 h 297657"/>
                <a:gd name="connsiteX7" fmla="*/ 3112293 w 3742365"/>
                <a:gd name="connsiteY7" fmla="*/ 156203 h 297657"/>
                <a:gd name="connsiteX8" fmla="*/ 3742365 w 3742365"/>
                <a:gd name="connsiteY8" fmla="*/ 190003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52400 h 297657"/>
                <a:gd name="connsiteX4" fmla="*/ 1248735 w 3742365"/>
                <a:gd name="connsiteY4" fmla="*/ 157623 h 297657"/>
                <a:gd name="connsiteX5" fmla="*/ 1865479 w 3742365"/>
                <a:gd name="connsiteY5" fmla="*/ 100473 h 297657"/>
                <a:gd name="connsiteX6" fmla="*/ 2498894 w 3742365"/>
                <a:gd name="connsiteY6" fmla="*/ 194764 h 297657"/>
                <a:gd name="connsiteX7" fmla="*/ 3112293 w 3742365"/>
                <a:gd name="connsiteY7" fmla="*/ 156203 h 297657"/>
                <a:gd name="connsiteX8" fmla="*/ 3742365 w 3742365"/>
                <a:gd name="connsiteY8" fmla="*/ 190003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52400 h 297657"/>
                <a:gd name="connsiteX4" fmla="*/ 1248735 w 3742365"/>
                <a:gd name="connsiteY4" fmla="*/ 157623 h 297657"/>
                <a:gd name="connsiteX5" fmla="*/ 1865479 w 3742365"/>
                <a:gd name="connsiteY5" fmla="*/ 100473 h 297657"/>
                <a:gd name="connsiteX6" fmla="*/ 2498894 w 3742365"/>
                <a:gd name="connsiteY6" fmla="*/ 194764 h 297657"/>
                <a:gd name="connsiteX7" fmla="*/ 3115635 w 3742365"/>
                <a:gd name="connsiteY7" fmla="*/ 152860 h 297657"/>
                <a:gd name="connsiteX8" fmla="*/ 3742365 w 3742365"/>
                <a:gd name="connsiteY8" fmla="*/ 190003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49059 h 297657"/>
                <a:gd name="connsiteX4" fmla="*/ 1248735 w 3742365"/>
                <a:gd name="connsiteY4" fmla="*/ 157623 h 297657"/>
                <a:gd name="connsiteX5" fmla="*/ 1865479 w 3742365"/>
                <a:gd name="connsiteY5" fmla="*/ 100473 h 297657"/>
                <a:gd name="connsiteX6" fmla="*/ 2498894 w 3742365"/>
                <a:gd name="connsiteY6" fmla="*/ 194764 h 297657"/>
                <a:gd name="connsiteX7" fmla="*/ 3115635 w 3742365"/>
                <a:gd name="connsiteY7" fmla="*/ 152860 h 297657"/>
                <a:gd name="connsiteX8" fmla="*/ 3742365 w 3742365"/>
                <a:gd name="connsiteY8" fmla="*/ 190003 h 297657"/>
                <a:gd name="connsiteX0" fmla="*/ 0 w 3742365"/>
                <a:gd name="connsiteY0" fmla="*/ 0 h 297657"/>
                <a:gd name="connsiteX1" fmla="*/ 62835 w 3742365"/>
                <a:gd name="connsiteY1" fmla="*/ 230941 h 297657"/>
                <a:gd name="connsiteX2" fmla="*/ 150479 w 3742365"/>
                <a:gd name="connsiteY2" fmla="*/ 297657 h 297657"/>
                <a:gd name="connsiteX3" fmla="*/ 614362 w 3742365"/>
                <a:gd name="connsiteY3" fmla="*/ 145717 h 297657"/>
                <a:gd name="connsiteX4" fmla="*/ 1248735 w 3742365"/>
                <a:gd name="connsiteY4" fmla="*/ 157623 h 297657"/>
                <a:gd name="connsiteX5" fmla="*/ 1865479 w 3742365"/>
                <a:gd name="connsiteY5" fmla="*/ 100473 h 297657"/>
                <a:gd name="connsiteX6" fmla="*/ 2498894 w 3742365"/>
                <a:gd name="connsiteY6" fmla="*/ 194764 h 297657"/>
                <a:gd name="connsiteX7" fmla="*/ 3115635 w 3742365"/>
                <a:gd name="connsiteY7" fmla="*/ 152860 h 297657"/>
                <a:gd name="connsiteX8" fmla="*/ 3742365 w 3742365"/>
                <a:gd name="connsiteY8" fmla="*/ 190003 h 297657"/>
                <a:gd name="connsiteX0" fmla="*/ 0 w 3742365"/>
                <a:gd name="connsiteY0" fmla="*/ 0 h 294314"/>
                <a:gd name="connsiteX1" fmla="*/ 62835 w 3742365"/>
                <a:gd name="connsiteY1" fmla="*/ 230941 h 294314"/>
                <a:gd name="connsiteX2" fmla="*/ 150479 w 3742365"/>
                <a:gd name="connsiteY2" fmla="*/ 294314 h 294314"/>
                <a:gd name="connsiteX3" fmla="*/ 614362 w 3742365"/>
                <a:gd name="connsiteY3" fmla="*/ 145717 h 294314"/>
                <a:gd name="connsiteX4" fmla="*/ 1248735 w 3742365"/>
                <a:gd name="connsiteY4" fmla="*/ 157623 h 294314"/>
                <a:gd name="connsiteX5" fmla="*/ 1865479 w 3742365"/>
                <a:gd name="connsiteY5" fmla="*/ 100473 h 294314"/>
                <a:gd name="connsiteX6" fmla="*/ 2498894 w 3742365"/>
                <a:gd name="connsiteY6" fmla="*/ 194764 h 294314"/>
                <a:gd name="connsiteX7" fmla="*/ 3115635 w 3742365"/>
                <a:gd name="connsiteY7" fmla="*/ 152860 h 294314"/>
                <a:gd name="connsiteX8" fmla="*/ 3742365 w 3742365"/>
                <a:gd name="connsiteY8" fmla="*/ 190003 h 294314"/>
                <a:gd name="connsiteX0" fmla="*/ 0 w 3742365"/>
                <a:gd name="connsiteY0" fmla="*/ 0 h 290973"/>
                <a:gd name="connsiteX1" fmla="*/ 62835 w 3742365"/>
                <a:gd name="connsiteY1" fmla="*/ 230941 h 290973"/>
                <a:gd name="connsiteX2" fmla="*/ 150479 w 3742365"/>
                <a:gd name="connsiteY2" fmla="*/ 290973 h 290973"/>
                <a:gd name="connsiteX3" fmla="*/ 614362 w 3742365"/>
                <a:gd name="connsiteY3" fmla="*/ 145717 h 290973"/>
                <a:gd name="connsiteX4" fmla="*/ 1248735 w 3742365"/>
                <a:gd name="connsiteY4" fmla="*/ 157623 h 290973"/>
                <a:gd name="connsiteX5" fmla="*/ 1865479 w 3742365"/>
                <a:gd name="connsiteY5" fmla="*/ 100473 h 290973"/>
                <a:gd name="connsiteX6" fmla="*/ 2498894 w 3742365"/>
                <a:gd name="connsiteY6" fmla="*/ 194764 h 290973"/>
                <a:gd name="connsiteX7" fmla="*/ 3115635 w 3742365"/>
                <a:gd name="connsiteY7" fmla="*/ 152860 h 290973"/>
                <a:gd name="connsiteX8" fmla="*/ 3742365 w 3742365"/>
                <a:gd name="connsiteY8" fmla="*/ 190003 h 2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365" h="290973">
                  <a:moveTo>
                    <a:pt x="0" y="0"/>
                  </a:moveTo>
                  <a:lnTo>
                    <a:pt x="62835" y="230941"/>
                  </a:lnTo>
                  <a:lnTo>
                    <a:pt x="150479" y="290973"/>
                  </a:lnTo>
                  <a:lnTo>
                    <a:pt x="614362" y="145717"/>
                  </a:lnTo>
                  <a:lnTo>
                    <a:pt x="1248735" y="157623"/>
                  </a:lnTo>
                  <a:lnTo>
                    <a:pt x="1865479" y="100473"/>
                  </a:lnTo>
                  <a:lnTo>
                    <a:pt x="2498894" y="194764"/>
                  </a:lnTo>
                  <a:lnTo>
                    <a:pt x="3115635" y="152860"/>
                  </a:lnTo>
                  <a:lnTo>
                    <a:pt x="3742365" y="190003"/>
                  </a:lnTo>
                </a:path>
              </a:pathLst>
            </a:custGeom>
            <a:noFill/>
            <a:ln w="1905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00" name="Oval 299">
              <a:extLst>
                <a:ext uri="{FF2B5EF4-FFF2-40B4-BE49-F238E27FC236}">
                  <a16:creationId xmlns:a16="http://schemas.microsoft.com/office/drawing/2014/main" id="{C21AA718-7EA4-4EEA-ACEA-47B6DA009797}"/>
                </a:ext>
              </a:extLst>
            </p:cNvPr>
            <p:cNvSpPr/>
            <p:nvPr/>
          </p:nvSpPr>
          <p:spPr>
            <a:xfrm>
              <a:off x="3224423" y="4319955"/>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01" name="Oval 300">
              <a:extLst>
                <a:ext uri="{FF2B5EF4-FFF2-40B4-BE49-F238E27FC236}">
                  <a16:creationId xmlns:a16="http://schemas.microsoft.com/office/drawing/2014/main" id="{90D6C180-1161-463E-A9F5-331D77DFFDFB}"/>
                </a:ext>
              </a:extLst>
            </p:cNvPr>
            <p:cNvSpPr/>
            <p:nvPr/>
          </p:nvSpPr>
          <p:spPr>
            <a:xfrm>
              <a:off x="3161645" y="4274082"/>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302" name="Group 301">
              <a:extLst>
                <a:ext uri="{FF2B5EF4-FFF2-40B4-BE49-F238E27FC236}">
                  <a16:creationId xmlns:a16="http://schemas.microsoft.com/office/drawing/2014/main" id="{0972DF26-A13C-4B29-83DF-77696CF51C46}"/>
                </a:ext>
              </a:extLst>
            </p:cNvPr>
            <p:cNvGrpSpPr/>
            <p:nvPr/>
          </p:nvGrpSpPr>
          <p:grpSpPr>
            <a:xfrm>
              <a:off x="4445144" y="4180116"/>
              <a:ext cx="53091" cy="61240"/>
              <a:chOff x="9029700" y="4535234"/>
              <a:chExt cx="64008" cy="214609"/>
            </a:xfrm>
          </p:grpSpPr>
          <p:cxnSp>
            <p:nvCxnSpPr>
              <p:cNvPr id="388" name="Straight Connector 387">
                <a:extLst>
                  <a:ext uri="{FF2B5EF4-FFF2-40B4-BE49-F238E27FC236}">
                    <a16:creationId xmlns:a16="http://schemas.microsoft.com/office/drawing/2014/main" id="{F2782157-43B0-40C3-9443-CFDDAD4877B9}"/>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89" name="Straight Connector 388">
                <a:extLst>
                  <a:ext uri="{FF2B5EF4-FFF2-40B4-BE49-F238E27FC236}">
                    <a16:creationId xmlns:a16="http://schemas.microsoft.com/office/drawing/2014/main" id="{58F4D5CD-12C2-4C9D-BF74-61477336A9BE}"/>
                  </a:ext>
                </a:extLst>
              </p:cNvPr>
              <p:cNvCxnSpPr/>
              <p:nvPr/>
            </p:nvCxnSpPr>
            <p:spPr>
              <a:xfrm>
                <a:off x="9029700" y="4725084"/>
                <a:ext cx="64008" cy="0"/>
              </a:xfrm>
              <a:prstGeom prst="line">
                <a:avLst/>
              </a:prstGeom>
              <a:noFill/>
              <a:ln w="9525" cap="flat" cmpd="sng" algn="ctr">
                <a:solidFill>
                  <a:schemeClr val="tx2"/>
                </a:solidFill>
                <a:prstDash val="solid"/>
              </a:ln>
              <a:effectLst/>
            </p:spPr>
          </p:cxnSp>
          <p:cxnSp>
            <p:nvCxnSpPr>
              <p:cNvPr id="390" name="Straight Connector 389">
                <a:extLst>
                  <a:ext uri="{FF2B5EF4-FFF2-40B4-BE49-F238E27FC236}">
                    <a16:creationId xmlns:a16="http://schemas.microsoft.com/office/drawing/2014/main" id="{9E86C5F8-5B8C-42E8-A131-6B611FDC8244}"/>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303" name="Group 302">
              <a:extLst>
                <a:ext uri="{FF2B5EF4-FFF2-40B4-BE49-F238E27FC236}">
                  <a16:creationId xmlns:a16="http://schemas.microsoft.com/office/drawing/2014/main" id="{2EAE6CDC-EC33-4AD1-858A-9725971C8DB8}"/>
                </a:ext>
              </a:extLst>
            </p:cNvPr>
            <p:cNvGrpSpPr/>
            <p:nvPr/>
          </p:nvGrpSpPr>
          <p:grpSpPr>
            <a:xfrm>
              <a:off x="5336750" y="4208701"/>
              <a:ext cx="53091" cy="78155"/>
              <a:chOff x="9029700" y="4535234"/>
              <a:chExt cx="64008" cy="214884"/>
            </a:xfrm>
          </p:grpSpPr>
          <p:cxnSp>
            <p:nvCxnSpPr>
              <p:cNvPr id="385" name="Straight Connector 384">
                <a:extLst>
                  <a:ext uri="{FF2B5EF4-FFF2-40B4-BE49-F238E27FC236}">
                    <a16:creationId xmlns:a16="http://schemas.microsoft.com/office/drawing/2014/main" id="{19E5D5D4-CA6C-468B-8B17-ECD60A2EC7D3}"/>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86" name="Straight Connector 385">
                <a:extLst>
                  <a:ext uri="{FF2B5EF4-FFF2-40B4-BE49-F238E27FC236}">
                    <a16:creationId xmlns:a16="http://schemas.microsoft.com/office/drawing/2014/main" id="{D32442B5-8DB1-4885-BF5D-439BE196FE97}"/>
                  </a:ext>
                </a:extLst>
              </p:cNvPr>
              <p:cNvCxnSpPr/>
              <p:nvPr/>
            </p:nvCxnSpPr>
            <p:spPr>
              <a:xfrm>
                <a:off x="9029700" y="4750118"/>
                <a:ext cx="64008" cy="0"/>
              </a:xfrm>
              <a:prstGeom prst="line">
                <a:avLst/>
              </a:prstGeom>
              <a:noFill/>
              <a:ln w="9525" cap="flat" cmpd="sng" algn="ctr">
                <a:solidFill>
                  <a:schemeClr val="tx2"/>
                </a:solidFill>
                <a:prstDash val="solid"/>
              </a:ln>
              <a:effectLst/>
            </p:spPr>
          </p:cxnSp>
          <p:cxnSp>
            <p:nvCxnSpPr>
              <p:cNvPr id="387" name="Straight Connector 386">
                <a:extLst>
                  <a:ext uri="{FF2B5EF4-FFF2-40B4-BE49-F238E27FC236}">
                    <a16:creationId xmlns:a16="http://schemas.microsoft.com/office/drawing/2014/main" id="{F44C75DB-0A20-40ED-8948-BE726355AC1E}"/>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304" name="Group 303">
              <a:extLst>
                <a:ext uri="{FF2B5EF4-FFF2-40B4-BE49-F238E27FC236}">
                  <a16:creationId xmlns:a16="http://schemas.microsoft.com/office/drawing/2014/main" id="{73559AF5-9950-44DE-B0EA-F7DBE784E282}"/>
                </a:ext>
              </a:extLst>
            </p:cNvPr>
            <p:cNvGrpSpPr/>
            <p:nvPr/>
          </p:nvGrpSpPr>
          <p:grpSpPr>
            <a:xfrm>
              <a:off x="5783252" y="4228967"/>
              <a:ext cx="53091" cy="88343"/>
              <a:chOff x="9029700" y="4535234"/>
              <a:chExt cx="64008" cy="189365"/>
            </a:xfrm>
          </p:grpSpPr>
          <p:cxnSp>
            <p:nvCxnSpPr>
              <p:cNvPr id="382" name="Straight Connector 381">
                <a:extLst>
                  <a:ext uri="{FF2B5EF4-FFF2-40B4-BE49-F238E27FC236}">
                    <a16:creationId xmlns:a16="http://schemas.microsoft.com/office/drawing/2014/main" id="{7589FF13-C06E-45AB-88F0-8D9BCC272330}"/>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83" name="Straight Connector 382">
                <a:extLst>
                  <a:ext uri="{FF2B5EF4-FFF2-40B4-BE49-F238E27FC236}">
                    <a16:creationId xmlns:a16="http://schemas.microsoft.com/office/drawing/2014/main" id="{BA947E47-C9C7-4C0D-AF89-438CCF35FFC6}"/>
                  </a:ext>
                </a:extLst>
              </p:cNvPr>
              <p:cNvCxnSpPr/>
              <p:nvPr/>
            </p:nvCxnSpPr>
            <p:spPr>
              <a:xfrm>
                <a:off x="9029700" y="4724599"/>
                <a:ext cx="64008" cy="0"/>
              </a:xfrm>
              <a:prstGeom prst="line">
                <a:avLst/>
              </a:prstGeom>
              <a:noFill/>
              <a:ln w="9525" cap="flat" cmpd="sng" algn="ctr">
                <a:solidFill>
                  <a:schemeClr val="tx2"/>
                </a:solidFill>
                <a:prstDash val="solid"/>
              </a:ln>
              <a:effectLst/>
            </p:spPr>
          </p:cxnSp>
          <p:cxnSp>
            <p:nvCxnSpPr>
              <p:cNvPr id="384" name="Straight Connector 383">
                <a:extLst>
                  <a:ext uri="{FF2B5EF4-FFF2-40B4-BE49-F238E27FC236}">
                    <a16:creationId xmlns:a16="http://schemas.microsoft.com/office/drawing/2014/main" id="{B30B01BA-0E2E-4E44-98DE-2FBF00AD289E}"/>
                  </a:ext>
                </a:extLst>
              </p:cNvPr>
              <p:cNvCxnSpPr>
                <a:cxnSpLocks/>
              </p:cNvCxnSpPr>
              <p:nvPr/>
            </p:nvCxnSpPr>
            <p:spPr>
              <a:xfrm>
                <a:off x="9061705" y="4535234"/>
                <a:ext cx="0" cy="184233"/>
              </a:xfrm>
              <a:prstGeom prst="line">
                <a:avLst/>
              </a:prstGeom>
              <a:noFill/>
              <a:ln w="9525" cap="flat" cmpd="sng" algn="ctr">
                <a:solidFill>
                  <a:schemeClr val="tx2"/>
                </a:solidFill>
                <a:prstDash val="solid"/>
              </a:ln>
              <a:effectLst/>
            </p:spPr>
          </p:cxnSp>
        </p:grpSp>
        <p:grpSp>
          <p:nvGrpSpPr>
            <p:cNvPr id="305" name="Group 304">
              <a:extLst>
                <a:ext uri="{FF2B5EF4-FFF2-40B4-BE49-F238E27FC236}">
                  <a16:creationId xmlns:a16="http://schemas.microsoft.com/office/drawing/2014/main" id="{14552840-EADC-42CD-8C24-3B080A75FFE7}"/>
                </a:ext>
              </a:extLst>
            </p:cNvPr>
            <p:cNvGrpSpPr/>
            <p:nvPr/>
          </p:nvGrpSpPr>
          <p:grpSpPr>
            <a:xfrm>
              <a:off x="4892502" y="4239150"/>
              <a:ext cx="53091" cy="68624"/>
              <a:chOff x="9029700" y="4535234"/>
              <a:chExt cx="64008" cy="214609"/>
            </a:xfrm>
          </p:grpSpPr>
          <p:cxnSp>
            <p:nvCxnSpPr>
              <p:cNvPr id="379" name="Straight Connector 378">
                <a:extLst>
                  <a:ext uri="{FF2B5EF4-FFF2-40B4-BE49-F238E27FC236}">
                    <a16:creationId xmlns:a16="http://schemas.microsoft.com/office/drawing/2014/main" id="{A7FFEBD9-A7AD-4706-A5DF-842AD62E532A}"/>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80" name="Straight Connector 379">
                <a:extLst>
                  <a:ext uri="{FF2B5EF4-FFF2-40B4-BE49-F238E27FC236}">
                    <a16:creationId xmlns:a16="http://schemas.microsoft.com/office/drawing/2014/main" id="{931BA3D9-0771-4C66-B834-4EDE1BD2628E}"/>
                  </a:ext>
                </a:extLst>
              </p:cNvPr>
              <p:cNvCxnSpPr/>
              <p:nvPr/>
            </p:nvCxnSpPr>
            <p:spPr>
              <a:xfrm>
                <a:off x="9029700" y="4742672"/>
                <a:ext cx="64008" cy="0"/>
              </a:xfrm>
              <a:prstGeom prst="line">
                <a:avLst/>
              </a:prstGeom>
              <a:noFill/>
              <a:ln w="9525" cap="flat" cmpd="sng" algn="ctr">
                <a:solidFill>
                  <a:schemeClr val="tx2"/>
                </a:solidFill>
                <a:prstDash val="solid"/>
              </a:ln>
              <a:effectLst/>
            </p:spPr>
          </p:cxnSp>
          <p:cxnSp>
            <p:nvCxnSpPr>
              <p:cNvPr id="381" name="Straight Connector 380">
                <a:extLst>
                  <a:ext uri="{FF2B5EF4-FFF2-40B4-BE49-F238E27FC236}">
                    <a16:creationId xmlns:a16="http://schemas.microsoft.com/office/drawing/2014/main" id="{DED97911-EEDA-43B3-8056-C5504ADAA37A}"/>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306" name="Group 305">
              <a:extLst>
                <a:ext uri="{FF2B5EF4-FFF2-40B4-BE49-F238E27FC236}">
                  <a16:creationId xmlns:a16="http://schemas.microsoft.com/office/drawing/2014/main" id="{508F3401-1407-43E2-A33C-0810B52AB9E9}"/>
                </a:ext>
              </a:extLst>
            </p:cNvPr>
            <p:cNvGrpSpPr/>
            <p:nvPr/>
          </p:nvGrpSpPr>
          <p:grpSpPr>
            <a:xfrm>
              <a:off x="4002904" y="4224257"/>
              <a:ext cx="53091" cy="53040"/>
              <a:chOff x="9029700" y="4535234"/>
              <a:chExt cx="64008" cy="214609"/>
            </a:xfrm>
          </p:grpSpPr>
          <p:cxnSp>
            <p:nvCxnSpPr>
              <p:cNvPr id="376" name="Straight Connector 375">
                <a:extLst>
                  <a:ext uri="{FF2B5EF4-FFF2-40B4-BE49-F238E27FC236}">
                    <a16:creationId xmlns:a16="http://schemas.microsoft.com/office/drawing/2014/main" id="{B7C5530F-D609-4A2D-92A2-0A18C90E9267}"/>
                  </a:ext>
                </a:extLst>
              </p:cNvPr>
              <p:cNvCxnSpPr/>
              <p:nvPr/>
            </p:nvCxnSpPr>
            <p:spPr>
              <a:xfrm>
                <a:off x="9029700" y="4721216"/>
                <a:ext cx="64008" cy="0"/>
              </a:xfrm>
              <a:prstGeom prst="line">
                <a:avLst/>
              </a:prstGeom>
              <a:noFill/>
              <a:ln w="9525" cap="flat" cmpd="sng" algn="ctr">
                <a:solidFill>
                  <a:schemeClr val="tx2"/>
                </a:solidFill>
                <a:prstDash val="solid"/>
              </a:ln>
              <a:effectLst/>
            </p:spPr>
          </p:cxnSp>
          <p:cxnSp>
            <p:nvCxnSpPr>
              <p:cNvPr id="377" name="Straight Connector 376">
                <a:extLst>
                  <a:ext uri="{FF2B5EF4-FFF2-40B4-BE49-F238E27FC236}">
                    <a16:creationId xmlns:a16="http://schemas.microsoft.com/office/drawing/2014/main" id="{13D50E71-B48A-43E4-9142-C17FC2EA32E6}"/>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78" name="Straight Connector 377">
                <a:extLst>
                  <a:ext uri="{FF2B5EF4-FFF2-40B4-BE49-F238E27FC236}">
                    <a16:creationId xmlns:a16="http://schemas.microsoft.com/office/drawing/2014/main" id="{DB0F1FBA-3919-43ED-95ED-EBDFF76B0A5A}"/>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307" name="Group 306">
              <a:extLst>
                <a:ext uri="{FF2B5EF4-FFF2-40B4-BE49-F238E27FC236}">
                  <a16:creationId xmlns:a16="http://schemas.microsoft.com/office/drawing/2014/main" id="{2E6D6CFE-6EFA-4E0D-A5B6-CEAB305B34C8}"/>
                </a:ext>
              </a:extLst>
            </p:cNvPr>
            <p:cNvGrpSpPr/>
            <p:nvPr/>
          </p:nvGrpSpPr>
          <p:grpSpPr>
            <a:xfrm>
              <a:off x="3550349" y="4311243"/>
              <a:ext cx="53091" cy="42158"/>
              <a:chOff x="9029700" y="4523481"/>
              <a:chExt cx="64008" cy="226637"/>
            </a:xfrm>
          </p:grpSpPr>
          <p:cxnSp>
            <p:nvCxnSpPr>
              <p:cNvPr id="374" name="Straight Connector 373">
                <a:extLst>
                  <a:ext uri="{FF2B5EF4-FFF2-40B4-BE49-F238E27FC236}">
                    <a16:creationId xmlns:a16="http://schemas.microsoft.com/office/drawing/2014/main" id="{8E422E74-869B-4465-A4EB-E3D4EA20B82B}"/>
                  </a:ext>
                </a:extLst>
              </p:cNvPr>
              <p:cNvCxnSpPr/>
              <p:nvPr/>
            </p:nvCxnSpPr>
            <p:spPr>
              <a:xfrm>
                <a:off x="9029700" y="4523481"/>
                <a:ext cx="64008" cy="0"/>
              </a:xfrm>
              <a:prstGeom prst="line">
                <a:avLst/>
              </a:prstGeom>
              <a:noFill/>
              <a:ln w="9525" cap="flat" cmpd="sng" algn="ctr">
                <a:solidFill>
                  <a:schemeClr val="accent1"/>
                </a:solidFill>
                <a:prstDash val="solid"/>
              </a:ln>
              <a:effectLst/>
            </p:spPr>
          </p:cxnSp>
          <p:cxnSp>
            <p:nvCxnSpPr>
              <p:cNvPr id="375" name="Straight Connector 374">
                <a:extLst>
                  <a:ext uri="{FF2B5EF4-FFF2-40B4-BE49-F238E27FC236}">
                    <a16:creationId xmlns:a16="http://schemas.microsoft.com/office/drawing/2014/main" id="{56C244C9-A512-4EBA-84D8-63A471B23E99}"/>
                  </a:ext>
                </a:extLst>
              </p:cNvPr>
              <p:cNvCxnSpPr/>
              <p:nvPr/>
            </p:nvCxnSpPr>
            <p:spPr>
              <a:xfrm>
                <a:off x="9029700" y="4750118"/>
                <a:ext cx="64008" cy="0"/>
              </a:xfrm>
              <a:prstGeom prst="line">
                <a:avLst/>
              </a:prstGeom>
              <a:noFill/>
              <a:ln w="9525" cap="flat" cmpd="sng" algn="ctr">
                <a:solidFill>
                  <a:schemeClr val="accent1"/>
                </a:solidFill>
                <a:prstDash val="solid"/>
              </a:ln>
              <a:effectLst/>
            </p:spPr>
          </p:cxnSp>
        </p:grpSp>
        <p:grpSp>
          <p:nvGrpSpPr>
            <p:cNvPr id="308" name="Group 307">
              <a:extLst>
                <a:ext uri="{FF2B5EF4-FFF2-40B4-BE49-F238E27FC236}">
                  <a16:creationId xmlns:a16="http://schemas.microsoft.com/office/drawing/2014/main" id="{270235EC-552F-4B64-9F0C-2D5E37E8FB2C}"/>
                </a:ext>
              </a:extLst>
            </p:cNvPr>
            <p:cNvGrpSpPr/>
            <p:nvPr/>
          </p:nvGrpSpPr>
          <p:grpSpPr>
            <a:xfrm>
              <a:off x="3550349" y="4222910"/>
              <a:ext cx="53091" cy="39972"/>
              <a:chOff x="9029700" y="4535234"/>
              <a:chExt cx="64008" cy="214884"/>
            </a:xfrm>
          </p:grpSpPr>
          <p:cxnSp>
            <p:nvCxnSpPr>
              <p:cNvPr id="371" name="Straight Connector 370">
                <a:extLst>
                  <a:ext uri="{FF2B5EF4-FFF2-40B4-BE49-F238E27FC236}">
                    <a16:creationId xmlns:a16="http://schemas.microsoft.com/office/drawing/2014/main" id="{B74FDF4B-15D3-4BD9-AE6D-B92B7EF7C273}"/>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72" name="Straight Connector 371">
                <a:extLst>
                  <a:ext uri="{FF2B5EF4-FFF2-40B4-BE49-F238E27FC236}">
                    <a16:creationId xmlns:a16="http://schemas.microsoft.com/office/drawing/2014/main" id="{3FA3D570-9DDA-466B-9437-B4A90F7BCF73}"/>
                  </a:ext>
                </a:extLst>
              </p:cNvPr>
              <p:cNvCxnSpPr/>
              <p:nvPr/>
            </p:nvCxnSpPr>
            <p:spPr>
              <a:xfrm>
                <a:off x="9029700" y="4750118"/>
                <a:ext cx="64008" cy="0"/>
              </a:xfrm>
              <a:prstGeom prst="line">
                <a:avLst/>
              </a:prstGeom>
              <a:noFill/>
              <a:ln w="9525" cap="flat" cmpd="sng" algn="ctr">
                <a:solidFill>
                  <a:schemeClr val="tx2"/>
                </a:solidFill>
                <a:prstDash val="solid"/>
              </a:ln>
              <a:effectLst/>
            </p:spPr>
          </p:cxnSp>
          <p:cxnSp>
            <p:nvCxnSpPr>
              <p:cNvPr id="373" name="Straight Connector 372">
                <a:extLst>
                  <a:ext uri="{FF2B5EF4-FFF2-40B4-BE49-F238E27FC236}">
                    <a16:creationId xmlns:a16="http://schemas.microsoft.com/office/drawing/2014/main" id="{27501E3E-8F50-477B-A994-F86069EB3115}"/>
                  </a:ext>
                </a:extLst>
              </p:cNvPr>
              <p:cNvCxnSpPr>
                <a:cxnSpLocks/>
              </p:cNvCxnSpPr>
              <p:nvPr/>
            </p:nvCxnSpPr>
            <p:spPr>
              <a:xfrm>
                <a:off x="9061704" y="4535234"/>
                <a:ext cx="0" cy="214609"/>
              </a:xfrm>
              <a:prstGeom prst="line">
                <a:avLst/>
              </a:prstGeom>
              <a:noFill/>
              <a:ln w="9525" cap="flat" cmpd="sng" algn="ctr">
                <a:solidFill>
                  <a:schemeClr val="tx2"/>
                </a:solidFill>
                <a:prstDash val="solid"/>
              </a:ln>
              <a:effectLst/>
            </p:spPr>
          </p:cxnSp>
        </p:grpSp>
        <p:grpSp>
          <p:nvGrpSpPr>
            <p:cNvPr id="309" name="Group 308">
              <a:extLst>
                <a:ext uri="{FF2B5EF4-FFF2-40B4-BE49-F238E27FC236}">
                  <a16:creationId xmlns:a16="http://schemas.microsoft.com/office/drawing/2014/main" id="{56BBF4D6-B84A-4BA7-B7CB-372D49B0FF87}"/>
                </a:ext>
              </a:extLst>
            </p:cNvPr>
            <p:cNvGrpSpPr/>
            <p:nvPr/>
          </p:nvGrpSpPr>
          <p:grpSpPr>
            <a:xfrm>
              <a:off x="3221724" y="4388363"/>
              <a:ext cx="53091" cy="35015"/>
              <a:chOff x="9029700" y="4523482"/>
              <a:chExt cx="64008" cy="188235"/>
            </a:xfrm>
          </p:grpSpPr>
          <p:cxnSp>
            <p:nvCxnSpPr>
              <p:cNvPr id="369" name="Straight Connector 368">
                <a:extLst>
                  <a:ext uri="{FF2B5EF4-FFF2-40B4-BE49-F238E27FC236}">
                    <a16:creationId xmlns:a16="http://schemas.microsoft.com/office/drawing/2014/main" id="{1BADD11B-E896-4168-89ED-C1A90A7F2485}"/>
                  </a:ext>
                </a:extLst>
              </p:cNvPr>
              <p:cNvCxnSpPr/>
              <p:nvPr/>
            </p:nvCxnSpPr>
            <p:spPr>
              <a:xfrm>
                <a:off x="9029700" y="4523482"/>
                <a:ext cx="64008" cy="0"/>
              </a:xfrm>
              <a:prstGeom prst="line">
                <a:avLst/>
              </a:prstGeom>
              <a:noFill/>
              <a:ln w="9525" cap="flat" cmpd="sng" algn="ctr">
                <a:solidFill>
                  <a:schemeClr val="accent1"/>
                </a:solidFill>
                <a:prstDash val="solid"/>
              </a:ln>
              <a:effectLst/>
            </p:spPr>
          </p:cxnSp>
          <p:cxnSp>
            <p:nvCxnSpPr>
              <p:cNvPr id="370" name="Straight Connector 369">
                <a:extLst>
                  <a:ext uri="{FF2B5EF4-FFF2-40B4-BE49-F238E27FC236}">
                    <a16:creationId xmlns:a16="http://schemas.microsoft.com/office/drawing/2014/main" id="{487638A3-415F-4DE3-AE80-24F624C566F8}"/>
                  </a:ext>
                </a:extLst>
              </p:cNvPr>
              <p:cNvCxnSpPr/>
              <p:nvPr/>
            </p:nvCxnSpPr>
            <p:spPr>
              <a:xfrm>
                <a:off x="9029700" y="4711717"/>
                <a:ext cx="64008" cy="0"/>
              </a:xfrm>
              <a:prstGeom prst="line">
                <a:avLst/>
              </a:prstGeom>
              <a:noFill/>
              <a:ln w="9525" cap="flat" cmpd="sng" algn="ctr">
                <a:solidFill>
                  <a:schemeClr val="accent1"/>
                </a:solidFill>
                <a:prstDash val="solid"/>
              </a:ln>
              <a:effectLst/>
            </p:spPr>
          </p:cxnSp>
        </p:grpSp>
        <p:grpSp>
          <p:nvGrpSpPr>
            <p:cNvPr id="310" name="Group 309">
              <a:extLst>
                <a:ext uri="{FF2B5EF4-FFF2-40B4-BE49-F238E27FC236}">
                  <a16:creationId xmlns:a16="http://schemas.microsoft.com/office/drawing/2014/main" id="{1A4893AE-322D-49A5-BF7F-1C304ED9076B}"/>
                </a:ext>
              </a:extLst>
            </p:cNvPr>
            <p:cNvGrpSpPr/>
            <p:nvPr/>
          </p:nvGrpSpPr>
          <p:grpSpPr>
            <a:xfrm>
              <a:off x="3161826" y="4345552"/>
              <a:ext cx="53091" cy="32829"/>
              <a:chOff x="9029700" y="4535234"/>
              <a:chExt cx="64008" cy="176484"/>
            </a:xfrm>
          </p:grpSpPr>
          <p:cxnSp>
            <p:nvCxnSpPr>
              <p:cNvPr id="366" name="Straight Connector 365">
                <a:extLst>
                  <a:ext uri="{FF2B5EF4-FFF2-40B4-BE49-F238E27FC236}">
                    <a16:creationId xmlns:a16="http://schemas.microsoft.com/office/drawing/2014/main" id="{7C67732E-19CA-43A8-AD44-08CBF55FF9AB}"/>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367" name="Straight Connector 366">
                <a:extLst>
                  <a:ext uri="{FF2B5EF4-FFF2-40B4-BE49-F238E27FC236}">
                    <a16:creationId xmlns:a16="http://schemas.microsoft.com/office/drawing/2014/main" id="{AE48CAE5-889F-4D1C-9FD3-41B93500D1B4}"/>
                  </a:ext>
                </a:extLst>
              </p:cNvPr>
              <p:cNvCxnSpPr/>
              <p:nvPr/>
            </p:nvCxnSpPr>
            <p:spPr>
              <a:xfrm>
                <a:off x="9029700" y="4711718"/>
                <a:ext cx="64008" cy="0"/>
              </a:xfrm>
              <a:prstGeom prst="line">
                <a:avLst/>
              </a:prstGeom>
              <a:noFill/>
              <a:ln w="9525" cap="flat" cmpd="sng" algn="ctr">
                <a:solidFill>
                  <a:schemeClr val="accent1"/>
                </a:solidFill>
                <a:prstDash val="solid"/>
              </a:ln>
              <a:effectLst/>
            </p:spPr>
          </p:cxnSp>
          <p:cxnSp>
            <p:nvCxnSpPr>
              <p:cNvPr id="368" name="Straight Connector 367">
                <a:extLst>
                  <a:ext uri="{FF2B5EF4-FFF2-40B4-BE49-F238E27FC236}">
                    <a16:creationId xmlns:a16="http://schemas.microsoft.com/office/drawing/2014/main" id="{90EB6ADB-EEE8-4F7B-B7DC-8A89B091C93C}"/>
                  </a:ext>
                </a:extLst>
              </p:cNvPr>
              <p:cNvCxnSpPr>
                <a:cxnSpLocks/>
              </p:cNvCxnSpPr>
              <p:nvPr/>
            </p:nvCxnSpPr>
            <p:spPr>
              <a:xfrm flipH="1">
                <a:off x="9060906" y="4535234"/>
                <a:ext cx="798" cy="142626"/>
              </a:xfrm>
              <a:prstGeom prst="line">
                <a:avLst/>
              </a:prstGeom>
              <a:noFill/>
              <a:ln w="9525" cap="flat" cmpd="sng" algn="ctr">
                <a:solidFill>
                  <a:schemeClr val="accent1"/>
                </a:solidFill>
                <a:prstDash val="solid"/>
              </a:ln>
              <a:effectLst/>
            </p:spPr>
          </p:cxnSp>
        </p:grpSp>
        <p:sp>
          <p:nvSpPr>
            <p:cNvPr id="311" name="Oval 310">
              <a:extLst>
                <a:ext uri="{FF2B5EF4-FFF2-40B4-BE49-F238E27FC236}">
                  <a16:creationId xmlns:a16="http://schemas.microsoft.com/office/drawing/2014/main" id="{A2209B94-F474-453C-BAD5-40C0636EC177}"/>
                </a:ext>
              </a:extLst>
            </p:cNvPr>
            <p:cNvSpPr/>
            <p:nvPr/>
          </p:nvSpPr>
          <p:spPr>
            <a:xfrm>
              <a:off x="5336058" y="4222135"/>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312" name="Group 311">
              <a:extLst>
                <a:ext uri="{FF2B5EF4-FFF2-40B4-BE49-F238E27FC236}">
                  <a16:creationId xmlns:a16="http://schemas.microsoft.com/office/drawing/2014/main" id="{CA1D7A4D-64B0-4318-904C-DCD48119F7D9}"/>
                </a:ext>
              </a:extLst>
            </p:cNvPr>
            <p:cNvGrpSpPr/>
            <p:nvPr/>
          </p:nvGrpSpPr>
          <p:grpSpPr>
            <a:xfrm>
              <a:off x="5336750" y="4269792"/>
              <a:ext cx="53091" cy="76471"/>
              <a:chOff x="9029700" y="4535234"/>
              <a:chExt cx="64008" cy="214884"/>
            </a:xfrm>
          </p:grpSpPr>
          <p:cxnSp>
            <p:nvCxnSpPr>
              <p:cNvPr id="363" name="Straight Connector 362">
                <a:extLst>
                  <a:ext uri="{FF2B5EF4-FFF2-40B4-BE49-F238E27FC236}">
                    <a16:creationId xmlns:a16="http://schemas.microsoft.com/office/drawing/2014/main" id="{6078F27C-F6C1-4933-B20A-D431576076E6}"/>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364" name="Straight Connector 363">
                <a:extLst>
                  <a:ext uri="{FF2B5EF4-FFF2-40B4-BE49-F238E27FC236}">
                    <a16:creationId xmlns:a16="http://schemas.microsoft.com/office/drawing/2014/main" id="{8A64FA6B-8BD5-45EE-81A9-BF7FC9A87402}"/>
                  </a:ext>
                </a:extLst>
              </p:cNvPr>
              <p:cNvCxnSpPr/>
              <p:nvPr/>
            </p:nvCxnSpPr>
            <p:spPr>
              <a:xfrm>
                <a:off x="9029700" y="4750118"/>
                <a:ext cx="64008" cy="0"/>
              </a:xfrm>
              <a:prstGeom prst="line">
                <a:avLst/>
              </a:prstGeom>
              <a:noFill/>
              <a:ln w="9525" cap="flat" cmpd="sng" algn="ctr">
                <a:solidFill>
                  <a:schemeClr val="accent1"/>
                </a:solidFill>
                <a:prstDash val="solid"/>
              </a:ln>
              <a:effectLst/>
            </p:spPr>
          </p:cxnSp>
          <p:cxnSp>
            <p:nvCxnSpPr>
              <p:cNvPr id="365" name="Straight Connector 364">
                <a:extLst>
                  <a:ext uri="{FF2B5EF4-FFF2-40B4-BE49-F238E27FC236}">
                    <a16:creationId xmlns:a16="http://schemas.microsoft.com/office/drawing/2014/main" id="{0BC3EE64-68AA-42F3-B68A-3479C58DBD81}"/>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sp>
          <p:nvSpPr>
            <p:cNvPr id="313" name="Oval 312">
              <a:extLst>
                <a:ext uri="{FF2B5EF4-FFF2-40B4-BE49-F238E27FC236}">
                  <a16:creationId xmlns:a16="http://schemas.microsoft.com/office/drawing/2014/main" id="{2381801D-4B29-48BC-8006-6720D7B41339}"/>
                </a:ext>
              </a:extLst>
            </p:cNvPr>
            <p:cNvSpPr/>
            <p:nvPr/>
          </p:nvSpPr>
          <p:spPr>
            <a:xfrm>
              <a:off x="6607803" y="4085134"/>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14" name="Oval 313">
              <a:extLst>
                <a:ext uri="{FF2B5EF4-FFF2-40B4-BE49-F238E27FC236}">
                  <a16:creationId xmlns:a16="http://schemas.microsoft.com/office/drawing/2014/main" id="{5031678D-1592-49C4-AA9B-256F197532C1}"/>
                </a:ext>
              </a:extLst>
            </p:cNvPr>
            <p:cNvSpPr/>
            <p:nvPr/>
          </p:nvSpPr>
          <p:spPr>
            <a:xfrm>
              <a:off x="4003211" y="4219699"/>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15" name="Oval 314">
              <a:extLst>
                <a:ext uri="{FF2B5EF4-FFF2-40B4-BE49-F238E27FC236}">
                  <a16:creationId xmlns:a16="http://schemas.microsoft.com/office/drawing/2014/main" id="{1AD93E5E-2F47-40E5-AD65-E4FF5B6A531E}"/>
                </a:ext>
              </a:extLst>
            </p:cNvPr>
            <p:cNvSpPr/>
            <p:nvPr/>
          </p:nvSpPr>
          <p:spPr>
            <a:xfrm>
              <a:off x="5337583" y="4280342"/>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16" name="Oval 315">
              <a:extLst>
                <a:ext uri="{FF2B5EF4-FFF2-40B4-BE49-F238E27FC236}">
                  <a16:creationId xmlns:a16="http://schemas.microsoft.com/office/drawing/2014/main" id="{42F7DCB2-980A-4BE3-9B38-E4BF6F90F397}"/>
                </a:ext>
              </a:extLst>
            </p:cNvPr>
            <p:cNvSpPr/>
            <p:nvPr/>
          </p:nvSpPr>
          <p:spPr>
            <a:xfrm>
              <a:off x="4002495" y="4241521"/>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17" name="Oval 316">
              <a:extLst>
                <a:ext uri="{FF2B5EF4-FFF2-40B4-BE49-F238E27FC236}">
                  <a16:creationId xmlns:a16="http://schemas.microsoft.com/office/drawing/2014/main" id="{14C06BB8-2A15-4AEB-B1CD-57E3FF0C5310}"/>
                </a:ext>
              </a:extLst>
            </p:cNvPr>
            <p:cNvSpPr/>
            <p:nvPr/>
          </p:nvSpPr>
          <p:spPr>
            <a:xfrm>
              <a:off x="3552618" y="4304514"/>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18" name="Oval 317">
              <a:extLst>
                <a:ext uri="{FF2B5EF4-FFF2-40B4-BE49-F238E27FC236}">
                  <a16:creationId xmlns:a16="http://schemas.microsoft.com/office/drawing/2014/main" id="{2DA7743D-753A-4959-8B7E-346CC1091E0C}"/>
                </a:ext>
              </a:extLst>
            </p:cNvPr>
            <p:cNvSpPr/>
            <p:nvPr/>
          </p:nvSpPr>
          <p:spPr>
            <a:xfrm>
              <a:off x="3552618" y="4218299"/>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19" name="Oval 318">
              <a:extLst>
                <a:ext uri="{FF2B5EF4-FFF2-40B4-BE49-F238E27FC236}">
                  <a16:creationId xmlns:a16="http://schemas.microsoft.com/office/drawing/2014/main" id="{0A81B4FF-361A-43DC-A8A1-BC3F823C8A5A}"/>
                </a:ext>
              </a:extLst>
            </p:cNvPr>
            <p:cNvSpPr/>
            <p:nvPr/>
          </p:nvSpPr>
          <p:spPr>
            <a:xfrm>
              <a:off x="3224423" y="4384733"/>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20" name="Oval 319">
              <a:extLst>
                <a:ext uri="{FF2B5EF4-FFF2-40B4-BE49-F238E27FC236}">
                  <a16:creationId xmlns:a16="http://schemas.microsoft.com/office/drawing/2014/main" id="{58FEB71F-148E-46D6-A377-C90A04388B9C}"/>
                </a:ext>
              </a:extLst>
            </p:cNvPr>
            <p:cNvSpPr/>
            <p:nvPr/>
          </p:nvSpPr>
          <p:spPr>
            <a:xfrm>
              <a:off x="3162893" y="4339523"/>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21" name="Oval 320">
              <a:extLst>
                <a:ext uri="{FF2B5EF4-FFF2-40B4-BE49-F238E27FC236}">
                  <a16:creationId xmlns:a16="http://schemas.microsoft.com/office/drawing/2014/main" id="{2041ECC0-11FA-435E-97FE-B1984C251E69}"/>
                </a:ext>
              </a:extLst>
            </p:cNvPr>
            <p:cNvSpPr/>
            <p:nvPr/>
          </p:nvSpPr>
          <p:spPr>
            <a:xfrm>
              <a:off x="3109327" y="4101853"/>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cxnSp>
          <p:nvCxnSpPr>
            <p:cNvPr id="322" name="Straight Connector 321">
              <a:extLst>
                <a:ext uri="{FF2B5EF4-FFF2-40B4-BE49-F238E27FC236}">
                  <a16:creationId xmlns:a16="http://schemas.microsoft.com/office/drawing/2014/main" id="{114F9CA2-C3B0-46D9-8613-488496EF658F}"/>
                </a:ext>
              </a:extLst>
            </p:cNvPr>
            <p:cNvCxnSpPr>
              <a:cxnSpLocks/>
            </p:cNvCxnSpPr>
            <p:nvPr/>
          </p:nvCxnSpPr>
          <p:spPr>
            <a:xfrm>
              <a:off x="3105535" y="4132752"/>
              <a:ext cx="54000" cy="0"/>
            </a:xfrm>
            <a:prstGeom prst="line">
              <a:avLst/>
            </a:prstGeom>
            <a:noFill/>
            <a:ln w="9525" cap="flat" cmpd="sng" algn="ctr">
              <a:solidFill>
                <a:schemeClr val="accent1"/>
              </a:solidFill>
              <a:prstDash val="solid"/>
            </a:ln>
            <a:effectLst/>
          </p:spPr>
        </p:cxnSp>
        <p:cxnSp>
          <p:nvCxnSpPr>
            <p:cNvPr id="323" name="Straight Connector 322">
              <a:extLst>
                <a:ext uri="{FF2B5EF4-FFF2-40B4-BE49-F238E27FC236}">
                  <a16:creationId xmlns:a16="http://schemas.microsoft.com/office/drawing/2014/main" id="{C405D38A-1412-425B-BEE4-B6029CB03E86}"/>
                </a:ext>
              </a:extLst>
            </p:cNvPr>
            <p:cNvCxnSpPr>
              <a:cxnSpLocks/>
            </p:cNvCxnSpPr>
            <p:nvPr/>
          </p:nvCxnSpPr>
          <p:spPr>
            <a:xfrm rot="5400000">
              <a:off x="6391623" y="4618247"/>
              <a:ext cx="0" cy="52130"/>
            </a:xfrm>
            <a:prstGeom prst="line">
              <a:avLst/>
            </a:prstGeom>
            <a:noFill/>
            <a:ln w="12700" cap="flat" cmpd="sng" algn="ctr">
              <a:solidFill>
                <a:srgbClr val="000000"/>
              </a:solidFill>
              <a:prstDash val="solid"/>
            </a:ln>
            <a:effectLst/>
          </p:spPr>
        </p:cxnSp>
        <p:cxnSp>
          <p:nvCxnSpPr>
            <p:cNvPr id="324" name="Straight Connector 323">
              <a:extLst>
                <a:ext uri="{FF2B5EF4-FFF2-40B4-BE49-F238E27FC236}">
                  <a16:creationId xmlns:a16="http://schemas.microsoft.com/office/drawing/2014/main" id="{A533DE2E-0C57-48C6-AFD9-38970CDA7818}"/>
                </a:ext>
              </a:extLst>
            </p:cNvPr>
            <p:cNvCxnSpPr>
              <a:cxnSpLocks/>
            </p:cNvCxnSpPr>
            <p:nvPr/>
          </p:nvCxnSpPr>
          <p:spPr>
            <a:xfrm rot="5400000">
              <a:off x="6391622" y="3076395"/>
              <a:ext cx="0" cy="52130"/>
            </a:xfrm>
            <a:prstGeom prst="line">
              <a:avLst/>
            </a:prstGeom>
            <a:noFill/>
            <a:ln w="12700" cap="flat" cmpd="sng" algn="ctr">
              <a:solidFill>
                <a:srgbClr val="000000"/>
              </a:solidFill>
              <a:prstDash val="solid"/>
            </a:ln>
            <a:effectLst/>
          </p:spPr>
        </p:cxnSp>
        <p:sp>
          <p:nvSpPr>
            <p:cNvPr id="325" name="TextBox 324">
              <a:extLst>
                <a:ext uri="{FF2B5EF4-FFF2-40B4-BE49-F238E27FC236}">
                  <a16:creationId xmlns:a16="http://schemas.microsoft.com/office/drawing/2014/main" id="{8AAA82CE-E710-45C1-90D2-80DE27E23E41}"/>
                </a:ext>
              </a:extLst>
            </p:cNvPr>
            <p:cNvSpPr txBox="1"/>
            <p:nvPr/>
          </p:nvSpPr>
          <p:spPr>
            <a:xfrm>
              <a:off x="6092223" y="3037565"/>
              <a:ext cx="229755"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20</a:t>
              </a:r>
            </a:p>
          </p:txBody>
        </p:sp>
        <p:cxnSp>
          <p:nvCxnSpPr>
            <p:cNvPr id="326" name="Straight Connector 325">
              <a:extLst>
                <a:ext uri="{FF2B5EF4-FFF2-40B4-BE49-F238E27FC236}">
                  <a16:creationId xmlns:a16="http://schemas.microsoft.com/office/drawing/2014/main" id="{523D84EF-74A9-410F-9F10-8B7FCFEC6D17}"/>
                </a:ext>
              </a:extLst>
            </p:cNvPr>
            <p:cNvCxnSpPr>
              <a:cxnSpLocks/>
            </p:cNvCxnSpPr>
            <p:nvPr/>
          </p:nvCxnSpPr>
          <p:spPr>
            <a:xfrm rot="5400000">
              <a:off x="6391623" y="3587510"/>
              <a:ext cx="0" cy="52130"/>
            </a:xfrm>
            <a:prstGeom prst="line">
              <a:avLst/>
            </a:prstGeom>
            <a:noFill/>
            <a:ln w="12700" cap="flat" cmpd="sng" algn="ctr">
              <a:solidFill>
                <a:srgbClr val="000000"/>
              </a:solidFill>
              <a:prstDash val="solid"/>
            </a:ln>
            <a:effectLst/>
          </p:spPr>
        </p:cxnSp>
        <p:sp>
          <p:nvSpPr>
            <p:cNvPr id="327" name="TextBox 326">
              <a:extLst>
                <a:ext uri="{FF2B5EF4-FFF2-40B4-BE49-F238E27FC236}">
                  <a16:creationId xmlns:a16="http://schemas.microsoft.com/office/drawing/2014/main" id="{C6C4EAA5-1685-4851-9CEE-A4D7C6EDBA50}"/>
                </a:ext>
              </a:extLst>
            </p:cNvPr>
            <p:cNvSpPr txBox="1"/>
            <p:nvPr/>
          </p:nvSpPr>
          <p:spPr>
            <a:xfrm>
              <a:off x="6092223" y="3550268"/>
              <a:ext cx="229755"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cxnSp>
          <p:nvCxnSpPr>
            <p:cNvPr id="328" name="Straight Connector 327">
              <a:extLst>
                <a:ext uri="{FF2B5EF4-FFF2-40B4-BE49-F238E27FC236}">
                  <a16:creationId xmlns:a16="http://schemas.microsoft.com/office/drawing/2014/main" id="{4D37D737-4123-49FC-BDD6-3913E1AD5AA9}"/>
                </a:ext>
              </a:extLst>
            </p:cNvPr>
            <p:cNvCxnSpPr>
              <a:cxnSpLocks/>
            </p:cNvCxnSpPr>
            <p:nvPr/>
          </p:nvCxnSpPr>
          <p:spPr>
            <a:xfrm rot="5400000">
              <a:off x="6391623" y="4102205"/>
              <a:ext cx="0" cy="52130"/>
            </a:xfrm>
            <a:prstGeom prst="line">
              <a:avLst/>
            </a:prstGeom>
            <a:noFill/>
            <a:ln w="12700" cap="flat" cmpd="sng" algn="ctr">
              <a:solidFill>
                <a:srgbClr val="000000"/>
              </a:solidFill>
              <a:prstDash val="solid"/>
            </a:ln>
            <a:effectLst/>
          </p:spPr>
        </p:cxnSp>
        <p:sp>
          <p:nvSpPr>
            <p:cNvPr id="329" name="TextBox 328">
              <a:extLst>
                <a:ext uri="{FF2B5EF4-FFF2-40B4-BE49-F238E27FC236}">
                  <a16:creationId xmlns:a16="http://schemas.microsoft.com/office/drawing/2014/main" id="{E47163FA-E9B6-41E0-AA8B-943BB8886024}"/>
                </a:ext>
              </a:extLst>
            </p:cNvPr>
            <p:cNvSpPr txBox="1"/>
            <p:nvPr/>
          </p:nvSpPr>
          <p:spPr>
            <a:xfrm>
              <a:off x="6092223" y="4064963"/>
              <a:ext cx="229755"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0</a:t>
              </a:r>
            </a:p>
          </p:txBody>
        </p:sp>
        <p:sp>
          <p:nvSpPr>
            <p:cNvPr id="330" name="TextBox 329">
              <a:extLst>
                <a:ext uri="{FF2B5EF4-FFF2-40B4-BE49-F238E27FC236}">
                  <a16:creationId xmlns:a16="http://schemas.microsoft.com/office/drawing/2014/main" id="{A30C2100-5901-4111-908D-6162A14CF1A6}"/>
                </a:ext>
              </a:extLst>
            </p:cNvPr>
            <p:cNvSpPr txBox="1"/>
            <p:nvPr/>
          </p:nvSpPr>
          <p:spPr>
            <a:xfrm>
              <a:off x="6092223" y="4581005"/>
              <a:ext cx="229755" cy="138499"/>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a:ea typeface="MS PGothic" charset="0"/>
                  <a:cs typeface="+mn-cs"/>
                </a:rPr>
                <a:t>–10</a:t>
              </a:r>
            </a:p>
          </p:txBody>
        </p:sp>
        <p:grpSp>
          <p:nvGrpSpPr>
            <p:cNvPr id="331" name="Group 330">
              <a:extLst>
                <a:ext uri="{FF2B5EF4-FFF2-40B4-BE49-F238E27FC236}">
                  <a16:creationId xmlns:a16="http://schemas.microsoft.com/office/drawing/2014/main" id="{ACF8AA12-0C69-4D83-9829-4556E81C3315}"/>
                </a:ext>
              </a:extLst>
            </p:cNvPr>
            <p:cNvGrpSpPr/>
            <p:nvPr/>
          </p:nvGrpSpPr>
          <p:grpSpPr>
            <a:xfrm>
              <a:off x="3162209" y="4283861"/>
              <a:ext cx="53091" cy="30253"/>
              <a:chOff x="9029700" y="4536281"/>
              <a:chExt cx="64008" cy="162637"/>
            </a:xfrm>
          </p:grpSpPr>
          <p:cxnSp>
            <p:nvCxnSpPr>
              <p:cNvPr id="361" name="Straight Connector 360">
                <a:extLst>
                  <a:ext uri="{FF2B5EF4-FFF2-40B4-BE49-F238E27FC236}">
                    <a16:creationId xmlns:a16="http://schemas.microsoft.com/office/drawing/2014/main" id="{29059B52-89F3-49AA-809E-9DE0222B46B3}"/>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62" name="Straight Connector 361">
                <a:extLst>
                  <a:ext uri="{FF2B5EF4-FFF2-40B4-BE49-F238E27FC236}">
                    <a16:creationId xmlns:a16="http://schemas.microsoft.com/office/drawing/2014/main" id="{D2DD1B7E-A88C-47AF-87B3-C31531058373}"/>
                  </a:ext>
                </a:extLst>
              </p:cNvPr>
              <p:cNvCxnSpPr/>
              <p:nvPr/>
            </p:nvCxnSpPr>
            <p:spPr>
              <a:xfrm>
                <a:off x="9029700" y="4698918"/>
                <a:ext cx="64008" cy="0"/>
              </a:xfrm>
              <a:prstGeom prst="line">
                <a:avLst/>
              </a:prstGeom>
              <a:noFill/>
              <a:ln w="9525" cap="flat" cmpd="sng" algn="ctr">
                <a:solidFill>
                  <a:schemeClr val="tx2"/>
                </a:solidFill>
                <a:prstDash val="solid"/>
              </a:ln>
              <a:effectLst/>
            </p:spPr>
          </p:cxnSp>
        </p:grpSp>
        <p:sp>
          <p:nvSpPr>
            <p:cNvPr id="332" name="Oval 331">
              <a:extLst>
                <a:ext uri="{FF2B5EF4-FFF2-40B4-BE49-F238E27FC236}">
                  <a16:creationId xmlns:a16="http://schemas.microsoft.com/office/drawing/2014/main" id="{52596C81-C9EA-4662-857A-19CA40302180}"/>
                </a:ext>
              </a:extLst>
            </p:cNvPr>
            <p:cNvSpPr/>
            <p:nvPr/>
          </p:nvSpPr>
          <p:spPr>
            <a:xfrm>
              <a:off x="5783726" y="4191676"/>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33" name="Freeform: Shape 332">
              <a:extLst>
                <a:ext uri="{FF2B5EF4-FFF2-40B4-BE49-F238E27FC236}">
                  <a16:creationId xmlns:a16="http://schemas.microsoft.com/office/drawing/2014/main" id="{BCC8BFF8-003F-450E-967C-370E2B7D5F64}"/>
                </a:ext>
              </a:extLst>
            </p:cNvPr>
            <p:cNvSpPr/>
            <p:nvPr/>
          </p:nvSpPr>
          <p:spPr>
            <a:xfrm>
              <a:off x="3134297" y="4125906"/>
              <a:ext cx="2676456" cy="285773"/>
            </a:xfrm>
            <a:custGeom>
              <a:avLst/>
              <a:gdLst>
                <a:gd name="connsiteX0" fmla="*/ 0 w 3643313"/>
                <a:gd name="connsiteY0" fmla="*/ 0 h 397669"/>
                <a:gd name="connsiteX1" fmla="*/ 64294 w 3643313"/>
                <a:gd name="connsiteY1" fmla="*/ 226219 h 397669"/>
                <a:gd name="connsiteX2" fmla="*/ 80963 w 3643313"/>
                <a:gd name="connsiteY2" fmla="*/ 330994 h 397669"/>
                <a:gd name="connsiteX3" fmla="*/ 171450 w 3643313"/>
                <a:gd name="connsiteY3" fmla="*/ 397669 h 397669"/>
                <a:gd name="connsiteX4" fmla="*/ 635794 w 3643313"/>
                <a:gd name="connsiteY4" fmla="*/ 297656 h 397669"/>
                <a:gd name="connsiteX5" fmla="*/ 1271588 w 3643313"/>
                <a:gd name="connsiteY5" fmla="*/ 207169 h 397669"/>
                <a:gd name="connsiteX6" fmla="*/ 1871663 w 3643313"/>
                <a:gd name="connsiteY6" fmla="*/ 173831 h 397669"/>
                <a:gd name="connsiteX7" fmla="*/ 2507456 w 3643313"/>
                <a:gd name="connsiteY7" fmla="*/ 271462 h 397669"/>
                <a:gd name="connsiteX8" fmla="*/ 3112294 w 3643313"/>
                <a:gd name="connsiteY8" fmla="*/ 261937 h 397669"/>
                <a:gd name="connsiteX9" fmla="*/ 3643313 w 3643313"/>
                <a:gd name="connsiteY9" fmla="*/ 150019 h 397669"/>
                <a:gd name="connsiteX0" fmla="*/ 0 w 3745706"/>
                <a:gd name="connsiteY0" fmla="*/ 0 h 397669"/>
                <a:gd name="connsiteX1" fmla="*/ 64294 w 3745706"/>
                <a:gd name="connsiteY1" fmla="*/ 226219 h 397669"/>
                <a:gd name="connsiteX2" fmla="*/ 80963 w 3745706"/>
                <a:gd name="connsiteY2" fmla="*/ 330994 h 397669"/>
                <a:gd name="connsiteX3" fmla="*/ 171450 w 3745706"/>
                <a:gd name="connsiteY3" fmla="*/ 397669 h 397669"/>
                <a:gd name="connsiteX4" fmla="*/ 635794 w 3745706"/>
                <a:gd name="connsiteY4" fmla="*/ 297656 h 397669"/>
                <a:gd name="connsiteX5" fmla="*/ 1271588 w 3745706"/>
                <a:gd name="connsiteY5" fmla="*/ 207169 h 397669"/>
                <a:gd name="connsiteX6" fmla="*/ 1871663 w 3745706"/>
                <a:gd name="connsiteY6" fmla="*/ 173831 h 397669"/>
                <a:gd name="connsiteX7" fmla="*/ 2507456 w 3745706"/>
                <a:gd name="connsiteY7" fmla="*/ 271462 h 397669"/>
                <a:gd name="connsiteX8" fmla="*/ 3112294 w 3745706"/>
                <a:gd name="connsiteY8" fmla="*/ 261937 h 397669"/>
                <a:gd name="connsiteX9" fmla="*/ 3745706 w 3745706"/>
                <a:gd name="connsiteY9" fmla="*/ 133350 h 397669"/>
                <a:gd name="connsiteX0" fmla="*/ 0 w 3755731"/>
                <a:gd name="connsiteY0" fmla="*/ 0 h 397669"/>
                <a:gd name="connsiteX1" fmla="*/ 64294 w 3755731"/>
                <a:gd name="connsiteY1" fmla="*/ 226219 h 397669"/>
                <a:gd name="connsiteX2" fmla="*/ 80963 w 3755731"/>
                <a:gd name="connsiteY2" fmla="*/ 330994 h 397669"/>
                <a:gd name="connsiteX3" fmla="*/ 171450 w 3755731"/>
                <a:gd name="connsiteY3" fmla="*/ 397669 h 397669"/>
                <a:gd name="connsiteX4" fmla="*/ 635794 w 3755731"/>
                <a:gd name="connsiteY4" fmla="*/ 297656 h 397669"/>
                <a:gd name="connsiteX5" fmla="*/ 1271588 w 3755731"/>
                <a:gd name="connsiteY5" fmla="*/ 207169 h 397669"/>
                <a:gd name="connsiteX6" fmla="*/ 1871663 w 3755731"/>
                <a:gd name="connsiteY6" fmla="*/ 173831 h 397669"/>
                <a:gd name="connsiteX7" fmla="*/ 2507456 w 3755731"/>
                <a:gd name="connsiteY7" fmla="*/ 271462 h 397669"/>
                <a:gd name="connsiteX8" fmla="*/ 3112294 w 3755731"/>
                <a:gd name="connsiteY8" fmla="*/ 261937 h 397669"/>
                <a:gd name="connsiteX9" fmla="*/ 3755731 w 3755731"/>
                <a:gd name="connsiteY9" fmla="*/ 133351 h 397669"/>
                <a:gd name="connsiteX0" fmla="*/ 0 w 3755731"/>
                <a:gd name="connsiteY0" fmla="*/ 0 h 397669"/>
                <a:gd name="connsiteX1" fmla="*/ 64294 w 3755731"/>
                <a:gd name="connsiteY1" fmla="*/ 226219 h 397669"/>
                <a:gd name="connsiteX2" fmla="*/ 80963 w 3755731"/>
                <a:gd name="connsiteY2" fmla="*/ 330994 h 397669"/>
                <a:gd name="connsiteX3" fmla="*/ 171450 w 3755731"/>
                <a:gd name="connsiteY3" fmla="*/ 397669 h 397669"/>
                <a:gd name="connsiteX4" fmla="*/ 635794 w 3755731"/>
                <a:gd name="connsiteY4" fmla="*/ 297656 h 397669"/>
                <a:gd name="connsiteX5" fmla="*/ 1271588 w 3755731"/>
                <a:gd name="connsiteY5" fmla="*/ 207169 h 397669"/>
                <a:gd name="connsiteX6" fmla="*/ 1871663 w 3755731"/>
                <a:gd name="connsiteY6" fmla="*/ 173831 h 397669"/>
                <a:gd name="connsiteX7" fmla="*/ 2507456 w 3755731"/>
                <a:gd name="connsiteY7" fmla="*/ 271462 h 397669"/>
                <a:gd name="connsiteX8" fmla="*/ 3129001 w 3755731"/>
                <a:gd name="connsiteY8" fmla="*/ 261937 h 397669"/>
                <a:gd name="connsiteX9" fmla="*/ 3755731 w 3755731"/>
                <a:gd name="connsiteY9" fmla="*/ 133351 h 397669"/>
                <a:gd name="connsiteX0" fmla="*/ 0 w 3755731"/>
                <a:gd name="connsiteY0" fmla="*/ 0 h 397669"/>
                <a:gd name="connsiteX1" fmla="*/ 64294 w 3755731"/>
                <a:gd name="connsiteY1" fmla="*/ 226219 h 397669"/>
                <a:gd name="connsiteX2" fmla="*/ 80963 w 3755731"/>
                <a:gd name="connsiteY2" fmla="*/ 330994 h 397669"/>
                <a:gd name="connsiteX3" fmla="*/ 171450 w 3755731"/>
                <a:gd name="connsiteY3" fmla="*/ 397669 h 397669"/>
                <a:gd name="connsiteX4" fmla="*/ 635794 w 3755731"/>
                <a:gd name="connsiteY4" fmla="*/ 297656 h 397669"/>
                <a:gd name="connsiteX5" fmla="*/ 1271588 w 3755731"/>
                <a:gd name="connsiteY5" fmla="*/ 207169 h 397669"/>
                <a:gd name="connsiteX6" fmla="*/ 1871663 w 3755731"/>
                <a:gd name="connsiteY6" fmla="*/ 173831 h 397669"/>
                <a:gd name="connsiteX7" fmla="*/ 2504114 w 3755731"/>
                <a:gd name="connsiteY7" fmla="*/ 264780 h 397669"/>
                <a:gd name="connsiteX8" fmla="*/ 3129001 w 3755731"/>
                <a:gd name="connsiteY8" fmla="*/ 261937 h 397669"/>
                <a:gd name="connsiteX9" fmla="*/ 3755731 w 3755731"/>
                <a:gd name="connsiteY9" fmla="*/ 133351 h 397669"/>
                <a:gd name="connsiteX0" fmla="*/ 0 w 3755731"/>
                <a:gd name="connsiteY0" fmla="*/ 0 h 397669"/>
                <a:gd name="connsiteX1" fmla="*/ 64294 w 3755731"/>
                <a:gd name="connsiteY1" fmla="*/ 226219 h 397669"/>
                <a:gd name="connsiteX2" fmla="*/ 80963 w 3755731"/>
                <a:gd name="connsiteY2" fmla="*/ 330994 h 397669"/>
                <a:gd name="connsiteX3" fmla="*/ 171450 w 3755731"/>
                <a:gd name="connsiteY3" fmla="*/ 397669 h 397669"/>
                <a:gd name="connsiteX4" fmla="*/ 635794 w 3755731"/>
                <a:gd name="connsiteY4" fmla="*/ 297656 h 397669"/>
                <a:gd name="connsiteX5" fmla="*/ 1271588 w 3755731"/>
                <a:gd name="connsiteY5" fmla="*/ 207169 h 397669"/>
                <a:gd name="connsiteX6" fmla="*/ 1875006 w 3755731"/>
                <a:gd name="connsiteY6" fmla="*/ 170489 h 397669"/>
                <a:gd name="connsiteX7" fmla="*/ 2504114 w 3755731"/>
                <a:gd name="connsiteY7" fmla="*/ 264780 h 397669"/>
                <a:gd name="connsiteX8" fmla="*/ 3129001 w 3755731"/>
                <a:gd name="connsiteY8" fmla="*/ 261937 h 397669"/>
                <a:gd name="connsiteX9" fmla="*/ 3755731 w 3755731"/>
                <a:gd name="connsiteY9" fmla="*/ 133351 h 397669"/>
                <a:gd name="connsiteX0" fmla="*/ 0 w 3755731"/>
                <a:gd name="connsiteY0" fmla="*/ 0 h 397669"/>
                <a:gd name="connsiteX1" fmla="*/ 64294 w 3755731"/>
                <a:gd name="connsiteY1" fmla="*/ 226219 h 397669"/>
                <a:gd name="connsiteX2" fmla="*/ 80963 w 3755731"/>
                <a:gd name="connsiteY2" fmla="*/ 330994 h 397669"/>
                <a:gd name="connsiteX3" fmla="*/ 171450 w 3755731"/>
                <a:gd name="connsiteY3" fmla="*/ 397669 h 397669"/>
                <a:gd name="connsiteX4" fmla="*/ 635794 w 3755731"/>
                <a:gd name="connsiteY4" fmla="*/ 297656 h 397669"/>
                <a:gd name="connsiteX5" fmla="*/ 1258222 w 3755731"/>
                <a:gd name="connsiteY5" fmla="*/ 197144 h 397669"/>
                <a:gd name="connsiteX6" fmla="*/ 1875006 w 3755731"/>
                <a:gd name="connsiteY6" fmla="*/ 170489 h 397669"/>
                <a:gd name="connsiteX7" fmla="*/ 2504114 w 3755731"/>
                <a:gd name="connsiteY7" fmla="*/ 264780 h 397669"/>
                <a:gd name="connsiteX8" fmla="*/ 3129001 w 3755731"/>
                <a:gd name="connsiteY8" fmla="*/ 261937 h 397669"/>
                <a:gd name="connsiteX9" fmla="*/ 3755731 w 3755731"/>
                <a:gd name="connsiteY9" fmla="*/ 133351 h 397669"/>
                <a:gd name="connsiteX0" fmla="*/ 0 w 3755731"/>
                <a:gd name="connsiteY0" fmla="*/ 0 h 397669"/>
                <a:gd name="connsiteX1" fmla="*/ 64294 w 3755731"/>
                <a:gd name="connsiteY1" fmla="*/ 226219 h 397669"/>
                <a:gd name="connsiteX2" fmla="*/ 80963 w 3755731"/>
                <a:gd name="connsiteY2" fmla="*/ 330994 h 397669"/>
                <a:gd name="connsiteX3" fmla="*/ 171450 w 3755731"/>
                <a:gd name="connsiteY3" fmla="*/ 397669 h 397669"/>
                <a:gd name="connsiteX4" fmla="*/ 622427 w 3755731"/>
                <a:gd name="connsiteY4" fmla="*/ 284289 h 397669"/>
                <a:gd name="connsiteX5" fmla="*/ 1258222 w 3755731"/>
                <a:gd name="connsiteY5" fmla="*/ 197144 h 397669"/>
                <a:gd name="connsiteX6" fmla="*/ 1875006 w 3755731"/>
                <a:gd name="connsiteY6" fmla="*/ 170489 h 397669"/>
                <a:gd name="connsiteX7" fmla="*/ 2504114 w 3755731"/>
                <a:gd name="connsiteY7" fmla="*/ 264780 h 397669"/>
                <a:gd name="connsiteX8" fmla="*/ 3129001 w 3755731"/>
                <a:gd name="connsiteY8" fmla="*/ 261937 h 397669"/>
                <a:gd name="connsiteX9" fmla="*/ 3755731 w 3755731"/>
                <a:gd name="connsiteY9" fmla="*/ 133351 h 397669"/>
                <a:gd name="connsiteX0" fmla="*/ 0 w 3755731"/>
                <a:gd name="connsiteY0" fmla="*/ 0 h 401010"/>
                <a:gd name="connsiteX1" fmla="*/ 64294 w 3755731"/>
                <a:gd name="connsiteY1" fmla="*/ 226219 h 401010"/>
                <a:gd name="connsiteX2" fmla="*/ 80963 w 3755731"/>
                <a:gd name="connsiteY2" fmla="*/ 330994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64294 w 3755731"/>
                <a:gd name="connsiteY1" fmla="*/ 226219 h 401010"/>
                <a:gd name="connsiteX2" fmla="*/ 77621 w 3755731"/>
                <a:gd name="connsiteY2" fmla="*/ 337676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74319 w 3755731"/>
                <a:gd name="connsiteY1" fmla="*/ 329805 h 401010"/>
                <a:gd name="connsiteX2" fmla="*/ 77621 w 3755731"/>
                <a:gd name="connsiteY2" fmla="*/ 337676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74319 w 3755731"/>
                <a:gd name="connsiteY1" fmla="*/ 329805 h 401010"/>
                <a:gd name="connsiteX2" fmla="*/ 80963 w 3755731"/>
                <a:gd name="connsiteY2" fmla="*/ 337676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74319 w 3755731"/>
                <a:gd name="connsiteY1" fmla="*/ 329805 h 401010"/>
                <a:gd name="connsiteX2" fmla="*/ 87647 w 3755731"/>
                <a:gd name="connsiteY2" fmla="*/ 337676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74319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0948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4289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73830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70489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67146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63805 h 401010"/>
                <a:gd name="connsiteX7" fmla="*/ 2504114 w 3755731"/>
                <a:gd name="connsiteY7" fmla="*/ 264780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63805 h 401010"/>
                <a:gd name="connsiteX7" fmla="*/ 2504114 w 3755731"/>
                <a:gd name="connsiteY7" fmla="*/ 261439 h 401010"/>
                <a:gd name="connsiteX8" fmla="*/ 3129001 w 3755731"/>
                <a:gd name="connsiteY8" fmla="*/ 261937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63805 h 401010"/>
                <a:gd name="connsiteX7" fmla="*/ 2504114 w 3755731"/>
                <a:gd name="connsiteY7" fmla="*/ 261439 h 401010"/>
                <a:gd name="connsiteX8" fmla="*/ 3129001 w 3755731"/>
                <a:gd name="connsiteY8" fmla="*/ 255253 h 401010"/>
                <a:gd name="connsiteX9" fmla="*/ 3755731 w 3755731"/>
                <a:gd name="connsiteY9" fmla="*/ 133351 h 401010"/>
                <a:gd name="connsiteX0" fmla="*/ 0 w 3755731"/>
                <a:gd name="connsiteY0" fmla="*/ 0 h 401010"/>
                <a:gd name="connsiteX1" fmla="*/ 81001 w 3755731"/>
                <a:gd name="connsiteY1" fmla="*/ 329805 h 401010"/>
                <a:gd name="connsiteX2" fmla="*/ 157818 w 3755731"/>
                <a:gd name="connsiteY2" fmla="*/ 394481 h 401010"/>
                <a:gd name="connsiteX3" fmla="*/ 161425 w 3755731"/>
                <a:gd name="connsiteY3" fmla="*/ 401010 h 401010"/>
                <a:gd name="connsiteX4" fmla="*/ 622427 w 3755731"/>
                <a:gd name="connsiteY4" fmla="*/ 287630 h 401010"/>
                <a:gd name="connsiteX5" fmla="*/ 1258222 w 3755731"/>
                <a:gd name="connsiteY5" fmla="*/ 197144 h 401010"/>
                <a:gd name="connsiteX6" fmla="*/ 1875006 w 3755731"/>
                <a:gd name="connsiteY6" fmla="*/ 163805 h 401010"/>
                <a:gd name="connsiteX7" fmla="*/ 2504114 w 3755731"/>
                <a:gd name="connsiteY7" fmla="*/ 261439 h 401010"/>
                <a:gd name="connsiteX8" fmla="*/ 3129001 w 3755731"/>
                <a:gd name="connsiteY8" fmla="*/ 255253 h 401010"/>
                <a:gd name="connsiteX9" fmla="*/ 3755731 w 3755731"/>
                <a:gd name="connsiteY9" fmla="*/ 130009 h 40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5731" h="401010">
                  <a:moveTo>
                    <a:pt x="0" y="0"/>
                  </a:moveTo>
                  <a:lnTo>
                    <a:pt x="81001" y="329805"/>
                  </a:lnTo>
                  <a:lnTo>
                    <a:pt x="157818" y="394481"/>
                  </a:lnTo>
                  <a:lnTo>
                    <a:pt x="161425" y="401010"/>
                  </a:lnTo>
                  <a:lnTo>
                    <a:pt x="622427" y="287630"/>
                  </a:lnTo>
                  <a:lnTo>
                    <a:pt x="1258222" y="197144"/>
                  </a:lnTo>
                  <a:lnTo>
                    <a:pt x="1875006" y="163805"/>
                  </a:lnTo>
                  <a:lnTo>
                    <a:pt x="2504114" y="261439"/>
                  </a:lnTo>
                  <a:lnTo>
                    <a:pt x="3129001" y="255253"/>
                  </a:lnTo>
                  <a:lnTo>
                    <a:pt x="3755731" y="130009"/>
                  </a:lnTo>
                </a:path>
              </a:pathLst>
            </a:custGeom>
            <a:noFill/>
            <a:ln w="1905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34" name="Oval 333">
              <a:extLst>
                <a:ext uri="{FF2B5EF4-FFF2-40B4-BE49-F238E27FC236}">
                  <a16:creationId xmlns:a16="http://schemas.microsoft.com/office/drawing/2014/main" id="{A4928435-24CB-434B-88F1-8299AE7B402A}"/>
                </a:ext>
              </a:extLst>
            </p:cNvPr>
            <p:cNvSpPr/>
            <p:nvPr/>
          </p:nvSpPr>
          <p:spPr>
            <a:xfrm>
              <a:off x="5784196" y="4247723"/>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35" name="Oval 334">
              <a:extLst>
                <a:ext uri="{FF2B5EF4-FFF2-40B4-BE49-F238E27FC236}">
                  <a16:creationId xmlns:a16="http://schemas.microsoft.com/office/drawing/2014/main" id="{79332EE8-F7F4-4A78-AB87-224E1FA01652}"/>
                </a:ext>
              </a:extLst>
            </p:cNvPr>
            <p:cNvSpPr/>
            <p:nvPr/>
          </p:nvSpPr>
          <p:spPr>
            <a:xfrm>
              <a:off x="4892669" y="4249896"/>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36" name="Oval 335">
              <a:extLst>
                <a:ext uri="{FF2B5EF4-FFF2-40B4-BE49-F238E27FC236}">
                  <a16:creationId xmlns:a16="http://schemas.microsoft.com/office/drawing/2014/main" id="{2F277B1C-9B26-4FA8-9811-8FEAD774F8BD}"/>
                </a:ext>
              </a:extLst>
            </p:cNvPr>
            <p:cNvSpPr/>
            <p:nvPr/>
          </p:nvSpPr>
          <p:spPr>
            <a:xfrm>
              <a:off x="4447362" y="4180842"/>
              <a:ext cx="52130" cy="52130"/>
            </a:xfrm>
            <a:prstGeom prst="ellipse">
              <a:avLst/>
            </a:prstGeom>
            <a:solidFill>
              <a:schemeClr val="tx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337" name="Group 336">
              <a:extLst>
                <a:ext uri="{FF2B5EF4-FFF2-40B4-BE49-F238E27FC236}">
                  <a16:creationId xmlns:a16="http://schemas.microsoft.com/office/drawing/2014/main" id="{F1AFDCBE-79FA-4D8C-B172-305EB5697E9F}"/>
                </a:ext>
              </a:extLst>
            </p:cNvPr>
            <p:cNvGrpSpPr/>
            <p:nvPr/>
          </p:nvGrpSpPr>
          <p:grpSpPr>
            <a:xfrm>
              <a:off x="4002904" y="4244202"/>
              <a:ext cx="53091" cy="45639"/>
              <a:chOff x="9029700" y="4516989"/>
              <a:chExt cx="64008" cy="184898"/>
            </a:xfrm>
          </p:grpSpPr>
          <p:cxnSp>
            <p:nvCxnSpPr>
              <p:cNvPr id="359" name="Straight Connector 358">
                <a:extLst>
                  <a:ext uri="{FF2B5EF4-FFF2-40B4-BE49-F238E27FC236}">
                    <a16:creationId xmlns:a16="http://schemas.microsoft.com/office/drawing/2014/main" id="{E1454C1B-FEE5-43FE-805F-3503A7AFF41A}"/>
                  </a:ext>
                </a:extLst>
              </p:cNvPr>
              <p:cNvCxnSpPr/>
              <p:nvPr/>
            </p:nvCxnSpPr>
            <p:spPr>
              <a:xfrm>
                <a:off x="9029700" y="4516989"/>
                <a:ext cx="64008" cy="0"/>
              </a:xfrm>
              <a:prstGeom prst="line">
                <a:avLst/>
              </a:prstGeom>
              <a:noFill/>
              <a:ln w="9525" cap="flat" cmpd="sng" algn="ctr">
                <a:solidFill>
                  <a:schemeClr val="accent1"/>
                </a:solidFill>
                <a:prstDash val="solid"/>
              </a:ln>
              <a:effectLst/>
            </p:spPr>
          </p:cxnSp>
          <p:cxnSp>
            <p:nvCxnSpPr>
              <p:cNvPr id="360" name="Straight Connector 359">
                <a:extLst>
                  <a:ext uri="{FF2B5EF4-FFF2-40B4-BE49-F238E27FC236}">
                    <a16:creationId xmlns:a16="http://schemas.microsoft.com/office/drawing/2014/main" id="{9BBD341B-BD76-4BD8-A9E5-89CAB80F44B9}"/>
                  </a:ext>
                </a:extLst>
              </p:cNvPr>
              <p:cNvCxnSpPr/>
              <p:nvPr/>
            </p:nvCxnSpPr>
            <p:spPr>
              <a:xfrm>
                <a:off x="9029700" y="4701887"/>
                <a:ext cx="64008" cy="0"/>
              </a:xfrm>
              <a:prstGeom prst="line">
                <a:avLst/>
              </a:prstGeom>
              <a:noFill/>
              <a:ln w="9525" cap="flat" cmpd="sng" algn="ctr">
                <a:solidFill>
                  <a:schemeClr val="accent1"/>
                </a:solidFill>
                <a:prstDash val="solid"/>
              </a:ln>
              <a:effectLst/>
            </p:spPr>
          </p:cxnSp>
        </p:grpSp>
        <p:grpSp>
          <p:nvGrpSpPr>
            <p:cNvPr id="338" name="Group 337">
              <a:extLst>
                <a:ext uri="{FF2B5EF4-FFF2-40B4-BE49-F238E27FC236}">
                  <a16:creationId xmlns:a16="http://schemas.microsoft.com/office/drawing/2014/main" id="{C41DE6F8-F5A3-433C-A5C1-32503335C945}"/>
                </a:ext>
              </a:extLst>
            </p:cNvPr>
            <p:cNvGrpSpPr/>
            <p:nvPr/>
          </p:nvGrpSpPr>
          <p:grpSpPr>
            <a:xfrm>
              <a:off x="4445144" y="4218138"/>
              <a:ext cx="53091" cy="52147"/>
              <a:chOff x="9029700" y="4518387"/>
              <a:chExt cx="64008" cy="195944"/>
            </a:xfrm>
          </p:grpSpPr>
          <p:cxnSp>
            <p:nvCxnSpPr>
              <p:cNvPr id="357" name="Straight Connector 356">
                <a:extLst>
                  <a:ext uri="{FF2B5EF4-FFF2-40B4-BE49-F238E27FC236}">
                    <a16:creationId xmlns:a16="http://schemas.microsoft.com/office/drawing/2014/main" id="{9901DAAA-DA3D-40F0-907A-B4BB022916D6}"/>
                  </a:ext>
                </a:extLst>
              </p:cNvPr>
              <p:cNvCxnSpPr/>
              <p:nvPr/>
            </p:nvCxnSpPr>
            <p:spPr>
              <a:xfrm>
                <a:off x="9029700" y="4518387"/>
                <a:ext cx="64008" cy="0"/>
              </a:xfrm>
              <a:prstGeom prst="line">
                <a:avLst/>
              </a:prstGeom>
              <a:noFill/>
              <a:ln w="9525" cap="flat" cmpd="sng" algn="ctr">
                <a:solidFill>
                  <a:schemeClr val="accent1"/>
                </a:solidFill>
                <a:prstDash val="solid"/>
              </a:ln>
              <a:effectLst/>
            </p:spPr>
          </p:cxnSp>
          <p:cxnSp>
            <p:nvCxnSpPr>
              <p:cNvPr id="358" name="Straight Connector 357">
                <a:extLst>
                  <a:ext uri="{FF2B5EF4-FFF2-40B4-BE49-F238E27FC236}">
                    <a16:creationId xmlns:a16="http://schemas.microsoft.com/office/drawing/2014/main" id="{8F1E0BE5-3DDF-4749-B51E-7E4DA49E17E8}"/>
                  </a:ext>
                </a:extLst>
              </p:cNvPr>
              <p:cNvCxnSpPr/>
              <p:nvPr/>
            </p:nvCxnSpPr>
            <p:spPr>
              <a:xfrm>
                <a:off x="9029700" y="4714331"/>
                <a:ext cx="64008" cy="0"/>
              </a:xfrm>
              <a:prstGeom prst="line">
                <a:avLst/>
              </a:prstGeom>
              <a:noFill/>
              <a:ln w="9525" cap="flat" cmpd="sng" algn="ctr">
                <a:solidFill>
                  <a:schemeClr val="accent1"/>
                </a:solidFill>
                <a:prstDash val="solid"/>
              </a:ln>
              <a:effectLst/>
            </p:spPr>
          </p:cxnSp>
        </p:grpSp>
        <p:grpSp>
          <p:nvGrpSpPr>
            <p:cNvPr id="339" name="Group 338">
              <a:extLst>
                <a:ext uri="{FF2B5EF4-FFF2-40B4-BE49-F238E27FC236}">
                  <a16:creationId xmlns:a16="http://schemas.microsoft.com/office/drawing/2014/main" id="{84FF130D-2132-45F9-B749-51043CED7C92}"/>
                </a:ext>
              </a:extLst>
            </p:cNvPr>
            <p:cNvGrpSpPr/>
            <p:nvPr/>
          </p:nvGrpSpPr>
          <p:grpSpPr>
            <a:xfrm>
              <a:off x="4892629" y="4270489"/>
              <a:ext cx="53091" cy="74087"/>
              <a:chOff x="9029700" y="4541933"/>
              <a:chExt cx="64008" cy="208185"/>
            </a:xfrm>
          </p:grpSpPr>
          <p:cxnSp>
            <p:nvCxnSpPr>
              <p:cNvPr id="354" name="Straight Connector 353">
                <a:extLst>
                  <a:ext uri="{FF2B5EF4-FFF2-40B4-BE49-F238E27FC236}">
                    <a16:creationId xmlns:a16="http://schemas.microsoft.com/office/drawing/2014/main" id="{32929016-0B54-4B07-A38E-27B4A47D15B3}"/>
                  </a:ext>
                </a:extLst>
              </p:cNvPr>
              <p:cNvCxnSpPr/>
              <p:nvPr/>
            </p:nvCxnSpPr>
            <p:spPr>
              <a:xfrm>
                <a:off x="9029700" y="4549663"/>
                <a:ext cx="64008" cy="0"/>
              </a:xfrm>
              <a:prstGeom prst="line">
                <a:avLst/>
              </a:prstGeom>
              <a:noFill/>
              <a:ln w="9525" cap="flat" cmpd="sng" algn="ctr">
                <a:solidFill>
                  <a:schemeClr val="accent1"/>
                </a:solidFill>
                <a:prstDash val="solid"/>
              </a:ln>
              <a:effectLst/>
            </p:spPr>
          </p:cxnSp>
          <p:cxnSp>
            <p:nvCxnSpPr>
              <p:cNvPr id="355" name="Straight Connector 354">
                <a:extLst>
                  <a:ext uri="{FF2B5EF4-FFF2-40B4-BE49-F238E27FC236}">
                    <a16:creationId xmlns:a16="http://schemas.microsoft.com/office/drawing/2014/main" id="{B01DF3FE-42F2-4BE9-84B9-9099D5536D8E}"/>
                  </a:ext>
                </a:extLst>
              </p:cNvPr>
              <p:cNvCxnSpPr/>
              <p:nvPr/>
            </p:nvCxnSpPr>
            <p:spPr>
              <a:xfrm>
                <a:off x="9029700" y="4750118"/>
                <a:ext cx="64008" cy="0"/>
              </a:xfrm>
              <a:prstGeom prst="line">
                <a:avLst/>
              </a:prstGeom>
              <a:noFill/>
              <a:ln w="9525" cap="flat" cmpd="sng" algn="ctr">
                <a:solidFill>
                  <a:schemeClr val="accent1"/>
                </a:solidFill>
                <a:prstDash val="solid"/>
              </a:ln>
              <a:effectLst/>
            </p:spPr>
          </p:cxnSp>
          <p:cxnSp>
            <p:nvCxnSpPr>
              <p:cNvPr id="356" name="Straight Connector 355">
                <a:extLst>
                  <a:ext uri="{FF2B5EF4-FFF2-40B4-BE49-F238E27FC236}">
                    <a16:creationId xmlns:a16="http://schemas.microsoft.com/office/drawing/2014/main" id="{1402B8F6-B6CC-47F7-B9A5-48BC5C2C9E11}"/>
                  </a:ext>
                </a:extLst>
              </p:cNvPr>
              <p:cNvCxnSpPr>
                <a:cxnSpLocks/>
              </p:cNvCxnSpPr>
              <p:nvPr/>
            </p:nvCxnSpPr>
            <p:spPr>
              <a:xfrm>
                <a:off x="9061705" y="4541933"/>
                <a:ext cx="0" cy="192205"/>
              </a:xfrm>
              <a:prstGeom prst="line">
                <a:avLst/>
              </a:prstGeom>
              <a:noFill/>
              <a:ln w="9525" cap="flat" cmpd="sng" algn="ctr">
                <a:solidFill>
                  <a:schemeClr val="accent1"/>
                </a:solidFill>
                <a:prstDash val="solid"/>
              </a:ln>
              <a:effectLst/>
            </p:spPr>
          </p:cxnSp>
        </p:grpSp>
        <p:grpSp>
          <p:nvGrpSpPr>
            <p:cNvPr id="340" name="Group 339">
              <a:extLst>
                <a:ext uri="{FF2B5EF4-FFF2-40B4-BE49-F238E27FC236}">
                  <a16:creationId xmlns:a16="http://schemas.microsoft.com/office/drawing/2014/main" id="{528A4216-437D-4635-ADBE-4E10F18D9EE7}"/>
                </a:ext>
              </a:extLst>
            </p:cNvPr>
            <p:cNvGrpSpPr/>
            <p:nvPr/>
          </p:nvGrpSpPr>
          <p:grpSpPr>
            <a:xfrm>
              <a:off x="5783252" y="4168203"/>
              <a:ext cx="53091" cy="100120"/>
              <a:chOff x="9029700" y="4535234"/>
              <a:chExt cx="64008" cy="214609"/>
            </a:xfrm>
          </p:grpSpPr>
          <p:cxnSp>
            <p:nvCxnSpPr>
              <p:cNvPr id="351" name="Straight Connector 350">
                <a:extLst>
                  <a:ext uri="{FF2B5EF4-FFF2-40B4-BE49-F238E27FC236}">
                    <a16:creationId xmlns:a16="http://schemas.microsoft.com/office/drawing/2014/main" id="{600C088F-67F9-4E16-9E52-21B63E528138}"/>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352" name="Straight Connector 351">
                <a:extLst>
                  <a:ext uri="{FF2B5EF4-FFF2-40B4-BE49-F238E27FC236}">
                    <a16:creationId xmlns:a16="http://schemas.microsoft.com/office/drawing/2014/main" id="{DB2CA5EA-892F-4F27-86D3-4D185D6DC50B}"/>
                  </a:ext>
                </a:extLst>
              </p:cNvPr>
              <p:cNvCxnSpPr/>
              <p:nvPr/>
            </p:nvCxnSpPr>
            <p:spPr>
              <a:xfrm>
                <a:off x="9029700" y="4739910"/>
                <a:ext cx="64008" cy="0"/>
              </a:xfrm>
              <a:prstGeom prst="line">
                <a:avLst/>
              </a:prstGeom>
              <a:noFill/>
              <a:ln w="9525" cap="flat" cmpd="sng" algn="ctr">
                <a:solidFill>
                  <a:schemeClr val="accent1"/>
                </a:solidFill>
                <a:prstDash val="solid"/>
              </a:ln>
              <a:effectLst/>
            </p:spPr>
          </p:cxnSp>
          <p:cxnSp>
            <p:nvCxnSpPr>
              <p:cNvPr id="353" name="Straight Connector 352">
                <a:extLst>
                  <a:ext uri="{FF2B5EF4-FFF2-40B4-BE49-F238E27FC236}">
                    <a16:creationId xmlns:a16="http://schemas.microsoft.com/office/drawing/2014/main" id="{FE8F2429-975D-4A7F-9EDC-C25A51E39A5D}"/>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sp>
          <p:nvSpPr>
            <p:cNvPr id="341" name="Oval 340">
              <a:extLst>
                <a:ext uri="{FF2B5EF4-FFF2-40B4-BE49-F238E27FC236}">
                  <a16:creationId xmlns:a16="http://schemas.microsoft.com/office/drawing/2014/main" id="{4A7B045B-088A-4480-A300-CE96056A509B}"/>
                </a:ext>
              </a:extLst>
            </p:cNvPr>
            <p:cNvSpPr/>
            <p:nvPr/>
          </p:nvSpPr>
          <p:spPr>
            <a:xfrm>
              <a:off x="4446896" y="4220674"/>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342" name="Oval 341">
              <a:extLst>
                <a:ext uri="{FF2B5EF4-FFF2-40B4-BE49-F238E27FC236}">
                  <a16:creationId xmlns:a16="http://schemas.microsoft.com/office/drawing/2014/main" id="{41B06055-0CF1-4A60-BFA3-49D4BBFD867A}"/>
                </a:ext>
              </a:extLst>
            </p:cNvPr>
            <p:cNvSpPr/>
            <p:nvPr/>
          </p:nvSpPr>
          <p:spPr>
            <a:xfrm>
              <a:off x="4893110" y="4287017"/>
              <a:ext cx="52130" cy="52130"/>
            </a:xfrm>
            <a:prstGeom prst="ellipse">
              <a:avLst/>
            </a:prstGeom>
            <a:solidFill>
              <a:schemeClr val="accent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nvGrpSpPr>
            <p:cNvPr id="343" name="Group 342">
              <a:extLst>
                <a:ext uri="{FF2B5EF4-FFF2-40B4-BE49-F238E27FC236}">
                  <a16:creationId xmlns:a16="http://schemas.microsoft.com/office/drawing/2014/main" id="{9C14B6B9-F404-41BA-94B8-365135D349B6}"/>
                </a:ext>
              </a:extLst>
            </p:cNvPr>
            <p:cNvGrpSpPr/>
            <p:nvPr/>
          </p:nvGrpSpPr>
          <p:grpSpPr>
            <a:xfrm>
              <a:off x="3221723" y="4326232"/>
              <a:ext cx="53091" cy="39777"/>
              <a:chOff x="9029700" y="4536281"/>
              <a:chExt cx="64008" cy="213837"/>
            </a:xfrm>
          </p:grpSpPr>
          <p:cxnSp>
            <p:nvCxnSpPr>
              <p:cNvPr id="349" name="Straight Connector 348">
                <a:extLst>
                  <a:ext uri="{FF2B5EF4-FFF2-40B4-BE49-F238E27FC236}">
                    <a16:creationId xmlns:a16="http://schemas.microsoft.com/office/drawing/2014/main" id="{D9CF9C83-86E1-440B-9E20-C2A4C11194E1}"/>
                  </a:ext>
                </a:extLst>
              </p:cNvPr>
              <p:cNvCxnSpPr/>
              <p:nvPr/>
            </p:nvCxnSpPr>
            <p:spPr>
              <a:xfrm>
                <a:off x="9029700" y="4536281"/>
                <a:ext cx="64008" cy="0"/>
              </a:xfrm>
              <a:prstGeom prst="line">
                <a:avLst/>
              </a:prstGeom>
              <a:noFill/>
              <a:ln w="9525" cap="flat" cmpd="sng" algn="ctr">
                <a:solidFill>
                  <a:schemeClr val="tx2"/>
                </a:solidFill>
                <a:prstDash val="solid"/>
              </a:ln>
              <a:effectLst/>
            </p:spPr>
          </p:cxnSp>
          <p:cxnSp>
            <p:nvCxnSpPr>
              <p:cNvPr id="350" name="Straight Connector 349">
                <a:extLst>
                  <a:ext uri="{FF2B5EF4-FFF2-40B4-BE49-F238E27FC236}">
                    <a16:creationId xmlns:a16="http://schemas.microsoft.com/office/drawing/2014/main" id="{276CAFAF-B537-465E-9AB5-5387F4EF17C3}"/>
                  </a:ext>
                </a:extLst>
              </p:cNvPr>
              <p:cNvCxnSpPr/>
              <p:nvPr/>
            </p:nvCxnSpPr>
            <p:spPr>
              <a:xfrm>
                <a:off x="9029700" y="4750118"/>
                <a:ext cx="64008" cy="0"/>
              </a:xfrm>
              <a:prstGeom prst="line">
                <a:avLst/>
              </a:prstGeom>
              <a:noFill/>
              <a:ln w="9525" cap="flat" cmpd="sng" algn="ctr">
                <a:solidFill>
                  <a:schemeClr val="tx2"/>
                </a:solidFill>
                <a:prstDash val="solid"/>
              </a:ln>
              <a:effectLst/>
            </p:spPr>
          </p:cxnSp>
        </p:grpSp>
        <p:grpSp>
          <p:nvGrpSpPr>
            <p:cNvPr id="344" name="Group 343">
              <a:extLst>
                <a:ext uri="{FF2B5EF4-FFF2-40B4-BE49-F238E27FC236}">
                  <a16:creationId xmlns:a16="http://schemas.microsoft.com/office/drawing/2014/main" id="{F562A9EC-E11B-4AF7-83B0-A36BC27A11AF}"/>
                </a:ext>
              </a:extLst>
            </p:cNvPr>
            <p:cNvGrpSpPr/>
            <p:nvPr/>
          </p:nvGrpSpPr>
          <p:grpSpPr>
            <a:xfrm>
              <a:off x="8328854" y="3732112"/>
              <a:ext cx="53091" cy="117346"/>
              <a:chOff x="9029700" y="4535234"/>
              <a:chExt cx="64008" cy="214609"/>
            </a:xfrm>
          </p:grpSpPr>
          <p:cxnSp>
            <p:nvCxnSpPr>
              <p:cNvPr id="346" name="Straight Connector 345">
                <a:extLst>
                  <a:ext uri="{FF2B5EF4-FFF2-40B4-BE49-F238E27FC236}">
                    <a16:creationId xmlns:a16="http://schemas.microsoft.com/office/drawing/2014/main" id="{2967415C-AA8D-4692-AA49-9293E7C88F93}"/>
                  </a:ext>
                </a:extLst>
              </p:cNvPr>
              <p:cNvCxnSpPr/>
              <p:nvPr/>
            </p:nvCxnSpPr>
            <p:spPr>
              <a:xfrm>
                <a:off x="9029700" y="4536281"/>
                <a:ext cx="64008" cy="0"/>
              </a:xfrm>
              <a:prstGeom prst="line">
                <a:avLst/>
              </a:prstGeom>
              <a:noFill/>
              <a:ln w="9525" cap="flat" cmpd="sng" algn="ctr">
                <a:solidFill>
                  <a:schemeClr val="accent1"/>
                </a:solidFill>
                <a:prstDash val="solid"/>
              </a:ln>
              <a:effectLst/>
            </p:spPr>
          </p:cxnSp>
          <p:cxnSp>
            <p:nvCxnSpPr>
              <p:cNvPr id="347" name="Straight Connector 346">
                <a:extLst>
                  <a:ext uri="{FF2B5EF4-FFF2-40B4-BE49-F238E27FC236}">
                    <a16:creationId xmlns:a16="http://schemas.microsoft.com/office/drawing/2014/main" id="{9CAE6C00-C24A-41F9-994A-B62F5B6C04BF}"/>
                  </a:ext>
                </a:extLst>
              </p:cNvPr>
              <p:cNvCxnSpPr/>
              <p:nvPr/>
            </p:nvCxnSpPr>
            <p:spPr>
              <a:xfrm>
                <a:off x="9029700" y="4737379"/>
                <a:ext cx="64008" cy="0"/>
              </a:xfrm>
              <a:prstGeom prst="line">
                <a:avLst/>
              </a:prstGeom>
              <a:noFill/>
              <a:ln w="9525" cap="flat" cmpd="sng" algn="ctr">
                <a:solidFill>
                  <a:schemeClr val="accent1"/>
                </a:solidFill>
                <a:prstDash val="solid"/>
              </a:ln>
              <a:effectLst/>
            </p:spPr>
          </p:cxnSp>
          <p:cxnSp>
            <p:nvCxnSpPr>
              <p:cNvPr id="348" name="Straight Connector 347">
                <a:extLst>
                  <a:ext uri="{FF2B5EF4-FFF2-40B4-BE49-F238E27FC236}">
                    <a16:creationId xmlns:a16="http://schemas.microsoft.com/office/drawing/2014/main" id="{96167CE0-4DE5-46B7-9C03-713E890BDE90}"/>
                  </a:ext>
                </a:extLst>
              </p:cNvPr>
              <p:cNvCxnSpPr>
                <a:cxnSpLocks/>
              </p:cNvCxnSpPr>
              <p:nvPr/>
            </p:nvCxnSpPr>
            <p:spPr>
              <a:xfrm>
                <a:off x="9061704" y="4535234"/>
                <a:ext cx="0" cy="214609"/>
              </a:xfrm>
              <a:prstGeom prst="line">
                <a:avLst/>
              </a:prstGeom>
              <a:noFill/>
              <a:ln w="9525" cap="flat" cmpd="sng" algn="ctr">
                <a:solidFill>
                  <a:schemeClr val="accent1"/>
                </a:solidFill>
                <a:prstDash val="solid"/>
              </a:ln>
              <a:effectLst/>
            </p:spPr>
          </p:cxnSp>
        </p:grpSp>
        <p:sp>
          <p:nvSpPr>
            <p:cNvPr id="345" name="Freeform: Shape 344">
              <a:extLst>
                <a:ext uri="{FF2B5EF4-FFF2-40B4-BE49-F238E27FC236}">
                  <a16:creationId xmlns:a16="http://schemas.microsoft.com/office/drawing/2014/main" id="{DB14E080-598A-4FD2-86EF-BC310547478A}"/>
                </a:ext>
              </a:extLst>
            </p:cNvPr>
            <p:cNvSpPr/>
            <p:nvPr/>
          </p:nvSpPr>
          <p:spPr>
            <a:xfrm>
              <a:off x="6575035" y="3721358"/>
              <a:ext cx="2672690" cy="421178"/>
            </a:xfrm>
            <a:custGeom>
              <a:avLst/>
              <a:gdLst>
                <a:gd name="connsiteX0" fmla="*/ 3760470 w 3760470"/>
                <a:gd name="connsiteY0" fmla="*/ 0 h 594360"/>
                <a:gd name="connsiteX1" fmla="*/ 3143250 w 3760470"/>
                <a:gd name="connsiteY1" fmla="*/ 102870 h 594360"/>
                <a:gd name="connsiteX2" fmla="*/ 2497455 w 3760470"/>
                <a:gd name="connsiteY2" fmla="*/ 97155 h 594360"/>
                <a:gd name="connsiteX3" fmla="*/ 1874520 w 3760470"/>
                <a:gd name="connsiteY3" fmla="*/ 105728 h 594360"/>
                <a:gd name="connsiteX4" fmla="*/ 1248727 w 3760470"/>
                <a:gd name="connsiteY4" fmla="*/ 134303 h 594360"/>
                <a:gd name="connsiteX5" fmla="*/ 634365 w 3760470"/>
                <a:gd name="connsiteY5" fmla="*/ 285750 h 594360"/>
                <a:gd name="connsiteX6" fmla="*/ 162877 w 3760470"/>
                <a:gd name="connsiteY6" fmla="*/ 542925 h 594360"/>
                <a:gd name="connsiteX7" fmla="*/ 68580 w 3760470"/>
                <a:gd name="connsiteY7" fmla="*/ 548640 h 594360"/>
                <a:gd name="connsiteX8" fmla="*/ 0 w 3760470"/>
                <a:gd name="connsiteY8" fmla="*/ 594360 h 594360"/>
                <a:gd name="connsiteX0" fmla="*/ 3760470 w 3760470"/>
                <a:gd name="connsiteY0" fmla="*/ 0 h 591017"/>
                <a:gd name="connsiteX1" fmla="*/ 3143250 w 3760470"/>
                <a:gd name="connsiteY1" fmla="*/ 99527 h 591017"/>
                <a:gd name="connsiteX2" fmla="*/ 2497455 w 3760470"/>
                <a:gd name="connsiteY2" fmla="*/ 93812 h 591017"/>
                <a:gd name="connsiteX3" fmla="*/ 1874520 w 3760470"/>
                <a:gd name="connsiteY3" fmla="*/ 102385 h 591017"/>
                <a:gd name="connsiteX4" fmla="*/ 1248727 w 3760470"/>
                <a:gd name="connsiteY4" fmla="*/ 130960 h 591017"/>
                <a:gd name="connsiteX5" fmla="*/ 634365 w 3760470"/>
                <a:gd name="connsiteY5" fmla="*/ 282407 h 591017"/>
                <a:gd name="connsiteX6" fmla="*/ 162877 w 3760470"/>
                <a:gd name="connsiteY6" fmla="*/ 539582 h 591017"/>
                <a:gd name="connsiteX7" fmla="*/ 68580 w 3760470"/>
                <a:gd name="connsiteY7" fmla="*/ 545297 h 591017"/>
                <a:gd name="connsiteX8" fmla="*/ 0 w 3760470"/>
                <a:gd name="connsiteY8" fmla="*/ 591017 h 591017"/>
                <a:gd name="connsiteX0" fmla="*/ 3757129 w 3757129"/>
                <a:gd name="connsiteY0" fmla="*/ 0 h 587676"/>
                <a:gd name="connsiteX1" fmla="*/ 3143250 w 3757129"/>
                <a:gd name="connsiteY1" fmla="*/ 96186 h 587676"/>
                <a:gd name="connsiteX2" fmla="*/ 2497455 w 3757129"/>
                <a:gd name="connsiteY2" fmla="*/ 90471 h 587676"/>
                <a:gd name="connsiteX3" fmla="*/ 1874520 w 3757129"/>
                <a:gd name="connsiteY3" fmla="*/ 99044 h 587676"/>
                <a:gd name="connsiteX4" fmla="*/ 1248727 w 3757129"/>
                <a:gd name="connsiteY4" fmla="*/ 127619 h 587676"/>
                <a:gd name="connsiteX5" fmla="*/ 634365 w 3757129"/>
                <a:gd name="connsiteY5" fmla="*/ 279066 h 587676"/>
                <a:gd name="connsiteX6" fmla="*/ 162877 w 3757129"/>
                <a:gd name="connsiteY6" fmla="*/ 536241 h 587676"/>
                <a:gd name="connsiteX7" fmla="*/ 68580 w 3757129"/>
                <a:gd name="connsiteY7" fmla="*/ 541956 h 587676"/>
                <a:gd name="connsiteX8" fmla="*/ 0 w 3757129"/>
                <a:gd name="connsiteY8" fmla="*/ 587676 h 587676"/>
                <a:gd name="connsiteX0" fmla="*/ 3757129 w 3757129"/>
                <a:gd name="connsiteY0" fmla="*/ 0 h 587676"/>
                <a:gd name="connsiteX1" fmla="*/ 3123202 w 3757129"/>
                <a:gd name="connsiteY1" fmla="*/ 99527 h 587676"/>
                <a:gd name="connsiteX2" fmla="*/ 2497455 w 3757129"/>
                <a:gd name="connsiteY2" fmla="*/ 90471 h 587676"/>
                <a:gd name="connsiteX3" fmla="*/ 1874520 w 3757129"/>
                <a:gd name="connsiteY3" fmla="*/ 99044 h 587676"/>
                <a:gd name="connsiteX4" fmla="*/ 1248727 w 3757129"/>
                <a:gd name="connsiteY4" fmla="*/ 127619 h 587676"/>
                <a:gd name="connsiteX5" fmla="*/ 634365 w 3757129"/>
                <a:gd name="connsiteY5" fmla="*/ 279066 h 587676"/>
                <a:gd name="connsiteX6" fmla="*/ 162877 w 3757129"/>
                <a:gd name="connsiteY6" fmla="*/ 536241 h 587676"/>
                <a:gd name="connsiteX7" fmla="*/ 68580 w 3757129"/>
                <a:gd name="connsiteY7" fmla="*/ 541956 h 587676"/>
                <a:gd name="connsiteX8" fmla="*/ 0 w 3757129"/>
                <a:gd name="connsiteY8" fmla="*/ 587676 h 587676"/>
                <a:gd name="connsiteX0" fmla="*/ 3750447 w 3750447"/>
                <a:gd name="connsiteY0" fmla="*/ 0 h 591017"/>
                <a:gd name="connsiteX1" fmla="*/ 3123202 w 3750447"/>
                <a:gd name="connsiteY1" fmla="*/ 102868 h 591017"/>
                <a:gd name="connsiteX2" fmla="*/ 2497455 w 3750447"/>
                <a:gd name="connsiteY2" fmla="*/ 93812 h 591017"/>
                <a:gd name="connsiteX3" fmla="*/ 1874520 w 3750447"/>
                <a:gd name="connsiteY3" fmla="*/ 102385 h 591017"/>
                <a:gd name="connsiteX4" fmla="*/ 1248727 w 3750447"/>
                <a:gd name="connsiteY4" fmla="*/ 130960 h 591017"/>
                <a:gd name="connsiteX5" fmla="*/ 634365 w 3750447"/>
                <a:gd name="connsiteY5" fmla="*/ 282407 h 591017"/>
                <a:gd name="connsiteX6" fmla="*/ 162877 w 3750447"/>
                <a:gd name="connsiteY6" fmla="*/ 539582 h 591017"/>
                <a:gd name="connsiteX7" fmla="*/ 68580 w 3750447"/>
                <a:gd name="connsiteY7" fmla="*/ 545297 h 591017"/>
                <a:gd name="connsiteX8" fmla="*/ 0 w 3750447"/>
                <a:gd name="connsiteY8" fmla="*/ 591017 h 591017"/>
                <a:gd name="connsiteX0" fmla="*/ 3750447 w 3750447"/>
                <a:gd name="connsiteY0" fmla="*/ 0 h 591017"/>
                <a:gd name="connsiteX1" fmla="*/ 3116520 w 3750447"/>
                <a:gd name="connsiteY1" fmla="*/ 99527 h 591017"/>
                <a:gd name="connsiteX2" fmla="*/ 2497455 w 3750447"/>
                <a:gd name="connsiteY2" fmla="*/ 93812 h 591017"/>
                <a:gd name="connsiteX3" fmla="*/ 1874520 w 3750447"/>
                <a:gd name="connsiteY3" fmla="*/ 102385 h 591017"/>
                <a:gd name="connsiteX4" fmla="*/ 1248727 w 3750447"/>
                <a:gd name="connsiteY4" fmla="*/ 130960 h 591017"/>
                <a:gd name="connsiteX5" fmla="*/ 634365 w 3750447"/>
                <a:gd name="connsiteY5" fmla="*/ 282407 h 591017"/>
                <a:gd name="connsiteX6" fmla="*/ 162877 w 3750447"/>
                <a:gd name="connsiteY6" fmla="*/ 539582 h 591017"/>
                <a:gd name="connsiteX7" fmla="*/ 68580 w 3750447"/>
                <a:gd name="connsiteY7" fmla="*/ 545297 h 591017"/>
                <a:gd name="connsiteX8" fmla="*/ 0 w 3750447"/>
                <a:gd name="connsiteY8" fmla="*/ 591017 h 59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0447" h="591017">
                  <a:moveTo>
                    <a:pt x="3750447" y="0"/>
                  </a:moveTo>
                  <a:lnTo>
                    <a:pt x="3116520" y="99527"/>
                  </a:lnTo>
                  <a:lnTo>
                    <a:pt x="2497455" y="93812"/>
                  </a:lnTo>
                  <a:lnTo>
                    <a:pt x="1874520" y="102385"/>
                  </a:lnTo>
                  <a:lnTo>
                    <a:pt x="1248727" y="130960"/>
                  </a:lnTo>
                  <a:lnTo>
                    <a:pt x="634365" y="282407"/>
                  </a:lnTo>
                  <a:lnTo>
                    <a:pt x="162877" y="539582"/>
                  </a:lnTo>
                  <a:lnTo>
                    <a:pt x="68580" y="545297"/>
                  </a:lnTo>
                  <a:lnTo>
                    <a:pt x="0" y="591017"/>
                  </a:lnTo>
                </a:path>
              </a:pathLst>
            </a:custGeom>
            <a:noFill/>
            <a:ln w="1905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sp>
        <p:nvSpPr>
          <p:cNvPr id="745" name="Rectangle 744" hidden="1">
            <a:extLst>
              <a:ext uri="{FF2B5EF4-FFF2-40B4-BE49-F238E27FC236}">
                <a16:creationId xmlns:a16="http://schemas.microsoft.com/office/drawing/2014/main" id="{A8BAD6F0-93D0-4B91-BE2D-2A7C4E2BEE78}"/>
              </a:ext>
            </a:extLst>
          </p:cNvPr>
          <p:cNvSpPr/>
          <p:nvPr/>
        </p:nvSpPr>
        <p:spPr>
          <a:xfrm>
            <a:off x="518770" y="2220373"/>
            <a:ext cx="7453420" cy="2840934"/>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a:ea typeface="+mn-ea"/>
              <a:cs typeface="+mn-cs"/>
            </a:endParaRPr>
          </a:p>
        </p:txBody>
      </p:sp>
      <p:grpSp>
        <p:nvGrpSpPr>
          <p:cNvPr id="93" name="Group 92" hidden="1">
            <a:extLst>
              <a:ext uri="{FF2B5EF4-FFF2-40B4-BE49-F238E27FC236}">
                <a16:creationId xmlns:a16="http://schemas.microsoft.com/office/drawing/2014/main" id="{F17120BB-A0C3-4567-B34B-B64BAC2B0B20}"/>
              </a:ext>
            </a:extLst>
          </p:cNvPr>
          <p:cNvGrpSpPr/>
          <p:nvPr/>
        </p:nvGrpSpPr>
        <p:grpSpPr>
          <a:xfrm>
            <a:off x="7065842" y="3387313"/>
            <a:ext cx="53362" cy="175332"/>
            <a:chOff x="9029700" y="4535234"/>
            <a:chExt cx="64008" cy="214609"/>
          </a:xfrm>
        </p:grpSpPr>
        <p:cxnSp>
          <p:nvCxnSpPr>
            <p:cNvPr id="166" name="Straight Connector 165">
              <a:extLst>
                <a:ext uri="{FF2B5EF4-FFF2-40B4-BE49-F238E27FC236}">
                  <a16:creationId xmlns:a16="http://schemas.microsoft.com/office/drawing/2014/main" id="{DDE3EFDF-0800-4274-BFCC-1D265C2A6883}"/>
                </a:ext>
              </a:extLst>
            </p:cNvPr>
            <p:cNvCxnSpPr/>
            <p:nvPr/>
          </p:nvCxnSpPr>
          <p:spPr>
            <a:xfrm>
              <a:off x="9029700" y="4536281"/>
              <a:ext cx="64008"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8BBA879-F066-4361-B7C6-5EC0D0D31A95}"/>
                </a:ext>
              </a:extLst>
            </p:cNvPr>
            <p:cNvCxnSpPr/>
            <p:nvPr/>
          </p:nvCxnSpPr>
          <p:spPr>
            <a:xfrm>
              <a:off x="9029700" y="4746088"/>
              <a:ext cx="64008"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4748567-C45B-4F12-B1AC-0753473C0DB6}"/>
                </a:ext>
              </a:extLst>
            </p:cNvPr>
            <p:cNvCxnSpPr>
              <a:cxnSpLocks/>
            </p:cNvCxnSpPr>
            <p:nvPr/>
          </p:nvCxnSpPr>
          <p:spPr>
            <a:xfrm>
              <a:off x="9061704" y="4535234"/>
              <a:ext cx="0" cy="214609"/>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748" name="Footer Placeholder 2">
            <a:extLst>
              <a:ext uri="{FF2B5EF4-FFF2-40B4-BE49-F238E27FC236}">
                <a16:creationId xmlns:a16="http://schemas.microsoft.com/office/drawing/2014/main" id="{3D6D1EB2-40DE-443F-B178-998EB001FC81}"/>
              </a:ext>
            </a:extLst>
          </p:cNvPr>
          <p:cNvSpPr txBox="1">
            <a:spLocks/>
          </p:cNvSpPr>
          <p:nvPr/>
        </p:nvSpPr>
        <p:spPr>
          <a:xfrm>
            <a:off x="482400" y="6238800"/>
            <a:ext cx="11232000" cy="421200"/>
          </a:xfrm>
        </p:spPr>
        <p:txBody>
          <a:bodyPr lIns="0" tIns="0" rIns="0" bIns="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80000"/>
              </a:lnSpc>
              <a:spcBef>
                <a:spcPts val="20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42B8B87B-AEFA-427A-A8BF-4FB823C049FA}"/>
              </a:ext>
            </a:extLst>
          </p:cNvPr>
          <p:cNvGrpSpPr/>
          <p:nvPr/>
        </p:nvGrpSpPr>
        <p:grpSpPr>
          <a:xfrm>
            <a:off x="2891643" y="3036338"/>
            <a:ext cx="7361773" cy="2840934"/>
            <a:chOff x="4385561" y="3332077"/>
            <a:chExt cx="7361773" cy="2840934"/>
          </a:xfrm>
        </p:grpSpPr>
        <p:sp>
          <p:nvSpPr>
            <p:cNvPr id="1041" name="Rectangle 1040">
              <a:extLst>
                <a:ext uri="{FF2B5EF4-FFF2-40B4-BE49-F238E27FC236}">
                  <a16:creationId xmlns:a16="http://schemas.microsoft.com/office/drawing/2014/main" id="{7AC8AABC-1927-4616-9952-29D4C02E6AC4}"/>
                </a:ext>
              </a:extLst>
            </p:cNvPr>
            <p:cNvSpPr/>
            <p:nvPr/>
          </p:nvSpPr>
          <p:spPr>
            <a:xfrm>
              <a:off x="4385561" y="3332077"/>
              <a:ext cx="7361773" cy="2840934"/>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a:ea typeface="+mn-ea"/>
                <a:cs typeface="+mn-cs"/>
              </a:endParaRPr>
            </a:p>
          </p:txBody>
        </p:sp>
        <p:sp>
          <p:nvSpPr>
            <p:cNvPr id="1128" name="Oval 1127">
              <a:extLst>
                <a:ext uri="{FF2B5EF4-FFF2-40B4-BE49-F238E27FC236}">
                  <a16:creationId xmlns:a16="http://schemas.microsoft.com/office/drawing/2014/main" id="{01CA3311-2327-483E-A04B-12795EE2B096}"/>
                </a:ext>
              </a:extLst>
            </p:cNvPr>
            <p:cNvSpPr/>
            <p:nvPr/>
          </p:nvSpPr>
          <p:spPr>
            <a:xfrm>
              <a:off x="9257102" y="4454326"/>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76" name="Group 1175">
              <a:extLst>
                <a:ext uri="{FF2B5EF4-FFF2-40B4-BE49-F238E27FC236}">
                  <a16:creationId xmlns:a16="http://schemas.microsoft.com/office/drawing/2014/main" id="{0846BBE3-2415-4BDC-9695-0D1015384E73}"/>
                </a:ext>
              </a:extLst>
            </p:cNvPr>
            <p:cNvGrpSpPr/>
            <p:nvPr/>
          </p:nvGrpSpPr>
          <p:grpSpPr>
            <a:xfrm>
              <a:off x="11488844" y="4298266"/>
              <a:ext cx="53319" cy="361528"/>
              <a:chOff x="11498892" y="4303290"/>
              <a:chExt cx="53319" cy="361528"/>
            </a:xfrm>
          </p:grpSpPr>
          <p:cxnSp>
            <p:nvCxnSpPr>
              <p:cNvPr id="1211" name="Straight Connector 1210">
                <a:extLst>
                  <a:ext uri="{FF2B5EF4-FFF2-40B4-BE49-F238E27FC236}">
                    <a16:creationId xmlns:a16="http://schemas.microsoft.com/office/drawing/2014/main" id="{B00FD47F-D20E-42EF-961C-5D083C839B05}"/>
                  </a:ext>
                </a:extLst>
              </p:cNvPr>
              <p:cNvCxnSpPr/>
              <p:nvPr/>
            </p:nvCxnSpPr>
            <p:spPr>
              <a:xfrm>
                <a:off x="11498892" y="4305054"/>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2" name="Straight Connector 1211">
                <a:extLst>
                  <a:ext uri="{FF2B5EF4-FFF2-40B4-BE49-F238E27FC236}">
                    <a16:creationId xmlns:a16="http://schemas.microsoft.com/office/drawing/2014/main" id="{7FC4BBD3-F319-4C25-B4CA-DEA45FBC5134}"/>
                  </a:ext>
                </a:extLst>
              </p:cNvPr>
              <p:cNvCxnSpPr/>
              <p:nvPr/>
            </p:nvCxnSpPr>
            <p:spPr>
              <a:xfrm>
                <a:off x="11498892" y="4661848"/>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3" name="Straight Connector 1212">
                <a:extLst>
                  <a:ext uri="{FF2B5EF4-FFF2-40B4-BE49-F238E27FC236}">
                    <a16:creationId xmlns:a16="http://schemas.microsoft.com/office/drawing/2014/main" id="{696A090A-97BB-4B4D-8B3C-DC18FAE5B9D2}"/>
                  </a:ext>
                </a:extLst>
              </p:cNvPr>
              <p:cNvCxnSpPr>
                <a:cxnSpLocks/>
              </p:cNvCxnSpPr>
              <p:nvPr/>
            </p:nvCxnSpPr>
            <p:spPr>
              <a:xfrm>
                <a:off x="11525552" y="4303290"/>
                <a:ext cx="0" cy="3615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77" name="Group 1176">
              <a:extLst>
                <a:ext uri="{FF2B5EF4-FFF2-40B4-BE49-F238E27FC236}">
                  <a16:creationId xmlns:a16="http://schemas.microsoft.com/office/drawing/2014/main" id="{22B129A8-9FBB-49AD-BA4B-08940B56A029}"/>
                </a:ext>
              </a:extLst>
            </p:cNvPr>
            <p:cNvGrpSpPr/>
            <p:nvPr/>
          </p:nvGrpSpPr>
          <p:grpSpPr>
            <a:xfrm>
              <a:off x="11040523" y="4037491"/>
              <a:ext cx="53319" cy="325765"/>
              <a:chOff x="11053083" y="4042515"/>
              <a:chExt cx="53319" cy="325765"/>
            </a:xfrm>
          </p:grpSpPr>
          <p:cxnSp>
            <p:nvCxnSpPr>
              <p:cNvPr id="1208" name="Straight Connector 1207">
                <a:extLst>
                  <a:ext uri="{FF2B5EF4-FFF2-40B4-BE49-F238E27FC236}">
                    <a16:creationId xmlns:a16="http://schemas.microsoft.com/office/drawing/2014/main" id="{957A4D64-4D20-418D-B6B6-31BBA7792764}"/>
                  </a:ext>
                </a:extLst>
              </p:cNvPr>
              <p:cNvCxnSpPr/>
              <p:nvPr/>
            </p:nvCxnSpPr>
            <p:spPr>
              <a:xfrm>
                <a:off x="11053083" y="4044104"/>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9" name="Straight Connector 1208">
                <a:extLst>
                  <a:ext uri="{FF2B5EF4-FFF2-40B4-BE49-F238E27FC236}">
                    <a16:creationId xmlns:a16="http://schemas.microsoft.com/office/drawing/2014/main" id="{5CF254D5-1709-4AEE-A4E0-2684189F6D86}"/>
                  </a:ext>
                </a:extLst>
              </p:cNvPr>
              <p:cNvCxnSpPr/>
              <p:nvPr/>
            </p:nvCxnSpPr>
            <p:spPr>
              <a:xfrm>
                <a:off x="11053083" y="4365604"/>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0" name="Straight Connector 1209">
                <a:extLst>
                  <a:ext uri="{FF2B5EF4-FFF2-40B4-BE49-F238E27FC236}">
                    <a16:creationId xmlns:a16="http://schemas.microsoft.com/office/drawing/2014/main" id="{6DF31845-2567-4348-8C6C-33A0AE1B8DE1}"/>
                  </a:ext>
                </a:extLst>
              </p:cNvPr>
              <p:cNvCxnSpPr>
                <a:cxnSpLocks/>
              </p:cNvCxnSpPr>
              <p:nvPr/>
            </p:nvCxnSpPr>
            <p:spPr>
              <a:xfrm>
                <a:off x="11079743" y="4042515"/>
                <a:ext cx="0" cy="3257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78" name="Group 1177">
              <a:extLst>
                <a:ext uri="{FF2B5EF4-FFF2-40B4-BE49-F238E27FC236}">
                  <a16:creationId xmlns:a16="http://schemas.microsoft.com/office/drawing/2014/main" id="{B593AF08-25E8-4CE8-B283-6ECA01002F13}"/>
                </a:ext>
              </a:extLst>
            </p:cNvPr>
            <p:cNvGrpSpPr/>
            <p:nvPr/>
          </p:nvGrpSpPr>
          <p:grpSpPr>
            <a:xfrm>
              <a:off x="10598001" y="4208693"/>
              <a:ext cx="53319" cy="252590"/>
              <a:chOff x="10603025" y="4213717"/>
              <a:chExt cx="53319" cy="252590"/>
            </a:xfrm>
          </p:grpSpPr>
          <p:cxnSp>
            <p:nvCxnSpPr>
              <p:cNvPr id="1205" name="Straight Connector 1204">
                <a:extLst>
                  <a:ext uri="{FF2B5EF4-FFF2-40B4-BE49-F238E27FC236}">
                    <a16:creationId xmlns:a16="http://schemas.microsoft.com/office/drawing/2014/main" id="{29E09781-251F-4467-89D2-E8C5620319C3}"/>
                  </a:ext>
                </a:extLst>
              </p:cNvPr>
              <p:cNvCxnSpPr/>
              <p:nvPr/>
            </p:nvCxnSpPr>
            <p:spPr>
              <a:xfrm>
                <a:off x="10603025" y="4214949"/>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6" name="Straight Connector 1205">
                <a:extLst>
                  <a:ext uri="{FF2B5EF4-FFF2-40B4-BE49-F238E27FC236}">
                    <a16:creationId xmlns:a16="http://schemas.microsoft.com/office/drawing/2014/main" id="{48BD97A6-1DB8-42DE-ACD0-A20C05A113FB}"/>
                  </a:ext>
                </a:extLst>
              </p:cNvPr>
              <p:cNvCxnSpPr/>
              <p:nvPr/>
            </p:nvCxnSpPr>
            <p:spPr>
              <a:xfrm>
                <a:off x="10603025" y="4464232"/>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7" name="Straight Connector 1206">
                <a:extLst>
                  <a:ext uri="{FF2B5EF4-FFF2-40B4-BE49-F238E27FC236}">
                    <a16:creationId xmlns:a16="http://schemas.microsoft.com/office/drawing/2014/main" id="{17D26A60-5638-4893-8C33-217019BFBBE6}"/>
                  </a:ext>
                </a:extLst>
              </p:cNvPr>
              <p:cNvCxnSpPr>
                <a:cxnSpLocks/>
              </p:cNvCxnSpPr>
              <p:nvPr/>
            </p:nvCxnSpPr>
            <p:spPr>
              <a:xfrm>
                <a:off x="10629685" y="4213717"/>
                <a:ext cx="0" cy="2525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79" name="Group 1178">
              <a:extLst>
                <a:ext uri="{FF2B5EF4-FFF2-40B4-BE49-F238E27FC236}">
                  <a16:creationId xmlns:a16="http://schemas.microsoft.com/office/drawing/2014/main" id="{DC3DDBCD-D185-40DD-AB43-6735ED448BCA}"/>
                </a:ext>
              </a:extLst>
            </p:cNvPr>
            <p:cNvGrpSpPr/>
            <p:nvPr/>
          </p:nvGrpSpPr>
          <p:grpSpPr>
            <a:xfrm>
              <a:off x="10150456" y="4279208"/>
              <a:ext cx="53319" cy="191538"/>
              <a:chOff x="10152968" y="4281720"/>
              <a:chExt cx="53319" cy="191538"/>
            </a:xfrm>
          </p:grpSpPr>
          <p:cxnSp>
            <p:nvCxnSpPr>
              <p:cNvPr id="1202" name="Straight Connector 1201">
                <a:extLst>
                  <a:ext uri="{FF2B5EF4-FFF2-40B4-BE49-F238E27FC236}">
                    <a16:creationId xmlns:a16="http://schemas.microsoft.com/office/drawing/2014/main" id="{9B44F573-69AA-4AF3-9851-76F8D98D12D1}"/>
                  </a:ext>
                </a:extLst>
              </p:cNvPr>
              <p:cNvCxnSpPr/>
              <p:nvPr/>
            </p:nvCxnSpPr>
            <p:spPr>
              <a:xfrm>
                <a:off x="10152968" y="4282654"/>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3" name="Straight Connector 1202">
                <a:extLst>
                  <a:ext uri="{FF2B5EF4-FFF2-40B4-BE49-F238E27FC236}">
                    <a16:creationId xmlns:a16="http://schemas.microsoft.com/office/drawing/2014/main" id="{C56A6FD6-26E8-4722-B401-2123F1C9FEE5}"/>
                  </a:ext>
                </a:extLst>
              </p:cNvPr>
              <p:cNvCxnSpPr/>
              <p:nvPr/>
            </p:nvCxnSpPr>
            <p:spPr>
              <a:xfrm>
                <a:off x="10152968" y="4469173"/>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4" name="Straight Connector 1203">
                <a:extLst>
                  <a:ext uri="{FF2B5EF4-FFF2-40B4-BE49-F238E27FC236}">
                    <a16:creationId xmlns:a16="http://schemas.microsoft.com/office/drawing/2014/main" id="{59089D30-F617-45FF-AE4C-78879F593B96}"/>
                  </a:ext>
                </a:extLst>
              </p:cNvPr>
              <p:cNvCxnSpPr>
                <a:cxnSpLocks/>
              </p:cNvCxnSpPr>
              <p:nvPr/>
            </p:nvCxnSpPr>
            <p:spPr>
              <a:xfrm>
                <a:off x="10179628" y="4281720"/>
                <a:ext cx="0" cy="19153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80" name="Group 1179">
              <a:extLst>
                <a:ext uri="{FF2B5EF4-FFF2-40B4-BE49-F238E27FC236}">
                  <a16:creationId xmlns:a16="http://schemas.microsoft.com/office/drawing/2014/main" id="{09DB7F99-EDA8-4BF5-A327-D292B0DA72D6}"/>
                </a:ext>
              </a:extLst>
            </p:cNvPr>
            <p:cNvGrpSpPr/>
            <p:nvPr/>
          </p:nvGrpSpPr>
          <p:grpSpPr>
            <a:xfrm>
              <a:off x="9701432" y="4219015"/>
              <a:ext cx="53319" cy="162687"/>
              <a:chOff x="9706194" y="4228801"/>
              <a:chExt cx="53319" cy="162687"/>
            </a:xfrm>
          </p:grpSpPr>
          <p:cxnSp>
            <p:nvCxnSpPr>
              <p:cNvPr id="1199" name="Straight Connector 1198">
                <a:extLst>
                  <a:ext uri="{FF2B5EF4-FFF2-40B4-BE49-F238E27FC236}">
                    <a16:creationId xmlns:a16="http://schemas.microsoft.com/office/drawing/2014/main" id="{EEFBB9D9-E515-4242-8D5B-B34652A6D95B}"/>
                  </a:ext>
                </a:extLst>
              </p:cNvPr>
              <p:cNvCxnSpPr/>
              <p:nvPr/>
            </p:nvCxnSpPr>
            <p:spPr>
              <a:xfrm>
                <a:off x="9706194" y="4231971"/>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0" name="Straight Connector 1199">
                <a:extLst>
                  <a:ext uri="{FF2B5EF4-FFF2-40B4-BE49-F238E27FC236}">
                    <a16:creationId xmlns:a16="http://schemas.microsoft.com/office/drawing/2014/main" id="{1BDAC855-45A7-4C31-B1B2-6CACFA6F6244}"/>
                  </a:ext>
                </a:extLst>
              </p:cNvPr>
              <p:cNvCxnSpPr/>
              <p:nvPr/>
            </p:nvCxnSpPr>
            <p:spPr>
              <a:xfrm>
                <a:off x="9706194" y="4391488"/>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1" name="Straight Connector 1200">
                <a:extLst>
                  <a:ext uri="{FF2B5EF4-FFF2-40B4-BE49-F238E27FC236}">
                    <a16:creationId xmlns:a16="http://schemas.microsoft.com/office/drawing/2014/main" id="{C8C7BC2A-9806-4260-9A8B-250D4CA27CBB}"/>
                  </a:ext>
                </a:extLst>
              </p:cNvPr>
              <p:cNvCxnSpPr>
                <a:cxnSpLocks/>
              </p:cNvCxnSpPr>
              <p:nvPr/>
            </p:nvCxnSpPr>
            <p:spPr>
              <a:xfrm>
                <a:off x="9732854" y="4228801"/>
                <a:ext cx="0" cy="16163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81" name="Group 1180">
              <a:extLst>
                <a:ext uri="{FF2B5EF4-FFF2-40B4-BE49-F238E27FC236}">
                  <a16:creationId xmlns:a16="http://schemas.microsoft.com/office/drawing/2014/main" id="{677A1D02-2437-496E-9E2C-7D195058B470}"/>
                </a:ext>
              </a:extLst>
            </p:cNvPr>
            <p:cNvGrpSpPr/>
            <p:nvPr/>
          </p:nvGrpSpPr>
          <p:grpSpPr>
            <a:xfrm>
              <a:off x="9254433" y="4421105"/>
              <a:ext cx="53319" cy="143280"/>
              <a:chOff x="9254433" y="4423588"/>
              <a:chExt cx="53319" cy="143280"/>
            </a:xfrm>
          </p:grpSpPr>
          <p:cxnSp>
            <p:nvCxnSpPr>
              <p:cNvPr id="1198" name="Straight Connector 1197">
                <a:extLst>
                  <a:ext uri="{FF2B5EF4-FFF2-40B4-BE49-F238E27FC236}">
                    <a16:creationId xmlns:a16="http://schemas.microsoft.com/office/drawing/2014/main" id="{D868BECB-CE5B-49D2-8EEE-D6C7312A97F3}"/>
                  </a:ext>
                </a:extLst>
              </p:cNvPr>
              <p:cNvCxnSpPr>
                <a:cxnSpLocks/>
              </p:cNvCxnSpPr>
              <p:nvPr/>
            </p:nvCxnSpPr>
            <p:spPr>
              <a:xfrm>
                <a:off x="9281093" y="4423588"/>
                <a:ext cx="0" cy="1432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a:extLst>
                  <a:ext uri="{FF2B5EF4-FFF2-40B4-BE49-F238E27FC236}">
                    <a16:creationId xmlns:a16="http://schemas.microsoft.com/office/drawing/2014/main" id="{A2B49913-1D32-4778-B35C-D8F87E859864}"/>
                  </a:ext>
                </a:extLst>
              </p:cNvPr>
              <p:cNvCxnSpPr/>
              <p:nvPr/>
            </p:nvCxnSpPr>
            <p:spPr>
              <a:xfrm>
                <a:off x="9254433" y="4424287"/>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7" name="Straight Connector 1196">
                <a:extLst>
                  <a:ext uri="{FF2B5EF4-FFF2-40B4-BE49-F238E27FC236}">
                    <a16:creationId xmlns:a16="http://schemas.microsoft.com/office/drawing/2014/main" id="{51D8B068-D1BA-4E91-AAB4-536922B89497}"/>
                  </a:ext>
                </a:extLst>
              </p:cNvPr>
              <p:cNvCxnSpPr/>
              <p:nvPr/>
            </p:nvCxnSpPr>
            <p:spPr>
              <a:xfrm>
                <a:off x="9254433" y="4565691"/>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85" name="Oval 1184">
              <a:extLst>
                <a:ext uri="{FF2B5EF4-FFF2-40B4-BE49-F238E27FC236}">
                  <a16:creationId xmlns:a16="http://schemas.microsoft.com/office/drawing/2014/main" id="{16A11601-21C5-4BB8-93BB-D2E4A3D5DA0E}"/>
                </a:ext>
              </a:extLst>
            </p:cNvPr>
            <p:cNvSpPr/>
            <p:nvPr/>
          </p:nvSpPr>
          <p:spPr>
            <a:xfrm>
              <a:off x="9257102" y="4464617"/>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56" name="Freeform: Shape 1155">
              <a:extLst>
                <a:ext uri="{FF2B5EF4-FFF2-40B4-BE49-F238E27FC236}">
                  <a16:creationId xmlns:a16="http://schemas.microsoft.com/office/drawing/2014/main" id="{EE90D5B1-54C7-4289-92B4-3209A2A8C46D}"/>
                </a:ext>
              </a:extLst>
            </p:cNvPr>
            <p:cNvSpPr/>
            <p:nvPr/>
          </p:nvSpPr>
          <p:spPr>
            <a:xfrm>
              <a:off x="8840226" y="4197613"/>
              <a:ext cx="2673101" cy="488871"/>
            </a:xfrm>
            <a:custGeom>
              <a:avLst/>
              <a:gdLst>
                <a:gd name="connsiteX0" fmla="*/ 3758292 w 3758292"/>
                <a:gd name="connsiteY0" fmla="*/ 38100 h 683078"/>
                <a:gd name="connsiteX1" fmla="*/ 3121478 w 3758292"/>
                <a:gd name="connsiteY1" fmla="*/ 274864 h 683078"/>
                <a:gd name="connsiteX2" fmla="*/ 2498271 w 3758292"/>
                <a:gd name="connsiteY2" fmla="*/ 329292 h 683078"/>
                <a:gd name="connsiteX3" fmla="*/ 1866900 w 3758292"/>
                <a:gd name="connsiteY3" fmla="*/ 0 h 683078"/>
                <a:gd name="connsiteX4" fmla="*/ 1246414 w 3758292"/>
                <a:gd name="connsiteY4" fmla="*/ 342900 h 683078"/>
                <a:gd name="connsiteX5" fmla="*/ 623207 w 3758292"/>
                <a:gd name="connsiteY5" fmla="*/ 400050 h 683078"/>
                <a:gd name="connsiteX6" fmla="*/ 144235 w 3758292"/>
                <a:gd name="connsiteY6" fmla="*/ 683078 h 683078"/>
                <a:gd name="connsiteX7" fmla="*/ 57150 w 3758292"/>
                <a:gd name="connsiteY7" fmla="*/ 544285 h 683078"/>
                <a:gd name="connsiteX8" fmla="*/ 0 w 3758292"/>
                <a:gd name="connsiteY8" fmla="*/ 291192 h 683078"/>
                <a:gd name="connsiteX0" fmla="*/ 3735003 w 3735003"/>
                <a:gd name="connsiteY0" fmla="*/ 44754 h 683078"/>
                <a:gd name="connsiteX1" fmla="*/ 3121478 w 3735003"/>
                <a:gd name="connsiteY1" fmla="*/ 274864 h 683078"/>
                <a:gd name="connsiteX2" fmla="*/ 2498271 w 3735003"/>
                <a:gd name="connsiteY2" fmla="*/ 329292 h 683078"/>
                <a:gd name="connsiteX3" fmla="*/ 1866900 w 3735003"/>
                <a:gd name="connsiteY3" fmla="*/ 0 h 683078"/>
                <a:gd name="connsiteX4" fmla="*/ 1246414 w 3735003"/>
                <a:gd name="connsiteY4" fmla="*/ 342900 h 683078"/>
                <a:gd name="connsiteX5" fmla="*/ 623207 w 3735003"/>
                <a:gd name="connsiteY5" fmla="*/ 400050 h 683078"/>
                <a:gd name="connsiteX6" fmla="*/ 144235 w 3735003"/>
                <a:gd name="connsiteY6" fmla="*/ 683078 h 683078"/>
                <a:gd name="connsiteX7" fmla="*/ 57150 w 3735003"/>
                <a:gd name="connsiteY7" fmla="*/ 544285 h 683078"/>
                <a:gd name="connsiteX8" fmla="*/ 0 w 3735003"/>
                <a:gd name="connsiteY8" fmla="*/ 291192 h 683078"/>
                <a:gd name="connsiteX0" fmla="*/ 3735003 w 3735003"/>
                <a:gd name="connsiteY0" fmla="*/ 44754 h 683078"/>
                <a:gd name="connsiteX1" fmla="*/ 3108169 w 3735003"/>
                <a:gd name="connsiteY1" fmla="*/ 274863 h 683078"/>
                <a:gd name="connsiteX2" fmla="*/ 2498271 w 3735003"/>
                <a:gd name="connsiteY2" fmla="*/ 329292 h 683078"/>
                <a:gd name="connsiteX3" fmla="*/ 1866900 w 3735003"/>
                <a:gd name="connsiteY3" fmla="*/ 0 h 683078"/>
                <a:gd name="connsiteX4" fmla="*/ 1246414 w 3735003"/>
                <a:gd name="connsiteY4" fmla="*/ 342900 h 683078"/>
                <a:gd name="connsiteX5" fmla="*/ 623207 w 3735003"/>
                <a:gd name="connsiteY5" fmla="*/ 400050 h 683078"/>
                <a:gd name="connsiteX6" fmla="*/ 144235 w 3735003"/>
                <a:gd name="connsiteY6" fmla="*/ 683078 h 683078"/>
                <a:gd name="connsiteX7" fmla="*/ 57150 w 3735003"/>
                <a:gd name="connsiteY7" fmla="*/ 544285 h 683078"/>
                <a:gd name="connsiteX8" fmla="*/ 0 w 3735003"/>
                <a:gd name="connsiteY8" fmla="*/ 291192 h 683078"/>
                <a:gd name="connsiteX0" fmla="*/ 3735003 w 3735003"/>
                <a:gd name="connsiteY0" fmla="*/ 44754 h 683078"/>
                <a:gd name="connsiteX1" fmla="*/ 3108169 w 3735003"/>
                <a:gd name="connsiteY1" fmla="*/ 274863 h 683078"/>
                <a:gd name="connsiteX2" fmla="*/ 2484962 w 3735003"/>
                <a:gd name="connsiteY2" fmla="*/ 329292 h 683078"/>
                <a:gd name="connsiteX3" fmla="*/ 1866900 w 3735003"/>
                <a:gd name="connsiteY3" fmla="*/ 0 h 683078"/>
                <a:gd name="connsiteX4" fmla="*/ 1246414 w 3735003"/>
                <a:gd name="connsiteY4" fmla="*/ 342900 h 683078"/>
                <a:gd name="connsiteX5" fmla="*/ 623207 w 3735003"/>
                <a:gd name="connsiteY5" fmla="*/ 400050 h 683078"/>
                <a:gd name="connsiteX6" fmla="*/ 144235 w 3735003"/>
                <a:gd name="connsiteY6" fmla="*/ 683078 h 683078"/>
                <a:gd name="connsiteX7" fmla="*/ 57150 w 3735003"/>
                <a:gd name="connsiteY7" fmla="*/ 544285 h 683078"/>
                <a:gd name="connsiteX8" fmla="*/ 0 w 3735003"/>
                <a:gd name="connsiteY8" fmla="*/ 291192 h 683078"/>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6414 w 3735003"/>
                <a:gd name="connsiteY4" fmla="*/ 339572 h 679750"/>
                <a:gd name="connsiteX5" fmla="*/ 623207 w 3735003"/>
                <a:gd name="connsiteY5" fmla="*/ 396722 h 679750"/>
                <a:gd name="connsiteX6" fmla="*/ 144235 w 3735003"/>
                <a:gd name="connsiteY6" fmla="*/ 679750 h 679750"/>
                <a:gd name="connsiteX7" fmla="*/ 57150 w 3735003"/>
                <a:gd name="connsiteY7" fmla="*/ 540957 h 679750"/>
                <a:gd name="connsiteX8" fmla="*/ 0 w 3735003"/>
                <a:gd name="connsiteY8" fmla="*/ 287864 h 679750"/>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3087 w 3735003"/>
                <a:gd name="connsiteY4" fmla="*/ 329591 h 679750"/>
                <a:gd name="connsiteX5" fmla="*/ 623207 w 3735003"/>
                <a:gd name="connsiteY5" fmla="*/ 396722 h 679750"/>
                <a:gd name="connsiteX6" fmla="*/ 144235 w 3735003"/>
                <a:gd name="connsiteY6" fmla="*/ 679750 h 679750"/>
                <a:gd name="connsiteX7" fmla="*/ 57150 w 3735003"/>
                <a:gd name="connsiteY7" fmla="*/ 540957 h 679750"/>
                <a:gd name="connsiteX8" fmla="*/ 0 w 3735003"/>
                <a:gd name="connsiteY8" fmla="*/ 287864 h 679750"/>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3087 w 3735003"/>
                <a:gd name="connsiteY4" fmla="*/ 329591 h 679750"/>
                <a:gd name="connsiteX5" fmla="*/ 619879 w 3735003"/>
                <a:gd name="connsiteY5" fmla="*/ 393395 h 679750"/>
                <a:gd name="connsiteX6" fmla="*/ 144235 w 3735003"/>
                <a:gd name="connsiteY6" fmla="*/ 679750 h 679750"/>
                <a:gd name="connsiteX7" fmla="*/ 57150 w 3735003"/>
                <a:gd name="connsiteY7" fmla="*/ 540957 h 679750"/>
                <a:gd name="connsiteX8" fmla="*/ 0 w 3735003"/>
                <a:gd name="connsiteY8" fmla="*/ 287864 h 679750"/>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3087 w 3735003"/>
                <a:gd name="connsiteY4" fmla="*/ 329591 h 679750"/>
                <a:gd name="connsiteX5" fmla="*/ 619879 w 3735003"/>
                <a:gd name="connsiteY5" fmla="*/ 393395 h 679750"/>
                <a:gd name="connsiteX6" fmla="*/ 144235 w 3735003"/>
                <a:gd name="connsiteY6" fmla="*/ 679750 h 679750"/>
                <a:gd name="connsiteX7" fmla="*/ 63804 w 3735003"/>
                <a:gd name="connsiteY7" fmla="*/ 560921 h 679750"/>
                <a:gd name="connsiteX8" fmla="*/ 0 w 3735003"/>
                <a:gd name="connsiteY8" fmla="*/ 287864 h 679750"/>
                <a:gd name="connsiteX0" fmla="*/ 3738330 w 3738330"/>
                <a:gd name="connsiteY0" fmla="*/ 41426 h 679750"/>
                <a:gd name="connsiteX1" fmla="*/ 3111496 w 3738330"/>
                <a:gd name="connsiteY1" fmla="*/ 271535 h 679750"/>
                <a:gd name="connsiteX2" fmla="*/ 2488289 w 3738330"/>
                <a:gd name="connsiteY2" fmla="*/ 325964 h 679750"/>
                <a:gd name="connsiteX3" fmla="*/ 1866899 w 3738330"/>
                <a:gd name="connsiteY3" fmla="*/ 0 h 679750"/>
                <a:gd name="connsiteX4" fmla="*/ 1246414 w 3738330"/>
                <a:gd name="connsiteY4" fmla="*/ 329591 h 679750"/>
                <a:gd name="connsiteX5" fmla="*/ 623206 w 3738330"/>
                <a:gd name="connsiteY5" fmla="*/ 393395 h 679750"/>
                <a:gd name="connsiteX6" fmla="*/ 147562 w 3738330"/>
                <a:gd name="connsiteY6" fmla="*/ 679750 h 679750"/>
                <a:gd name="connsiteX7" fmla="*/ 67131 w 3738330"/>
                <a:gd name="connsiteY7" fmla="*/ 560921 h 679750"/>
                <a:gd name="connsiteX8" fmla="*/ 0 w 3738330"/>
                <a:gd name="connsiteY8" fmla="*/ 284537 h 679750"/>
                <a:gd name="connsiteX0" fmla="*/ 3738330 w 3738330"/>
                <a:gd name="connsiteY0" fmla="*/ 41426 h 679750"/>
                <a:gd name="connsiteX1" fmla="*/ 3111496 w 3738330"/>
                <a:gd name="connsiteY1" fmla="*/ 271535 h 679750"/>
                <a:gd name="connsiteX2" fmla="*/ 2488289 w 3738330"/>
                <a:gd name="connsiteY2" fmla="*/ 325964 h 679750"/>
                <a:gd name="connsiteX3" fmla="*/ 1866899 w 3738330"/>
                <a:gd name="connsiteY3" fmla="*/ 0 h 679750"/>
                <a:gd name="connsiteX4" fmla="*/ 1246414 w 3738330"/>
                <a:gd name="connsiteY4" fmla="*/ 329591 h 679750"/>
                <a:gd name="connsiteX5" fmla="*/ 623206 w 3738330"/>
                <a:gd name="connsiteY5" fmla="*/ 393395 h 679750"/>
                <a:gd name="connsiteX6" fmla="*/ 157543 w 3738330"/>
                <a:gd name="connsiteY6" fmla="*/ 679750 h 679750"/>
                <a:gd name="connsiteX7" fmla="*/ 67131 w 3738330"/>
                <a:gd name="connsiteY7" fmla="*/ 560921 h 679750"/>
                <a:gd name="connsiteX8" fmla="*/ 0 w 3738330"/>
                <a:gd name="connsiteY8" fmla="*/ 284537 h 679750"/>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3087 w 3735003"/>
                <a:gd name="connsiteY4" fmla="*/ 329591 h 679750"/>
                <a:gd name="connsiteX5" fmla="*/ 619879 w 3735003"/>
                <a:gd name="connsiteY5" fmla="*/ 393395 h 679750"/>
                <a:gd name="connsiteX6" fmla="*/ 154216 w 3735003"/>
                <a:gd name="connsiteY6" fmla="*/ 679750 h 679750"/>
                <a:gd name="connsiteX7" fmla="*/ 63804 w 3735003"/>
                <a:gd name="connsiteY7" fmla="*/ 560921 h 679750"/>
                <a:gd name="connsiteX8" fmla="*/ 0 w 3735003"/>
                <a:gd name="connsiteY8" fmla="*/ 287864 h 679750"/>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3087 w 3735003"/>
                <a:gd name="connsiteY4" fmla="*/ 329591 h 679750"/>
                <a:gd name="connsiteX5" fmla="*/ 619879 w 3735003"/>
                <a:gd name="connsiteY5" fmla="*/ 393395 h 679750"/>
                <a:gd name="connsiteX6" fmla="*/ 154216 w 3735003"/>
                <a:gd name="connsiteY6" fmla="*/ 679750 h 679750"/>
                <a:gd name="connsiteX7" fmla="*/ 67131 w 3735003"/>
                <a:gd name="connsiteY7" fmla="*/ 560921 h 679750"/>
                <a:gd name="connsiteX8" fmla="*/ 0 w 3735003"/>
                <a:gd name="connsiteY8" fmla="*/ 287864 h 679750"/>
                <a:gd name="connsiteX0" fmla="*/ 3735003 w 3735003"/>
                <a:gd name="connsiteY0" fmla="*/ 41426 h 679750"/>
                <a:gd name="connsiteX1" fmla="*/ 3108169 w 3735003"/>
                <a:gd name="connsiteY1" fmla="*/ 271535 h 679750"/>
                <a:gd name="connsiteX2" fmla="*/ 2484962 w 3735003"/>
                <a:gd name="connsiteY2" fmla="*/ 325964 h 679750"/>
                <a:gd name="connsiteX3" fmla="*/ 1863572 w 3735003"/>
                <a:gd name="connsiteY3" fmla="*/ 0 h 679750"/>
                <a:gd name="connsiteX4" fmla="*/ 1243087 w 3735003"/>
                <a:gd name="connsiteY4" fmla="*/ 329591 h 679750"/>
                <a:gd name="connsiteX5" fmla="*/ 619879 w 3735003"/>
                <a:gd name="connsiteY5" fmla="*/ 390069 h 679750"/>
                <a:gd name="connsiteX6" fmla="*/ 154216 w 3735003"/>
                <a:gd name="connsiteY6" fmla="*/ 679750 h 679750"/>
                <a:gd name="connsiteX7" fmla="*/ 67131 w 3735003"/>
                <a:gd name="connsiteY7" fmla="*/ 560921 h 679750"/>
                <a:gd name="connsiteX8" fmla="*/ 0 w 3735003"/>
                <a:gd name="connsiteY8" fmla="*/ 287864 h 679750"/>
                <a:gd name="connsiteX0" fmla="*/ 3735003 w 3735003"/>
                <a:gd name="connsiteY0" fmla="*/ 44753 h 683077"/>
                <a:gd name="connsiteX1" fmla="*/ 3108169 w 3735003"/>
                <a:gd name="connsiteY1" fmla="*/ 274862 h 683077"/>
                <a:gd name="connsiteX2" fmla="*/ 2484962 w 3735003"/>
                <a:gd name="connsiteY2" fmla="*/ 329291 h 683077"/>
                <a:gd name="connsiteX3" fmla="*/ 1866899 w 3735003"/>
                <a:gd name="connsiteY3" fmla="*/ 0 h 683077"/>
                <a:gd name="connsiteX4" fmla="*/ 1243087 w 3735003"/>
                <a:gd name="connsiteY4" fmla="*/ 332918 h 683077"/>
                <a:gd name="connsiteX5" fmla="*/ 619879 w 3735003"/>
                <a:gd name="connsiteY5" fmla="*/ 393396 h 683077"/>
                <a:gd name="connsiteX6" fmla="*/ 154216 w 3735003"/>
                <a:gd name="connsiteY6" fmla="*/ 683077 h 683077"/>
                <a:gd name="connsiteX7" fmla="*/ 67131 w 3735003"/>
                <a:gd name="connsiteY7" fmla="*/ 564248 h 683077"/>
                <a:gd name="connsiteX8" fmla="*/ 0 w 3735003"/>
                <a:gd name="connsiteY8" fmla="*/ 291191 h 683077"/>
                <a:gd name="connsiteX0" fmla="*/ 3735003 w 3735003"/>
                <a:gd name="connsiteY0" fmla="*/ 44753 h 683077"/>
                <a:gd name="connsiteX1" fmla="*/ 3108169 w 3735003"/>
                <a:gd name="connsiteY1" fmla="*/ 274862 h 683077"/>
                <a:gd name="connsiteX2" fmla="*/ 2491615 w 3735003"/>
                <a:gd name="connsiteY2" fmla="*/ 329291 h 683077"/>
                <a:gd name="connsiteX3" fmla="*/ 1866899 w 3735003"/>
                <a:gd name="connsiteY3" fmla="*/ 0 h 683077"/>
                <a:gd name="connsiteX4" fmla="*/ 1243087 w 3735003"/>
                <a:gd name="connsiteY4" fmla="*/ 332918 h 683077"/>
                <a:gd name="connsiteX5" fmla="*/ 619879 w 3735003"/>
                <a:gd name="connsiteY5" fmla="*/ 393396 h 683077"/>
                <a:gd name="connsiteX6" fmla="*/ 154216 w 3735003"/>
                <a:gd name="connsiteY6" fmla="*/ 683077 h 683077"/>
                <a:gd name="connsiteX7" fmla="*/ 67131 w 3735003"/>
                <a:gd name="connsiteY7" fmla="*/ 564248 h 683077"/>
                <a:gd name="connsiteX8" fmla="*/ 0 w 3735003"/>
                <a:gd name="connsiteY8" fmla="*/ 291191 h 683077"/>
                <a:gd name="connsiteX0" fmla="*/ 3735003 w 3735003"/>
                <a:gd name="connsiteY0" fmla="*/ 44753 h 683077"/>
                <a:gd name="connsiteX1" fmla="*/ 3108169 w 3735003"/>
                <a:gd name="connsiteY1" fmla="*/ 274862 h 683077"/>
                <a:gd name="connsiteX2" fmla="*/ 2491615 w 3735003"/>
                <a:gd name="connsiteY2" fmla="*/ 329291 h 683077"/>
                <a:gd name="connsiteX3" fmla="*/ 1866899 w 3735003"/>
                <a:gd name="connsiteY3" fmla="*/ 0 h 683077"/>
                <a:gd name="connsiteX4" fmla="*/ 1243087 w 3735003"/>
                <a:gd name="connsiteY4" fmla="*/ 332918 h 683077"/>
                <a:gd name="connsiteX5" fmla="*/ 619879 w 3735003"/>
                <a:gd name="connsiteY5" fmla="*/ 393396 h 683077"/>
                <a:gd name="connsiteX6" fmla="*/ 154216 w 3735003"/>
                <a:gd name="connsiteY6" fmla="*/ 683077 h 683077"/>
                <a:gd name="connsiteX7" fmla="*/ 67131 w 3735003"/>
                <a:gd name="connsiteY7" fmla="*/ 564248 h 683077"/>
                <a:gd name="connsiteX8" fmla="*/ 0 w 3735003"/>
                <a:gd name="connsiteY8" fmla="*/ 291191 h 683077"/>
                <a:gd name="connsiteX0" fmla="*/ 3735003 w 3735003"/>
                <a:gd name="connsiteY0" fmla="*/ 44753 h 683077"/>
                <a:gd name="connsiteX1" fmla="*/ 3108169 w 3735003"/>
                <a:gd name="connsiteY1" fmla="*/ 274862 h 683077"/>
                <a:gd name="connsiteX2" fmla="*/ 2491615 w 3735003"/>
                <a:gd name="connsiteY2" fmla="*/ 325964 h 683077"/>
                <a:gd name="connsiteX3" fmla="*/ 1866899 w 3735003"/>
                <a:gd name="connsiteY3" fmla="*/ 0 h 683077"/>
                <a:gd name="connsiteX4" fmla="*/ 1243087 w 3735003"/>
                <a:gd name="connsiteY4" fmla="*/ 332918 h 683077"/>
                <a:gd name="connsiteX5" fmla="*/ 619879 w 3735003"/>
                <a:gd name="connsiteY5" fmla="*/ 393396 h 683077"/>
                <a:gd name="connsiteX6" fmla="*/ 154216 w 3735003"/>
                <a:gd name="connsiteY6" fmla="*/ 683077 h 683077"/>
                <a:gd name="connsiteX7" fmla="*/ 67131 w 3735003"/>
                <a:gd name="connsiteY7" fmla="*/ 564248 h 683077"/>
                <a:gd name="connsiteX8" fmla="*/ 0 w 3735003"/>
                <a:gd name="connsiteY8" fmla="*/ 291191 h 683077"/>
                <a:gd name="connsiteX0" fmla="*/ 3735003 w 3735003"/>
                <a:gd name="connsiteY0" fmla="*/ 44753 h 683077"/>
                <a:gd name="connsiteX1" fmla="*/ 3114825 w 3735003"/>
                <a:gd name="connsiteY1" fmla="*/ 268209 h 683077"/>
                <a:gd name="connsiteX2" fmla="*/ 2491615 w 3735003"/>
                <a:gd name="connsiteY2" fmla="*/ 325964 h 683077"/>
                <a:gd name="connsiteX3" fmla="*/ 1866899 w 3735003"/>
                <a:gd name="connsiteY3" fmla="*/ 0 h 683077"/>
                <a:gd name="connsiteX4" fmla="*/ 1243087 w 3735003"/>
                <a:gd name="connsiteY4" fmla="*/ 332918 h 683077"/>
                <a:gd name="connsiteX5" fmla="*/ 619879 w 3735003"/>
                <a:gd name="connsiteY5" fmla="*/ 393396 h 683077"/>
                <a:gd name="connsiteX6" fmla="*/ 154216 w 3735003"/>
                <a:gd name="connsiteY6" fmla="*/ 683077 h 683077"/>
                <a:gd name="connsiteX7" fmla="*/ 67131 w 3735003"/>
                <a:gd name="connsiteY7" fmla="*/ 564248 h 683077"/>
                <a:gd name="connsiteX8" fmla="*/ 0 w 3735003"/>
                <a:gd name="connsiteY8" fmla="*/ 291191 h 683077"/>
                <a:gd name="connsiteX0" fmla="*/ 3735003 w 3735003"/>
                <a:gd name="connsiteY0" fmla="*/ 38098 h 683077"/>
                <a:gd name="connsiteX1" fmla="*/ 3114825 w 3735003"/>
                <a:gd name="connsiteY1" fmla="*/ 268209 h 683077"/>
                <a:gd name="connsiteX2" fmla="*/ 2491615 w 3735003"/>
                <a:gd name="connsiteY2" fmla="*/ 325964 h 683077"/>
                <a:gd name="connsiteX3" fmla="*/ 1866899 w 3735003"/>
                <a:gd name="connsiteY3" fmla="*/ 0 h 683077"/>
                <a:gd name="connsiteX4" fmla="*/ 1243087 w 3735003"/>
                <a:gd name="connsiteY4" fmla="*/ 332918 h 683077"/>
                <a:gd name="connsiteX5" fmla="*/ 619879 w 3735003"/>
                <a:gd name="connsiteY5" fmla="*/ 393396 h 683077"/>
                <a:gd name="connsiteX6" fmla="*/ 154216 w 3735003"/>
                <a:gd name="connsiteY6" fmla="*/ 683077 h 683077"/>
                <a:gd name="connsiteX7" fmla="*/ 67131 w 3735003"/>
                <a:gd name="connsiteY7" fmla="*/ 564248 h 683077"/>
                <a:gd name="connsiteX8" fmla="*/ 0 w 3735003"/>
                <a:gd name="connsiteY8" fmla="*/ 291191 h 68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5003" h="683077">
                  <a:moveTo>
                    <a:pt x="3735003" y="38098"/>
                  </a:moveTo>
                  <a:lnTo>
                    <a:pt x="3114825" y="268209"/>
                  </a:lnTo>
                  <a:lnTo>
                    <a:pt x="2491615" y="325964"/>
                  </a:lnTo>
                  <a:lnTo>
                    <a:pt x="1866899" y="0"/>
                  </a:lnTo>
                  <a:lnTo>
                    <a:pt x="1243087" y="332918"/>
                  </a:lnTo>
                  <a:lnTo>
                    <a:pt x="619879" y="393396"/>
                  </a:lnTo>
                  <a:lnTo>
                    <a:pt x="154216" y="683077"/>
                  </a:lnTo>
                  <a:lnTo>
                    <a:pt x="67131" y="564248"/>
                  </a:lnTo>
                  <a:lnTo>
                    <a:pt x="0" y="291191"/>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7" name="Freeform: Shape 1136">
              <a:extLst>
                <a:ext uri="{FF2B5EF4-FFF2-40B4-BE49-F238E27FC236}">
                  <a16:creationId xmlns:a16="http://schemas.microsoft.com/office/drawing/2014/main" id="{D0D5FEE7-5A88-467E-A336-AAD881DA49A5}"/>
                </a:ext>
              </a:extLst>
            </p:cNvPr>
            <p:cNvSpPr/>
            <p:nvPr/>
          </p:nvSpPr>
          <p:spPr>
            <a:xfrm>
              <a:off x="5387666" y="4345798"/>
              <a:ext cx="2671213" cy="230048"/>
            </a:xfrm>
            <a:custGeom>
              <a:avLst/>
              <a:gdLst>
                <a:gd name="connsiteX0" fmla="*/ 3729037 w 3729037"/>
                <a:gd name="connsiteY0" fmla="*/ 0 h 319088"/>
                <a:gd name="connsiteX1" fmla="*/ 3109912 w 3729037"/>
                <a:gd name="connsiteY1" fmla="*/ 14288 h 319088"/>
                <a:gd name="connsiteX2" fmla="*/ 2490787 w 3729037"/>
                <a:gd name="connsiteY2" fmla="*/ 142875 h 319088"/>
                <a:gd name="connsiteX3" fmla="*/ 1862137 w 3729037"/>
                <a:gd name="connsiteY3" fmla="*/ 76200 h 319088"/>
                <a:gd name="connsiteX4" fmla="*/ 1243012 w 3729037"/>
                <a:gd name="connsiteY4" fmla="*/ 100013 h 319088"/>
                <a:gd name="connsiteX5" fmla="*/ 614362 w 3729037"/>
                <a:gd name="connsiteY5" fmla="*/ 114300 h 319088"/>
                <a:gd name="connsiteX6" fmla="*/ 166687 w 3729037"/>
                <a:gd name="connsiteY6" fmla="*/ 319088 h 319088"/>
                <a:gd name="connsiteX7" fmla="*/ 66675 w 3729037"/>
                <a:gd name="connsiteY7" fmla="*/ 285750 h 319088"/>
                <a:gd name="connsiteX8" fmla="*/ 0 w 3729037"/>
                <a:gd name="connsiteY8" fmla="*/ 71438 h 319088"/>
                <a:gd name="connsiteX0" fmla="*/ 3712401 w 3712401"/>
                <a:gd name="connsiteY0" fmla="*/ 0 h 319088"/>
                <a:gd name="connsiteX1" fmla="*/ 3093276 w 3712401"/>
                <a:gd name="connsiteY1" fmla="*/ 14288 h 319088"/>
                <a:gd name="connsiteX2" fmla="*/ 2474151 w 3712401"/>
                <a:gd name="connsiteY2" fmla="*/ 142875 h 319088"/>
                <a:gd name="connsiteX3" fmla="*/ 1845501 w 3712401"/>
                <a:gd name="connsiteY3" fmla="*/ 76200 h 319088"/>
                <a:gd name="connsiteX4" fmla="*/ 1226376 w 3712401"/>
                <a:gd name="connsiteY4" fmla="*/ 100013 h 319088"/>
                <a:gd name="connsiteX5" fmla="*/ 597726 w 3712401"/>
                <a:gd name="connsiteY5" fmla="*/ 114300 h 319088"/>
                <a:gd name="connsiteX6" fmla="*/ 150051 w 3712401"/>
                <a:gd name="connsiteY6" fmla="*/ 319088 h 319088"/>
                <a:gd name="connsiteX7" fmla="*/ 50039 w 3712401"/>
                <a:gd name="connsiteY7" fmla="*/ 285750 h 319088"/>
                <a:gd name="connsiteX8" fmla="*/ 0 w 3712401"/>
                <a:gd name="connsiteY8" fmla="*/ 81419 h 319088"/>
                <a:gd name="connsiteX0" fmla="*/ 3712401 w 3712401"/>
                <a:gd name="connsiteY0" fmla="*/ 0 h 319088"/>
                <a:gd name="connsiteX1" fmla="*/ 3093276 w 3712401"/>
                <a:gd name="connsiteY1" fmla="*/ 14288 h 319088"/>
                <a:gd name="connsiteX2" fmla="*/ 2474151 w 3712401"/>
                <a:gd name="connsiteY2" fmla="*/ 142875 h 319088"/>
                <a:gd name="connsiteX3" fmla="*/ 1845501 w 3712401"/>
                <a:gd name="connsiteY3" fmla="*/ 76200 h 319088"/>
                <a:gd name="connsiteX4" fmla="*/ 1226376 w 3712401"/>
                <a:gd name="connsiteY4" fmla="*/ 100013 h 319088"/>
                <a:gd name="connsiteX5" fmla="*/ 597726 w 3712401"/>
                <a:gd name="connsiteY5" fmla="*/ 114300 h 319088"/>
                <a:gd name="connsiteX6" fmla="*/ 150051 w 3712401"/>
                <a:gd name="connsiteY6" fmla="*/ 319088 h 319088"/>
                <a:gd name="connsiteX7" fmla="*/ 70002 w 3712401"/>
                <a:gd name="connsiteY7" fmla="*/ 285750 h 319088"/>
                <a:gd name="connsiteX8" fmla="*/ 0 w 3712401"/>
                <a:gd name="connsiteY8" fmla="*/ 81419 h 319088"/>
                <a:gd name="connsiteX0" fmla="*/ 3712401 w 3712401"/>
                <a:gd name="connsiteY0" fmla="*/ 0 h 325742"/>
                <a:gd name="connsiteX1" fmla="*/ 3093276 w 3712401"/>
                <a:gd name="connsiteY1" fmla="*/ 14288 h 325742"/>
                <a:gd name="connsiteX2" fmla="*/ 2474151 w 3712401"/>
                <a:gd name="connsiteY2" fmla="*/ 142875 h 325742"/>
                <a:gd name="connsiteX3" fmla="*/ 1845501 w 3712401"/>
                <a:gd name="connsiteY3" fmla="*/ 76200 h 325742"/>
                <a:gd name="connsiteX4" fmla="*/ 1226376 w 3712401"/>
                <a:gd name="connsiteY4" fmla="*/ 100013 h 325742"/>
                <a:gd name="connsiteX5" fmla="*/ 597726 w 3712401"/>
                <a:gd name="connsiteY5" fmla="*/ 114300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093276 w 3712401"/>
                <a:gd name="connsiteY1" fmla="*/ 14288 h 325742"/>
                <a:gd name="connsiteX2" fmla="*/ 2474151 w 3712401"/>
                <a:gd name="connsiteY2" fmla="*/ 142875 h 325742"/>
                <a:gd name="connsiteX3" fmla="*/ 1845501 w 3712401"/>
                <a:gd name="connsiteY3" fmla="*/ 76200 h 325742"/>
                <a:gd name="connsiteX4" fmla="*/ 1226376 w 3712401"/>
                <a:gd name="connsiteY4" fmla="*/ 100013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093276 w 3712401"/>
                <a:gd name="connsiteY1" fmla="*/ 14288 h 325742"/>
                <a:gd name="connsiteX2" fmla="*/ 2474151 w 3712401"/>
                <a:gd name="connsiteY2" fmla="*/ 142875 h 325742"/>
                <a:gd name="connsiteX3" fmla="*/ 1845501 w 3712401"/>
                <a:gd name="connsiteY3" fmla="*/ 76200 h 325742"/>
                <a:gd name="connsiteX4" fmla="*/ 1249665 w 3712401"/>
                <a:gd name="connsiteY4" fmla="*/ 86704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093276 w 3712401"/>
                <a:gd name="connsiteY1" fmla="*/ 14288 h 325742"/>
                <a:gd name="connsiteX2" fmla="*/ 2474151 w 3712401"/>
                <a:gd name="connsiteY2" fmla="*/ 142875 h 325742"/>
                <a:gd name="connsiteX3" fmla="*/ 1865466 w 3712401"/>
                <a:gd name="connsiteY3" fmla="*/ 86183 h 325742"/>
                <a:gd name="connsiteX4" fmla="*/ 1249665 w 3712401"/>
                <a:gd name="connsiteY4" fmla="*/ 86704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093276 w 3712401"/>
                <a:gd name="connsiteY1" fmla="*/ 14288 h 325742"/>
                <a:gd name="connsiteX2" fmla="*/ 2494116 w 3712401"/>
                <a:gd name="connsiteY2" fmla="*/ 139548 h 325742"/>
                <a:gd name="connsiteX3" fmla="*/ 1865466 w 3712401"/>
                <a:gd name="connsiteY3" fmla="*/ 86183 h 325742"/>
                <a:gd name="connsiteX4" fmla="*/ 1249665 w 3712401"/>
                <a:gd name="connsiteY4" fmla="*/ 86704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113239 w 3712401"/>
                <a:gd name="connsiteY1" fmla="*/ 10961 h 325742"/>
                <a:gd name="connsiteX2" fmla="*/ 2494116 w 3712401"/>
                <a:gd name="connsiteY2" fmla="*/ 139548 h 325742"/>
                <a:gd name="connsiteX3" fmla="*/ 1865466 w 3712401"/>
                <a:gd name="connsiteY3" fmla="*/ 86183 h 325742"/>
                <a:gd name="connsiteX4" fmla="*/ 1249665 w 3712401"/>
                <a:gd name="connsiteY4" fmla="*/ 86704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113239 w 3712401"/>
                <a:gd name="connsiteY1" fmla="*/ 10961 h 325742"/>
                <a:gd name="connsiteX2" fmla="*/ 2494116 w 3712401"/>
                <a:gd name="connsiteY2" fmla="*/ 139548 h 325742"/>
                <a:gd name="connsiteX3" fmla="*/ 1865466 w 3712401"/>
                <a:gd name="connsiteY3" fmla="*/ 86183 h 325742"/>
                <a:gd name="connsiteX4" fmla="*/ 1249665 w 3712401"/>
                <a:gd name="connsiteY4" fmla="*/ 86704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12401 w 3712401"/>
                <a:gd name="connsiteY0" fmla="*/ 0 h 325742"/>
                <a:gd name="connsiteX1" fmla="*/ 3113239 w 3712401"/>
                <a:gd name="connsiteY1" fmla="*/ 4306 h 325742"/>
                <a:gd name="connsiteX2" fmla="*/ 2494116 w 3712401"/>
                <a:gd name="connsiteY2" fmla="*/ 139548 h 325742"/>
                <a:gd name="connsiteX3" fmla="*/ 1865466 w 3712401"/>
                <a:gd name="connsiteY3" fmla="*/ 86183 h 325742"/>
                <a:gd name="connsiteX4" fmla="*/ 1249665 w 3712401"/>
                <a:gd name="connsiteY4" fmla="*/ 86704 h 325742"/>
                <a:gd name="connsiteX5" fmla="*/ 617688 w 3712401"/>
                <a:gd name="connsiteY5" fmla="*/ 107646 h 325742"/>
                <a:gd name="connsiteX6" fmla="*/ 146723 w 3712401"/>
                <a:gd name="connsiteY6" fmla="*/ 325742 h 325742"/>
                <a:gd name="connsiteX7" fmla="*/ 70002 w 3712401"/>
                <a:gd name="connsiteY7" fmla="*/ 285750 h 325742"/>
                <a:gd name="connsiteX8" fmla="*/ 0 w 3712401"/>
                <a:gd name="connsiteY8" fmla="*/ 81419 h 325742"/>
                <a:gd name="connsiteX0" fmla="*/ 3732364 w 3732364"/>
                <a:gd name="connsiteY0" fmla="*/ 12330 h 321436"/>
                <a:gd name="connsiteX1" fmla="*/ 3113239 w 3732364"/>
                <a:gd name="connsiteY1" fmla="*/ 0 h 321436"/>
                <a:gd name="connsiteX2" fmla="*/ 2494116 w 3732364"/>
                <a:gd name="connsiteY2" fmla="*/ 135242 h 321436"/>
                <a:gd name="connsiteX3" fmla="*/ 1865466 w 3732364"/>
                <a:gd name="connsiteY3" fmla="*/ 81877 h 321436"/>
                <a:gd name="connsiteX4" fmla="*/ 1249665 w 3732364"/>
                <a:gd name="connsiteY4" fmla="*/ 82398 h 321436"/>
                <a:gd name="connsiteX5" fmla="*/ 617688 w 3732364"/>
                <a:gd name="connsiteY5" fmla="*/ 103340 h 321436"/>
                <a:gd name="connsiteX6" fmla="*/ 146723 w 3732364"/>
                <a:gd name="connsiteY6" fmla="*/ 321436 h 321436"/>
                <a:gd name="connsiteX7" fmla="*/ 70002 w 3732364"/>
                <a:gd name="connsiteY7" fmla="*/ 281444 h 321436"/>
                <a:gd name="connsiteX8" fmla="*/ 0 w 3732364"/>
                <a:gd name="connsiteY8" fmla="*/ 77113 h 321436"/>
                <a:gd name="connsiteX0" fmla="*/ 3732364 w 3732364"/>
                <a:gd name="connsiteY0" fmla="*/ 12330 h 321436"/>
                <a:gd name="connsiteX1" fmla="*/ 3113239 w 3732364"/>
                <a:gd name="connsiteY1" fmla="*/ 0 h 321436"/>
                <a:gd name="connsiteX2" fmla="*/ 2494116 w 3732364"/>
                <a:gd name="connsiteY2" fmla="*/ 135242 h 321436"/>
                <a:gd name="connsiteX3" fmla="*/ 1865466 w 3732364"/>
                <a:gd name="connsiteY3" fmla="*/ 81877 h 321436"/>
                <a:gd name="connsiteX4" fmla="*/ 1249665 w 3732364"/>
                <a:gd name="connsiteY4" fmla="*/ 79071 h 321436"/>
                <a:gd name="connsiteX5" fmla="*/ 617688 w 3732364"/>
                <a:gd name="connsiteY5" fmla="*/ 103340 h 321436"/>
                <a:gd name="connsiteX6" fmla="*/ 146723 w 3732364"/>
                <a:gd name="connsiteY6" fmla="*/ 321436 h 321436"/>
                <a:gd name="connsiteX7" fmla="*/ 70002 w 3732364"/>
                <a:gd name="connsiteY7" fmla="*/ 281444 h 321436"/>
                <a:gd name="connsiteX8" fmla="*/ 0 w 3732364"/>
                <a:gd name="connsiteY8" fmla="*/ 77113 h 321436"/>
                <a:gd name="connsiteX0" fmla="*/ 3732364 w 3732364"/>
                <a:gd name="connsiteY0" fmla="*/ 12330 h 321436"/>
                <a:gd name="connsiteX1" fmla="*/ 3113239 w 3732364"/>
                <a:gd name="connsiteY1" fmla="*/ 0 h 321436"/>
                <a:gd name="connsiteX2" fmla="*/ 2494116 w 3732364"/>
                <a:gd name="connsiteY2" fmla="*/ 135242 h 321436"/>
                <a:gd name="connsiteX3" fmla="*/ 1865466 w 3732364"/>
                <a:gd name="connsiteY3" fmla="*/ 78550 h 321436"/>
                <a:gd name="connsiteX4" fmla="*/ 1249665 w 3732364"/>
                <a:gd name="connsiteY4" fmla="*/ 79071 h 321436"/>
                <a:gd name="connsiteX5" fmla="*/ 617688 w 3732364"/>
                <a:gd name="connsiteY5" fmla="*/ 103340 h 321436"/>
                <a:gd name="connsiteX6" fmla="*/ 146723 w 3732364"/>
                <a:gd name="connsiteY6" fmla="*/ 321436 h 321436"/>
                <a:gd name="connsiteX7" fmla="*/ 70002 w 3732364"/>
                <a:gd name="connsiteY7" fmla="*/ 281444 h 321436"/>
                <a:gd name="connsiteX8" fmla="*/ 0 w 3732364"/>
                <a:gd name="connsiteY8" fmla="*/ 77113 h 321436"/>
                <a:gd name="connsiteX0" fmla="*/ 3732364 w 3732364"/>
                <a:gd name="connsiteY0" fmla="*/ 12330 h 321436"/>
                <a:gd name="connsiteX1" fmla="*/ 3113239 w 3732364"/>
                <a:gd name="connsiteY1" fmla="*/ 0 h 321436"/>
                <a:gd name="connsiteX2" fmla="*/ 2490789 w 3732364"/>
                <a:gd name="connsiteY2" fmla="*/ 131915 h 321436"/>
                <a:gd name="connsiteX3" fmla="*/ 1865466 w 3732364"/>
                <a:gd name="connsiteY3" fmla="*/ 78550 h 321436"/>
                <a:gd name="connsiteX4" fmla="*/ 1249665 w 3732364"/>
                <a:gd name="connsiteY4" fmla="*/ 79071 h 321436"/>
                <a:gd name="connsiteX5" fmla="*/ 617688 w 3732364"/>
                <a:gd name="connsiteY5" fmla="*/ 103340 h 321436"/>
                <a:gd name="connsiteX6" fmla="*/ 146723 w 3732364"/>
                <a:gd name="connsiteY6" fmla="*/ 321436 h 321436"/>
                <a:gd name="connsiteX7" fmla="*/ 70002 w 3732364"/>
                <a:gd name="connsiteY7" fmla="*/ 281444 h 321436"/>
                <a:gd name="connsiteX8" fmla="*/ 0 w 3732364"/>
                <a:gd name="connsiteY8" fmla="*/ 77113 h 32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2364" h="321436">
                  <a:moveTo>
                    <a:pt x="3732364" y="12330"/>
                  </a:moveTo>
                  <a:lnTo>
                    <a:pt x="3113239" y="0"/>
                  </a:lnTo>
                  <a:lnTo>
                    <a:pt x="2490789" y="131915"/>
                  </a:lnTo>
                  <a:lnTo>
                    <a:pt x="1865466" y="78550"/>
                  </a:lnTo>
                  <a:lnTo>
                    <a:pt x="1249665" y="79071"/>
                  </a:lnTo>
                  <a:lnTo>
                    <a:pt x="617688" y="103340"/>
                  </a:lnTo>
                  <a:lnTo>
                    <a:pt x="146723" y="321436"/>
                  </a:lnTo>
                  <a:lnTo>
                    <a:pt x="70002" y="281444"/>
                  </a:lnTo>
                  <a:cubicBezTo>
                    <a:pt x="47777" y="210007"/>
                    <a:pt x="22225" y="148550"/>
                    <a:pt x="0" y="77113"/>
                  </a:cubicBez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65" name="Straight Connector 1164">
              <a:extLst>
                <a:ext uri="{FF2B5EF4-FFF2-40B4-BE49-F238E27FC236}">
                  <a16:creationId xmlns:a16="http://schemas.microsoft.com/office/drawing/2014/main" id="{51EF77E1-B287-4C8D-99B2-960D6AC3D537}"/>
                </a:ext>
              </a:extLst>
            </p:cNvPr>
            <p:cNvCxnSpPr>
              <a:cxnSpLocks/>
            </p:cNvCxnSpPr>
            <p:nvPr/>
          </p:nvCxnSpPr>
          <p:spPr>
            <a:xfrm>
              <a:off x="7168796" y="4453724"/>
              <a:ext cx="0" cy="9319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53" name="Oval 1152">
              <a:extLst>
                <a:ext uri="{FF2B5EF4-FFF2-40B4-BE49-F238E27FC236}">
                  <a16:creationId xmlns:a16="http://schemas.microsoft.com/office/drawing/2014/main" id="{D0E476C3-CF8A-4F86-B0FF-82B8612EEBE1}"/>
                </a:ext>
              </a:extLst>
            </p:cNvPr>
            <p:cNvSpPr/>
            <p:nvPr/>
          </p:nvSpPr>
          <p:spPr>
            <a:xfrm>
              <a:off x="8037888" y="4320012"/>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49" name="Oval 1148">
              <a:extLst>
                <a:ext uri="{FF2B5EF4-FFF2-40B4-BE49-F238E27FC236}">
                  <a16:creationId xmlns:a16="http://schemas.microsoft.com/office/drawing/2014/main" id="{16CBBE5C-16C6-4709-9781-18758495864D}"/>
                </a:ext>
              </a:extLst>
            </p:cNvPr>
            <p:cNvSpPr/>
            <p:nvPr/>
          </p:nvSpPr>
          <p:spPr>
            <a:xfrm>
              <a:off x="5357160" y="4372939"/>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17" name="Oval 1116">
              <a:extLst>
                <a:ext uri="{FF2B5EF4-FFF2-40B4-BE49-F238E27FC236}">
                  <a16:creationId xmlns:a16="http://schemas.microsoft.com/office/drawing/2014/main" id="{A432AFFE-8C00-4FE7-8045-094F7592B414}"/>
                </a:ext>
              </a:extLst>
            </p:cNvPr>
            <p:cNvSpPr/>
            <p:nvPr/>
          </p:nvSpPr>
          <p:spPr>
            <a:xfrm>
              <a:off x="5413285" y="4607130"/>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42" name="Oval 1041">
              <a:extLst>
                <a:ext uri="{FF2B5EF4-FFF2-40B4-BE49-F238E27FC236}">
                  <a16:creationId xmlns:a16="http://schemas.microsoft.com/office/drawing/2014/main" id="{8382C385-61EE-48D0-AF10-64B56019611A}"/>
                </a:ext>
              </a:extLst>
            </p:cNvPr>
            <p:cNvSpPr/>
            <p:nvPr/>
          </p:nvSpPr>
          <p:spPr>
            <a:xfrm>
              <a:off x="11490333" y="4200243"/>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043" name="Group 1042">
              <a:extLst>
                <a:ext uri="{FF2B5EF4-FFF2-40B4-BE49-F238E27FC236}">
                  <a16:creationId xmlns:a16="http://schemas.microsoft.com/office/drawing/2014/main" id="{D52E1B52-C85E-43B6-A80D-C056644F6EB6}"/>
                </a:ext>
              </a:extLst>
            </p:cNvPr>
            <p:cNvGrpSpPr/>
            <p:nvPr/>
          </p:nvGrpSpPr>
          <p:grpSpPr>
            <a:xfrm>
              <a:off x="11489368" y="4011306"/>
              <a:ext cx="53319" cy="421306"/>
              <a:chOff x="11498892" y="4016068"/>
              <a:chExt cx="53319" cy="421306"/>
            </a:xfrm>
            <a:solidFill>
              <a:schemeClr val="tx2"/>
            </a:solidFill>
          </p:grpSpPr>
          <p:cxnSp>
            <p:nvCxnSpPr>
              <p:cNvPr id="1269" name="Straight Connector 1268">
                <a:extLst>
                  <a:ext uri="{FF2B5EF4-FFF2-40B4-BE49-F238E27FC236}">
                    <a16:creationId xmlns:a16="http://schemas.microsoft.com/office/drawing/2014/main" id="{AC08A356-FC7B-4A32-8CC5-0D3D058CB567}"/>
                  </a:ext>
                </a:extLst>
              </p:cNvPr>
              <p:cNvCxnSpPr/>
              <p:nvPr/>
            </p:nvCxnSpPr>
            <p:spPr>
              <a:xfrm>
                <a:off x="11498892" y="4018123"/>
                <a:ext cx="53319" cy="0"/>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594E3DC4-61AD-43D0-A252-01875F417F86}"/>
                  </a:ext>
                </a:extLst>
              </p:cNvPr>
              <p:cNvCxnSpPr/>
              <p:nvPr/>
            </p:nvCxnSpPr>
            <p:spPr>
              <a:xfrm>
                <a:off x="11498892" y="4432383"/>
                <a:ext cx="53319" cy="0"/>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3596C5B0-68F1-49A9-AE57-9848E7797758}"/>
                  </a:ext>
                </a:extLst>
              </p:cNvPr>
              <p:cNvCxnSpPr>
                <a:cxnSpLocks/>
              </p:cNvCxnSpPr>
              <p:nvPr/>
            </p:nvCxnSpPr>
            <p:spPr>
              <a:xfrm>
                <a:off x="11525552" y="4016068"/>
                <a:ext cx="0" cy="421306"/>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44" name="Oval 1043">
              <a:extLst>
                <a:ext uri="{FF2B5EF4-FFF2-40B4-BE49-F238E27FC236}">
                  <a16:creationId xmlns:a16="http://schemas.microsoft.com/office/drawing/2014/main" id="{2898B87F-5743-4847-A3BD-43A4784C51F6}"/>
                </a:ext>
              </a:extLst>
            </p:cNvPr>
            <p:cNvSpPr/>
            <p:nvPr/>
          </p:nvSpPr>
          <p:spPr>
            <a:xfrm>
              <a:off x="11487297" y="4451964"/>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45" name="TextBox 1044">
              <a:extLst>
                <a:ext uri="{FF2B5EF4-FFF2-40B4-BE49-F238E27FC236}">
                  <a16:creationId xmlns:a16="http://schemas.microsoft.com/office/drawing/2014/main" id="{58D7162E-75A2-4ADB-8273-D749BFFEDE4C}"/>
                </a:ext>
              </a:extLst>
            </p:cNvPr>
            <p:cNvSpPr txBox="1"/>
            <p:nvPr/>
          </p:nvSpPr>
          <p:spPr>
            <a:xfrm>
              <a:off x="4914192" y="3566351"/>
              <a:ext cx="230740"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10</a:t>
              </a:r>
            </a:p>
          </p:txBody>
        </p:sp>
        <p:cxnSp>
          <p:nvCxnSpPr>
            <p:cNvPr id="1046" name="Straight Connector 1045">
              <a:extLst>
                <a:ext uri="{FF2B5EF4-FFF2-40B4-BE49-F238E27FC236}">
                  <a16:creationId xmlns:a16="http://schemas.microsoft.com/office/drawing/2014/main" id="{2FADEDA9-0D39-4033-847A-FE7116EFBF4B}"/>
                </a:ext>
              </a:extLst>
            </p:cNvPr>
            <p:cNvCxnSpPr>
              <a:cxnSpLocks/>
            </p:cNvCxnSpPr>
            <p:nvPr/>
          </p:nvCxnSpPr>
          <p:spPr>
            <a:xfrm rot="5400000">
              <a:off x="5193577" y="3989891"/>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47" name="TextBox 1046">
              <a:extLst>
                <a:ext uri="{FF2B5EF4-FFF2-40B4-BE49-F238E27FC236}">
                  <a16:creationId xmlns:a16="http://schemas.microsoft.com/office/drawing/2014/main" id="{5C025025-2882-4AA1-9B98-D6801C1D8C71}"/>
                </a:ext>
              </a:extLst>
            </p:cNvPr>
            <p:cNvSpPr txBox="1"/>
            <p:nvPr/>
          </p:nvSpPr>
          <p:spPr>
            <a:xfrm>
              <a:off x="4892893" y="3940584"/>
              <a:ext cx="230740"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5</a:t>
              </a:r>
            </a:p>
          </p:txBody>
        </p:sp>
        <p:cxnSp>
          <p:nvCxnSpPr>
            <p:cNvPr id="1048" name="Straight Connector 1047">
              <a:extLst>
                <a:ext uri="{FF2B5EF4-FFF2-40B4-BE49-F238E27FC236}">
                  <a16:creationId xmlns:a16="http://schemas.microsoft.com/office/drawing/2014/main" id="{9CE259B4-A072-44DA-AE00-8B8F00927B5B}"/>
                </a:ext>
              </a:extLst>
            </p:cNvPr>
            <p:cNvCxnSpPr>
              <a:cxnSpLocks/>
            </p:cNvCxnSpPr>
            <p:nvPr/>
          </p:nvCxnSpPr>
          <p:spPr>
            <a:xfrm rot="5400000">
              <a:off x="5193577" y="4367833"/>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49" name="TextBox 1048">
              <a:extLst>
                <a:ext uri="{FF2B5EF4-FFF2-40B4-BE49-F238E27FC236}">
                  <a16:creationId xmlns:a16="http://schemas.microsoft.com/office/drawing/2014/main" id="{2E04A172-8600-4674-910B-393CAA107CBD}"/>
                </a:ext>
              </a:extLst>
            </p:cNvPr>
            <p:cNvSpPr txBox="1"/>
            <p:nvPr/>
          </p:nvSpPr>
          <p:spPr>
            <a:xfrm>
              <a:off x="4892893" y="4318524"/>
              <a:ext cx="230740"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0</a:t>
              </a:r>
            </a:p>
          </p:txBody>
        </p:sp>
        <p:cxnSp>
          <p:nvCxnSpPr>
            <p:cNvPr id="1050" name="Straight Connector 1049">
              <a:extLst>
                <a:ext uri="{FF2B5EF4-FFF2-40B4-BE49-F238E27FC236}">
                  <a16:creationId xmlns:a16="http://schemas.microsoft.com/office/drawing/2014/main" id="{FD40D3B7-6239-4292-B29F-4D1F6AA803A8}"/>
                </a:ext>
              </a:extLst>
            </p:cNvPr>
            <p:cNvCxnSpPr>
              <a:cxnSpLocks/>
            </p:cNvCxnSpPr>
            <p:nvPr/>
          </p:nvCxnSpPr>
          <p:spPr>
            <a:xfrm rot="5400000">
              <a:off x="5193577" y="5117696"/>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51" name="TextBox 1050">
              <a:extLst>
                <a:ext uri="{FF2B5EF4-FFF2-40B4-BE49-F238E27FC236}">
                  <a16:creationId xmlns:a16="http://schemas.microsoft.com/office/drawing/2014/main" id="{F9045931-83A7-4124-87D6-91A5E6128077}"/>
                </a:ext>
              </a:extLst>
            </p:cNvPr>
            <p:cNvSpPr txBox="1"/>
            <p:nvPr/>
          </p:nvSpPr>
          <p:spPr>
            <a:xfrm>
              <a:off x="4892893" y="5068389"/>
              <a:ext cx="230740"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10</a:t>
              </a:r>
            </a:p>
          </p:txBody>
        </p:sp>
        <p:sp>
          <p:nvSpPr>
            <p:cNvPr id="1052" name="Freeform: Shape 1051">
              <a:extLst>
                <a:ext uri="{FF2B5EF4-FFF2-40B4-BE49-F238E27FC236}">
                  <a16:creationId xmlns:a16="http://schemas.microsoft.com/office/drawing/2014/main" id="{66006C02-E43C-43AA-AFD1-1CF5FEE7F045}"/>
                </a:ext>
              </a:extLst>
            </p:cNvPr>
            <p:cNvSpPr/>
            <p:nvPr/>
          </p:nvSpPr>
          <p:spPr>
            <a:xfrm>
              <a:off x="5215562" y="3638795"/>
              <a:ext cx="2849481" cy="1733279"/>
            </a:xfrm>
            <a:custGeom>
              <a:avLst/>
              <a:gdLst>
                <a:gd name="connsiteX0" fmla="*/ 0 w 3981450"/>
                <a:gd name="connsiteY0" fmla="*/ 0 h 2228850"/>
                <a:gd name="connsiteX1" fmla="*/ 0 w 3981450"/>
                <a:gd name="connsiteY1" fmla="*/ 2228850 h 2228850"/>
                <a:gd name="connsiteX2" fmla="*/ 3981450 w 3981450"/>
                <a:gd name="connsiteY2" fmla="*/ 2228850 h 2228850"/>
              </a:gdLst>
              <a:ahLst/>
              <a:cxnLst>
                <a:cxn ang="0">
                  <a:pos x="connsiteX0" y="connsiteY0"/>
                </a:cxn>
                <a:cxn ang="0">
                  <a:pos x="connsiteX1" y="connsiteY1"/>
                </a:cxn>
                <a:cxn ang="0">
                  <a:pos x="connsiteX2" y="connsiteY2"/>
                </a:cxn>
              </a:cxnLst>
              <a:rect l="l" t="t" r="r" b="b"/>
              <a:pathLst>
                <a:path w="3981450" h="2228850">
                  <a:moveTo>
                    <a:pt x="0" y="0"/>
                  </a:moveTo>
                  <a:lnTo>
                    <a:pt x="0" y="2228850"/>
                  </a:lnTo>
                  <a:lnTo>
                    <a:pt x="3981450" y="22288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053" name="Group 1052">
              <a:extLst>
                <a:ext uri="{FF2B5EF4-FFF2-40B4-BE49-F238E27FC236}">
                  <a16:creationId xmlns:a16="http://schemas.microsoft.com/office/drawing/2014/main" id="{6E28F02A-A20A-4FAF-9629-B6666F0DD2C3}"/>
                </a:ext>
              </a:extLst>
            </p:cNvPr>
            <p:cNvGrpSpPr/>
            <p:nvPr/>
          </p:nvGrpSpPr>
          <p:grpSpPr>
            <a:xfrm>
              <a:off x="5311216" y="5464705"/>
              <a:ext cx="2919814" cy="138499"/>
              <a:chOff x="1894530" y="5709096"/>
              <a:chExt cx="4020665" cy="193519"/>
            </a:xfrm>
          </p:grpSpPr>
          <p:sp>
            <p:nvSpPr>
              <p:cNvPr id="1262" name="TextBox 1261">
                <a:extLst>
                  <a:ext uri="{FF2B5EF4-FFF2-40B4-BE49-F238E27FC236}">
                    <a16:creationId xmlns:a16="http://schemas.microsoft.com/office/drawing/2014/main" id="{23423CB7-AD07-4B1D-99D8-DBC8474627EF}"/>
                  </a:ext>
                </a:extLst>
              </p:cNvPr>
              <p:cNvSpPr txBox="1"/>
              <p:nvPr/>
            </p:nvSpPr>
            <p:spPr>
              <a:xfrm>
                <a:off x="1894530" y="5709096"/>
                <a:ext cx="183186"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0</a:t>
                </a:r>
              </a:p>
            </p:txBody>
          </p:sp>
          <p:sp>
            <p:nvSpPr>
              <p:cNvPr id="1263" name="TextBox 1262">
                <a:extLst>
                  <a:ext uri="{FF2B5EF4-FFF2-40B4-BE49-F238E27FC236}">
                    <a16:creationId xmlns:a16="http://schemas.microsoft.com/office/drawing/2014/main" id="{BC6EA01C-55AB-4182-A68C-15DD6E7404E2}"/>
                  </a:ext>
                </a:extLst>
              </p:cNvPr>
              <p:cNvSpPr txBox="1"/>
              <p:nvPr/>
            </p:nvSpPr>
            <p:spPr>
              <a:xfrm>
                <a:off x="2364668" y="5709096"/>
                <a:ext cx="467903"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6</a:t>
                </a:r>
              </a:p>
            </p:txBody>
          </p:sp>
          <p:sp>
            <p:nvSpPr>
              <p:cNvPr id="1264" name="TextBox 1263">
                <a:extLst>
                  <a:ext uri="{FF2B5EF4-FFF2-40B4-BE49-F238E27FC236}">
                    <a16:creationId xmlns:a16="http://schemas.microsoft.com/office/drawing/2014/main" id="{BFCB0BDF-605F-4596-ADF9-F09099600007}"/>
                  </a:ext>
                </a:extLst>
              </p:cNvPr>
              <p:cNvSpPr txBox="1"/>
              <p:nvPr/>
            </p:nvSpPr>
            <p:spPr>
              <a:xfrm>
                <a:off x="2985128" y="5709096"/>
                <a:ext cx="467903"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2</a:t>
                </a:r>
              </a:p>
            </p:txBody>
          </p:sp>
          <p:sp>
            <p:nvSpPr>
              <p:cNvPr id="1265" name="TextBox 1264">
                <a:extLst>
                  <a:ext uri="{FF2B5EF4-FFF2-40B4-BE49-F238E27FC236}">
                    <a16:creationId xmlns:a16="http://schemas.microsoft.com/office/drawing/2014/main" id="{7BAC6CE1-8D50-442B-95EC-AC0C1CC498D4}"/>
                  </a:ext>
                </a:extLst>
              </p:cNvPr>
              <p:cNvSpPr txBox="1"/>
              <p:nvPr/>
            </p:nvSpPr>
            <p:spPr>
              <a:xfrm>
                <a:off x="3599030" y="5709096"/>
                <a:ext cx="467903"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48</a:t>
                </a:r>
              </a:p>
            </p:txBody>
          </p:sp>
          <p:sp>
            <p:nvSpPr>
              <p:cNvPr id="1266" name="TextBox 1265">
                <a:extLst>
                  <a:ext uri="{FF2B5EF4-FFF2-40B4-BE49-F238E27FC236}">
                    <a16:creationId xmlns:a16="http://schemas.microsoft.com/office/drawing/2014/main" id="{3734CB6F-2897-4D64-B5CE-CF079C4BD4F4}"/>
                  </a:ext>
                </a:extLst>
              </p:cNvPr>
              <p:cNvSpPr txBox="1"/>
              <p:nvPr/>
            </p:nvSpPr>
            <p:spPr>
              <a:xfrm>
                <a:off x="4216211" y="5709096"/>
                <a:ext cx="467903"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64</a:t>
                </a:r>
              </a:p>
            </p:txBody>
          </p:sp>
          <p:sp>
            <p:nvSpPr>
              <p:cNvPr id="1267" name="TextBox 1266">
                <a:extLst>
                  <a:ext uri="{FF2B5EF4-FFF2-40B4-BE49-F238E27FC236}">
                    <a16:creationId xmlns:a16="http://schemas.microsoft.com/office/drawing/2014/main" id="{623B3578-120C-4512-ACDF-E89ED41E5D9B}"/>
                  </a:ext>
                </a:extLst>
              </p:cNvPr>
              <p:cNvSpPr txBox="1"/>
              <p:nvPr/>
            </p:nvSpPr>
            <p:spPr>
              <a:xfrm>
                <a:off x="4833389" y="5709096"/>
                <a:ext cx="467903"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80</a:t>
                </a:r>
              </a:p>
            </p:txBody>
          </p:sp>
          <p:sp>
            <p:nvSpPr>
              <p:cNvPr id="1268" name="TextBox 1267">
                <a:extLst>
                  <a:ext uri="{FF2B5EF4-FFF2-40B4-BE49-F238E27FC236}">
                    <a16:creationId xmlns:a16="http://schemas.microsoft.com/office/drawing/2014/main" id="{30561248-2568-461F-82B9-1771CB98F7D1}"/>
                  </a:ext>
                </a:extLst>
              </p:cNvPr>
              <p:cNvSpPr txBox="1"/>
              <p:nvPr/>
            </p:nvSpPr>
            <p:spPr>
              <a:xfrm>
                <a:off x="5447292" y="5709096"/>
                <a:ext cx="467903" cy="19351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96</a:t>
                </a:r>
              </a:p>
            </p:txBody>
          </p:sp>
        </p:grpSp>
        <p:grpSp>
          <p:nvGrpSpPr>
            <p:cNvPr id="1054" name="Group 1053">
              <a:extLst>
                <a:ext uri="{FF2B5EF4-FFF2-40B4-BE49-F238E27FC236}">
                  <a16:creationId xmlns:a16="http://schemas.microsoft.com/office/drawing/2014/main" id="{C5F40E0A-5BC3-425C-9FC7-4BB86E5220E4}"/>
                </a:ext>
              </a:extLst>
            </p:cNvPr>
            <p:cNvGrpSpPr/>
            <p:nvPr/>
          </p:nvGrpSpPr>
          <p:grpSpPr>
            <a:xfrm>
              <a:off x="5376717" y="5375480"/>
              <a:ext cx="2683840" cy="52354"/>
              <a:chOff x="1996825" y="4291014"/>
              <a:chExt cx="3750008" cy="73152"/>
            </a:xfrm>
          </p:grpSpPr>
          <p:cxnSp>
            <p:nvCxnSpPr>
              <p:cNvPr id="1255" name="Straight Connector 1254">
                <a:extLst>
                  <a:ext uri="{FF2B5EF4-FFF2-40B4-BE49-F238E27FC236}">
                    <a16:creationId xmlns:a16="http://schemas.microsoft.com/office/drawing/2014/main" id="{965C46C3-B766-40A8-A6A4-6263EBFBA864}"/>
                  </a:ext>
                </a:extLst>
              </p:cNvPr>
              <p:cNvCxnSpPr/>
              <p:nvPr/>
            </p:nvCxnSpPr>
            <p:spPr>
              <a:xfrm>
                <a:off x="1996825"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1FB6A3F2-1231-4688-AE76-EFCF241EC605}"/>
                  </a:ext>
                </a:extLst>
              </p:cNvPr>
              <p:cNvCxnSpPr/>
              <p:nvPr/>
            </p:nvCxnSpPr>
            <p:spPr>
              <a:xfrm>
                <a:off x="2619434"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502F73F6-90F4-4695-8D21-C11D68EDF189}"/>
                  </a:ext>
                </a:extLst>
              </p:cNvPr>
              <p:cNvCxnSpPr/>
              <p:nvPr/>
            </p:nvCxnSpPr>
            <p:spPr>
              <a:xfrm>
                <a:off x="3248604"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B31C109F-779C-4C18-BEB0-51920730B49C}"/>
                  </a:ext>
                </a:extLst>
              </p:cNvPr>
              <p:cNvCxnSpPr/>
              <p:nvPr/>
            </p:nvCxnSpPr>
            <p:spPr>
              <a:xfrm>
                <a:off x="3871213"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0A13E8C-8684-4E71-AAA5-DC8FFE9DE818}"/>
                  </a:ext>
                </a:extLst>
              </p:cNvPr>
              <p:cNvCxnSpPr/>
              <p:nvPr/>
            </p:nvCxnSpPr>
            <p:spPr>
              <a:xfrm>
                <a:off x="4495054"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F67BAB0E-29BE-48BE-A34B-B023E0752250}"/>
                  </a:ext>
                </a:extLst>
              </p:cNvPr>
              <p:cNvCxnSpPr/>
              <p:nvPr/>
            </p:nvCxnSpPr>
            <p:spPr>
              <a:xfrm>
                <a:off x="5124224"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BC0ED900-8093-48F8-BF97-7480F1DF41EA}"/>
                  </a:ext>
                </a:extLst>
              </p:cNvPr>
              <p:cNvCxnSpPr/>
              <p:nvPr/>
            </p:nvCxnSpPr>
            <p:spPr>
              <a:xfrm>
                <a:off x="5746833" y="4291014"/>
                <a:ext cx="0" cy="7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5" name="Oval 1054">
              <a:extLst>
                <a:ext uri="{FF2B5EF4-FFF2-40B4-BE49-F238E27FC236}">
                  <a16:creationId xmlns:a16="http://schemas.microsoft.com/office/drawing/2014/main" id="{CC0C03DE-3000-48E0-A834-DEEE3353956E}"/>
                </a:ext>
              </a:extLst>
            </p:cNvPr>
            <p:cNvSpPr/>
            <p:nvPr/>
          </p:nvSpPr>
          <p:spPr>
            <a:xfrm>
              <a:off x="5315829" y="3665047"/>
              <a:ext cx="90706" cy="907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56" name="Oval 1055">
              <a:extLst>
                <a:ext uri="{FF2B5EF4-FFF2-40B4-BE49-F238E27FC236}">
                  <a16:creationId xmlns:a16="http://schemas.microsoft.com/office/drawing/2014/main" id="{F834FAD8-BE17-4A76-A3EE-5F760ED117C0}"/>
                </a:ext>
              </a:extLst>
            </p:cNvPr>
            <p:cNvSpPr/>
            <p:nvPr/>
          </p:nvSpPr>
          <p:spPr>
            <a:xfrm>
              <a:off x="5315829" y="3791413"/>
              <a:ext cx="90706" cy="907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57" name="TextBox 1056">
              <a:extLst>
                <a:ext uri="{FF2B5EF4-FFF2-40B4-BE49-F238E27FC236}">
                  <a16:creationId xmlns:a16="http://schemas.microsoft.com/office/drawing/2014/main" id="{8885AA87-2F83-482A-9064-F279CC7E0DE7}"/>
                </a:ext>
              </a:extLst>
            </p:cNvPr>
            <p:cNvSpPr txBox="1"/>
            <p:nvPr/>
          </p:nvSpPr>
          <p:spPr>
            <a:xfrm>
              <a:off x="5724003" y="3407672"/>
              <a:ext cx="1959289" cy="161583"/>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rial"/>
                  <a:ea typeface="MS PGothic" charset="0"/>
                  <a:cs typeface="+mn-cs"/>
                </a:rPr>
                <a:t>No use of ARNi</a:t>
              </a:r>
            </a:p>
          </p:txBody>
        </p:sp>
        <p:sp>
          <p:nvSpPr>
            <p:cNvPr id="1058" name="TextBox 1057">
              <a:extLst>
                <a:ext uri="{FF2B5EF4-FFF2-40B4-BE49-F238E27FC236}">
                  <a16:creationId xmlns:a16="http://schemas.microsoft.com/office/drawing/2014/main" id="{07D92210-D299-404B-97F6-7337F3A37ECA}"/>
                </a:ext>
              </a:extLst>
            </p:cNvPr>
            <p:cNvSpPr txBox="1"/>
            <p:nvPr/>
          </p:nvSpPr>
          <p:spPr>
            <a:xfrm>
              <a:off x="8891916" y="3641337"/>
              <a:ext cx="867555" cy="264327"/>
            </a:xfrm>
            <a:prstGeom prst="rect">
              <a:avLst/>
            </a:prstGeom>
          </p:spPr>
          <p:txBody>
            <a:bodyPr vert="horz" wrap="square" lIns="0" tIns="0" rIns="0" bIns="0" rtlCol="0" anchor="t">
              <a:noAutofit/>
            </a:bodyPr>
            <a:lstStyle>
              <a:defPPr>
                <a:defRPr lang="en-US"/>
              </a:defPPr>
              <a:lvl1pPr>
                <a:spcBef>
                  <a:spcPts val="0"/>
                </a:spcBef>
                <a:defRPr sz="900">
                  <a:solidFill>
                    <a:schemeClr val="tx2"/>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Placebo</a:t>
              </a:r>
            </a:p>
          </p:txBody>
        </p:sp>
        <p:sp>
          <p:nvSpPr>
            <p:cNvPr id="1059" name="Oval 1058">
              <a:extLst>
                <a:ext uri="{FF2B5EF4-FFF2-40B4-BE49-F238E27FC236}">
                  <a16:creationId xmlns:a16="http://schemas.microsoft.com/office/drawing/2014/main" id="{163D6FE5-28A9-4D2D-B4FD-7BCC759078DB}"/>
                </a:ext>
              </a:extLst>
            </p:cNvPr>
            <p:cNvSpPr/>
            <p:nvPr/>
          </p:nvSpPr>
          <p:spPr>
            <a:xfrm>
              <a:off x="8754836" y="3665047"/>
              <a:ext cx="90706" cy="907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60" name="Oval 1059">
              <a:extLst>
                <a:ext uri="{FF2B5EF4-FFF2-40B4-BE49-F238E27FC236}">
                  <a16:creationId xmlns:a16="http://schemas.microsoft.com/office/drawing/2014/main" id="{781AC128-4014-4C8D-A256-08380220BA92}"/>
                </a:ext>
              </a:extLst>
            </p:cNvPr>
            <p:cNvSpPr/>
            <p:nvPr/>
          </p:nvSpPr>
          <p:spPr>
            <a:xfrm>
              <a:off x="8754836" y="3791413"/>
              <a:ext cx="90706" cy="907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061" name="Straight Connector 1060">
              <a:extLst>
                <a:ext uri="{FF2B5EF4-FFF2-40B4-BE49-F238E27FC236}">
                  <a16:creationId xmlns:a16="http://schemas.microsoft.com/office/drawing/2014/main" id="{1F64DA32-0774-4EB8-B1FE-04DD39EB7483}"/>
                </a:ext>
              </a:extLst>
            </p:cNvPr>
            <p:cNvCxnSpPr>
              <a:cxnSpLocks/>
            </p:cNvCxnSpPr>
            <p:nvPr/>
          </p:nvCxnSpPr>
          <p:spPr>
            <a:xfrm rot="5400000">
              <a:off x="8649113" y="3615793"/>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2" name="Straight Connector 1061">
              <a:extLst>
                <a:ext uri="{FF2B5EF4-FFF2-40B4-BE49-F238E27FC236}">
                  <a16:creationId xmlns:a16="http://schemas.microsoft.com/office/drawing/2014/main" id="{A53006A6-25AD-4CCF-A1DF-8D58FA8E171E}"/>
                </a:ext>
              </a:extLst>
            </p:cNvPr>
            <p:cNvCxnSpPr>
              <a:cxnSpLocks/>
            </p:cNvCxnSpPr>
            <p:nvPr/>
          </p:nvCxnSpPr>
          <p:spPr>
            <a:xfrm rot="5400000">
              <a:off x="8649116" y="4741552"/>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63" name="TextBox 1062">
              <a:extLst>
                <a:ext uri="{FF2B5EF4-FFF2-40B4-BE49-F238E27FC236}">
                  <a16:creationId xmlns:a16="http://schemas.microsoft.com/office/drawing/2014/main" id="{2A2F70EC-B3BA-432E-8708-537B2E88BBAA}"/>
                </a:ext>
              </a:extLst>
            </p:cNvPr>
            <p:cNvSpPr txBox="1"/>
            <p:nvPr/>
          </p:nvSpPr>
          <p:spPr>
            <a:xfrm>
              <a:off x="8369455" y="4691451"/>
              <a:ext cx="230739"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5</a:t>
              </a:r>
            </a:p>
          </p:txBody>
        </p:sp>
        <p:sp>
          <p:nvSpPr>
            <p:cNvPr id="1064" name="TextBox 1063">
              <a:extLst>
                <a:ext uri="{FF2B5EF4-FFF2-40B4-BE49-F238E27FC236}">
                  <a16:creationId xmlns:a16="http://schemas.microsoft.com/office/drawing/2014/main" id="{72C95C03-A5B4-4F05-8A06-E4FB3BC4551F}"/>
                </a:ext>
              </a:extLst>
            </p:cNvPr>
            <p:cNvSpPr txBox="1"/>
            <p:nvPr/>
          </p:nvSpPr>
          <p:spPr>
            <a:xfrm>
              <a:off x="8369451" y="5064354"/>
              <a:ext cx="230740"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10</a:t>
              </a:r>
            </a:p>
          </p:txBody>
        </p:sp>
        <p:sp>
          <p:nvSpPr>
            <p:cNvPr id="1065" name="Freeform: Shape 1064">
              <a:extLst>
                <a:ext uri="{FF2B5EF4-FFF2-40B4-BE49-F238E27FC236}">
                  <a16:creationId xmlns:a16="http://schemas.microsoft.com/office/drawing/2014/main" id="{5AC7248C-A46A-4422-9471-B904CF367305}"/>
                </a:ext>
              </a:extLst>
            </p:cNvPr>
            <p:cNvSpPr/>
            <p:nvPr/>
          </p:nvSpPr>
          <p:spPr>
            <a:xfrm>
              <a:off x="8671097" y="3638795"/>
              <a:ext cx="2849481" cy="1733279"/>
            </a:xfrm>
            <a:custGeom>
              <a:avLst/>
              <a:gdLst>
                <a:gd name="connsiteX0" fmla="*/ 0 w 3981450"/>
                <a:gd name="connsiteY0" fmla="*/ 0 h 2228850"/>
                <a:gd name="connsiteX1" fmla="*/ 0 w 3981450"/>
                <a:gd name="connsiteY1" fmla="*/ 2228850 h 2228850"/>
                <a:gd name="connsiteX2" fmla="*/ 3981450 w 3981450"/>
                <a:gd name="connsiteY2" fmla="*/ 2228850 h 2228850"/>
              </a:gdLst>
              <a:ahLst/>
              <a:cxnLst>
                <a:cxn ang="0">
                  <a:pos x="connsiteX0" y="connsiteY0"/>
                </a:cxn>
                <a:cxn ang="0">
                  <a:pos x="connsiteX1" y="connsiteY1"/>
                </a:cxn>
                <a:cxn ang="0">
                  <a:pos x="connsiteX2" y="connsiteY2"/>
                </a:cxn>
              </a:cxnLst>
              <a:rect l="l" t="t" r="r" b="b"/>
              <a:pathLst>
                <a:path w="3981450" h="2228850">
                  <a:moveTo>
                    <a:pt x="0" y="0"/>
                  </a:moveTo>
                  <a:lnTo>
                    <a:pt x="0" y="2228850"/>
                  </a:lnTo>
                  <a:lnTo>
                    <a:pt x="3981450" y="22288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66" name="TextBox 1065">
              <a:extLst>
                <a:ext uri="{FF2B5EF4-FFF2-40B4-BE49-F238E27FC236}">
                  <a16:creationId xmlns:a16="http://schemas.microsoft.com/office/drawing/2014/main" id="{5E273FE6-4FF0-4691-89E3-E524DFEFF520}"/>
                </a:ext>
              </a:extLst>
            </p:cNvPr>
            <p:cNvSpPr txBox="1"/>
            <p:nvPr/>
          </p:nvSpPr>
          <p:spPr>
            <a:xfrm>
              <a:off x="8766752" y="5464705"/>
              <a:ext cx="133030"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0</a:t>
              </a:r>
            </a:p>
          </p:txBody>
        </p:sp>
        <p:sp>
          <p:nvSpPr>
            <p:cNvPr id="1067" name="TextBox 1066">
              <a:extLst>
                <a:ext uri="{FF2B5EF4-FFF2-40B4-BE49-F238E27FC236}">
                  <a16:creationId xmlns:a16="http://schemas.microsoft.com/office/drawing/2014/main" id="{4578346C-0CF9-49F7-9F60-BA2A32A11AD4}"/>
                </a:ext>
              </a:extLst>
            </p:cNvPr>
            <p:cNvSpPr txBox="1"/>
            <p:nvPr/>
          </p:nvSpPr>
          <p:spPr>
            <a:xfrm>
              <a:off x="9108168" y="5464705"/>
              <a:ext cx="339792"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6</a:t>
              </a:r>
            </a:p>
          </p:txBody>
        </p:sp>
        <p:sp>
          <p:nvSpPr>
            <p:cNvPr id="1068" name="TextBox 1067">
              <a:extLst>
                <a:ext uri="{FF2B5EF4-FFF2-40B4-BE49-F238E27FC236}">
                  <a16:creationId xmlns:a16="http://schemas.microsoft.com/office/drawing/2014/main" id="{8EAEBFD7-4B93-41A0-B4C3-4A9B845546A1}"/>
                </a:ext>
              </a:extLst>
            </p:cNvPr>
            <p:cNvSpPr txBox="1"/>
            <p:nvPr/>
          </p:nvSpPr>
          <p:spPr>
            <a:xfrm>
              <a:off x="9556561" y="5464705"/>
              <a:ext cx="339792"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2</a:t>
              </a:r>
            </a:p>
          </p:txBody>
        </p:sp>
        <p:sp>
          <p:nvSpPr>
            <p:cNvPr id="1069" name="TextBox 1068">
              <a:extLst>
                <a:ext uri="{FF2B5EF4-FFF2-40B4-BE49-F238E27FC236}">
                  <a16:creationId xmlns:a16="http://schemas.microsoft.com/office/drawing/2014/main" id="{DCC11208-F1B7-40EA-B555-3921CAA5454C}"/>
                </a:ext>
              </a:extLst>
            </p:cNvPr>
            <p:cNvSpPr txBox="1"/>
            <p:nvPr/>
          </p:nvSpPr>
          <p:spPr>
            <a:xfrm>
              <a:off x="11344393" y="5464705"/>
              <a:ext cx="339792"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96</a:t>
              </a:r>
            </a:p>
          </p:txBody>
        </p:sp>
        <p:cxnSp>
          <p:nvCxnSpPr>
            <p:cNvPr id="1070" name="Straight Connector 1069">
              <a:extLst>
                <a:ext uri="{FF2B5EF4-FFF2-40B4-BE49-F238E27FC236}">
                  <a16:creationId xmlns:a16="http://schemas.microsoft.com/office/drawing/2014/main" id="{231397E9-14FF-4454-885C-2B486D77C556}"/>
                </a:ext>
              </a:extLst>
            </p:cNvPr>
            <p:cNvCxnSpPr/>
            <p:nvPr/>
          </p:nvCxnSpPr>
          <p:spPr>
            <a:xfrm>
              <a:off x="8832253" y="5375480"/>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1" name="Straight Connector 1070">
              <a:extLst>
                <a:ext uri="{FF2B5EF4-FFF2-40B4-BE49-F238E27FC236}">
                  <a16:creationId xmlns:a16="http://schemas.microsoft.com/office/drawing/2014/main" id="{EF000D19-61B4-4379-8D4B-4B57CAB9AC00}"/>
                </a:ext>
              </a:extLst>
            </p:cNvPr>
            <p:cNvCxnSpPr/>
            <p:nvPr/>
          </p:nvCxnSpPr>
          <p:spPr>
            <a:xfrm>
              <a:off x="9277847" y="5378655"/>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2" name="Straight Connector 1071">
              <a:extLst>
                <a:ext uri="{FF2B5EF4-FFF2-40B4-BE49-F238E27FC236}">
                  <a16:creationId xmlns:a16="http://schemas.microsoft.com/office/drawing/2014/main" id="{4966DD49-B338-4419-94D5-D85347066F98}"/>
                </a:ext>
              </a:extLst>
            </p:cNvPr>
            <p:cNvCxnSpPr/>
            <p:nvPr/>
          </p:nvCxnSpPr>
          <p:spPr>
            <a:xfrm>
              <a:off x="9724076" y="5375480"/>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73" name="Group 1072">
              <a:extLst>
                <a:ext uri="{FF2B5EF4-FFF2-40B4-BE49-F238E27FC236}">
                  <a16:creationId xmlns:a16="http://schemas.microsoft.com/office/drawing/2014/main" id="{F63BD299-2669-46E6-B279-40CDE36F32C7}"/>
                </a:ext>
              </a:extLst>
            </p:cNvPr>
            <p:cNvGrpSpPr/>
            <p:nvPr/>
          </p:nvGrpSpPr>
          <p:grpSpPr>
            <a:xfrm>
              <a:off x="10002182" y="5375480"/>
              <a:ext cx="339792" cy="227724"/>
              <a:chOff x="9999606" y="5375480"/>
              <a:chExt cx="339792" cy="227724"/>
            </a:xfrm>
          </p:grpSpPr>
          <p:sp>
            <p:nvSpPr>
              <p:cNvPr id="1253" name="TextBox 1252">
                <a:extLst>
                  <a:ext uri="{FF2B5EF4-FFF2-40B4-BE49-F238E27FC236}">
                    <a16:creationId xmlns:a16="http://schemas.microsoft.com/office/drawing/2014/main" id="{9F8BE76E-C474-4082-8484-BA84067E750E}"/>
                  </a:ext>
                </a:extLst>
              </p:cNvPr>
              <p:cNvSpPr txBox="1"/>
              <p:nvPr/>
            </p:nvSpPr>
            <p:spPr>
              <a:xfrm>
                <a:off x="9999606" y="5464705"/>
                <a:ext cx="339792"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48</a:t>
                </a:r>
              </a:p>
            </p:txBody>
          </p:sp>
          <p:cxnSp>
            <p:nvCxnSpPr>
              <p:cNvPr id="1254" name="Straight Connector 1253">
                <a:extLst>
                  <a:ext uri="{FF2B5EF4-FFF2-40B4-BE49-F238E27FC236}">
                    <a16:creationId xmlns:a16="http://schemas.microsoft.com/office/drawing/2014/main" id="{3509C737-E08A-459F-8326-E60C4732F046}"/>
                  </a:ext>
                </a:extLst>
              </p:cNvPr>
              <p:cNvCxnSpPr/>
              <p:nvPr/>
            </p:nvCxnSpPr>
            <p:spPr>
              <a:xfrm>
                <a:off x="10167121" y="5375480"/>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74" name="Group 1073">
              <a:extLst>
                <a:ext uri="{FF2B5EF4-FFF2-40B4-BE49-F238E27FC236}">
                  <a16:creationId xmlns:a16="http://schemas.microsoft.com/office/drawing/2014/main" id="{F8D3E923-91A7-41C5-8E8C-1E2DAF491FAF}"/>
                </a:ext>
              </a:extLst>
            </p:cNvPr>
            <p:cNvGrpSpPr/>
            <p:nvPr/>
          </p:nvGrpSpPr>
          <p:grpSpPr>
            <a:xfrm>
              <a:off x="10450575" y="5375480"/>
              <a:ext cx="339792" cy="227724"/>
              <a:chOff x="10447999" y="5375480"/>
              <a:chExt cx="339792" cy="227724"/>
            </a:xfrm>
          </p:grpSpPr>
          <p:sp>
            <p:nvSpPr>
              <p:cNvPr id="1251" name="TextBox 1250">
                <a:extLst>
                  <a:ext uri="{FF2B5EF4-FFF2-40B4-BE49-F238E27FC236}">
                    <a16:creationId xmlns:a16="http://schemas.microsoft.com/office/drawing/2014/main" id="{3FC907C1-D4D3-4E99-992F-4935CBF7A41F}"/>
                  </a:ext>
                </a:extLst>
              </p:cNvPr>
              <p:cNvSpPr txBox="1"/>
              <p:nvPr/>
            </p:nvSpPr>
            <p:spPr>
              <a:xfrm>
                <a:off x="10447999" y="5464705"/>
                <a:ext cx="339792"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64</a:t>
                </a:r>
              </a:p>
            </p:txBody>
          </p:sp>
          <p:cxnSp>
            <p:nvCxnSpPr>
              <p:cNvPr id="1252" name="Straight Connector 1251">
                <a:extLst>
                  <a:ext uri="{FF2B5EF4-FFF2-40B4-BE49-F238E27FC236}">
                    <a16:creationId xmlns:a16="http://schemas.microsoft.com/office/drawing/2014/main" id="{13DE9383-0D69-41DB-92C1-CFA41C03F925}"/>
                  </a:ext>
                </a:extLst>
              </p:cNvPr>
              <p:cNvCxnSpPr/>
              <p:nvPr/>
            </p:nvCxnSpPr>
            <p:spPr>
              <a:xfrm>
                <a:off x="10617895" y="5375480"/>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75" name="Group 1074">
              <a:extLst>
                <a:ext uri="{FF2B5EF4-FFF2-40B4-BE49-F238E27FC236}">
                  <a16:creationId xmlns:a16="http://schemas.microsoft.com/office/drawing/2014/main" id="{BD5F472C-50EB-4807-B7B0-3FCEFA4BB734}"/>
                </a:ext>
              </a:extLst>
            </p:cNvPr>
            <p:cNvGrpSpPr/>
            <p:nvPr/>
          </p:nvGrpSpPr>
          <p:grpSpPr>
            <a:xfrm>
              <a:off x="10893619" y="5375480"/>
              <a:ext cx="339792" cy="227724"/>
              <a:chOff x="10896195" y="5375480"/>
              <a:chExt cx="339792" cy="227724"/>
            </a:xfrm>
          </p:grpSpPr>
          <p:sp>
            <p:nvSpPr>
              <p:cNvPr id="1249" name="TextBox 1248">
                <a:extLst>
                  <a:ext uri="{FF2B5EF4-FFF2-40B4-BE49-F238E27FC236}">
                    <a16:creationId xmlns:a16="http://schemas.microsoft.com/office/drawing/2014/main" id="{E424D38C-8345-41ED-828D-610F026094F5}"/>
                  </a:ext>
                </a:extLst>
              </p:cNvPr>
              <p:cNvSpPr txBox="1"/>
              <p:nvPr/>
            </p:nvSpPr>
            <p:spPr>
              <a:xfrm>
                <a:off x="10896195" y="5464705"/>
                <a:ext cx="339792" cy="1384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80</a:t>
                </a:r>
              </a:p>
            </p:txBody>
          </p:sp>
          <p:cxnSp>
            <p:nvCxnSpPr>
              <p:cNvPr id="1250" name="Straight Connector 1249">
                <a:extLst>
                  <a:ext uri="{FF2B5EF4-FFF2-40B4-BE49-F238E27FC236}">
                    <a16:creationId xmlns:a16="http://schemas.microsoft.com/office/drawing/2014/main" id="{A30CC345-A1F5-4943-9683-53A846461F6B}"/>
                  </a:ext>
                </a:extLst>
              </p:cNvPr>
              <p:cNvCxnSpPr/>
              <p:nvPr/>
            </p:nvCxnSpPr>
            <p:spPr>
              <a:xfrm>
                <a:off x="11066091" y="5375480"/>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076" name="Straight Connector 1075">
              <a:extLst>
                <a:ext uri="{FF2B5EF4-FFF2-40B4-BE49-F238E27FC236}">
                  <a16:creationId xmlns:a16="http://schemas.microsoft.com/office/drawing/2014/main" id="{8C939411-EA92-4EA4-89FC-D8B5D938947C}"/>
                </a:ext>
              </a:extLst>
            </p:cNvPr>
            <p:cNvCxnSpPr/>
            <p:nvPr/>
          </p:nvCxnSpPr>
          <p:spPr>
            <a:xfrm>
              <a:off x="11514505" y="5375480"/>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7" name="Straight Connector 1076">
              <a:extLst>
                <a:ext uri="{FF2B5EF4-FFF2-40B4-BE49-F238E27FC236}">
                  <a16:creationId xmlns:a16="http://schemas.microsoft.com/office/drawing/2014/main" id="{4DCC043A-D91B-476A-B06A-999405681A0F}"/>
                </a:ext>
              </a:extLst>
            </p:cNvPr>
            <p:cNvCxnSpPr>
              <a:cxnSpLocks/>
            </p:cNvCxnSpPr>
            <p:nvPr/>
          </p:nvCxnSpPr>
          <p:spPr>
            <a:xfrm rot="5400000">
              <a:off x="5193577" y="4745906"/>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78" name="TextBox 1077">
              <a:extLst>
                <a:ext uri="{FF2B5EF4-FFF2-40B4-BE49-F238E27FC236}">
                  <a16:creationId xmlns:a16="http://schemas.microsoft.com/office/drawing/2014/main" id="{F30FDFCE-B596-4EEB-ADD3-7A709FAFC34B}"/>
                </a:ext>
              </a:extLst>
            </p:cNvPr>
            <p:cNvSpPr txBox="1"/>
            <p:nvPr/>
          </p:nvSpPr>
          <p:spPr>
            <a:xfrm>
              <a:off x="4892893" y="4696599"/>
              <a:ext cx="230740"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5</a:t>
              </a:r>
            </a:p>
          </p:txBody>
        </p:sp>
        <p:sp>
          <p:nvSpPr>
            <p:cNvPr id="1079" name="TextBox 1078">
              <a:extLst>
                <a:ext uri="{FF2B5EF4-FFF2-40B4-BE49-F238E27FC236}">
                  <a16:creationId xmlns:a16="http://schemas.microsoft.com/office/drawing/2014/main" id="{1C62D71C-D7C2-4BC9-9005-2A6C1AA11FDF}"/>
                </a:ext>
              </a:extLst>
            </p:cNvPr>
            <p:cNvSpPr txBox="1"/>
            <p:nvPr/>
          </p:nvSpPr>
          <p:spPr>
            <a:xfrm>
              <a:off x="5201460"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2,1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2,143</a:t>
              </a:r>
            </a:p>
          </p:txBody>
        </p:sp>
        <p:sp>
          <p:nvSpPr>
            <p:cNvPr id="1080" name="TextBox 1079">
              <a:extLst>
                <a:ext uri="{FF2B5EF4-FFF2-40B4-BE49-F238E27FC236}">
                  <a16:creationId xmlns:a16="http://schemas.microsoft.com/office/drawing/2014/main" id="{657B2A0A-3452-4495-AF85-342C340DD5EC}"/>
                </a:ext>
              </a:extLst>
            </p:cNvPr>
            <p:cNvSpPr txBox="1"/>
            <p:nvPr/>
          </p:nvSpPr>
          <p:spPr>
            <a:xfrm>
              <a:off x="4561116" y="5804734"/>
              <a:ext cx="805815" cy="264327"/>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Arial"/>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Arial"/>
                  <a:ea typeface="MS PGothic" charset="0"/>
                  <a:cs typeface="+mn-cs"/>
                </a:rPr>
                <a:t>Placebo</a:t>
              </a:r>
            </a:p>
          </p:txBody>
        </p:sp>
        <p:sp>
          <p:nvSpPr>
            <p:cNvPr id="1081" name="TextBox 1080">
              <a:extLst>
                <a:ext uri="{FF2B5EF4-FFF2-40B4-BE49-F238E27FC236}">
                  <a16:creationId xmlns:a16="http://schemas.microsoft.com/office/drawing/2014/main" id="{75011D6F-71E0-4605-9691-66D715D8BBAC}"/>
                </a:ext>
              </a:extLst>
            </p:cNvPr>
            <p:cNvSpPr txBox="1"/>
            <p:nvPr/>
          </p:nvSpPr>
          <p:spPr>
            <a:xfrm>
              <a:off x="5651051"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84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849</a:t>
              </a:r>
            </a:p>
          </p:txBody>
        </p:sp>
        <p:sp>
          <p:nvSpPr>
            <p:cNvPr id="1082" name="TextBox 1081">
              <a:extLst>
                <a:ext uri="{FF2B5EF4-FFF2-40B4-BE49-F238E27FC236}">
                  <a16:creationId xmlns:a16="http://schemas.microsoft.com/office/drawing/2014/main" id="{68AB2658-A248-4642-9FAE-04C245885502}"/>
                </a:ext>
              </a:extLst>
            </p:cNvPr>
            <p:cNvSpPr txBox="1"/>
            <p:nvPr/>
          </p:nvSpPr>
          <p:spPr>
            <a:xfrm>
              <a:off x="6096700"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5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529</a:t>
              </a:r>
            </a:p>
          </p:txBody>
        </p:sp>
        <p:sp>
          <p:nvSpPr>
            <p:cNvPr id="1083" name="TextBox 1082">
              <a:extLst>
                <a:ext uri="{FF2B5EF4-FFF2-40B4-BE49-F238E27FC236}">
                  <a16:creationId xmlns:a16="http://schemas.microsoft.com/office/drawing/2014/main" id="{DB9973D5-A0A8-4A5A-83FE-990643ED3136}"/>
                </a:ext>
              </a:extLst>
            </p:cNvPr>
            <p:cNvSpPr txBox="1"/>
            <p:nvPr/>
          </p:nvSpPr>
          <p:spPr>
            <a:xfrm>
              <a:off x="6546291"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1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126</a:t>
              </a:r>
            </a:p>
          </p:txBody>
        </p:sp>
        <p:sp>
          <p:nvSpPr>
            <p:cNvPr id="1084" name="TextBox 1083">
              <a:extLst>
                <a:ext uri="{FF2B5EF4-FFF2-40B4-BE49-F238E27FC236}">
                  <a16:creationId xmlns:a16="http://schemas.microsoft.com/office/drawing/2014/main" id="{82B3F459-A047-4C96-9523-C5D388B24DC6}"/>
                </a:ext>
              </a:extLst>
            </p:cNvPr>
            <p:cNvSpPr txBox="1"/>
            <p:nvPr/>
          </p:nvSpPr>
          <p:spPr>
            <a:xfrm>
              <a:off x="6995882"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8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819</a:t>
              </a:r>
            </a:p>
          </p:txBody>
        </p:sp>
        <p:sp>
          <p:nvSpPr>
            <p:cNvPr id="1085" name="TextBox 1084">
              <a:extLst>
                <a:ext uri="{FF2B5EF4-FFF2-40B4-BE49-F238E27FC236}">
                  <a16:creationId xmlns:a16="http://schemas.microsoft.com/office/drawing/2014/main" id="{F2284E89-F217-4B91-9640-00CB82C661EA}"/>
                </a:ext>
              </a:extLst>
            </p:cNvPr>
            <p:cNvSpPr txBox="1"/>
            <p:nvPr/>
          </p:nvSpPr>
          <p:spPr>
            <a:xfrm>
              <a:off x="7445473"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6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619</a:t>
              </a:r>
            </a:p>
          </p:txBody>
        </p:sp>
        <p:sp>
          <p:nvSpPr>
            <p:cNvPr id="1086" name="TextBox 1085">
              <a:extLst>
                <a:ext uri="{FF2B5EF4-FFF2-40B4-BE49-F238E27FC236}">
                  <a16:creationId xmlns:a16="http://schemas.microsoft.com/office/drawing/2014/main" id="{F49DC5A7-2AED-41FB-AFC3-78DDB1E6F95A}"/>
                </a:ext>
              </a:extLst>
            </p:cNvPr>
            <p:cNvSpPr txBox="1"/>
            <p:nvPr/>
          </p:nvSpPr>
          <p:spPr>
            <a:xfrm>
              <a:off x="7895065" y="5804734"/>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4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411</a:t>
              </a:r>
            </a:p>
          </p:txBody>
        </p:sp>
        <p:sp>
          <p:nvSpPr>
            <p:cNvPr id="1087" name="TextBox 1086">
              <a:extLst>
                <a:ext uri="{FF2B5EF4-FFF2-40B4-BE49-F238E27FC236}">
                  <a16:creationId xmlns:a16="http://schemas.microsoft.com/office/drawing/2014/main" id="{E5E024DD-A6DF-4942-81D4-0D7202DE409D}"/>
                </a:ext>
              </a:extLst>
            </p:cNvPr>
            <p:cNvSpPr txBox="1"/>
            <p:nvPr/>
          </p:nvSpPr>
          <p:spPr>
            <a:xfrm>
              <a:off x="5452908" y="3641337"/>
              <a:ext cx="750046" cy="264327"/>
            </a:xfrm>
            <a:prstGeom prst="rect">
              <a:avLst/>
            </a:prstGeom>
          </p:spPr>
          <p:txBody>
            <a:bodyPr vert="horz" wrap="square" lIns="0" tIns="0" rIns="0" bIns="0" rtlCol="0" anchor="t">
              <a:noAutofit/>
            </a:bodyPr>
            <a:lstStyle>
              <a:defPPr>
                <a:defRPr lang="en-US"/>
              </a:defPPr>
              <a:lvl1pPr>
                <a:spcBef>
                  <a:spcPts val="0"/>
                </a:spcBef>
                <a:defRPr sz="900">
                  <a:solidFill>
                    <a:schemeClr val="tx2"/>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Vericigu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Placebo</a:t>
              </a:r>
            </a:p>
          </p:txBody>
        </p:sp>
        <p:sp>
          <p:nvSpPr>
            <p:cNvPr id="1088" name="Oval 1087">
              <a:extLst>
                <a:ext uri="{FF2B5EF4-FFF2-40B4-BE49-F238E27FC236}">
                  <a16:creationId xmlns:a16="http://schemas.microsoft.com/office/drawing/2014/main" id="{215776C7-049A-40F3-A2E2-77B6A4E48292}"/>
                </a:ext>
              </a:extLst>
            </p:cNvPr>
            <p:cNvSpPr/>
            <p:nvPr/>
          </p:nvSpPr>
          <p:spPr>
            <a:xfrm>
              <a:off x="5315829" y="3665047"/>
              <a:ext cx="90706" cy="907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89" name="Oval 1088">
              <a:extLst>
                <a:ext uri="{FF2B5EF4-FFF2-40B4-BE49-F238E27FC236}">
                  <a16:creationId xmlns:a16="http://schemas.microsoft.com/office/drawing/2014/main" id="{A39BC922-29EC-44D4-9626-2533EDEF6957}"/>
                </a:ext>
              </a:extLst>
            </p:cNvPr>
            <p:cNvSpPr/>
            <p:nvPr/>
          </p:nvSpPr>
          <p:spPr>
            <a:xfrm>
              <a:off x="5315829" y="3791413"/>
              <a:ext cx="90706" cy="9070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90" name="Oval 1089">
              <a:extLst>
                <a:ext uri="{FF2B5EF4-FFF2-40B4-BE49-F238E27FC236}">
                  <a16:creationId xmlns:a16="http://schemas.microsoft.com/office/drawing/2014/main" id="{3C07D6EE-26C8-4BE1-9A8B-6A682B397BFE}"/>
                </a:ext>
              </a:extLst>
            </p:cNvPr>
            <p:cNvSpPr/>
            <p:nvPr/>
          </p:nvSpPr>
          <p:spPr>
            <a:xfrm>
              <a:off x="8754836" y="3665047"/>
              <a:ext cx="90706" cy="907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91" name="Oval 1090">
              <a:extLst>
                <a:ext uri="{FF2B5EF4-FFF2-40B4-BE49-F238E27FC236}">
                  <a16:creationId xmlns:a16="http://schemas.microsoft.com/office/drawing/2014/main" id="{287ABEE5-1455-46C1-8AD6-E1C5B46A6F37}"/>
                </a:ext>
              </a:extLst>
            </p:cNvPr>
            <p:cNvSpPr/>
            <p:nvPr/>
          </p:nvSpPr>
          <p:spPr>
            <a:xfrm>
              <a:off x="8754836" y="3791413"/>
              <a:ext cx="90706" cy="9070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92" name="TextBox 1091">
              <a:extLst>
                <a:ext uri="{FF2B5EF4-FFF2-40B4-BE49-F238E27FC236}">
                  <a16:creationId xmlns:a16="http://schemas.microsoft.com/office/drawing/2014/main" id="{F9B1BA24-5F09-45E2-8981-733365A681B0}"/>
                </a:ext>
              </a:extLst>
            </p:cNvPr>
            <p:cNvSpPr txBox="1"/>
            <p:nvPr/>
          </p:nvSpPr>
          <p:spPr>
            <a:xfrm>
              <a:off x="8369457" y="3564425"/>
              <a:ext cx="230739"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10</a:t>
              </a:r>
            </a:p>
          </p:txBody>
        </p:sp>
        <p:cxnSp>
          <p:nvCxnSpPr>
            <p:cNvPr id="1093" name="Straight Connector 1092">
              <a:extLst>
                <a:ext uri="{FF2B5EF4-FFF2-40B4-BE49-F238E27FC236}">
                  <a16:creationId xmlns:a16="http://schemas.microsoft.com/office/drawing/2014/main" id="{888F0960-687D-4520-B04A-6F44E57943C1}"/>
                </a:ext>
              </a:extLst>
            </p:cNvPr>
            <p:cNvCxnSpPr>
              <a:cxnSpLocks/>
            </p:cNvCxnSpPr>
            <p:nvPr/>
          </p:nvCxnSpPr>
          <p:spPr>
            <a:xfrm rot="5400000">
              <a:off x="8649116" y="3986517"/>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4" name="TextBox 1093">
              <a:extLst>
                <a:ext uri="{FF2B5EF4-FFF2-40B4-BE49-F238E27FC236}">
                  <a16:creationId xmlns:a16="http://schemas.microsoft.com/office/drawing/2014/main" id="{91B5F70F-F895-4FE7-AC95-8B73BF77F727}"/>
                </a:ext>
              </a:extLst>
            </p:cNvPr>
            <p:cNvSpPr txBox="1"/>
            <p:nvPr/>
          </p:nvSpPr>
          <p:spPr>
            <a:xfrm>
              <a:off x="8369455" y="3936416"/>
              <a:ext cx="230739"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5</a:t>
              </a:r>
            </a:p>
          </p:txBody>
        </p:sp>
        <p:cxnSp>
          <p:nvCxnSpPr>
            <p:cNvPr id="1095" name="Straight Connector 1094">
              <a:extLst>
                <a:ext uri="{FF2B5EF4-FFF2-40B4-BE49-F238E27FC236}">
                  <a16:creationId xmlns:a16="http://schemas.microsoft.com/office/drawing/2014/main" id="{897CB427-6CA2-48C6-8DEC-898D35D7C589}"/>
                </a:ext>
              </a:extLst>
            </p:cNvPr>
            <p:cNvCxnSpPr>
              <a:cxnSpLocks/>
            </p:cNvCxnSpPr>
            <p:nvPr/>
          </p:nvCxnSpPr>
          <p:spPr>
            <a:xfrm rot="5400000">
              <a:off x="8649116" y="4365358"/>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6" name="TextBox 1095">
              <a:extLst>
                <a:ext uri="{FF2B5EF4-FFF2-40B4-BE49-F238E27FC236}">
                  <a16:creationId xmlns:a16="http://schemas.microsoft.com/office/drawing/2014/main" id="{018278C1-6CA7-4823-B9CB-B15D1D5A61EC}"/>
                </a:ext>
              </a:extLst>
            </p:cNvPr>
            <p:cNvSpPr txBox="1"/>
            <p:nvPr/>
          </p:nvSpPr>
          <p:spPr>
            <a:xfrm>
              <a:off x="8369455" y="4315257"/>
              <a:ext cx="230739" cy="153888"/>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S PGothic" charset="0"/>
                  <a:cs typeface="+mn-cs"/>
                </a:rPr>
                <a:t>0</a:t>
              </a:r>
            </a:p>
          </p:txBody>
        </p:sp>
        <p:cxnSp>
          <p:nvCxnSpPr>
            <p:cNvPr id="1097" name="Straight Connector 1096">
              <a:extLst>
                <a:ext uri="{FF2B5EF4-FFF2-40B4-BE49-F238E27FC236}">
                  <a16:creationId xmlns:a16="http://schemas.microsoft.com/office/drawing/2014/main" id="{598FDD1F-6AEB-49E3-B4E4-4303677DBEEA}"/>
                </a:ext>
              </a:extLst>
            </p:cNvPr>
            <p:cNvCxnSpPr>
              <a:cxnSpLocks/>
            </p:cNvCxnSpPr>
            <p:nvPr/>
          </p:nvCxnSpPr>
          <p:spPr>
            <a:xfrm rot="5400000">
              <a:off x="8649113" y="5115193"/>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8" name="TextBox 1097">
              <a:extLst>
                <a:ext uri="{FF2B5EF4-FFF2-40B4-BE49-F238E27FC236}">
                  <a16:creationId xmlns:a16="http://schemas.microsoft.com/office/drawing/2014/main" id="{48B83913-DB93-4D1F-BBD5-A2A48ED40631}"/>
                </a:ext>
              </a:extLst>
            </p:cNvPr>
            <p:cNvSpPr txBox="1"/>
            <p:nvPr/>
          </p:nvSpPr>
          <p:spPr>
            <a:xfrm>
              <a:off x="8654396"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5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71</a:t>
              </a:r>
            </a:p>
          </p:txBody>
        </p:sp>
        <p:sp>
          <p:nvSpPr>
            <p:cNvPr id="1099" name="TextBox 1098">
              <a:extLst>
                <a:ext uri="{FF2B5EF4-FFF2-40B4-BE49-F238E27FC236}">
                  <a16:creationId xmlns:a16="http://schemas.microsoft.com/office/drawing/2014/main" id="{4674FDC2-E1C3-4F41-8CA6-C8E0F964BEEE}"/>
                </a:ext>
              </a:extLst>
            </p:cNvPr>
            <p:cNvSpPr txBox="1"/>
            <p:nvPr/>
          </p:nvSpPr>
          <p:spPr>
            <a:xfrm>
              <a:off x="9103987"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23</a:t>
              </a:r>
            </a:p>
          </p:txBody>
        </p:sp>
        <p:sp>
          <p:nvSpPr>
            <p:cNvPr id="1100" name="TextBox 1099">
              <a:extLst>
                <a:ext uri="{FF2B5EF4-FFF2-40B4-BE49-F238E27FC236}">
                  <a16:creationId xmlns:a16="http://schemas.microsoft.com/office/drawing/2014/main" id="{CE4B1FB6-9776-4A20-9FE1-B8CA6A32FF17}"/>
                </a:ext>
              </a:extLst>
            </p:cNvPr>
            <p:cNvSpPr txBox="1"/>
            <p:nvPr/>
          </p:nvSpPr>
          <p:spPr>
            <a:xfrm>
              <a:off x="9557729"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2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244</a:t>
              </a:r>
            </a:p>
          </p:txBody>
        </p:sp>
        <p:sp>
          <p:nvSpPr>
            <p:cNvPr id="1101" name="TextBox 1100">
              <a:extLst>
                <a:ext uri="{FF2B5EF4-FFF2-40B4-BE49-F238E27FC236}">
                  <a16:creationId xmlns:a16="http://schemas.microsoft.com/office/drawing/2014/main" id="{D022FE01-F263-4826-810B-4F511BC5C25E}"/>
                </a:ext>
              </a:extLst>
            </p:cNvPr>
            <p:cNvSpPr txBox="1"/>
            <p:nvPr/>
          </p:nvSpPr>
          <p:spPr>
            <a:xfrm>
              <a:off x="9999228"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52</a:t>
              </a:r>
            </a:p>
          </p:txBody>
        </p:sp>
        <p:sp>
          <p:nvSpPr>
            <p:cNvPr id="1102" name="TextBox 1101">
              <a:extLst>
                <a:ext uri="{FF2B5EF4-FFF2-40B4-BE49-F238E27FC236}">
                  <a16:creationId xmlns:a16="http://schemas.microsoft.com/office/drawing/2014/main" id="{430FED29-0D26-4BBD-BB32-7E69D361268C}"/>
                </a:ext>
              </a:extLst>
            </p:cNvPr>
            <p:cNvSpPr txBox="1"/>
            <p:nvPr/>
          </p:nvSpPr>
          <p:spPr>
            <a:xfrm>
              <a:off x="10448819"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105</a:t>
              </a:r>
            </a:p>
          </p:txBody>
        </p:sp>
        <p:sp>
          <p:nvSpPr>
            <p:cNvPr id="1103" name="TextBox 1102">
              <a:extLst>
                <a:ext uri="{FF2B5EF4-FFF2-40B4-BE49-F238E27FC236}">
                  <a16:creationId xmlns:a16="http://schemas.microsoft.com/office/drawing/2014/main" id="{200B3C1C-01C7-421B-A2FE-F2F22BA12259}"/>
                </a:ext>
              </a:extLst>
            </p:cNvPr>
            <p:cNvSpPr txBox="1"/>
            <p:nvPr/>
          </p:nvSpPr>
          <p:spPr>
            <a:xfrm>
              <a:off x="10898410"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67</a:t>
              </a:r>
            </a:p>
          </p:txBody>
        </p:sp>
        <p:sp>
          <p:nvSpPr>
            <p:cNvPr id="1104" name="TextBox 1103">
              <a:extLst>
                <a:ext uri="{FF2B5EF4-FFF2-40B4-BE49-F238E27FC236}">
                  <a16:creationId xmlns:a16="http://schemas.microsoft.com/office/drawing/2014/main" id="{6DEA8D72-228C-4316-B1C2-06FDEBE28A17}"/>
                </a:ext>
              </a:extLst>
            </p:cNvPr>
            <p:cNvSpPr txBox="1"/>
            <p:nvPr/>
          </p:nvSpPr>
          <p:spPr>
            <a:xfrm>
              <a:off x="11348002" y="5784432"/>
              <a:ext cx="334873" cy="276999"/>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a:ea typeface="MS PGothic" charset="0"/>
                  <a:cs typeface="+mn-cs"/>
                </a:rPr>
                <a:t>41</a:t>
              </a:r>
            </a:p>
          </p:txBody>
        </p:sp>
        <p:sp>
          <p:nvSpPr>
            <p:cNvPr id="1105" name="TextBox 1104">
              <a:extLst>
                <a:ext uri="{FF2B5EF4-FFF2-40B4-BE49-F238E27FC236}">
                  <a16:creationId xmlns:a16="http://schemas.microsoft.com/office/drawing/2014/main" id="{B135A436-8538-4D2E-A7EA-3E9807844084}"/>
                </a:ext>
              </a:extLst>
            </p:cNvPr>
            <p:cNvSpPr txBox="1"/>
            <p:nvPr/>
          </p:nvSpPr>
          <p:spPr>
            <a:xfrm>
              <a:off x="9206389" y="3407672"/>
              <a:ext cx="1959289" cy="161583"/>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rial"/>
                  <a:ea typeface="MS PGothic" charset="0"/>
                  <a:cs typeface="+mn-cs"/>
                </a:rPr>
                <a:t>Use of ARNi</a:t>
              </a:r>
            </a:p>
          </p:txBody>
        </p:sp>
        <p:grpSp>
          <p:nvGrpSpPr>
            <p:cNvPr id="1106" name="Group 1105">
              <a:extLst>
                <a:ext uri="{FF2B5EF4-FFF2-40B4-BE49-F238E27FC236}">
                  <a16:creationId xmlns:a16="http://schemas.microsoft.com/office/drawing/2014/main" id="{6FA7D1A0-A09F-4444-B85E-4D8DB16BBDE2}"/>
                </a:ext>
              </a:extLst>
            </p:cNvPr>
            <p:cNvGrpSpPr/>
            <p:nvPr/>
          </p:nvGrpSpPr>
          <p:grpSpPr>
            <a:xfrm>
              <a:off x="5798250" y="4505435"/>
              <a:ext cx="53319" cy="62142"/>
              <a:chOff x="5626523" y="4754394"/>
              <a:chExt cx="53319" cy="62142"/>
            </a:xfrm>
            <a:solidFill>
              <a:schemeClr val="accent1"/>
            </a:solidFill>
          </p:grpSpPr>
          <p:cxnSp>
            <p:nvCxnSpPr>
              <p:cNvPr id="1246" name="Straight Connector 1245">
                <a:extLst>
                  <a:ext uri="{FF2B5EF4-FFF2-40B4-BE49-F238E27FC236}">
                    <a16:creationId xmlns:a16="http://schemas.microsoft.com/office/drawing/2014/main" id="{43DDBC2A-916F-404D-842A-C013AF356700}"/>
                  </a:ext>
                </a:extLst>
              </p:cNvPr>
              <p:cNvCxnSpPr/>
              <p:nvPr/>
            </p:nvCxnSpPr>
            <p:spPr>
              <a:xfrm>
                <a:off x="5626523" y="4754726"/>
                <a:ext cx="53319" cy="0"/>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6E0B35CD-6CA4-4CDD-814B-D8B143A72F62}"/>
                  </a:ext>
                </a:extLst>
              </p:cNvPr>
              <p:cNvCxnSpPr/>
              <p:nvPr/>
            </p:nvCxnSpPr>
            <p:spPr>
              <a:xfrm>
                <a:off x="5626523" y="4816536"/>
                <a:ext cx="53319" cy="0"/>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465645C9-9788-4C8F-8CE6-19D40B8AB061}"/>
                  </a:ext>
                </a:extLst>
              </p:cNvPr>
              <p:cNvCxnSpPr>
                <a:cxnSpLocks/>
                <a:endCxn id="1114" idx="4"/>
              </p:cNvCxnSpPr>
              <p:nvPr/>
            </p:nvCxnSpPr>
            <p:spPr>
              <a:xfrm>
                <a:off x="5653183" y="4754394"/>
                <a:ext cx="2691" cy="58455"/>
              </a:xfrm>
              <a:prstGeom prst="line">
                <a:avLst/>
              </a:prstGeom>
              <a:grpFill/>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07" name="Group 1106">
              <a:extLst>
                <a:ext uri="{FF2B5EF4-FFF2-40B4-BE49-F238E27FC236}">
                  <a16:creationId xmlns:a16="http://schemas.microsoft.com/office/drawing/2014/main" id="{184C053B-3BD1-4191-9E8B-711A7FFA8D93}"/>
                </a:ext>
              </a:extLst>
            </p:cNvPr>
            <p:cNvGrpSpPr/>
            <p:nvPr/>
          </p:nvGrpSpPr>
          <p:grpSpPr>
            <a:xfrm>
              <a:off x="5463272" y="4649478"/>
              <a:ext cx="53319" cy="55169"/>
              <a:chOff x="5291545" y="4898437"/>
              <a:chExt cx="53319" cy="55169"/>
            </a:xfrm>
          </p:grpSpPr>
          <p:cxnSp>
            <p:nvCxnSpPr>
              <p:cNvPr id="1243" name="Straight Connector 1242">
                <a:extLst>
                  <a:ext uri="{FF2B5EF4-FFF2-40B4-BE49-F238E27FC236}">
                    <a16:creationId xmlns:a16="http://schemas.microsoft.com/office/drawing/2014/main" id="{EBFF4F67-7DDE-4F2E-BB77-72288E85E3FA}"/>
                  </a:ext>
                </a:extLst>
              </p:cNvPr>
              <p:cNvCxnSpPr/>
              <p:nvPr/>
            </p:nvCxnSpPr>
            <p:spPr>
              <a:xfrm>
                <a:off x="5291545" y="4898706"/>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ACE97C7E-C0B1-4605-95F1-606689A8E227}"/>
                  </a:ext>
                </a:extLst>
              </p:cNvPr>
              <p:cNvCxnSpPr/>
              <p:nvPr/>
            </p:nvCxnSpPr>
            <p:spPr>
              <a:xfrm>
                <a:off x="5291545" y="4952641"/>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91E394AD-F7F3-4F5E-854E-4E4DC92120F1}"/>
                  </a:ext>
                </a:extLst>
              </p:cNvPr>
              <p:cNvCxnSpPr>
                <a:cxnSpLocks/>
              </p:cNvCxnSpPr>
              <p:nvPr/>
            </p:nvCxnSpPr>
            <p:spPr>
              <a:xfrm>
                <a:off x="5318205" y="4898437"/>
                <a:ext cx="0" cy="5516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108" name="Straight Connector 1107">
              <a:extLst>
                <a:ext uri="{FF2B5EF4-FFF2-40B4-BE49-F238E27FC236}">
                  <a16:creationId xmlns:a16="http://schemas.microsoft.com/office/drawing/2014/main" id="{8DA77F39-55EE-4801-9F1E-8B39E866388F}"/>
                </a:ext>
              </a:extLst>
            </p:cNvPr>
            <p:cNvCxnSpPr/>
            <p:nvPr/>
          </p:nvCxnSpPr>
          <p:spPr>
            <a:xfrm>
              <a:off x="5468034" y="4549643"/>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a:extLst>
                <a:ext uri="{FF2B5EF4-FFF2-40B4-BE49-F238E27FC236}">
                  <a16:creationId xmlns:a16="http://schemas.microsoft.com/office/drawing/2014/main" id="{3FD6DBF2-E4F2-48DF-9F96-97250AC9B444}"/>
                </a:ext>
              </a:extLst>
            </p:cNvPr>
            <p:cNvCxnSpPr/>
            <p:nvPr/>
          </p:nvCxnSpPr>
          <p:spPr>
            <a:xfrm>
              <a:off x="5468034" y="4601197"/>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a:extLst>
                <a:ext uri="{FF2B5EF4-FFF2-40B4-BE49-F238E27FC236}">
                  <a16:creationId xmlns:a16="http://schemas.microsoft.com/office/drawing/2014/main" id="{53794F86-56EB-466E-9FF3-7A295DB10D46}"/>
                </a:ext>
              </a:extLst>
            </p:cNvPr>
            <p:cNvCxnSpPr/>
            <p:nvPr/>
          </p:nvCxnSpPr>
          <p:spPr>
            <a:xfrm>
              <a:off x="5410526" y="4603847"/>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a:extLst>
                <a:ext uri="{FF2B5EF4-FFF2-40B4-BE49-F238E27FC236}">
                  <a16:creationId xmlns:a16="http://schemas.microsoft.com/office/drawing/2014/main" id="{B18A67CC-6399-4BE8-BC33-6DB08E79DF79}"/>
                </a:ext>
              </a:extLst>
            </p:cNvPr>
            <p:cNvCxnSpPr/>
            <p:nvPr/>
          </p:nvCxnSpPr>
          <p:spPr>
            <a:xfrm>
              <a:off x="5410526" y="4653020"/>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a:extLst>
                <a:ext uri="{FF2B5EF4-FFF2-40B4-BE49-F238E27FC236}">
                  <a16:creationId xmlns:a16="http://schemas.microsoft.com/office/drawing/2014/main" id="{6C85B1EF-20C1-478E-A09F-23F690DA0883}"/>
                </a:ext>
              </a:extLst>
            </p:cNvPr>
            <p:cNvCxnSpPr/>
            <p:nvPr/>
          </p:nvCxnSpPr>
          <p:spPr>
            <a:xfrm>
              <a:off x="5409221" y="4519819"/>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a:extLst>
                <a:ext uri="{FF2B5EF4-FFF2-40B4-BE49-F238E27FC236}">
                  <a16:creationId xmlns:a16="http://schemas.microsoft.com/office/drawing/2014/main" id="{080441B3-02B2-43D7-96B8-14C7F758BDD2}"/>
                </a:ext>
              </a:extLst>
            </p:cNvPr>
            <p:cNvCxnSpPr/>
            <p:nvPr/>
          </p:nvCxnSpPr>
          <p:spPr>
            <a:xfrm>
              <a:off x="5409221" y="4568992"/>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14" name="Oval 1113">
              <a:extLst>
                <a:ext uri="{FF2B5EF4-FFF2-40B4-BE49-F238E27FC236}">
                  <a16:creationId xmlns:a16="http://schemas.microsoft.com/office/drawing/2014/main" id="{D5FD3800-EFC8-4803-AB90-D283C5CD1FCA}"/>
                </a:ext>
              </a:extLst>
            </p:cNvPr>
            <p:cNvSpPr/>
            <p:nvPr/>
          </p:nvSpPr>
          <p:spPr>
            <a:xfrm>
              <a:off x="5801424" y="4511536"/>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15" name="Oval 1114">
              <a:extLst>
                <a:ext uri="{FF2B5EF4-FFF2-40B4-BE49-F238E27FC236}">
                  <a16:creationId xmlns:a16="http://schemas.microsoft.com/office/drawing/2014/main" id="{10EBED62-2549-4636-AEFB-9D416D4DB819}"/>
                </a:ext>
              </a:extLst>
            </p:cNvPr>
            <p:cNvSpPr/>
            <p:nvPr/>
          </p:nvSpPr>
          <p:spPr>
            <a:xfrm>
              <a:off x="5465983" y="4654883"/>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16" name="Oval 1115">
              <a:extLst>
                <a:ext uri="{FF2B5EF4-FFF2-40B4-BE49-F238E27FC236}">
                  <a16:creationId xmlns:a16="http://schemas.microsoft.com/office/drawing/2014/main" id="{BBD28AE0-83A5-403E-B473-C8492F96D83D}"/>
                </a:ext>
              </a:extLst>
            </p:cNvPr>
            <p:cNvSpPr/>
            <p:nvPr/>
          </p:nvSpPr>
          <p:spPr>
            <a:xfrm>
              <a:off x="5468364" y="4548215"/>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18" name="Oval 1117">
              <a:extLst>
                <a:ext uri="{FF2B5EF4-FFF2-40B4-BE49-F238E27FC236}">
                  <a16:creationId xmlns:a16="http://schemas.microsoft.com/office/drawing/2014/main" id="{9F87A531-F512-4CEC-A3CA-F0F36392307B}"/>
                </a:ext>
              </a:extLst>
            </p:cNvPr>
            <p:cNvSpPr/>
            <p:nvPr/>
          </p:nvSpPr>
          <p:spPr>
            <a:xfrm>
              <a:off x="5409110" y="4516195"/>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19" name="Group 1118">
              <a:extLst>
                <a:ext uri="{FF2B5EF4-FFF2-40B4-BE49-F238E27FC236}">
                  <a16:creationId xmlns:a16="http://schemas.microsoft.com/office/drawing/2014/main" id="{280417ED-3B6C-4706-B433-8761E047C67E}"/>
                </a:ext>
              </a:extLst>
            </p:cNvPr>
            <p:cNvGrpSpPr/>
            <p:nvPr/>
          </p:nvGrpSpPr>
          <p:grpSpPr>
            <a:xfrm>
              <a:off x="11038117" y="4280641"/>
              <a:ext cx="53319" cy="216915"/>
              <a:chOff x="11054787" y="4283022"/>
              <a:chExt cx="53319" cy="216915"/>
            </a:xfrm>
          </p:grpSpPr>
          <p:cxnSp>
            <p:nvCxnSpPr>
              <p:cNvPr id="1240" name="Straight Connector 1239">
                <a:extLst>
                  <a:ext uri="{FF2B5EF4-FFF2-40B4-BE49-F238E27FC236}">
                    <a16:creationId xmlns:a16="http://schemas.microsoft.com/office/drawing/2014/main" id="{2C86197F-C632-44FC-8E9B-2A1A68F1F2C5}"/>
                  </a:ext>
                </a:extLst>
              </p:cNvPr>
              <p:cNvCxnSpPr/>
              <p:nvPr/>
            </p:nvCxnSpPr>
            <p:spPr>
              <a:xfrm>
                <a:off x="11054787" y="4284080"/>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BFBCB4AF-B28D-4113-BC36-79548D010309}"/>
                  </a:ext>
                </a:extLst>
              </p:cNvPr>
              <p:cNvCxnSpPr/>
              <p:nvPr/>
            </p:nvCxnSpPr>
            <p:spPr>
              <a:xfrm>
                <a:off x="11054787" y="4498155"/>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CF272889-7397-436C-A995-7C85FAA30E4B}"/>
                  </a:ext>
                </a:extLst>
              </p:cNvPr>
              <p:cNvCxnSpPr>
                <a:cxnSpLocks/>
              </p:cNvCxnSpPr>
              <p:nvPr/>
            </p:nvCxnSpPr>
            <p:spPr>
              <a:xfrm>
                <a:off x="11081447" y="4283022"/>
                <a:ext cx="0" cy="21691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0" name="Group 1119">
              <a:extLst>
                <a:ext uri="{FF2B5EF4-FFF2-40B4-BE49-F238E27FC236}">
                  <a16:creationId xmlns:a16="http://schemas.microsoft.com/office/drawing/2014/main" id="{F45DB71B-889B-47D3-8615-F7EA5E48CB26}"/>
                </a:ext>
              </a:extLst>
            </p:cNvPr>
            <p:cNvGrpSpPr/>
            <p:nvPr/>
          </p:nvGrpSpPr>
          <p:grpSpPr>
            <a:xfrm>
              <a:off x="10595882" y="4324215"/>
              <a:ext cx="53319" cy="216915"/>
              <a:chOff x="10603025" y="4326596"/>
              <a:chExt cx="53319" cy="216915"/>
            </a:xfrm>
            <a:solidFill>
              <a:schemeClr val="tx2"/>
            </a:solidFill>
          </p:grpSpPr>
          <p:cxnSp>
            <p:nvCxnSpPr>
              <p:cNvPr id="1237" name="Straight Connector 1236">
                <a:extLst>
                  <a:ext uri="{FF2B5EF4-FFF2-40B4-BE49-F238E27FC236}">
                    <a16:creationId xmlns:a16="http://schemas.microsoft.com/office/drawing/2014/main" id="{0AAB231E-E0CC-49CE-9413-271A8D382B91}"/>
                  </a:ext>
                </a:extLst>
              </p:cNvPr>
              <p:cNvCxnSpPr/>
              <p:nvPr/>
            </p:nvCxnSpPr>
            <p:spPr>
              <a:xfrm>
                <a:off x="10603025" y="4327654"/>
                <a:ext cx="53319" cy="0"/>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8" name="Straight Connector 1237">
                <a:extLst>
                  <a:ext uri="{FF2B5EF4-FFF2-40B4-BE49-F238E27FC236}">
                    <a16:creationId xmlns:a16="http://schemas.microsoft.com/office/drawing/2014/main" id="{F240E1E6-FEE3-4A96-BAD2-E1A027192B2E}"/>
                  </a:ext>
                </a:extLst>
              </p:cNvPr>
              <p:cNvCxnSpPr/>
              <p:nvPr/>
            </p:nvCxnSpPr>
            <p:spPr>
              <a:xfrm>
                <a:off x="10603025" y="4541729"/>
                <a:ext cx="53319" cy="0"/>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9" name="Straight Connector 1238">
                <a:extLst>
                  <a:ext uri="{FF2B5EF4-FFF2-40B4-BE49-F238E27FC236}">
                    <a16:creationId xmlns:a16="http://schemas.microsoft.com/office/drawing/2014/main" id="{54C9EDF3-BFB1-44AD-A87D-2767F0B93160}"/>
                  </a:ext>
                </a:extLst>
              </p:cNvPr>
              <p:cNvCxnSpPr>
                <a:cxnSpLocks/>
              </p:cNvCxnSpPr>
              <p:nvPr/>
            </p:nvCxnSpPr>
            <p:spPr>
              <a:xfrm>
                <a:off x="10629685" y="4326596"/>
                <a:ext cx="0" cy="216915"/>
              </a:xfrm>
              <a:prstGeom prst="line">
                <a:avLst/>
              </a:prstGeom>
              <a:grpFill/>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1" name="Group 1120">
              <a:extLst>
                <a:ext uri="{FF2B5EF4-FFF2-40B4-BE49-F238E27FC236}">
                  <a16:creationId xmlns:a16="http://schemas.microsoft.com/office/drawing/2014/main" id="{8978A05E-34C2-446B-9200-0757C98737EC}"/>
                </a:ext>
              </a:extLst>
            </p:cNvPr>
            <p:cNvGrpSpPr/>
            <p:nvPr/>
          </p:nvGrpSpPr>
          <p:grpSpPr>
            <a:xfrm>
              <a:off x="10148206" y="4104111"/>
              <a:ext cx="53319" cy="198731"/>
              <a:chOff x="10152968" y="4106492"/>
              <a:chExt cx="53319" cy="198731"/>
            </a:xfrm>
          </p:grpSpPr>
          <p:cxnSp>
            <p:nvCxnSpPr>
              <p:cNvPr id="1234" name="Straight Connector 1233">
                <a:extLst>
                  <a:ext uri="{FF2B5EF4-FFF2-40B4-BE49-F238E27FC236}">
                    <a16:creationId xmlns:a16="http://schemas.microsoft.com/office/drawing/2014/main" id="{185F236B-891A-4D90-B5BE-B07D7A5CEDA6}"/>
                  </a:ext>
                </a:extLst>
              </p:cNvPr>
              <p:cNvCxnSpPr/>
              <p:nvPr/>
            </p:nvCxnSpPr>
            <p:spPr>
              <a:xfrm>
                <a:off x="10152968" y="4107462"/>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133CC6DF-9114-4E37-8511-8C3DA6D3F8A3}"/>
                  </a:ext>
                </a:extLst>
              </p:cNvPr>
              <p:cNvCxnSpPr/>
              <p:nvPr/>
            </p:nvCxnSpPr>
            <p:spPr>
              <a:xfrm>
                <a:off x="10152968" y="4303590"/>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A3BF178-3EF4-49E4-8904-DD1B9F9ED1BA}"/>
                  </a:ext>
                </a:extLst>
              </p:cNvPr>
              <p:cNvCxnSpPr>
                <a:cxnSpLocks/>
              </p:cNvCxnSpPr>
              <p:nvPr/>
            </p:nvCxnSpPr>
            <p:spPr>
              <a:xfrm>
                <a:off x="10179628" y="4106492"/>
                <a:ext cx="0" cy="1987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2" name="Group 1121">
              <a:extLst>
                <a:ext uri="{FF2B5EF4-FFF2-40B4-BE49-F238E27FC236}">
                  <a16:creationId xmlns:a16="http://schemas.microsoft.com/office/drawing/2014/main" id="{CCCF9CAC-F588-4A75-9005-7F7D117B7F56}"/>
                </a:ext>
              </a:extLst>
            </p:cNvPr>
            <p:cNvGrpSpPr/>
            <p:nvPr/>
          </p:nvGrpSpPr>
          <p:grpSpPr>
            <a:xfrm>
              <a:off x="9701432" y="4353154"/>
              <a:ext cx="53319" cy="161634"/>
              <a:chOff x="9706194" y="4355535"/>
              <a:chExt cx="53319" cy="161634"/>
            </a:xfrm>
          </p:grpSpPr>
          <p:cxnSp>
            <p:nvCxnSpPr>
              <p:cNvPr id="1231" name="Straight Connector 1230">
                <a:extLst>
                  <a:ext uri="{FF2B5EF4-FFF2-40B4-BE49-F238E27FC236}">
                    <a16:creationId xmlns:a16="http://schemas.microsoft.com/office/drawing/2014/main" id="{CD21C07A-EF17-482C-BD9E-BEA4D5F2F859}"/>
                  </a:ext>
                </a:extLst>
              </p:cNvPr>
              <p:cNvCxnSpPr/>
              <p:nvPr/>
            </p:nvCxnSpPr>
            <p:spPr>
              <a:xfrm>
                <a:off x="9706194" y="4356324"/>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2" name="Straight Connector 1231">
                <a:extLst>
                  <a:ext uri="{FF2B5EF4-FFF2-40B4-BE49-F238E27FC236}">
                    <a16:creationId xmlns:a16="http://schemas.microsoft.com/office/drawing/2014/main" id="{2807C9AD-59FD-43E1-8B07-769AE67745B8}"/>
                  </a:ext>
                </a:extLst>
              </p:cNvPr>
              <p:cNvCxnSpPr/>
              <p:nvPr/>
            </p:nvCxnSpPr>
            <p:spPr>
              <a:xfrm>
                <a:off x="9706194" y="4515841"/>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B480DB60-124C-452D-803A-3E757BEEA1E9}"/>
                  </a:ext>
                </a:extLst>
              </p:cNvPr>
              <p:cNvCxnSpPr>
                <a:cxnSpLocks/>
              </p:cNvCxnSpPr>
              <p:nvPr/>
            </p:nvCxnSpPr>
            <p:spPr>
              <a:xfrm>
                <a:off x="9732854" y="4355535"/>
                <a:ext cx="0" cy="16163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23" name="Group 1122">
              <a:extLst>
                <a:ext uri="{FF2B5EF4-FFF2-40B4-BE49-F238E27FC236}">
                  <a16:creationId xmlns:a16="http://schemas.microsoft.com/office/drawing/2014/main" id="{900802AB-1C95-47B3-A4B9-6AD99C54DE69}"/>
                </a:ext>
              </a:extLst>
            </p:cNvPr>
            <p:cNvGrpSpPr/>
            <p:nvPr/>
          </p:nvGrpSpPr>
          <p:grpSpPr>
            <a:xfrm>
              <a:off x="9256138" y="4421207"/>
              <a:ext cx="53319" cy="123332"/>
              <a:chOff x="9256138" y="4423588"/>
              <a:chExt cx="53319" cy="123332"/>
            </a:xfrm>
          </p:grpSpPr>
          <p:cxnSp>
            <p:nvCxnSpPr>
              <p:cNvPr id="1228" name="Straight Connector 1227">
                <a:extLst>
                  <a:ext uri="{FF2B5EF4-FFF2-40B4-BE49-F238E27FC236}">
                    <a16:creationId xmlns:a16="http://schemas.microsoft.com/office/drawing/2014/main" id="{51D801CA-D4E9-4074-9734-D3F4656F4E86}"/>
                  </a:ext>
                </a:extLst>
              </p:cNvPr>
              <p:cNvCxnSpPr/>
              <p:nvPr/>
            </p:nvCxnSpPr>
            <p:spPr>
              <a:xfrm>
                <a:off x="9256138" y="4424190"/>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a:extLst>
                  <a:ext uri="{FF2B5EF4-FFF2-40B4-BE49-F238E27FC236}">
                    <a16:creationId xmlns:a16="http://schemas.microsoft.com/office/drawing/2014/main" id="{52098DD3-5E20-49AA-987A-20EAE7313680}"/>
                  </a:ext>
                </a:extLst>
              </p:cNvPr>
              <p:cNvCxnSpPr/>
              <p:nvPr/>
            </p:nvCxnSpPr>
            <p:spPr>
              <a:xfrm>
                <a:off x="9256138" y="4545907"/>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0" name="Straight Connector 1229">
                <a:extLst>
                  <a:ext uri="{FF2B5EF4-FFF2-40B4-BE49-F238E27FC236}">
                    <a16:creationId xmlns:a16="http://schemas.microsoft.com/office/drawing/2014/main" id="{028BBB9E-3468-433B-9D2D-7ACF47E1D2E1}"/>
                  </a:ext>
                </a:extLst>
              </p:cNvPr>
              <p:cNvCxnSpPr>
                <a:cxnSpLocks/>
              </p:cNvCxnSpPr>
              <p:nvPr/>
            </p:nvCxnSpPr>
            <p:spPr>
              <a:xfrm>
                <a:off x="9282798" y="4423588"/>
                <a:ext cx="0" cy="12333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124" name="Straight Connector 1123">
              <a:extLst>
                <a:ext uri="{FF2B5EF4-FFF2-40B4-BE49-F238E27FC236}">
                  <a16:creationId xmlns:a16="http://schemas.microsoft.com/office/drawing/2014/main" id="{16BFF88D-837F-4094-B661-AA8EF3D7EA2C}"/>
                </a:ext>
              </a:extLst>
            </p:cNvPr>
            <p:cNvCxnSpPr/>
            <p:nvPr/>
          </p:nvCxnSpPr>
          <p:spPr>
            <a:xfrm>
              <a:off x="8862487" y="4546829"/>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5" name="Straight Connector 1124">
              <a:extLst>
                <a:ext uri="{FF2B5EF4-FFF2-40B4-BE49-F238E27FC236}">
                  <a16:creationId xmlns:a16="http://schemas.microsoft.com/office/drawing/2014/main" id="{D3373635-9F42-4FF4-B8A3-747052193F4F}"/>
                </a:ext>
              </a:extLst>
            </p:cNvPr>
            <p:cNvCxnSpPr/>
            <p:nvPr/>
          </p:nvCxnSpPr>
          <p:spPr>
            <a:xfrm>
              <a:off x="8862487" y="4650764"/>
              <a:ext cx="53319"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26" name="Straight Connector 1125">
              <a:extLst>
                <a:ext uri="{FF2B5EF4-FFF2-40B4-BE49-F238E27FC236}">
                  <a16:creationId xmlns:a16="http://schemas.microsoft.com/office/drawing/2014/main" id="{4CF67344-C5B0-4C8A-90BF-75BBA922D596}"/>
                </a:ext>
              </a:extLst>
            </p:cNvPr>
            <p:cNvCxnSpPr>
              <a:cxnSpLocks/>
            </p:cNvCxnSpPr>
            <p:nvPr/>
          </p:nvCxnSpPr>
          <p:spPr>
            <a:xfrm>
              <a:off x="8889147" y="4546315"/>
              <a:ext cx="0" cy="1053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27" name="Oval 1126">
              <a:extLst>
                <a:ext uri="{FF2B5EF4-FFF2-40B4-BE49-F238E27FC236}">
                  <a16:creationId xmlns:a16="http://schemas.microsoft.com/office/drawing/2014/main" id="{DD9E6FF9-763E-4C95-8597-B02B897FE6CD}"/>
                </a:ext>
              </a:extLst>
            </p:cNvPr>
            <p:cNvSpPr/>
            <p:nvPr/>
          </p:nvSpPr>
          <p:spPr>
            <a:xfrm>
              <a:off x="8862618" y="4572338"/>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29" name="Oval 1128">
              <a:extLst>
                <a:ext uri="{FF2B5EF4-FFF2-40B4-BE49-F238E27FC236}">
                  <a16:creationId xmlns:a16="http://schemas.microsoft.com/office/drawing/2014/main" id="{31983FA3-4B13-46C2-93B8-5071F72EC937}"/>
                </a:ext>
              </a:extLst>
            </p:cNvPr>
            <p:cNvSpPr/>
            <p:nvPr/>
          </p:nvSpPr>
          <p:spPr>
            <a:xfrm>
              <a:off x="9702355" y="4275865"/>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0" name="Oval 1129">
              <a:extLst>
                <a:ext uri="{FF2B5EF4-FFF2-40B4-BE49-F238E27FC236}">
                  <a16:creationId xmlns:a16="http://schemas.microsoft.com/office/drawing/2014/main" id="{B4F300FA-B2A0-4782-96DD-059B168939EA}"/>
                </a:ext>
              </a:extLst>
            </p:cNvPr>
            <p:cNvSpPr/>
            <p:nvPr/>
          </p:nvSpPr>
          <p:spPr>
            <a:xfrm>
              <a:off x="9702355" y="4409054"/>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1" name="Oval 1130">
              <a:extLst>
                <a:ext uri="{FF2B5EF4-FFF2-40B4-BE49-F238E27FC236}">
                  <a16:creationId xmlns:a16="http://schemas.microsoft.com/office/drawing/2014/main" id="{E9BD0693-1B4B-4401-B825-B6E8EFD7D640}"/>
                </a:ext>
              </a:extLst>
            </p:cNvPr>
            <p:cNvSpPr/>
            <p:nvPr/>
          </p:nvSpPr>
          <p:spPr>
            <a:xfrm>
              <a:off x="10148370" y="4174363"/>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2" name="Oval 1131">
              <a:extLst>
                <a:ext uri="{FF2B5EF4-FFF2-40B4-BE49-F238E27FC236}">
                  <a16:creationId xmlns:a16="http://schemas.microsoft.com/office/drawing/2014/main" id="{6B2383EB-6B30-4B8B-B19D-119C969869A3}"/>
                </a:ext>
              </a:extLst>
            </p:cNvPr>
            <p:cNvSpPr/>
            <p:nvPr/>
          </p:nvSpPr>
          <p:spPr>
            <a:xfrm>
              <a:off x="10150489" y="4351216"/>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3" name="Oval 1132">
              <a:extLst>
                <a:ext uri="{FF2B5EF4-FFF2-40B4-BE49-F238E27FC236}">
                  <a16:creationId xmlns:a16="http://schemas.microsoft.com/office/drawing/2014/main" id="{A642B160-EF6D-4363-AEB5-679C6C25D6DC}"/>
                </a:ext>
              </a:extLst>
            </p:cNvPr>
            <p:cNvSpPr/>
            <p:nvPr/>
          </p:nvSpPr>
          <p:spPr>
            <a:xfrm>
              <a:off x="10599695" y="4310351"/>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4" name="Oval 1133">
              <a:extLst>
                <a:ext uri="{FF2B5EF4-FFF2-40B4-BE49-F238E27FC236}">
                  <a16:creationId xmlns:a16="http://schemas.microsoft.com/office/drawing/2014/main" id="{AE179598-B3FC-450B-89FE-54B6552EF767}"/>
                </a:ext>
              </a:extLst>
            </p:cNvPr>
            <p:cNvSpPr/>
            <p:nvPr/>
          </p:nvSpPr>
          <p:spPr>
            <a:xfrm>
              <a:off x="10597707" y="4406011"/>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5" name="Oval 1134">
              <a:extLst>
                <a:ext uri="{FF2B5EF4-FFF2-40B4-BE49-F238E27FC236}">
                  <a16:creationId xmlns:a16="http://schemas.microsoft.com/office/drawing/2014/main" id="{773DE436-4297-4140-A41D-B80F35C58040}"/>
                </a:ext>
              </a:extLst>
            </p:cNvPr>
            <p:cNvSpPr/>
            <p:nvPr/>
          </p:nvSpPr>
          <p:spPr>
            <a:xfrm>
              <a:off x="11039305" y="4365604"/>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36" name="Oval 1135">
              <a:extLst>
                <a:ext uri="{FF2B5EF4-FFF2-40B4-BE49-F238E27FC236}">
                  <a16:creationId xmlns:a16="http://schemas.microsoft.com/office/drawing/2014/main" id="{D67BEDF7-B057-42E3-ADF2-7531DB62B3FB}"/>
                </a:ext>
              </a:extLst>
            </p:cNvPr>
            <p:cNvSpPr/>
            <p:nvPr/>
          </p:nvSpPr>
          <p:spPr>
            <a:xfrm>
              <a:off x="11041031" y="4176596"/>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38" name="Straight Connector 1137">
              <a:extLst>
                <a:ext uri="{FF2B5EF4-FFF2-40B4-BE49-F238E27FC236}">
                  <a16:creationId xmlns:a16="http://schemas.microsoft.com/office/drawing/2014/main" id="{77EFB837-0C2C-4A83-AEAE-85B522B4B70A}"/>
                </a:ext>
              </a:extLst>
            </p:cNvPr>
            <p:cNvCxnSpPr/>
            <p:nvPr/>
          </p:nvCxnSpPr>
          <p:spPr>
            <a:xfrm>
              <a:off x="6249862" y="4372366"/>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9" name="Straight Connector 1138">
              <a:extLst>
                <a:ext uri="{FF2B5EF4-FFF2-40B4-BE49-F238E27FC236}">
                  <a16:creationId xmlns:a16="http://schemas.microsoft.com/office/drawing/2014/main" id="{93EB662C-90DD-4490-B5C3-25464CAB4DE0}"/>
                </a:ext>
              </a:extLst>
            </p:cNvPr>
            <p:cNvCxnSpPr/>
            <p:nvPr/>
          </p:nvCxnSpPr>
          <p:spPr>
            <a:xfrm>
              <a:off x="6249862" y="4438938"/>
              <a:ext cx="53319"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40" name="Straight Connector 1139">
              <a:extLst>
                <a:ext uri="{FF2B5EF4-FFF2-40B4-BE49-F238E27FC236}">
                  <a16:creationId xmlns:a16="http://schemas.microsoft.com/office/drawing/2014/main" id="{BE5C5216-B2AA-4192-AA7D-CD97660178BE}"/>
                </a:ext>
              </a:extLst>
            </p:cNvPr>
            <p:cNvCxnSpPr>
              <a:cxnSpLocks/>
            </p:cNvCxnSpPr>
            <p:nvPr/>
          </p:nvCxnSpPr>
          <p:spPr>
            <a:xfrm>
              <a:off x="6276521" y="4372034"/>
              <a:ext cx="0" cy="6809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41" name="Oval 1140">
              <a:extLst>
                <a:ext uri="{FF2B5EF4-FFF2-40B4-BE49-F238E27FC236}">
                  <a16:creationId xmlns:a16="http://schemas.microsoft.com/office/drawing/2014/main" id="{9EE28255-BCC0-45AB-86FE-D550160318DF}"/>
                </a:ext>
              </a:extLst>
            </p:cNvPr>
            <p:cNvSpPr/>
            <p:nvPr/>
          </p:nvSpPr>
          <p:spPr>
            <a:xfrm>
              <a:off x="6250344" y="4377966"/>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42" name="Straight Connector 1141">
              <a:extLst>
                <a:ext uri="{FF2B5EF4-FFF2-40B4-BE49-F238E27FC236}">
                  <a16:creationId xmlns:a16="http://schemas.microsoft.com/office/drawing/2014/main" id="{78E5D2B7-0623-45EE-96D2-502A7A5BB099}"/>
                </a:ext>
              </a:extLst>
            </p:cNvPr>
            <p:cNvCxnSpPr/>
            <p:nvPr/>
          </p:nvCxnSpPr>
          <p:spPr>
            <a:xfrm>
              <a:off x="6249862" y="4472583"/>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3" name="Straight Connector 1142">
              <a:extLst>
                <a:ext uri="{FF2B5EF4-FFF2-40B4-BE49-F238E27FC236}">
                  <a16:creationId xmlns:a16="http://schemas.microsoft.com/office/drawing/2014/main" id="{69852CB9-B88B-4520-8729-D4E56C65CCC2}"/>
                </a:ext>
              </a:extLst>
            </p:cNvPr>
            <p:cNvCxnSpPr/>
            <p:nvPr/>
          </p:nvCxnSpPr>
          <p:spPr>
            <a:xfrm>
              <a:off x="6249862" y="4408392"/>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4" name="Straight Connector 1143">
              <a:extLst>
                <a:ext uri="{FF2B5EF4-FFF2-40B4-BE49-F238E27FC236}">
                  <a16:creationId xmlns:a16="http://schemas.microsoft.com/office/drawing/2014/main" id="{4AF7357B-3817-4E69-AF80-F7230C280971}"/>
                </a:ext>
              </a:extLst>
            </p:cNvPr>
            <p:cNvCxnSpPr>
              <a:cxnSpLocks/>
            </p:cNvCxnSpPr>
            <p:nvPr/>
          </p:nvCxnSpPr>
          <p:spPr>
            <a:xfrm>
              <a:off x="6276521" y="4408060"/>
              <a:ext cx="0" cy="6809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45" name="Oval 1144">
              <a:extLst>
                <a:ext uri="{FF2B5EF4-FFF2-40B4-BE49-F238E27FC236}">
                  <a16:creationId xmlns:a16="http://schemas.microsoft.com/office/drawing/2014/main" id="{9FD125A0-A1D7-42F5-A66E-FDB367E6BA83}"/>
                </a:ext>
              </a:extLst>
            </p:cNvPr>
            <p:cNvSpPr/>
            <p:nvPr/>
          </p:nvSpPr>
          <p:spPr>
            <a:xfrm>
              <a:off x="6249757" y="4417926"/>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46" name="Group 1145">
              <a:extLst>
                <a:ext uri="{FF2B5EF4-FFF2-40B4-BE49-F238E27FC236}">
                  <a16:creationId xmlns:a16="http://schemas.microsoft.com/office/drawing/2014/main" id="{FC99FCA6-B2EC-4EC8-9D21-47B427F926FA}"/>
                </a:ext>
              </a:extLst>
            </p:cNvPr>
            <p:cNvGrpSpPr/>
            <p:nvPr/>
          </p:nvGrpSpPr>
          <p:grpSpPr>
            <a:xfrm>
              <a:off x="5800631" y="4390417"/>
              <a:ext cx="53319" cy="59429"/>
              <a:chOff x="5628904" y="4639376"/>
              <a:chExt cx="53319" cy="59429"/>
            </a:xfrm>
          </p:grpSpPr>
          <p:cxnSp>
            <p:nvCxnSpPr>
              <p:cNvPr id="1226" name="Straight Connector 1225">
                <a:extLst>
                  <a:ext uri="{FF2B5EF4-FFF2-40B4-BE49-F238E27FC236}">
                    <a16:creationId xmlns:a16="http://schemas.microsoft.com/office/drawing/2014/main" id="{2CD6F848-E735-49BA-BEF8-8735330F41F9}"/>
                  </a:ext>
                </a:extLst>
              </p:cNvPr>
              <p:cNvCxnSpPr/>
              <p:nvPr/>
            </p:nvCxnSpPr>
            <p:spPr>
              <a:xfrm>
                <a:off x="5628904" y="4639376"/>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27" name="Straight Connector 1226">
                <a:extLst>
                  <a:ext uri="{FF2B5EF4-FFF2-40B4-BE49-F238E27FC236}">
                    <a16:creationId xmlns:a16="http://schemas.microsoft.com/office/drawing/2014/main" id="{3E308D06-72C2-44DA-8370-A36E6A7D9405}"/>
                  </a:ext>
                </a:extLst>
              </p:cNvPr>
              <p:cNvCxnSpPr/>
              <p:nvPr/>
            </p:nvCxnSpPr>
            <p:spPr>
              <a:xfrm>
                <a:off x="5628904" y="4698805"/>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47" name="Oval 1146">
              <a:extLst>
                <a:ext uri="{FF2B5EF4-FFF2-40B4-BE49-F238E27FC236}">
                  <a16:creationId xmlns:a16="http://schemas.microsoft.com/office/drawing/2014/main" id="{CA181D67-FEF0-4599-BD3D-A216BE394C59}"/>
                </a:ext>
              </a:extLst>
            </p:cNvPr>
            <p:cNvSpPr/>
            <p:nvPr/>
          </p:nvSpPr>
          <p:spPr>
            <a:xfrm>
              <a:off x="5802011" y="4394966"/>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48" name="Straight Connector 1147">
              <a:extLst>
                <a:ext uri="{FF2B5EF4-FFF2-40B4-BE49-F238E27FC236}">
                  <a16:creationId xmlns:a16="http://schemas.microsoft.com/office/drawing/2014/main" id="{262694BB-2BD9-428B-86B5-34B341D0BBA1}"/>
                </a:ext>
              </a:extLst>
            </p:cNvPr>
            <p:cNvCxnSpPr>
              <a:cxnSpLocks/>
            </p:cNvCxnSpPr>
            <p:nvPr/>
          </p:nvCxnSpPr>
          <p:spPr>
            <a:xfrm>
              <a:off x="5355253" y="4400155"/>
              <a:ext cx="5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50" name="Oval 1149">
              <a:extLst>
                <a:ext uri="{FF2B5EF4-FFF2-40B4-BE49-F238E27FC236}">
                  <a16:creationId xmlns:a16="http://schemas.microsoft.com/office/drawing/2014/main" id="{6FC56EFA-6CBB-4064-9A1D-218B3BE98346}"/>
                </a:ext>
              </a:extLst>
            </p:cNvPr>
            <p:cNvSpPr/>
            <p:nvPr/>
          </p:nvSpPr>
          <p:spPr>
            <a:xfrm>
              <a:off x="8036681" y="4329524"/>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152" name="Group 1151">
              <a:extLst>
                <a:ext uri="{FF2B5EF4-FFF2-40B4-BE49-F238E27FC236}">
                  <a16:creationId xmlns:a16="http://schemas.microsoft.com/office/drawing/2014/main" id="{DDA8B6AA-4AF0-4B80-A69A-124FD5D9EDEB}"/>
                </a:ext>
              </a:extLst>
            </p:cNvPr>
            <p:cNvGrpSpPr/>
            <p:nvPr/>
          </p:nvGrpSpPr>
          <p:grpSpPr>
            <a:xfrm>
              <a:off x="8036199" y="4275234"/>
              <a:ext cx="53319" cy="132157"/>
              <a:chOff x="7861683" y="4524193"/>
              <a:chExt cx="53319" cy="132157"/>
            </a:xfrm>
          </p:grpSpPr>
          <p:cxnSp>
            <p:nvCxnSpPr>
              <p:cNvPr id="1220" name="Straight Connector 1219">
                <a:extLst>
                  <a:ext uri="{FF2B5EF4-FFF2-40B4-BE49-F238E27FC236}">
                    <a16:creationId xmlns:a16="http://schemas.microsoft.com/office/drawing/2014/main" id="{CFF2FCF0-467B-4825-8FBE-033340AA3C02}"/>
                  </a:ext>
                </a:extLst>
              </p:cNvPr>
              <p:cNvCxnSpPr/>
              <p:nvPr/>
            </p:nvCxnSpPr>
            <p:spPr>
              <a:xfrm>
                <a:off x="7861683" y="4524838"/>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21" name="Straight Connector 1220">
                <a:extLst>
                  <a:ext uri="{FF2B5EF4-FFF2-40B4-BE49-F238E27FC236}">
                    <a16:creationId xmlns:a16="http://schemas.microsoft.com/office/drawing/2014/main" id="{7F61E9A0-D5F8-45D7-9A61-1BD2A7EA295E}"/>
                  </a:ext>
                </a:extLst>
              </p:cNvPr>
              <p:cNvCxnSpPr/>
              <p:nvPr/>
            </p:nvCxnSpPr>
            <p:spPr>
              <a:xfrm>
                <a:off x="7861683" y="4654038"/>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22" name="Straight Connector 1221">
                <a:extLst>
                  <a:ext uri="{FF2B5EF4-FFF2-40B4-BE49-F238E27FC236}">
                    <a16:creationId xmlns:a16="http://schemas.microsoft.com/office/drawing/2014/main" id="{A61249D8-AA08-4C86-B996-D022C77DA62F}"/>
                  </a:ext>
                </a:extLst>
              </p:cNvPr>
              <p:cNvCxnSpPr>
                <a:cxnSpLocks/>
              </p:cNvCxnSpPr>
              <p:nvPr/>
            </p:nvCxnSpPr>
            <p:spPr>
              <a:xfrm>
                <a:off x="7888343" y="4524193"/>
                <a:ext cx="0" cy="13215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51" name="Group 1150">
              <a:extLst>
                <a:ext uri="{FF2B5EF4-FFF2-40B4-BE49-F238E27FC236}">
                  <a16:creationId xmlns:a16="http://schemas.microsoft.com/office/drawing/2014/main" id="{D286634D-9218-4336-AB17-FAC12199973E}"/>
                </a:ext>
              </a:extLst>
            </p:cNvPr>
            <p:cNvGrpSpPr/>
            <p:nvPr/>
          </p:nvGrpSpPr>
          <p:grpSpPr>
            <a:xfrm>
              <a:off x="8036199" y="4284832"/>
              <a:ext cx="53319" cy="132157"/>
              <a:chOff x="7970326" y="4533791"/>
              <a:chExt cx="53319" cy="132157"/>
            </a:xfrm>
          </p:grpSpPr>
          <p:cxnSp>
            <p:nvCxnSpPr>
              <p:cNvPr id="1223" name="Straight Connector 1222">
                <a:extLst>
                  <a:ext uri="{FF2B5EF4-FFF2-40B4-BE49-F238E27FC236}">
                    <a16:creationId xmlns:a16="http://schemas.microsoft.com/office/drawing/2014/main" id="{C3DF07CB-9221-4A59-8AED-14404A700211}"/>
                  </a:ext>
                </a:extLst>
              </p:cNvPr>
              <p:cNvCxnSpPr/>
              <p:nvPr/>
            </p:nvCxnSpPr>
            <p:spPr>
              <a:xfrm>
                <a:off x="7970326" y="4534436"/>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4" name="Straight Connector 1223">
                <a:extLst>
                  <a:ext uri="{FF2B5EF4-FFF2-40B4-BE49-F238E27FC236}">
                    <a16:creationId xmlns:a16="http://schemas.microsoft.com/office/drawing/2014/main" id="{73F540F6-67DC-4CC0-8E3B-C6D12A8EB394}"/>
                  </a:ext>
                </a:extLst>
              </p:cNvPr>
              <p:cNvCxnSpPr/>
              <p:nvPr/>
            </p:nvCxnSpPr>
            <p:spPr>
              <a:xfrm>
                <a:off x="7970326" y="4663636"/>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5" name="Straight Connector 1224">
                <a:extLst>
                  <a:ext uri="{FF2B5EF4-FFF2-40B4-BE49-F238E27FC236}">
                    <a16:creationId xmlns:a16="http://schemas.microsoft.com/office/drawing/2014/main" id="{D9DCBAD6-37DB-4291-A7BF-610EC9DCBA95}"/>
                  </a:ext>
                </a:extLst>
              </p:cNvPr>
              <p:cNvCxnSpPr>
                <a:cxnSpLocks/>
              </p:cNvCxnSpPr>
              <p:nvPr/>
            </p:nvCxnSpPr>
            <p:spPr>
              <a:xfrm>
                <a:off x="7996986" y="4533791"/>
                <a:ext cx="0" cy="1321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54" name="Group 1153">
              <a:extLst>
                <a:ext uri="{FF2B5EF4-FFF2-40B4-BE49-F238E27FC236}">
                  <a16:creationId xmlns:a16="http://schemas.microsoft.com/office/drawing/2014/main" id="{86DA47DC-8C29-485B-8320-B263879B0E72}"/>
                </a:ext>
              </a:extLst>
            </p:cNvPr>
            <p:cNvGrpSpPr/>
            <p:nvPr/>
          </p:nvGrpSpPr>
          <p:grpSpPr>
            <a:xfrm>
              <a:off x="7591615" y="4450644"/>
              <a:ext cx="53319" cy="103470"/>
              <a:chOff x="7419888" y="4699603"/>
              <a:chExt cx="53319" cy="103470"/>
            </a:xfrm>
          </p:grpSpPr>
          <p:cxnSp>
            <p:nvCxnSpPr>
              <p:cNvPr id="1217" name="Straight Connector 1216">
                <a:extLst>
                  <a:ext uri="{FF2B5EF4-FFF2-40B4-BE49-F238E27FC236}">
                    <a16:creationId xmlns:a16="http://schemas.microsoft.com/office/drawing/2014/main" id="{AE2B30E8-964E-4B00-9DEF-EDE7F94D12D7}"/>
                  </a:ext>
                </a:extLst>
              </p:cNvPr>
              <p:cNvCxnSpPr/>
              <p:nvPr/>
            </p:nvCxnSpPr>
            <p:spPr>
              <a:xfrm>
                <a:off x="7419888" y="4700058"/>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8" name="Straight Connector 1217">
                <a:extLst>
                  <a:ext uri="{FF2B5EF4-FFF2-40B4-BE49-F238E27FC236}">
                    <a16:creationId xmlns:a16="http://schemas.microsoft.com/office/drawing/2014/main" id="{0DD3C6A3-FC09-4A78-85C5-E5843BFD8A69}"/>
                  </a:ext>
                </a:extLst>
              </p:cNvPr>
              <p:cNvCxnSpPr/>
              <p:nvPr/>
            </p:nvCxnSpPr>
            <p:spPr>
              <a:xfrm>
                <a:off x="7419888" y="4803073"/>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9" name="Straight Connector 1218">
                <a:extLst>
                  <a:ext uri="{FF2B5EF4-FFF2-40B4-BE49-F238E27FC236}">
                    <a16:creationId xmlns:a16="http://schemas.microsoft.com/office/drawing/2014/main" id="{1372D019-8764-49BF-9358-2E64ACC9DF2B}"/>
                  </a:ext>
                </a:extLst>
              </p:cNvPr>
              <p:cNvCxnSpPr>
                <a:cxnSpLocks/>
              </p:cNvCxnSpPr>
              <p:nvPr/>
            </p:nvCxnSpPr>
            <p:spPr>
              <a:xfrm flipH="1">
                <a:off x="7443236" y="4699603"/>
                <a:ext cx="3312" cy="9757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55" name="Group 1154">
              <a:extLst>
                <a:ext uri="{FF2B5EF4-FFF2-40B4-BE49-F238E27FC236}">
                  <a16:creationId xmlns:a16="http://schemas.microsoft.com/office/drawing/2014/main" id="{956A8459-11C4-4531-9F18-CCC8CD80492B}"/>
                </a:ext>
              </a:extLst>
            </p:cNvPr>
            <p:cNvGrpSpPr/>
            <p:nvPr/>
          </p:nvGrpSpPr>
          <p:grpSpPr>
            <a:xfrm>
              <a:off x="7589234" y="4290788"/>
              <a:ext cx="53319" cy="110532"/>
              <a:chOff x="7417507" y="4539747"/>
              <a:chExt cx="53319" cy="110532"/>
            </a:xfrm>
          </p:grpSpPr>
          <p:cxnSp>
            <p:nvCxnSpPr>
              <p:cNvPr id="1214" name="Straight Connector 1213">
                <a:extLst>
                  <a:ext uri="{FF2B5EF4-FFF2-40B4-BE49-F238E27FC236}">
                    <a16:creationId xmlns:a16="http://schemas.microsoft.com/office/drawing/2014/main" id="{FC94757E-BEDB-4461-9F44-18760ED08CCD}"/>
                  </a:ext>
                </a:extLst>
              </p:cNvPr>
              <p:cNvCxnSpPr/>
              <p:nvPr/>
            </p:nvCxnSpPr>
            <p:spPr>
              <a:xfrm>
                <a:off x="7417507" y="4539747"/>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5" name="Straight Connector 1214">
                <a:extLst>
                  <a:ext uri="{FF2B5EF4-FFF2-40B4-BE49-F238E27FC236}">
                    <a16:creationId xmlns:a16="http://schemas.microsoft.com/office/drawing/2014/main" id="{70CBCDF2-876A-4C3C-9504-D7573386EB84}"/>
                  </a:ext>
                </a:extLst>
              </p:cNvPr>
              <p:cNvCxnSpPr/>
              <p:nvPr/>
            </p:nvCxnSpPr>
            <p:spPr>
              <a:xfrm>
                <a:off x="7417507" y="4650279"/>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6" name="Straight Connector 1215">
                <a:extLst>
                  <a:ext uri="{FF2B5EF4-FFF2-40B4-BE49-F238E27FC236}">
                    <a16:creationId xmlns:a16="http://schemas.microsoft.com/office/drawing/2014/main" id="{B15B8B59-4384-49CA-8797-303561D9C670}"/>
                  </a:ext>
                </a:extLst>
              </p:cNvPr>
              <p:cNvCxnSpPr>
                <a:cxnSpLocks/>
              </p:cNvCxnSpPr>
              <p:nvPr/>
            </p:nvCxnSpPr>
            <p:spPr>
              <a:xfrm>
                <a:off x="7444167" y="4543957"/>
                <a:ext cx="0" cy="10156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57" name="Oval 1156">
              <a:extLst>
                <a:ext uri="{FF2B5EF4-FFF2-40B4-BE49-F238E27FC236}">
                  <a16:creationId xmlns:a16="http://schemas.microsoft.com/office/drawing/2014/main" id="{2777E9E4-F688-4954-832B-AE95C02FD5C5}"/>
                </a:ext>
              </a:extLst>
            </p:cNvPr>
            <p:cNvSpPr/>
            <p:nvPr/>
          </p:nvSpPr>
          <p:spPr>
            <a:xfrm>
              <a:off x="7589716" y="4319514"/>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58" name="Oval 1157">
              <a:extLst>
                <a:ext uri="{FF2B5EF4-FFF2-40B4-BE49-F238E27FC236}">
                  <a16:creationId xmlns:a16="http://schemas.microsoft.com/office/drawing/2014/main" id="{9F28312D-1DE4-444C-8669-7D47249D3CAF}"/>
                </a:ext>
              </a:extLst>
            </p:cNvPr>
            <p:cNvSpPr/>
            <p:nvPr/>
          </p:nvSpPr>
          <p:spPr>
            <a:xfrm>
              <a:off x="7591521" y="4474493"/>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59" name="Oval 1158">
              <a:extLst>
                <a:ext uri="{FF2B5EF4-FFF2-40B4-BE49-F238E27FC236}">
                  <a16:creationId xmlns:a16="http://schemas.microsoft.com/office/drawing/2014/main" id="{DCC555F2-457C-43C1-A5B6-D0AFBD3FA8E6}"/>
                </a:ext>
              </a:extLst>
            </p:cNvPr>
            <p:cNvSpPr/>
            <p:nvPr/>
          </p:nvSpPr>
          <p:spPr>
            <a:xfrm>
              <a:off x="7143100" y="4411571"/>
              <a:ext cx="52354" cy="523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60" name="Straight Connector 1159">
              <a:extLst>
                <a:ext uri="{FF2B5EF4-FFF2-40B4-BE49-F238E27FC236}">
                  <a16:creationId xmlns:a16="http://schemas.microsoft.com/office/drawing/2014/main" id="{63971237-31F1-4A11-8C52-D3C90AE135EA}"/>
                </a:ext>
              </a:extLst>
            </p:cNvPr>
            <p:cNvCxnSpPr/>
            <p:nvPr/>
          </p:nvCxnSpPr>
          <p:spPr>
            <a:xfrm>
              <a:off x="7142136" y="4390451"/>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1" name="Straight Connector 1160">
              <a:extLst>
                <a:ext uri="{FF2B5EF4-FFF2-40B4-BE49-F238E27FC236}">
                  <a16:creationId xmlns:a16="http://schemas.microsoft.com/office/drawing/2014/main" id="{9F23EEDC-65EB-407A-961E-CC9289BAE54C}"/>
                </a:ext>
              </a:extLst>
            </p:cNvPr>
            <p:cNvCxnSpPr/>
            <p:nvPr/>
          </p:nvCxnSpPr>
          <p:spPr>
            <a:xfrm>
              <a:off x="7142136" y="4481561"/>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8583F92F-8011-4A01-86E7-7AFF67CD572F}"/>
                </a:ext>
              </a:extLst>
            </p:cNvPr>
            <p:cNvCxnSpPr>
              <a:cxnSpLocks/>
            </p:cNvCxnSpPr>
            <p:nvPr/>
          </p:nvCxnSpPr>
          <p:spPr>
            <a:xfrm>
              <a:off x="7168796" y="4389107"/>
              <a:ext cx="0" cy="10122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DDE95B8A-D3AE-442F-857A-652241E774F7}"/>
                </a:ext>
              </a:extLst>
            </p:cNvPr>
            <p:cNvCxnSpPr/>
            <p:nvPr/>
          </p:nvCxnSpPr>
          <p:spPr>
            <a:xfrm>
              <a:off x="7142136" y="4454179"/>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97A13F5D-C058-468B-BF82-D18A0DECD538}"/>
                </a:ext>
              </a:extLst>
            </p:cNvPr>
            <p:cNvCxnSpPr/>
            <p:nvPr/>
          </p:nvCxnSpPr>
          <p:spPr>
            <a:xfrm>
              <a:off x="7142136" y="4545289"/>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7" name="Straight Connector 1166">
              <a:extLst>
                <a:ext uri="{FF2B5EF4-FFF2-40B4-BE49-F238E27FC236}">
                  <a16:creationId xmlns:a16="http://schemas.microsoft.com/office/drawing/2014/main" id="{EDFD3176-BA2E-423C-A665-0B2748F7F9DB}"/>
                </a:ext>
              </a:extLst>
            </p:cNvPr>
            <p:cNvCxnSpPr/>
            <p:nvPr/>
          </p:nvCxnSpPr>
          <p:spPr>
            <a:xfrm>
              <a:off x="6694630" y="4428044"/>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8" name="Straight Connector 1167">
              <a:extLst>
                <a:ext uri="{FF2B5EF4-FFF2-40B4-BE49-F238E27FC236}">
                  <a16:creationId xmlns:a16="http://schemas.microsoft.com/office/drawing/2014/main" id="{5CA322B7-1823-4030-852D-847CD5DBD53D}"/>
                </a:ext>
              </a:extLst>
            </p:cNvPr>
            <p:cNvCxnSpPr/>
            <p:nvPr/>
          </p:nvCxnSpPr>
          <p:spPr>
            <a:xfrm>
              <a:off x="6694630" y="4357261"/>
              <a:ext cx="5331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9" name="Straight Connector 1168">
              <a:extLst>
                <a:ext uri="{FF2B5EF4-FFF2-40B4-BE49-F238E27FC236}">
                  <a16:creationId xmlns:a16="http://schemas.microsoft.com/office/drawing/2014/main" id="{ECD22EED-D5BD-4E3C-A91E-52A708AA7D59}"/>
                </a:ext>
              </a:extLst>
            </p:cNvPr>
            <p:cNvCxnSpPr/>
            <p:nvPr/>
          </p:nvCxnSpPr>
          <p:spPr>
            <a:xfrm>
              <a:off x="6694630" y="4439464"/>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34DE82BB-488B-43AD-B6A5-4FEA3694AC30}"/>
                </a:ext>
              </a:extLst>
            </p:cNvPr>
            <p:cNvCxnSpPr>
              <a:cxnSpLocks/>
            </p:cNvCxnSpPr>
            <p:nvPr/>
          </p:nvCxnSpPr>
          <p:spPr>
            <a:xfrm>
              <a:off x="6721289" y="4363919"/>
              <a:ext cx="0" cy="7698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1" name="Straight Connector 1170">
              <a:extLst>
                <a:ext uri="{FF2B5EF4-FFF2-40B4-BE49-F238E27FC236}">
                  <a16:creationId xmlns:a16="http://schemas.microsoft.com/office/drawing/2014/main" id="{D46635E5-C7F1-4403-8336-A2C9D5687A70}"/>
                </a:ext>
              </a:extLst>
            </p:cNvPr>
            <p:cNvCxnSpPr/>
            <p:nvPr/>
          </p:nvCxnSpPr>
          <p:spPr>
            <a:xfrm>
              <a:off x="6694630" y="4363919"/>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72" name="Oval 1171">
              <a:extLst>
                <a:ext uri="{FF2B5EF4-FFF2-40B4-BE49-F238E27FC236}">
                  <a16:creationId xmlns:a16="http://schemas.microsoft.com/office/drawing/2014/main" id="{68A9F0FB-F6C4-48AB-A204-BD139ACAE8FD}"/>
                </a:ext>
              </a:extLst>
            </p:cNvPr>
            <p:cNvSpPr/>
            <p:nvPr/>
          </p:nvSpPr>
          <p:spPr>
            <a:xfrm>
              <a:off x="6695123" y="4374643"/>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73" name="Straight Connector 1172">
              <a:extLst>
                <a:ext uri="{FF2B5EF4-FFF2-40B4-BE49-F238E27FC236}">
                  <a16:creationId xmlns:a16="http://schemas.microsoft.com/office/drawing/2014/main" id="{3EB0220E-26E4-46F5-A3D9-1ED39B029B65}"/>
                </a:ext>
              </a:extLst>
            </p:cNvPr>
            <p:cNvCxnSpPr>
              <a:cxnSpLocks/>
            </p:cNvCxnSpPr>
            <p:nvPr/>
          </p:nvCxnSpPr>
          <p:spPr>
            <a:xfrm rot="5400000">
              <a:off x="5193577" y="3615658"/>
              <a:ext cx="0" cy="523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75" name="TextBox 1174">
              <a:extLst>
                <a:ext uri="{FF2B5EF4-FFF2-40B4-BE49-F238E27FC236}">
                  <a16:creationId xmlns:a16="http://schemas.microsoft.com/office/drawing/2014/main" id="{04E4980A-51CF-42DC-873C-8F86E98A223D}"/>
                </a:ext>
              </a:extLst>
            </p:cNvPr>
            <p:cNvSpPr txBox="1"/>
            <p:nvPr/>
          </p:nvSpPr>
          <p:spPr>
            <a:xfrm rot="16200000">
              <a:off x="4229122" y="4259539"/>
              <a:ext cx="1183995" cy="276999"/>
            </a:xfrm>
            <a:prstGeom prst="rect">
              <a:avLst/>
            </a:prstGeom>
          </p:spPr>
          <p:txBody>
            <a:bodyPr vert="horz"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Arial"/>
                  <a:ea typeface="MS PGothic" charset="0"/>
                  <a:cs typeface="+mn-cs"/>
                </a:rPr>
                <a:t>SBP change from baseline</a:t>
              </a:r>
            </a:p>
          </p:txBody>
        </p:sp>
        <p:grpSp>
          <p:nvGrpSpPr>
            <p:cNvPr id="1182" name="Group 1181">
              <a:extLst>
                <a:ext uri="{FF2B5EF4-FFF2-40B4-BE49-F238E27FC236}">
                  <a16:creationId xmlns:a16="http://schemas.microsoft.com/office/drawing/2014/main" id="{C2E14046-D0B4-4212-95CA-48FDDDCA2486}"/>
                </a:ext>
              </a:extLst>
            </p:cNvPr>
            <p:cNvGrpSpPr/>
            <p:nvPr/>
          </p:nvGrpSpPr>
          <p:grpSpPr>
            <a:xfrm>
              <a:off x="8917301" y="4626516"/>
              <a:ext cx="53319" cy="119678"/>
              <a:chOff x="8917301" y="4629028"/>
              <a:chExt cx="53319" cy="119678"/>
            </a:xfrm>
          </p:grpSpPr>
          <p:cxnSp>
            <p:nvCxnSpPr>
              <p:cNvPr id="1193" name="Straight Connector 1192">
                <a:extLst>
                  <a:ext uri="{FF2B5EF4-FFF2-40B4-BE49-F238E27FC236}">
                    <a16:creationId xmlns:a16="http://schemas.microsoft.com/office/drawing/2014/main" id="{82F69D24-2D78-4B96-B877-EA8471A73E6F}"/>
                  </a:ext>
                </a:extLst>
              </p:cNvPr>
              <p:cNvCxnSpPr/>
              <p:nvPr/>
            </p:nvCxnSpPr>
            <p:spPr>
              <a:xfrm>
                <a:off x="8917301" y="4629612"/>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4" name="Straight Connector 1193">
                <a:extLst>
                  <a:ext uri="{FF2B5EF4-FFF2-40B4-BE49-F238E27FC236}">
                    <a16:creationId xmlns:a16="http://schemas.microsoft.com/office/drawing/2014/main" id="{31C24D4E-5AC9-4C0E-AF00-1A126BC1F378}"/>
                  </a:ext>
                </a:extLst>
              </p:cNvPr>
              <p:cNvCxnSpPr/>
              <p:nvPr/>
            </p:nvCxnSpPr>
            <p:spPr>
              <a:xfrm>
                <a:off x="8917301" y="4747723"/>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5" name="Straight Connector 1194">
                <a:extLst>
                  <a:ext uri="{FF2B5EF4-FFF2-40B4-BE49-F238E27FC236}">
                    <a16:creationId xmlns:a16="http://schemas.microsoft.com/office/drawing/2014/main" id="{5F163AC0-8BD6-4D41-9185-0A60D1786954}"/>
                  </a:ext>
                </a:extLst>
              </p:cNvPr>
              <p:cNvCxnSpPr>
                <a:cxnSpLocks/>
              </p:cNvCxnSpPr>
              <p:nvPr/>
            </p:nvCxnSpPr>
            <p:spPr>
              <a:xfrm>
                <a:off x="8943961" y="4629028"/>
                <a:ext cx="0" cy="11967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83" name="Group 1182">
              <a:extLst>
                <a:ext uri="{FF2B5EF4-FFF2-40B4-BE49-F238E27FC236}">
                  <a16:creationId xmlns:a16="http://schemas.microsoft.com/office/drawing/2014/main" id="{190D1E05-E473-4BDC-A226-59CBBB727161}"/>
                </a:ext>
              </a:extLst>
            </p:cNvPr>
            <p:cNvGrpSpPr/>
            <p:nvPr/>
          </p:nvGrpSpPr>
          <p:grpSpPr>
            <a:xfrm>
              <a:off x="8865130" y="4601041"/>
              <a:ext cx="53319" cy="110339"/>
              <a:chOff x="8860106" y="4608577"/>
              <a:chExt cx="53319" cy="110339"/>
            </a:xfrm>
          </p:grpSpPr>
          <p:cxnSp>
            <p:nvCxnSpPr>
              <p:cNvPr id="1190" name="Straight Connector 1189">
                <a:extLst>
                  <a:ext uri="{FF2B5EF4-FFF2-40B4-BE49-F238E27FC236}">
                    <a16:creationId xmlns:a16="http://schemas.microsoft.com/office/drawing/2014/main" id="{E25DF172-D0CF-491F-803A-640D7E1875F7}"/>
                  </a:ext>
                </a:extLst>
              </p:cNvPr>
              <p:cNvCxnSpPr/>
              <p:nvPr/>
            </p:nvCxnSpPr>
            <p:spPr>
              <a:xfrm>
                <a:off x="8860106" y="4609095"/>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1" name="Straight Connector 1190">
                <a:extLst>
                  <a:ext uri="{FF2B5EF4-FFF2-40B4-BE49-F238E27FC236}">
                    <a16:creationId xmlns:a16="http://schemas.microsoft.com/office/drawing/2014/main" id="{4CD62047-4586-432D-AB48-34DE84F83FF5}"/>
                  </a:ext>
                </a:extLst>
              </p:cNvPr>
              <p:cNvCxnSpPr/>
              <p:nvPr/>
            </p:nvCxnSpPr>
            <p:spPr>
              <a:xfrm>
                <a:off x="8860106" y="4718916"/>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2" name="Straight Connector 1191">
                <a:extLst>
                  <a:ext uri="{FF2B5EF4-FFF2-40B4-BE49-F238E27FC236}">
                    <a16:creationId xmlns:a16="http://schemas.microsoft.com/office/drawing/2014/main" id="{39772890-931E-4897-BA5D-6C4118ECE034}"/>
                  </a:ext>
                </a:extLst>
              </p:cNvPr>
              <p:cNvCxnSpPr>
                <a:cxnSpLocks/>
              </p:cNvCxnSpPr>
              <p:nvPr/>
            </p:nvCxnSpPr>
            <p:spPr>
              <a:xfrm>
                <a:off x="8886766" y="4608577"/>
                <a:ext cx="0" cy="1061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84" name="Oval 1183">
              <a:extLst>
                <a:ext uri="{FF2B5EF4-FFF2-40B4-BE49-F238E27FC236}">
                  <a16:creationId xmlns:a16="http://schemas.microsoft.com/office/drawing/2014/main" id="{37249E31-8EC6-4EC1-A023-F90C85417135}"/>
                </a:ext>
              </a:extLst>
            </p:cNvPr>
            <p:cNvSpPr/>
            <p:nvPr/>
          </p:nvSpPr>
          <p:spPr>
            <a:xfrm>
              <a:off x="8865130" y="4631595"/>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86" name="Oval 1185">
              <a:extLst>
                <a:ext uri="{FF2B5EF4-FFF2-40B4-BE49-F238E27FC236}">
                  <a16:creationId xmlns:a16="http://schemas.microsoft.com/office/drawing/2014/main" id="{769C6C46-FF7F-4343-8B5A-78B09F390B7E}"/>
                </a:ext>
              </a:extLst>
            </p:cNvPr>
            <p:cNvSpPr/>
            <p:nvPr/>
          </p:nvSpPr>
          <p:spPr>
            <a:xfrm>
              <a:off x="8920538" y="4658186"/>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87" name="Oval 1186">
              <a:extLst>
                <a:ext uri="{FF2B5EF4-FFF2-40B4-BE49-F238E27FC236}">
                  <a16:creationId xmlns:a16="http://schemas.microsoft.com/office/drawing/2014/main" id="{24C55CC3-8F9F-4E76-9C2F-3B14CDE26C5E}"/>
                </a:ext>
              </a:extLst>
            </p:cNvPr>
            <p:cNvSpPr/>
            <p:nvPr/>
          </p:nvSpPr>
          <p:spPr>
            <a:xfrm>
              <a:off x="8809864" y="4374249"/>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188" name="Straight Connector 1187">
              <a:extLst>
                <a:ext uri="{FF2B5EF4-FFF2-40B4-BE49-F238E27FC236}">
                  <a16:creationId xmlns:a16="http://schemas.microsoft.com/office/drawing/2014/main" id="{BBFA4011-320F-42A9-B78C-7C91D5095254}"/>
                </a:ext>
              </a:extLst>
            </p:cNvPr>
            <p:cNvCxnSpPr/>
            <p:nvPr/>
          </p:nvCxnSpPr>
          <p:spPr>
            <a:xfrm>
              <a:off x="8806869" y="4396034"/>
              <a:ext cx="533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66" name="Oval 1165">
              <a:extLst>
                <a:ext uri="{FF2B5EF4-FFF2-40B4-BE49-F238E27FC236}">
                  <a16:creationId xmlns:a16="http://schemas.microsoft.com/office/drawing/2014/main" id="{6AD63164-90EE-466C-B196-D658936FF88A}"/>
                </a:ext>
              </a:extLst>
            </p:cNvPr>
            <p:cNvSpPr/>
            <p:nvPr/>
          </p:nvSpPr>
          <p:spPr>
            <a:xfrm>
              <a:off x="7143709" y="4470781"/>
              <a:ext cx="52354" cy="52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74" name="Freeform: Shape 1173">
              <a:extLst>
                <a:ext uri="{FF2B5EF4-FFF2-40B4-BE49-F238E27FC236}">
                  <a16:creationId xmlns:a16="http://schemas.microsoft.com/office/drawing/2014/main" id="{BC0ED11A-A9CC-47E9-978D-1F37F5C63EBE}"/>
                </a:ext>
              </a:extLst>
            </p:cNvPr>
            <p:cNvSpPr/>
            <p:nvPr/>
          </p:nvSpPr>
          <p:spPr>
            <a:xfrm>
              <a:off x="5380523" y="4340669"/>
              <a:ext cx="2685612" cy="341868"/>
            </a:xfrm>
            <a:custGeom>
              <a:avLst/>
              <a:gdLst>
                <a:gd name="connsiteX0" fmla="*/ 3743325 w 3743325"/>
                <a:gd name="connsiteY0" fmla="*/ 0 h 481013"/>
                <a:gd name="connsiteX1" fmla="*/ 3105150 w 3743325"/>
                <a:gd name="connsiteY1" fmla="*/ 238125 h 481013"/>
                <a:gd name="connsiteX2" fmla="*/ 2490787 w 3743325"/>
                <a:gd name="connsiteY2" fmla="*/ 223838 h 481013"/>
                <a:gd name="connsiteX3" fmla="*/ 1857375 w 3743325"/>
                <a:gd name="connsiteY3" fmla="*/ 85725 h 481013"/>
                <a:gd name="connsiteX4" fmla="*/ 1243012 w 3743325"/>
                <a:gd name="connsiteY4" fmla="*/ 152400 h 481013"/>
                <a:gd name="connsiteX5" fmla="*/ 619125 w 3743325"/>
                <a:gd name="connsiteY5" fmla="*/ 290513 h 481013"/>
                <a:gd name="connsiteX6" fmla="*/ 171450 w 3743325"/>
                <a:gd name="connsiteY6" fmla="*/ 481013 h 481013"/>
                <a:gd name="connsiteX7" fmla="*/ 76200 w 3743325"/>
                <a:gd name="connsiteY7" fmla="*/ 423863 h 481013"/>
                <a:gd name="connsiteX8" fmla="*/ 0 w 3743325"/>
                <a:gd name="connsiteY8" fmla="*/ 104775 h 481013"/>
                <a:gd name="connsiteX0" fmla="*/ 3755809 w 3755809"/>
                <a:gd name="connsiteY0" fmla="*/ 0 h 464366"/>
                <a:gd name="connsiteX1" fmla="*/ 3105150 w 3755809"/>
                <a:gd name="connsiteY1" fmla="*/ 221478 h 464366"/>
                <a:gd name="connsiteX2" fmla="*/ 2490787 w 3755809"/>
                <a:gd name="connsiteY2" fmla="*/ 207191 h 464366"/>
                <a:gd name="connsiteX3" fmla="*/ 1857375 w 3755809"/>
                <a:gd name="connsiteY3" fmla="*/ 69078 h 464366"/>
                <a:gd name="connsiteX4" fmla="*/ 1243012 w 3755809"/>
                <a:gd name="connsiteY4" fmla="*/ 135753 h 464366"/>
                <a:gd name="connsiteX5" fmla="*/ 619125 w 3755809"/>
                <a:gd name="connsiteY5" fmla="*/ 273866 h 464366"/>
                <a:gd name="connsiteX6" fmla="*/ 171450 w 3755809"/>
                <a:gd name="connsiteY6" fmla="*/ 464366 h 464366"/>
                <a:gd name="connsiteX7" fmla="*/ 76200 w 3755809"/>
                <a:gd name="connsiteY7" fmla="*/ 407216 h 464366"/>
                <a:gd name="connsiteX8" fmla="*/ 0 w 3755809"/>
                <a:gd name="connsiteY8" fmla="*/ 88128 h 464366"/>
                <a:gd name="connsiteX0" fmla="*/ 3755809 w 3755809"/>
                <a:gd name="connsiteY0" fmla="*/ 0 h 464366"/>
                <a:gd name="connsiteX1" fmla="*/ 3130120 w 3755809"/>
                <a:gd name="connsiteY1" fmla="*/ 221479 h 464366"/>
                <a:gd name="connsiteX2" fmla="*/ 2490787 w 3755809"/>
                <a:gd name="connsiteY2" fmla="*/ 207191 h 464366"/>
                <a:gd name="connsiteX3" fmla="*/ 1857375 w 3755809"/>
                <a:gd name="connsiteY3" fmla="*/ 69078 h 464366"/>
                <a:gd name="connsiteX4" fmla="*/ 1243012 w 3755809"/>
                <a:gd name="connsiteY4" fmla="*/ 135753 h 464366"/>
                <a:gd name="connsiteX5" fmla="*/ 619125 w 3755809"/>
                <a:gd name="connsiteY5" fmla="*/ 273866 h 464366"/>
                <a:gd name="connsiteX6" fmla="*/ 171450 w 3755809"/>
                <a:gd name="connsiteY6" fmla="*/ 464366 h 464366"/>
                <a:gd name="connsiteX7" fmla="*/ 76200 w 3755809"/>
                <a:gd name="connsiteY7" fmla="*/ 407216 h 464366"/>
                <a:gd name="connsiteX8" fmla="*/ 0 w 3755809"/>
                <a:gd name="connsiteY8" fmla="*/ 88128 h 464366"/>
                <a:gd name="connsiteX0" fmla="*/ 3755809 w 3755809"/>
                <a:gd name="connsiteY0" fmla="*/ 0 h 464366"/>
                <a:gd name="connsiteX1" fmla="*/ 3130120 w 3755809"/>
                <a:gd name="connsiteY1" fmla="*/ 221479 h 464366"/>
                <a:gd name="connsiteX2" fmla="*/ 2503272 w 3755809"/>
                <a:gd name="connsiteY2" fmla="*/ 211351 h 464366"/>
                <a:gd name="connsiteX3" fmla="*/ 1857375 w 3755809"/>
                <a:gd name="connsiteY3" fmla="*/ 69078 h 464366"/>
                <a:gd name="connsiteX4" fmla="*/ 1243012 w 3755809"/>
                <a:gd name="connsiteY4" fmla="*/ 135753 h 464366"/>
                <a:gd name="connsiteX5" fmla="*/ 619125 w 3755809"/>
                <a:gd name="connsiteY5" fmla="*/ 273866 h 464366"/>
                <a:gd name="connsiteX6" fmla="*/ 171450 w 3755809"/>
                <a:gd name="connsiteY6" fmla="*/ 464366 h 464366"/>
                <a:gd name="connsiteX7" fmla="*/ 76200 w 3755809"/>
                <a:gd name="connsiteY7" fmla="*/ 407216 h 464366"/>
                <a:gd name="connsiteX8" fmla="*/ 0 w 3755809"/>
                <a:gd name="connsiteY8" fmla="*/ 88128 h 464366"/>
                <a:gd name="connsiteX0" fmla="*/ 3755809 w 3755809"/>
                <a:gd name="connsiteY0" fmla="*/ 0 h 464366"/>
                <a:gd name="connsiteX1" fmla="*/ 3130120 w 3755809"/>
                <a:gd name="connsiteY1" fmla="*/ 221479 h 464366"/>
                <a:gd name="connsiteX2" fmla="*/ 2503272 w 3755809"/>
                <a:gd name="connsiteY2" fmla="*/ 211351 h 464366"/>
                <a:gd name="connsiteX3" fmla="*/ 1882345 w 3755809"/>
                <a:gd name="connsiteY3" fmla="*/ 77401 h 464366"/>
                <a:gd name="connsiteX4" fmla="*/ 1243012 w 3755809"/>
                <a:gd name="connsiteY4" fmla="*/ 135753 h 464366"/>
                <a:gd name="connsiteX5" fmla="*/ 619125 w 3755809"/>
                <a:gd name="connsiteY5" fmla="*/ 273866 h 464366"/>
                <a:gd name="connsiteX6" fmla="*/ 171450 w 3755809"/>
                <a:gd name="connsiteY6" fmla="*/ 464366 h 464366"/>
                <a:gd name="connsiteX7" fmla="*/ 76200 w 3755809"/>
                <a:gd name="connsiteY7" fmla="*/ 407216 h 464366"/>
                <a:gd name="connsiteX8" fmla="*/ 0 w 3755809"/>
                <a:gd name="connsiteY8" fmla="*/ 88128 h 464366"/>
                <a:gd name="connsiteX0" fmla="*/ 3755809 w 3755809"/>
                <a:gd name="connsiteY0" fmla="*/ 0 h 464366"/>
                <a:gd name="connsiteX1" fmla="*/ 3130120 w 3755809"/>
                <a:gd name="connsiteY1" fmla="*/ 221479 h 464366"/>
                <a:gd name="connsiteX2" fmla="*/ 2503272 w 3755809"/>
                <a:gd name="connsiteY2" fmla="*/ 211351 h 464366"/>
                <a:gd name="connsiteX3" fmla="*/ 1882345 w 3755809"/>
                <a:gd name="connsiteY3" fmla="*/ 77401 h 464366"/>
                <a:gd name="connsiteX4" fmla="*/ 1266302 w 3755809"/>
                <a:gd name="connsiteY4" fmla="*/ 135753 h 464366"/>
                <a:gd name="connsiteX5" fmla="*/ 619125 w 3755809"/>
                <a:gd name="connsiteY5" fmla="*/ 273866 h 464366"/>
                <a:gd name="connsiteX6" fmla="*/ 171450 w 3755809"/>
                <a:gd name="connsiteY6" fmla="*/ 464366 h 464366"/>
                <a:gd name="connsiteX7" fmla="*/ 76200 w 3755809"/>
                <a:gd name="connsiteY7" fmla="*/ 407216 h 464366"/>
                <a:gd name="connsiteX8" fmla="*/ 0 w 3755809"/>
                <a:gd name="connsiteY8" fmla="*/ 88128 h 464366"/>
                <a:gd name="connsiteX0" fmla="*/ 3755809 w 3755809"/>
                <a:gd name="connsiteY0" fmla="*/ 0 h 464366"/>
                <a:gd name="connsiteX1" fmla="*/ 3130120 w 3755809"/>
                <a:gd name="connsiteY1" fmla="*/ 221479 h 464366"/>
                <a:gd name="connsiteX2" fmla="*/ 2503272 w 3755809"/>
                <a:gd name="connsiteY2" fmla="*/ 211351 h 464366"/>
                <a:gd name="connsiteX3" fmla="*/ 1882345 w 3755809"/>
                <a:gd name="connsiteY3" fmla="*/ 77401 h 464366"/>
                <a:gd name="connsiteX4" fmla="*/ 1266302 w 3755809"/>
                <a:gd name="connsiteY4" fmla="*/ 135753 h 464366"/>
                <a:gd name="connsiteX5" fmla="*/ 632434 w 3755809"/>
                <a:gd name="connsiteY5" fmla="*/ 263885 h 464366"/>
                <a:gd name="connsiteX6" fmla="*/ 171450 w 3755809"/>
                <a:gd name="connsiteY6" fmla="*/ 464366 h 464366"/>
                <a:gd name="connsiteX7" fmla="*/ 76200 w 3755809"/>
                <a:gd name="connsiteY7" fmla="*/ 407216 h 464366"/>
                <a:gd name="connsiteX8" fmla="*/ 0 w 3755809"/>
                <a:gd name="connsiteY8" fmla="*/ 88128 h 464366"/>
                <a:gd name="connsiteX0" fmla="*/ 3755809 w 3755809"/>
                <a:gd name="connsiteY0" fmla="*/ 0 h 467694"/>
                <a:gd name="connsiteX1" fmla="*/ 3130120 w 3755809"/>
                <a:gd name="connsiteY1" fmla="*/ 221479 h 467694"/>
                <a:gd name="connsiteX2" fmla="*/ 2503272 w 3755809"/>
                <a:gd name="connsiteY2" fmla="*/ 211351 h 467694"/>
                <a:gd name="connsiteX3" fmla="*/ 1882345 w 3755809"/>
                <a:gd name="connsiteY3" fmla="*/ 77401 h 467694"/>
                <a:gd name="connsiteX4" fmla="*/ 1266302 w 3755809"/>
                <a:gd name="connsiteY4" fmla="*/ 135753 h 467694"/>
                <a:gd name="connsiteX5" fmla="*/ 632434 w 3755809"/>
                <a:gd name="connsiteY5" fmla="*/ 263885 h 467694"/>
                <a:gd name="connsiteX6" fmla="*/ 161468 w 3755809"/>
                <a:gd name="connsiteY6" fmla="*/ 467694 h 467694"/>
                <a:gd name="connsiteX7" fmla="*/ 76200 w 3755809"/>
                <a:gd name="connsiteY7" fmla="*/ 407216 h 467694"/>
                <a:gd name="connsiteX8" fmla="*/ 0 w 3755809"/>
                <a:gd name="connsiteY8" fmla="*/ 88128 h 467694"/>
                <a:gd name="connsiteX0" fmla="*/ 3755809 w 3755809"/>
                <a:gd name="connsiteY0" fmla="*/ 0 h 467694"/>
                <a:gd name="connsiteX1" fmla="*/ 3130120 w 3755809"/>
                <a:gd name="connsiteY1" fmla="*/ 221479 h 467694"/>
                <a:gd name="connsiteX2" fmla="*/ 2503272 w 3755809"/>
                <a:gd name="connsiteY2" fmla="*/ 211351 h 467694"/>
                <a:gd name="connsiteX3" fmla="*/ 1882345 w 3755809"/>
                <a:gd name="connsiteY3" fmla="*/ 77401 h 467694"/>
                <a:gd name="connsiteX4" fmla="*/ 1266302 w 3755809"/>
                <a:gd name="connsiteY4" fmla="*/ 135753 h 467694"/>
                <a:gd name="connsiteX5" fmla="*/ 632434 w 3755809"/>
                <a:gd name="connsiteY5" fmla="*/ 263885 h 467694"/>
                <a:gd name="connsiteX6" fmla="*/ 161468 w 3755809"/>
                <a:gd name="connsiteY6" fmla="*/ 467694 h 467694"/>
                <a:gd name="connsiteX7" fmla="*/ 92836 w 3755809"/>
                <a:gd name="connsiteY7" fmla="*/ 400563 h 467694"/>
                <a:gd name="connsiteX8" fmla="*/ 0 w 3755809"/>
                <a:gd name="connsiteY8" fmla="*/ 88128 h 467694"/>
                <a:gd name="connsiteX0" fmla="*/ 3749155 w 3749155"/>
                <a:gd name="connsiteY0" fmla="*/ 0 h 467694"/>
                <a:gd name="connsiteX1" fmla="*/ 3123466 w 3749155"/>
                <a:gd name="connsiteY1" fmla="*/ 221479 h 467694"/>
                <a:gd name="connsiteX2" fmla="*/ 2496618 w 3749155"/>
                <a:gd name="connsiteY2" fmla="*/ 211351 h 467694"/>
                <a:gd name="connsiteX3" fmla="*/ 1875691 w 3749155"/>
                <a:gd name="connsiteY3" fmla="*/ 77401 h 467694"/>
                <a:gd name="connsiteX4" fmla="*/ 1259648 w 3749155"/>
                <a:gd name="connsiteY4" fmla="*/ 135753 h 467694"/>
                <a:gd name="connsiteX5" fmla="*/ 625780 w 3749155"/>
                <a:gd name="connsiteY5" fmla="*/ 263885 h 467694"/>
                <a:gd name="connsiteX6" fmla="*/ 154814 w 3749155"/>
                <a:gd name="connsiteY6" fmla="*/ 467694 h 467694"/>
                <a:gd name="connsiteX7" fmla="*/ 86182 w 3749155"/>
                <a:gd name="connsiteY7" fmla="*/ 400563 h 467694"/>
                <a:gd name="connsiteX8" fmla="*/ 0 w 3749155"/>
                <a:gd name="connsiteY8" fmla="*/ 68165 h 467694"/>
                <a:gd name="connsiteX0" fmla="*/ 3749155 w 3749155"/>
                <a:gd name="connsiteY0" fmla="*/ 0 h 467694"/>
                <a:gd name="connsiteX1" fmla="*/ 3123466 w 3749155"/>
                <a:gd name="connsiteY1" fmla="*/ 221479 h 467694"/>
                <a:gd name="connsiteX2" fmla="*/ 2496618 w 3749155"/>
                <a:gd name="connsiteY2" fmla="*/ 211351 h 467694"/>
                <a:gd name="connsiteX3" fmla="*/ 1875691 w 3749155"/>
                <a:gd name="connsiteY3" fmla="*/ 77401 h 467694"/>
                <a:gd name="connsiteX4" fmla="*/ 1252995 w 3749155"/>
                <a:gd name="connsiteY4" fmla="*/ 135753 h 467694"/>
                <a:gd name="connsiteX5" fmla="*/ 625780 w 3749155"/>
                <a:gd name="connsiteY5" fmla="*/ 263885 h 467694"/>
                <a:gd name="connsiteX6" fmla="*/ 154814 w 3749155"/>
                <a:gd name="connsiteY6" fmla="*/ 467694 h 467694"/>
                <a:gd name="connsiteX7" fmla="*/ 86182 w 3749155"/>
                <a:gd name="connsiteY7" fmla="*/ 400563 h 467694"/>
                <a:gd name="connsiteX8" fmla="*/ 0 w 3749155"/>
                <a:gd name="connsiteY8" fmla="*/ 68165 h 467694"/>
                <a:gd name="connsiteX0" fmla="*/ 3749155 w 3749155"/>
                <a:gd name="connsiteY0" fmla="*/ 0 h 467694"/>
                <a:gd name="connsiteX1" fmla="*/ 3123466 w 3749155"/>
                <a:gd name="connsiteY1" fmla="*/ 221479 h 467694"/>
                <a:gd name="connsiteX2" fmla="*/ 2496618 w 3749155"/>
                <a:gd name="connsiteY2" fmla="*/ 211351 h 467694"/>
                <a:gd name="connsiteX3" fmla="*/ 1875691 w 3749155"/>
                <a:gd name="connsiteY3" fmla="*/ 77401 h 467694"/>
                <a:gd name="connsiteX4" fmla="*/ 1252995 w 3749155"/>
                <a:gd name="connsiteY4" fmla="*/ 132426 h 467694"/>
                <a:gd name="connsiteX5" fmla="*/ 625780 w 3749155"/>
                <a:gd name="connsiteY5" fmla="*/ 263885 h 467694"/>
                <a:gd name="connsiteX6" fmla="*/ 154814 w 3749155"/>
                <a:gd name="connsiteY6" fmla="*/ 467694 h 467694"/>
                <a:gd name="connsiteX7" fmla="*/ 86182 w 3749155"/>
                <a:gd name="connsiteY7" fmla="*/ 400563 h 467694"/>
                <a:gd name="connsiteX8" fmla="*/ 0 w 3749155"/>
                <a:gd name="connsiteY8" fmla="*/ 68165 h 467694"/>
                <a:gd name="connsiteX0" fmla="*/ 3749155 w 3749155"/>
                <a:gd name="connsiteY0" fmla="*/ 0 h 467694"/>
                <a:gd name="connsiteX1" fmla="*/ 3123466 w 3749155"/>
                <a:gd name="connsiteY1" fmla="*/ 221479 h 467694"/>
                <a:gd name="connsiteX2" fmla="*/ 2496618 w 3749155"/>
                <a:gd name="connsiteY2" fmla="*/ 211351 h 467694"/>
                <a:gd name="connsiteX3" fmla="*/ 1875691 w 3749155"/>
                <a:gd name="connsiteY3" fmla="*/ 77401 h 467694"/>
                <a:gd name="connsiteX4" fmla="*/ 1252995 w 3749155"/>
                <a:gd name="connsiteY4" fmla="*/ 132426 h 467694"/>
                <a:gd name="connsiteX5" fmla="*/ 625780 w 3749155"/>
                <a:gd name="connsiteY5" fmla="*/ 263885 h 467694"/>
                <a:gd name="connsiteX6" fmla="*/ 154814 w 3749155"/>
                <a:gd name="connsiteY6" fmla="*/ 467694 h 467694"/>
                <a:gd name="connsiteX7" fmla="*/ 86182 w 3749155"/>
                <a:gd name="connsiteY7" fmla="*/ 400563 h 467694"/>
                <a:gd name="connsiteX8" fmla="*/ 0 w 3749155"/>
                <a:gd name="connsiteY8" fmla="*/ 68165 h 467694"/>
                <a:gd name="connsiteX0" fmla="*/ 3749155 w 3749155"/>
                <a:gd name="connsiteY0" fmla="*/ 0 h 467694"/>
                <a:gd name="connsiteX1" fmla="*/ 3126793 w 3749155"/>
                <a:gd name="connsiteY1" fmla="*/ 214823 h 467694"/>
                <a:gd name="connsiteX2" fmla="*/ 2496618 w 3749155"/>
                <a:gd name="connsiteY2" fmla="*/ 211351 h 467694"/>
                <a:gd name="connsiteX3" fmla="*/ 1875691 w 3749155"/>
                <a:gd name="connsiteY3" fmla="*/ 77401 h 467694"/>
                <a:gd name="connsiteX4" fmla="*/ 1252995 w 3749155"/>
                <a:gd name="connsiteY4" fmla="*/ 132426 h 467694"/>
                <a:gd name="connsiteX5" fmla="*/ 625780 w 3749155"/>
                <a:gd name="connsiteY5" fmla="*/ 263885 h 467694"/>
                <a:gd name="connsiteX6" fmla="*/ 154814 w 3749155"/>
                <a:gd name="connsiteY6" fmla="*/ 467694 h 467694"/>
                <a:gd name="connsiteX7" fmla="*/ 86182 w 3749155"/>
                <a:gd name="connsiteY7" fmla="*/ 400563 h 467694"/>
                <a:gd name="connsiteX8" fmla="*/ 0 w 3749155"/>
                <a:gd name="connsiteY8" fmla="*/ 68165 h 467694"/>
                <a:gd name="connsiteX0" fmla="*/ 3752483 w 3752483"/>
                <a:gd name="connsiteY0" fmla="*/ 0 h 477676"/>
                <a:gd name="connsiteX1" fmla="*/ 3126793 w 3752483"/>
                <a:gd name="connsiteY1" fmla="*/ 224805 h 477676"/>
                <a:gd name="connsiteX2" fmla="*/ 2496618 w 3752483"/>
                <a:gd name="connsiteY2" fmla="*/ 221333 h 477676"/>
                <a:gd name="connsiteX3" fmla="*/ 1875691 w 3752483"/>
                <a:gd name="connsiteY3" fmla="*/ 87383 h 477676"/>
                <a:gd name="connsiteX4" fmla="*/ 1252995 w 3752483"/>
                <a:gd name="connsiteY4" fmla="*/ 142408 h 477676"/>
                <a:gd name="connsiteX5" fmla="*/ 625780 w 3752483"/>
                <a:gd name="connsiteY5" fmla="*/ 273867 h 477676"/>
                <a:gd name="connsiteX6" fmla="*/ 154814 w 3752483"/>
                <a:gd name="connsiteY6" fmla="*/ 477676 h 477676"/>
                <a:gd name="connsiteX7" fmla="*/ 86182 w 3752483"/>
                <a:gd name="connsiteY7" fmla="*/ 410545 h 477676"/>
                <a:gd name="connsiteX8" fmla="*/ 0 w 3752483"/>
                <a:gd name="connsiteY8" fmla="*/ 78147 h 47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2483" h="477676">
                  <a:moveTo>
                    <a:pt x="3752483" y="0"/>
                  </a:moveTo>
                  <a:lnTo>
                    <a:pt x="3126793" y="224805"/>
                  </a:lnTo>
                  <a:lnTo>
                    <a:pt x="2496618" y="221333"/>
                  </a:lnTo>
                  <a:lnTo>
                    <a:pt x="1875691" y="87383"/>
                  </a:lnTo>
                  <a:lnTo>
                    <a:pt x="1252995" y="142408"/>
                  </a:lnTo>
                  <a:lnTo>
                    <a:pt x="625780" y="273867"/>
                  </a:lnTo>
                  <a:lnTo>
                    <a:pt x="154814" y="477676"/>
                  </a:lnTo>
                  <a:lnTo>
                    <a:pt x="86182" y="410545"/>
                  </a:lnTo>
                  <a:lnTo>
                    <a:pt x="0" y="78147"/>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189" name="Freeform: Shape 1188">
              <a:extLst>
                <a:ext uri="{FF2B5EF4-FFF2-40B4-BE49-F238E27FC236}">
                  <a16:creationId xmlns:a16="http://schemas.microsoft.com/office/drawing/2014/main" id="{1F8F31D1-4709-48AA-8EB4-791D47EBCAD9}"/>
                </a:ext>
              </a:extLst>
            </p:cNvPr>
            <p:cNvSpPr/>
            <p:nvPr/>
          </p:nvSpPr>
          <p:spPr>
            <a:xfrm>
              <a:off x="8835202" y="4201763"/>
              <a:ext cx="2680540" cy="483338"/>
            </a:xfrm>
            <a:custGeom>
              <a:avLst/>
              <a:gdLst>
                <a:gd name="connsiteX0" fmla="*/ 3766457 w 3766457"/>
                <a:gd name="connsiteY0" fmla="*/ 381000 h 661307"/>
                <a:gd name="connsiteX1" fmla="*/ 3135085 w 3766457"/>
                <a:gd name="connsiteY1" fmla="*/ 0 h 661307"/>
                <a:gd name="connsiteX2" fmla="*/ 2500992 w 3766457"/>
                <a:gd name="connsiteY2" fmla="*/ 179614 h 661307"/>
                <a:gd name="connsiteX3" fmla="*/ 1894114 w 3766457"/>
                <a:gd name="connsiteY3" fmla="*/ 239486 h 661307"/>
                <a:gd name="connsiteX4" fmla="*/ 1243692 w 3766457"/>
                <a:gd name="connsiteY4" fmla="*/ 138793 h 661307"/>
                <a:gd name="connsiteX5" fmla="*/ 631371 w 3766457"/>
                <a:gd name="connsiteY5" fmla="*/ 386443 h 661307"/>
                <a:gd name="connsiteX6" fmla="*/ 141514 w 3766457"/>
                <a:gd name="connsiteY6" fmla="*/ 661307 h 661307"/>
                <a:gd name="connsiteX7" fmla="*/ 59871 w 3766457"/>
                <a:gd name="connsiteY7" fmla="*/ 636814 h 661307"/>
                <a:gd name="connsiteX8" fmla="*/ 0 w 3766457"/>
                <a:gd name="connsiteY8" fmla="*/ 269422 h 661307"/>
                <a:gd name="connsiteX0" fmla="*/ 3773477 w 3773477"/>
                <a:gd name="connsiteY0" fmla="*/ 381000 h 661307"/>
                <a:gd name="connsiteX1" fmla="*/ 3142105 w 3773477"/>
                <a:gd name="connsiteY1" fmla="*/ 0 h 661307"/>
                <a:gd name="connsiteX2" fmla="*/ 2508012 w 3773477"/>
                <a:gd name="connsiteY2" fmla="*/ 179614 h 661307"/>
                <a:gd name="connsiteX3" fmla="*/ 1901134 w 3773477"/>
                <a:gd name="connsiteY3" fmla="*/ 239486 h 661307"/>
                <a:gd name="connsiteX4" fmla="*/ 1250712 w 3773477"/>
                <a:gd name="connsiteY4" fmla="*/ 138793 h 661307"/>
                <a:gd name="connsiteX5" fmla="*/ 638391 w 3773477"/>
                <a:gd name="connsiteY5" fmla="*/ 386443 h 661307"/>
                <a:gd name="connsiteX6" fmla="*/ 148534 w 3773477"/>
                <a:gd name="connsiteY6" fmla="*/ 661307 h 661307"/>
                <a:gd name="connsiteX7" fmla="*/ 66891 w 3773477"/>
                <a:gd name="connsiteY7" fmla="*/ 636814 h 661307"/>
                <a:gd name="connsiteX8" fmla="*/ 0 w 3773477"/>
                <a:gd name="connsiteY8" fmla="*/ 265912 h 661307"/>
                <a:gd name="connsiteX0" fmla="*/ 3773477 w 3773477"/>
                <a:gd name="connsiteY0" fmla="*/ 381000 h 661307"/>
                <a:gd name="connsiteX1" fmla="*/ 3142105 w 3773477"/>
                <a:gd name="connsiteY1" fmla="*/ 0 h 661307"/>
                <a:gd name="connsiteX2" fmla="*/ 2508012 w 3773477"/>
                <a:gd name="connsiteY2" fmla="*/ 179614 h 661307"/>
                <a:gd name="connsiteX3" fmla="*/ 1901134 w 3773477"/>
                <a:gd name="connsiteY3" fmla="*/ 239486 h 661307"/>
                <a:gd name="connsiteX4" fmla="*/ 1250712 w 3773477"/>
                <a:gd name="connsiteY4" fmla="*/ 138793 h 661307"/>
                <a:gd name="connsiteX5" fmla="*/ 638391 w 3773477"/>
                <a:gd name="connsiteY5" fmla="*/ 386443 h 661307"/>
                <a:gd name="connsiteX6" fmla="*/ 148534 w 3773477"/>
                <a:gd name="connsiteY6" fmla="*/ 661307 h 661307"/>
                <a:gd name="connsiteX7" fmla="*/ 80930 w 3773477"/>
                <a:gd name="connsiteY7" fmla="*/ 633305 h 661307"/>
                <a:gd name="connsiteX8" fmla="*/ 0 w 3773477"/>
                <a:gd name="connsiteY8" fmla="*/ 265912 h 661307"/>
                <a:gd name="connsiteX0" fmla="*/ 3773477 w 3773477"/>
                <a:gd name="connsiteY0" fmla="*/ 381000 h 664817"/>
                <a:gd name="connsiteX1" fmla="*/ 3142105 w 3773477"/>
                <a:gd name="connsiteY1" fmla="*/ 0 h 664817"/>
                <a:gd name="connsiteX2" fmla="*/ 2508012 w 3773477"/>
                <a:gd name="connsiteY2" fmla="*/ 179614 h 664817"/>
                <a:gd name="connsiteX3" fmla="*/ 1901134 w 3773477"/>
                <a:gd name="connsiteY3" fmla="*/ 239486 h 664817"/>
                <a:gd name="connsiteX4" fmla="*/ 1250712 w 3773477"/>
                <a:gd name="connsiteY4" fmla="*/ 138793 h 664817"/>
                <a:gd name="connsiteX5" fmla="*/ 638391 w 3773477"/>
                <a:gd name="connsiteY5" fmla="*/ 386443 h 664817"/>
                <a:gd name="connsiteX6" fmla="*/ 162573 w 3773477"/>
                <a:gd name="connsiteY6" fmla="*/ 664817 h 664817"/>
                <a:gd name="connsiteX7" fmla="*/ 80930 w 3773477"/>
                <a:gd name="connsiteY7" fmla="*/ 633305 h 664817"/>
                <a:gd name="connsiteX8" fmla="*/ 0 w 3773477"/>
                <a:gd name="connsiteY8" fmla="*/ 265912 h 664817"/>
                <a:gd name="connsiteX0" fmla="*/ 3773477 w 3773477"/>
                <a:gd name="connsiteY0" fmla="*/ 381000 h 664817"/>
                <a:gd name="connsiteX1" fmla="*/ 3142105 w 3773477"/>
                <a:gd name="connsiteY1" fmla="*/ 0 h 664817"/>
                <a:gd name="connsiteX2" fmla="*/ 2508012 w 3773477"/>
                <a:gd name="connsiteY2" fmla="*/ 179614 h 664817"/>
                <a:gd name="connsiteX3" fmla="*/ 1901134 w 3773477"/>
                <a:gd name="connsiteY3" fmla="*/ 239486 h 664817"/>
                <a:gd name="connsiteX4" fmla="*/ 1250712 w 3773477"/>
                <a:gd name="connsiteY4" fmla="*/ 138793 h 664817"/>
                <a:gd name="connsiteX5" fmla="*/ 624352 w 3773477"/>
                <a:gd name="connsiteY5" fmla="*/ 393463 h 664817"/>
                <a:gd name="connsiteX6" fmla="*/ 162573 w 3773477"/>
                <a:gd name="connsiteY6" fmla="*/ 664817 h 664817"/>
                <a:gd name="connsiteX7" fmla="*/ 80930 w 3773477"/>
                <a:gd name="connsiteY7" fmla="*/ 633305 h 664817"/>
                <a:gd name="connsiteX8" fmla="*/ 0 w 3773477"/>
                <a:gd name="connsiteY8" fmla="*/ 265912 h 664817"/>
                <a:gd name="connsiteX0" fmla="*/ 3773477 w 3773477"/>
                <a:gd name="connsiteY0" fmla="*/ 381000 h 664817"/>
                <a:gd name="connsiteX1" fmla="*/ 3142105 w 3773477"/>
                <a:gd name="connsiteY1" fmla="*/ 0 h 664817"/>
                <a:gd name="connsiteX2" fmla="*/ 2508012 w 3773477"/>
                <a:gd name="connsiteY2" fmla="*/ 179614 h 664817"/>
                <a:gd name="connsiteX3" fmla="*/ 1901134 w 3773477"/>
                <a:gd name="connsiteY3" fmla="*/ 239486 h 664817"/>
                <a:gd name="connsiteX4" fmla="*/ 1254223 w 3773477"/>
                <a:gd name="connsiteY4" fmla="*/ 135284 h 664817"/>
                <a:gd name="connsiteX5" fmla="*/ 624352 w 3773477"/>
                <a:gd name="connsiteY5" fmla="*/ 393463 h 664817"/>
                <a:gd name="connsiteX6" fmla="*/ 162573 w 3773477"/>
                <a:gd name="connsiteY6" fmla="*/ 664817 h 664817"/>
                <a:gd name="connsiteX7" fmla="*/ 80930 w 3773477"/>
                <a:gd name="connsiteY7" fmla="*/ 633305 h 664817"/>
                <a:gd name="connsiteX8" fmla="*/ 0 w 3773477"/>
                <a:gd name="connsiteY8" fmla="*/ 265912 h 664817"/>
                <a:gd name="connsiteX0" fmla="*/ 3773477 w 3773477"/>
                <a:gd name="connsiteY0" fmla="*/ 381000 h 664817"/>
                <a:gd name="connsiteX1" fmla="*/ 3142105 w 3773477"/>
                <a:gd name="connsiteY1" fmla="*/ 0 h 664817"/>
                <a:gd name="connsiteX2" fmla="*/ 2508012 w 3773477"/>
                <a:gd name="connsiteY2" fmla="*/ 179614 h 664817"/>
                <a:gd name="connsiteX3" fmla="*/ 1876563 w 3773477"/>
                <a:gd name="connsiteY3" fmla="*/ 239485 h 664817"/>
                <a:gd name="connsiteX4" fmla="*/ 1254223 w 3773477"/>
                <a:gd name="connsiteY4" fmla="*/ 135284 h 664817"/>
                <a:gd name="connsiteX5" fmla="*/ 624352 w 3773477"/>
                <a:gd name="connsiteY5" fmla="*/ 393463 h 664817"/>
                <a:gd name="connsiteX6" fmla="*/ 162573 w 3773477"/>
                <a:gd name="connsiteY6" fmla="*/ 664817 h 664817"/>
                <a:gd name="connsiteX7" fmla="*/ 80930 w 3773477"/>
                <a:gd name="connsiteY7" fmla="*/ 633305 h 664817"/>
                <a:gd name="connsiteX8" fmla="*/ 0 w 3773477"/>
                <a:gd name="connsiteY8" fmla="*/ 265912 h 664817"/>
                <a:gd name="connsiteX0" fmla="*/ 3773477 w 3773477"/>
                <a:gd name="connsiteY0" fmla="*/ 381000 h 664817"/>
                <a:gd name="connsiteX1" fmla="*/ 3142105 w 3773477"/>
                <a:gd name="connsiteY1" fmla="*/ 0 h 664817"/>
                <a:gd name="connsiteX2" fmla="*/ 2500992 w 3773477"/>
                <a:gd name="connsiteY2" fmla="*/ 179614 h 664817"/>
                <a:gd name="connsiteX3" fmla="*/ 1876563 w 3773477"/>
                <a:gd name="connsiteY3" fmla="*/ 239485 h 664817"/>
                <a:gd name="connsiteX4" fmla="*/ 1254223 w 3773477"/>
                <a:gd name="connsiteY4" fmla="*/ 135284 h 664817"/>
                <a:gd name="connsiteX5" fmla="*/ 624352 w 3773477"/>
                <a:gd name="connsiteY5" fmla="*/ 393463 h 664817"/>
                <a:gd name="connsiteX6" fmla="*/ 162573 w 3773477"/>
                <a:gd name="connsiteY6" fmla="*/ 664817 h 664817"/>
                <a:gd name="connsiteX7" fmla="*/ 80930 w 3773477"/>
                <a:gd name="connsiteY7" fmla="*/ 633305 h 664817"/>
                <a:gd name="connsiteX8" fmla="*/ 0 w 3773477"/>
                <a:gd name="connsiteY8" fmla="*/ 265912 h 664817"/>
                <a:gd name="connsiteX0" fmla="*/ 3773477 w 3773477"/>
                <a:gd name="connsiteY0" fmla="*/ 391530 h 675347"/>
                <a:gd name="connsiteX1" fmla="*/ 3124554 w 3773477"/>
                <a:gd name="connsiteY1" fmla="*/ 0 h 675347"/>
                <a:gd name="connsiteX2" fmla="*/ 2500992 w 3773477"/>
                <a:gd name="connsiteY2" fmla="*/ 190144 h 675347"/>
                <a:gd name="connsiteX3" fmla="*/ 1876563 w 3773477"/>
                <a:gd name="connsiteY3" fmla="*/ 250015 h 675347"/>
                <a:gd name="connsiteX4" fmla="*/ 1254223 w 3773477"/>
                <a:gd name="connsiteY4" fmla="*/ 145814 h 675347"/>
                <a:gd name="connsiteX5" fmla="*/ 624352 w 3773477"/>
                <a:gd name="connsiteY5" fmla="*/ 403993 h 675347"/>
                <a:gd name="connsiteX6" fmla="*/ 162573 w 3773477"/>
                <a:gd name="connsiteY6" fmla="*/ 675347 h 675347"/>
                <a:gd name="connsiteX7" fmla="*/ 80930 w 3773477"/>
                <a:gd name="connsiteY7" fmla="*/ 643835 h 675347"/>
                <a:gd name="connsiteX8" fmla="*/ 0 w 3773477"/>
                <a:gd name="connsiteY8" fmla="*/ 276442 h 675347"/>
                <a:gd name="connsiteX0" fmla="*/ 3773477 w 3773477"/>
                <a:gd name="connsiteY0" fmla="*/ 391530 h 675347"/>
                <a:gd name="connsiteX1" fmla="*/ 3124554 w 3773477"/>
                <a:gd name="connsiteY1" fmla="*/ 0 h 675347"/>
                <a:gd name="connsiteX2" fmla="*/ 2500992 w 3773477"/>
                <a:gd name="connsiteY2" fmla="*/ 190144 h 675347"/>
                <a:gd name="connsiteX3" fmla="*/ 1880073 w 3773477"/>
                <a:gd name="connsiteY3" fmla="*/ 246505 h 675347"/>
                <a:gd name="connsiteX4" fmla="*/ 1254223 w 3773477"/>
                <a:gd name="connsiteY4" fmla="*/ 145814 h 675347"/>
                <a:gd name="connsiteX5" fmla="*/ 624352 w 3773477"/>
                <a:gd name="connsiteY5" fmla="*/ 403993 h 675347"/>
                <a:gd name="connsiteX6" fmla="*/ 162573 w 3773477"/>
                <a:gd name="connsiteY6" fmla="*/ 675347 h 675347"/>
                <a:gd name="connsiteX7" fmla="*/ 80930 w 3773477"/>
                <a:gd name="connsiteY7" fmla="*/ 643835 h 675347"/>
                <a:gd name="connsiteX8" fmla="*/ 0 w 3773477"/>
                <a:gd name="connsiteY8" fmla="*/ 276442 h 675347"/>
                <a:gd name="connsiteX0" fmla="*/ 3745396 w 3745396"/>
                <a:gd name="connsiteY0" fmla="*/ 391529 h 675347"/>
                <a:gd name="connsiteX1" fmla="*/ 3124554 w 3745396"/>
                <a:gd name="connsiteY1" fmla="*/ 0 h 675347"/>
                <a:gd name="connsiteX2" fmla="*/ 2500992 w 3745396"/>
                <a:gd name="connsiteY2" fmla="*/ 190144 h 675347"/>
                <a:gd name="connsiteX3" fmla="*/ 1880073 w 3745396"/>
                <a:gd name="connsiteY3" fmla="*/ 246505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90144 h 675347"/>
                <a:gd name="connsiteX3" fmla="*/ 1880073 w 3745396"/>
                <a:gd name="connsiteY3" fmla="*/ 246505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90144 h 675347"/>
                <a:gd name="connsiteX3" fmla="*/ 1873419 w 3745396"/>
                <a:gd name="connsiteY3" fmla="*/ 249834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90144 h 675347"/>
                <a:gd name="connsiteX3" fmla="*/ 1873419 w 3745396"/>
                <a:gd name="connsiteY3" fmla="*/ 243180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90144 h 675347"/>
                <a:gd name="connsiteX3" fmla="*/ 1876746 w 3745396"/>
                <a:gd name="connsiteY3" fmla="*/ 249835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86817 h 675347"/>
                <a:gd name="connsiteX3" fmla="*/ 1876746 w 3745396"/>
                <a:gd name="connsiteY3" fmla="*/ 249835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86817 h 675347"/>
                <a:gd name="connsiteX3" fmla="*/ 1876746 w 3745396"/>
                <a:gd name="connsiteY3" fmla="*/ 246508 h 675347"/>
                <a:gd name="connsiteX4" fmla="*/ 1254223 w 3745396"/>
                <a:gd name="connsiteY4" fmla="*/ 145814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86817 h 675347"/>
                <a:gd name="connsiteX3" fmla="*/ 1876746 w 3745396"/>
                <a:gd name="connsiteY3" fmla="*/ 246508 h 675347"/>
                <a:gd name="connsiteX4" fmla="*/ 1254223 w 3745396"/>
                <a:gd name="connsiteY4" fmla="*/ 142487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86817 h 675347"/>
                <a:gd name="connsiteX3" fmla="*/ 1876746 w 3745396"/>
                <a:gd name="connsiteY3" fmla="*/ 246508 h 675347"/>
                <a:gd name="connsiteX4" fmla="*/ 1254223 w 3745396"/>
                <a:gd name="connsiteY4" fmla="*/ 145813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86817 h 675347"/>
                <a:gd name="connsiteX3" fmla="*/ 1876746 w 3745396"/>
                <a:gd name="connsiteY3" fmla="*/ 246508 h 675347"/>
                <a:gd name="connsiteX4" fmla="*/ 1254223 w 3745396"/>
                <a:gd name="connsiteY4" fmla="*/ 142487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 name="connsiteX0" fmla="*/ 3745396 w 3745396"/>
                <a:gd name="connsiteY0" fmla="*/ 388019 h 675347"/>
                <a:gd name="connsiteX1" fmla="*/ 3124554 w 3745396"/>
                <a:gd name="connsiteY1" fmla="*/ 0 h 675347"/>
                <a:gd name="connsiteX2" fmla="*/ 2500992 w 3745396"/>
                <a:gd name="connsiteY2" fmla="*/ 186817 h 675347"/>
                <a:gd name="connsiteX3" fmla="*/ 1876746 w 3745396"/>
                <a:gd name="connsiteY3" fmla="*/ 246508 h 675347"/>
                <a:gd name="connsiteX4" fmla="*/ 1247568 w 3745396"/>
                <a:gd name="connsiteY4" fmla="*/ 139158 h 675347"/>
                <a:gd name="connsiteX5" fmla="*/ 624352 w 3745396"/>
                <a:gd name="connsiteY5" fmla="*/ 403993 h 675347"/>
                <a:gd name="connsiteX6" fmla="*/ 162573 w 3745396"/>
                <a:gd name="connsiteY6" fmla="*/ 675347 h 675347"/>
                <a:gd name="connsiteX7" fmla="*/ 80930 w 3745396"/>
                <a:gd name="connsiteY7" fmla="*/ 643835 h 675347"/>
                <a:gd name="connsiteX8" fmla="*/ 0 w 3745396"/>
                <a:gd name="connsiteY8" fmla="*/ 276442 h 6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5396" h="675347">
                  <a:moveTo>
                    <a:pt x="3745396" y="388019"/>
                  </a:moveTo>
                  <a:lnTo>
                    <a:pt x="3124554" y="0"/>
                  </a:lnTo>
                  <a:lnTo>
                    <a:pt x="2500992" y="186817"/>
                  </a:lnTo>
                  <a:lnTo>
                    <a:pt x="1876746" y="246508"/>
                  </a:lnTo>
                  <a:lnTo>
                    <a:pt x="1247568" y="139158"/>
                  </a:lnTo>
                  <a:lnTo>
                    <a:pt x="624352" y="403993"/>
                  </a:lnTo>
                  <a:lnTo>
                    <a:pt x="162573" y="675347"/>
                  </a:lnTo>
                  <a:lnTo>
                    <a:pt x="80930" y="643835"/>
                  </a:lnTo>
                  <a:cubicBezTo>
                    <a:pt x="60973" y="521371"/>
                    <a:pt x="19957" y="398906"/>
                    <a:pt x="0" y="276442"/>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sp>
        <p:nvSpPr>
          <p:cNvPr id="766" name="Slide Number Placeholder 1">
            <a:extLst>
              <a:ext uri="{FF2B5EF4-FFF2-40B4-BE49-F238E27FC236}">
                <a16:creationId xmlns:a16="http://schemas.microsoft.com/office/drawing/2014/main" id="{D2A56EE1-3286-4576-83CF-B3ABB2E064FA}"/>
              </a:ext>
            </a:extLst>
          </p:cNvPr>
          <p:cNvSpPr txBox="1">
            <a:spLocks/>
          </p:cNvSpPr>
          <p:nvPr/>
        </p:nvSpPr>
        <p:spPr>
          <a:xfrm>
            <a:off x="11591927" y="6340239"/>
            <a:ext cx="480737" cy="365125"/>
          </a:xfrm>
          <a:prstGeom prst="rect">
            <a:avLst/>
          </a:prstGeom>
        </p:spPr>
        <p:txBody>
          <a:bodyPr vert="horz" lIns="91440" tIns="45720" rIns="91440" bIns="45720" rtlCol="0" anchor="b" anchorCtr="0"/>
          <a:lstStyle>
            <a:defPPr>
              <a:defRPr lang="hu-HU"/>
            </a:defPPr>
            <a:lvl1pPr algn="r">
              <a:defRPr sz="800" b="1">
                <a:solidFill>
                  <a:schemeClr val="tx1">
                    <a:tint val="7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764" name="Text Placeholder 1">
            <a:extLst>
              <a:ext uri="{FF2B5EF4-FFF2-40B4-BE49-F238E27FC236}">
                <a16:creationId xmlns:a16="http://schemas.microsoft.com/office/drawing/2014/main" id="{A6BA5250-E836-4E8A-9D3F-846083D5DD4F}"/>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540575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1B5489-A617-4692-A291-0D0EF9B6BB72}"/>
              </a:ext>
            </a:extLst>
          </p:cNvPr>
          <p:cNvSpPr>
            <a:spLocks noGrp="1"/>
          </p:cNvSpPr>
          <p:nvPr>
            <p:ph sz="quarter" idx="13"/>
          </p:nvPr>
        </p:nvSpPr>
        <p:spPr/>
        <p:txBody>
          <a:bodyPr/>
          <a:lstStyle/>
          <a:p>
            <a:endParaRPr lang="en-US"/>
          </a:p>
        </p:txBody>
      </p:sp>
      <p:sp>
        <p:nvSpPr>
          <p:cNvPr id="3" name="Text Placeholder 2">
            <a:extLst>
              <a:ext uri="{FF2B5EF4-FFF2-40B4-BE49-F238E27FC236}">
                <a16:creationId xmlns:a16="http://schemas.microsoft.com/office/drawing/2014/main" id="{9F4056BA-4E6D-4A0E-90A3-AA768142362D}"/>
              </a:ext>
            </a:extLst>
          </p:cNvPr>
          <p:cNvSpPr>
            <a:spLocks noGrp="1"/>
          </p:cNvSpPr>
          <p:nvPr>
            <p:ph type="body" sz="quarter" idx="14"/>
          </p:nvPr>
        </p:nvSpPr>
        <p:spPr/>
        <p:txBody>
          <a:bodyPr/>
          <a:lstStyle/>
          <a:p>
            <a:endParaRPr lang="en-US"/>
          </a:p>
        </p:txBody>
      </p:sp>
      <p:sp>
        <p:nvSpPr>
          <p:cNvPr id="4" name="Title 1">
            <a:extLst>
              <a:ext uri="{FF2B5EF4-FFF2-40B4-BE49-F238E27FC236}">
                <a16:creationId xmlns:a16="http://schemas.microsoft.com/office/drawing/2014/main" id="{9F713F61-0A0F-4A26-A083-F17102D2819B}"/>
              </a:ext>
            </a:extLst>
          </p:cNvPr>
          <p:cNvSpPr>
            <a:spLocks noGrp="1"/>
          </p:cNvSpPr>
          <p:nvPr>
            <p:ph type="title"/>
          </p:nvPr>
        </p:nvSpPr>
        <p:spPr/>
        <p:txBody>
          <a:bodyPr>
            <a:normAutofit/>
          </a:bodyPr>
          <a:lstStyle/>
          <a:p>
            <a:r>
              <a:rPr lang="en-US" dirty="0"/>
              <a:t>Higher NT-proBNP = higher CV risk</a:t>
            </a:r>
            <a:endParaRPr lang="de-DE" dirty="0"/>
          </a:p>
        </p:txBody>
      </p:sp>
      <p:grpSp>
        <p:nvGrpSpPr>
          <p:cNvPr id="5" name="Group 4">
            <a:extLst>
              <a:ext uri="{FF2B5EF4-FFF2-40B4-BE49-F238E27FC236}">
                <a16:creationId xmlns:a16="http://schemas.microsoft.com/office/drawing/2014/main" id="{775781CF-D424-4373-B006-10CFF94927F1}"/>
              </a:ext>
            </a:extLst>
          </p:cNvPr>
          <p:cNvGrpSpPr>
            <a:grpSpLocks noChangeAspect="1"/>
          </p:cNvGrpSpPr>
          <p:nvPr/>
        </p:nvGrpSpPr>
        <p:grpSpPr>
          <a:xfrm>
            <a:off x="1103446" y="1691758"/>
            <a:ext cx="9726525" cy="4761509"/>
            <a:chOff x="1795332" y="1125650"/>
            <a:chExt cx="8247478" cy="5473299"/>
          </a:xfrm>
        </p:grpSpPr>
        <p:graphicFrame>
          <p:nvGraphicFramePr>
            <p:cNvPr id="6" name="Chart 5">
              <a:extLst>
                <a:ext uri="{FF2B5EF4-FFF2-40B4-BE49-F238E27FC236}">
                  <a16:creationId xmlns:a16="http://schemas.microsoft.com/office/drawing/2014/main" id="{CD3827D2-E413-4747-867D-FF8175244341}"/>
                </a:ext>
              </a:extLst>
            </p:cNvPr>
            <p:cNvGraphicFramePr/>
            <p:nvPr/>
          </p:nvGraphicFramePr>
          <p:xfrm>
            <a:off x="1795332" y="1172585"/>
            <a:ext cx="8128000" cy="5426364"/>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3B387EFC-6111-44ED-89D9-985D30B01B40}"/>
                </a:ext>
              </a:extLst>
            </p:cNvPr>
            <p:cNvGrpSpPr/>
            <p:nvPr/>
          </p:nvGrpSpPr>
          <p:grpSpPr>
            <a:xfrm>
              <a:off x="6044692" y="1125650"/>
              <a:ext cx="3998118" cy="3554801"/>
              <a:chOff x="6044692" y="1125650"/>
              <a:chExt cx="3998118" cy="3554801"/>
            </a:xfrm>
          </p:grpSpPr>
          <p:sp>
            <p:nvSpPr>
              <p:cNvPr id="8" name="TextBox 7">
                <a:extLst>
                  <a:ext uri="{FF2B5EF4-FFF2-40B4-BE49-F238E27FC236}">
                    <a16:creationId xmlns:a16="http://schemas.microsoft.com/office/drawing/2014/main" id="{1247AC12-69C6-458F-8C48-B30660BC9EC1}"/>
                  </a:ext>
                </a:extLst>
              </p:cNvPr>
              <p:cNvSpPr txBox="1"/>
              <p:nvPr/>
            </p:nvSpPr>
            <p:spPr>
              <a:xfrm>
                <a:off x="6044692" y="3502699"/>
                <a:ext cx="914400" cy="914401"/>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Calibri"/>
                    <a:ea typeface="+mn-ea"/>
                    <a:cs typeface="+mn-cs"/>
                  </a:rPr>
                  <a:t>PARADIGM-HF</a:t>
                </a:r>
                <a:r>
                  <a:rPr kumimoji="0" lang="en-GB" sz="1600" b="1" i="0" u="none" strike="noStrike" kern="1200" cap="none" spc="0" normalizeH="0" baseline="30000" noProof="0">
                    <a:ln>
                      <a:noFill/>
                    </a:ln>
                    <a:solidFill>
                      <a:prstClr val="black"/>
                    </a:solidFill>
                    <a:effectLst/>
                    <a:uLnTx/>
                    <a:uFillTx/>
                    <a:latin typeface="Calibri"/>
                    <a:ea typeface="+mn-ea"/>
                    <a:cs typeface="+mn-cs"/>
                  </a:rPr>
                  <a:t>1</a:t>
                </a:r>
                <a:endParaRPr kumimoji="0" lang="en-GB" sz="1600" b="1"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BC61C242-C774-4594-89E2-991D9BC6EDA8}"/>
                  </a:ext>
                </a:extLst>
              </p:cNvPr>
              <p:cNvSpPr txBox="1"/>
              <p:nvPr/>
            </p:nvSpPr>
            <p:spPr>
              <a:xfrm>
                <a:off x="6429784" y="3766052"/>
                <a:ext cx="914400" cy="914399"/>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Calibri"/>
                    <a:ea typeface="+mn-ea"/>
                    <a:cs typeface="+mn-cs"/>
                  </a:rPr>
                  <a:t>DAPA-HF</a:t>
                </a:r>
                <a:r>
                  <a:rPr kumimoji="0" lang="en-GB" sz="1600" b="1" i="0" u="none" strike="noStrike" kern="1200" cap="none" spc="0" normalizeH="0" baseline="30000" noProof="0">
                    <a:ln>
                      <a:noFill/>
                    </a:ln>
                    <a:solidFill>
                      <a:prstClr val="black"/>
                    </a:solidFill>
                    <a:effectLst/>
                    <a:uLnTx/>
                    <a:uFillTx/>
                    <a:latin typeface="Calibri"/>
                    <a:ea typeface="+mn-ea"/>
                    <a:cs typeface="+mn-cs"/>
                  </a:rPr>
                  <a:t>1</a:t>
                </a:r>
              </a:p>
            </p:txBody>
          </p:sp>
          <p:sp>
            <p:nvSpPr>
              <p:cNvPr id="10" name="TextBox 9">
                <a:extLst>
                  <a:ext uri="{FF2B5EF4-FFF2-40B4-BE49-F238E27FC236}">
                    <a16:creationId xmlns:a16="http://schemas.microsoft.com/office/drawing/2014/main" id="{230883DB-D1CB-4F82-96BC-44604DEF9992}"/>
                  </a:ext>
                </a:extLst>
              </p:cNvPr>
              <p:cNvSpPr txBox="1"/>
              <p:nvPr/>
            </p:nvSpPr>
            <p:spPr>
              <a:xfrm>
                <a:off x="7112678" y="2944401"/>
                <a:ext cx="914400" cy="914401"/>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a:ea typeface="+mn-ea"/>
                    <a:cs typeface="+mn-cs"/>
                  </a:rPr>
                  <a:t>EMPEROR-Reduced</a:t>
                </a:r>
                <a:r>
                  <a:rPr kumimoji="0" lang="en-GB" sz="1600" b="1" i="0" u="none" strike="noStrike" kern="1200" cap="none" spc="0" normalizeH="0" baseline="30000" noProof="0" dirty="0">
                    <a:ln>
                      <a:noFill/>
                    </a:ln>
                    <a:solidFill>
                      <a:prstClr val="black"/>
                    </a:solidFill>
                    <a:effectLst/>
                    <a:uLnTx/>
                    <a:uFillTx/>
                    <a:latin typeface="Calibri"/>
                    <a:ea typeface="+mn-ea"/>
                    <a:cs typeface="+mn-cs"/>
                  </a:rPr>
                  <a:t>1</a:t>
                </a:r>
                <a:endParaRPr kumimoji="0" lang="en-GB"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F355ECC-94ED-4E0B-A954-C64258238FAC}"/>
                  </a:ext>
                </a:extLst>
              </p:cNvPr>
              <p:cNvSpPr txBox="1"/>
              <p:nvPr/>
            </p:nvSpPr>
            <p:spPr>
              <a:xfrm>
                <a:off x="7313114" y="2377692"/>
                <a:ext cx="914400" cy="914401"/>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a:ea typeface="+mn-ea"/>
                    <a:cs typeface="+mn-cs"/>
                  </a:rPr>
                  <a:t>GALACTIC-HF</a:t>
                </a:r>
                <a:r>
                  <a:rPr kumimoji="0" lang="en-GB" sz="1600" b="1" i="0" u="none" strike="noStrike" kern="1200" cap="none" spc="0" normalizeH="0" baseline="30000" noProof="0" dirty="0">
                    <a:ln>
                      <a:noFill/>
                    </a:ln>
                    <a:solidFill>
                      <a:prstClr val="black"/>
                    </a:solidFill>
                    <a:effectLst/>
                    <a:uLnTx/>
                    <a:uFillTx/>
                    <a:latin typeface="Calibri"/>
                    <a:ea typeface="+mn-ea"/>
                    <a:cs typeface="+mn-cs"/>
                  </a:rPr>
                  <a:t>2,3</a:t>
                </a:r>
                <a:endParaRPr kumimoji="0" lang="en-GB"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123E8BC2-1EC7-46D6-A518-8C76E75B4054}"/>
                  </a:ext>
                </a:extLst>
              </p:cNvPr>
              <p:cNvSpPr txBox="1"/>
              <p:nvPr/>
            </p:nvSpPr>
            <p:spPr>
              <a:xfrm>
                <a:off x="9128410" y="1125650"/>
                <a:ext cx="914400" cy="914399"/>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Calibri"/>
                    <a:ea typeface="+mn-ea"/>
                    <a:cs typeface="+mn-cs"/>
                  </a:rPr>
                  <a:t> VICTORIA</a:t>
                </a:r>
                <a:r>
                  <a:rPr kumimoji="0" lang="en-GB" sz="1600" b="1" i="0" u="none" strike="noStrike" kern="1200" cap="none" spc="0" normalizeH="0" baseline="30000" noProof="0">
                    <a:ln>
                      <a:noFill/>
                    </a:ln>
                    <a:solidFill>
                      <a:prstClr val="black"/>
                    </a:solidFill>
                    <a:effectLst/>
                    <a:uLnTx/>
                    <a:uFillTx/>
                    <a:latin typeface="Calibri"/>
                    <a:ea typeface="+mn-ea"/>
                    <a:cs typeface="+mn-cs"/>
                  </a:rPr>
                  <a:t>1</a:t>
                </a:r>
                <a:endParaRPr kumimoji="0" lang="en-GB" sz="1600" b="1"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3" name="TextBox 12">
            <a:extLst>
              <a:ext uri="{FF2B5EF4-FFF2-40B4-BE49-F238E27FC236}">
                <a16:creationId xmlns:a16="http://schemas.microsoft.com/office/drawing/2014/main" id="{FD00A59C-8A09-4661-84B7-3DB131161686}"/>
              </a:ext>
            </a:extLst>
          </p:cNvPr>
          <p:cNvSpPr txBox="1"/>
          <p:nvPr/>
        </p:nvSpPr>
        <p:spPr>
          <a:xfrm>
            <a:off x="-23953" y="6558918"/>
            <a:ext cx="8915400" cy="209279"/>
          </a:xfrm>
          <a:prstGeom prst="rect">
            <a:avLst/>
          </a:prstGeom>
        </p:spPr>
        <p:txBody>
          <a:bodyPr vert="horz" wrap="square" lIns="91440" tIns="45720" rIns="91440" bIns="45720" rtlCol="0">
            <a:no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CV, cardiovascular; HFrEF, heart failure with reduced ejection fraction; NT-</a:t>
            </a:r>
            <a:r>
              <a:rPr kumimoji="0" lang="en-US" sz="900" b="0" i="0" u="none" strike="noStrike" kern="1200" cap="none" spc="0" normalizeH="0" baseline="0" noProof="0" dirty="0" err="1">
                <a:ln>
                  <a:noFill/>
                </a:ln>
                <a:solidFill>
                  <a:srgbClr val="53585A"/>
                </a:solidFill>
                <a:effectLst/>
                <a:uLnTx/>
                <a:uFillTx/>
                <a:latin typeface="Arial" panose="020B0604020202020204"/>
                <a:ea typeface="MS PGothic" charset="0"/>
                <a:cs typeface="+mn-cs"/>
              </a:rPr>
              <a:t>proBNP</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N-terminal pro-B-type natriuretic peptide.</a:t>
            </a:r>
            <a:b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br>
            <a:r>
              <a:rPr kumimoji="0" lang="en-US" sz="900" b="0" i="0" u="none" strike="noStrike" kern="1200" cap="none" spc="0" normalizeH="0" baseline="0" noProof="0" dirty="0">
                <a:ln>
                  <a:noFill/>
                </a:ln>
                <a:solidFill>
                  <a:prstClr val="black"/>
                </a:solidFill>
                <a:effectLst/>
                <a:uLnTx/>
                <a:uFillTx/>
                <a:latin typeface="Calibri"/>
                <a:ea typeface="+mn-ea"/>
                <a:cs typeface="+mn-cs"/>
              </a:rPr>
              <a:t>1. Butler J et al. </a:t>
            </a:r>
            <a:r>
              <a:rPr kumimoji="0" lang="en-US" sz="900" b="0" i="1" u="none" strike="noStrike" kern="1200" cap="none" spc="0" normalizeH="0" baseline="0" noProof="0" dirty="0">
                <a:ln>
                  <a:noFill/>
                </a:ln>
                <a:solidFill>
                  <a:prstClr val="black"/>
                </a:solidFill>
                <a:effectLst/>
                <a:uLnTx/>
                <a:uFillTx/>
                <a:latin typeface="Calibri"/>
                <a:ea typeface="+mn-ea"/>
                <a:cs typeface="+mn-cs"/>
              </a:rPr>
              <a:t>Eur J Heart Fail. </a:t>
            </a:r>
            <a:r>
              <a:rPr kumimoji="0" lang="en-US" sz="900" b="0" i="0" u="none" strike="noStrike" kern="1200" cap="none" spc="0" normalizeH="0" baseline="0" noProof="0" dirty="0">
                <a:ln>
                  <a:noFill/>
                </a:ln>
                <a:solidFill>
                  <a:prstClr val="black"/>
                </a:solidFill>
                <a:effectLst/>
                <a:uLnTx/>
                <a:uFillTx/>
                <a:latin typeface="Calibri"/>
                <a:ea typeface="+mn-ea"/>
                <a:cs typeface="+mn-cs"/>
              </a:rPr>
              <a:t>2020;22:1991</a:t>
            </a:r>
            <a:r>
              <a:rPr kumimoji="0" lang="en-GB" sz="900" b="0" i="0" u="none" strike="noStrike" kern="1200" cap="none" spc="0" normalizeH="0" baseline="0" noProof="0" dirty="0">
                <a:ln>
                  <a:noFill/>
                </a:ln>
                <a:solidFill>
                  <a:prstClr val="black"/>
                </a:solidFill>
                <a:effectLst/>
                <a:uLnTx/>
                <a:uFillTx/>
                <a:latin typeface="Calibri"/>
                <a:ea typeface="+mn-ea"/>
                <a:cs typeface="+mn-cs"/>
              </a:rPr>
              <a:t>–</a:t>
            </a:r>
            <a:r>
              <a:rPr kumimoji="0" lang="en-US" sz="900" b="0" i="0" u="none" strike="noStrike" kern="1200" cap="none" spc="0" normalizeH="0" baseline="0" noProof="0" dirty="0">
                <a:ln>
                  <a:noFill/>
                </a:ln>
                <a:solidFill>
                  <a:prstClr val="black"/>
                </a:solidFill>
                <a:effectLst/>
                <a:uLnTx/>
                <a:uFillTx/>
                <a:latin typeface="Calibri"/>
                <a:ea typeface="+mn-ea"/>
                <a:cs typeface="+mn-cs"/>
              </a:rPr>
              <a:t>1993; 2. </a:t>
            </a:r>
            <a:r>
              <a:rPr kumimoji="0" lang="en-GB" sz="900" b="0" i="0" u="none" strike="noStrike" kern="1200" cap="none" spc="0" normalizeH="0" baseline="0" noProof="0" dirty="0" err="1">
                <a:ln>
                  <a:noFill/>
                </a:ln>
                <a:solidFill>
                  <a:srgbClr val="53585A"/>
                </a:solidFill>
                <a:effectLst/>
                <a:uLnTx/>
                <a:uFillTx/>
                <a:latin typeface="Calibri"/>
                <a:ea typeface="MS PGothic" charset="0"/>
                <a:cs typeface="+mn-cs"/>
              </a:rPr>
              <a:t>Teerlink</a:t>
            </a:r>
            <a:r>
              <a:rPr kumimoji="0" lang="en-GB" sz="900" b="0" i="0" u="none" strike="noStrike" kern="1200" cap="none" spc="0" normalizeH="0" baseline="0" noProof="0" dirty="0">
                <a:ln>
                  <a:noFill/>
                </a:ln>
                <a:solidFill>
                  <a:srgbClr val="53585A"/>
                </a:solidFill>
                <a:effectLst/>
                <a:uLnTx/>
                <a:uFillTx/>
                <a:latin typeface="Calibri"/>
                <a:ea typeface="MS PGothic" charset="0"/>
                <a:cs typeface="+mn-cs"/>
              </a:rPr>
              <a:t> JR et al. </a:t>
            </a:r>
            <a:r>
              <a:rPr kumimoji="0" lang="en-GB" sz="900" b="0" i="1" u="none" strike="noStrike" kern="1200" cap="none" spc="0" normalizeH="0" baseline="0" noProof="0" dirty="0">
                <a:ln>
                  <a:noFill/>
                </a:ln>
                <a:solidFill>
                  <a:srgbClr val="53585A"/>
                </a:solidFill>
                <a:effectLst/>
                <a:uLnTx/>
                <a:uFillTx/>
                <a:latin typeface="Calibri"/>
                <a:ea typeface="MS PGothic" charset="0"/>
                <a:cs typeface="+mn-cs"/>
              </a:rPr>
              <a:t>N </a:t>
            </a:r>
            <a:r>
              <a:rPr kumimoji="0" lang="en-GB" sz="900" b="0" i="1" u="none" strike="noStrike" kern="1200" cap="none" spc="0" normalizeH="0" baseline="0" noProof="0" dirty="0" err="1">
                <a:ln>
                  <a:noFill/>
                </a:ln>
                <a:solidFill>
                  <a:srgbClr val="53585A"/>
                </a:solidFill>
                <a:effectLst/>
                <a:uLnTx/>
                <a:uFillTx/>
                <a:latin typeface="Calibri"/>
                <a:ea typeface="MS PGothic" charset="0"/>
                <a:cs typeface="+mn-cs"/>
              </a:rPr>
              <a:t>Engl</a:t>
            </a:r>
            <a:r>
              <a:rPr kumimoji="0" lang="en-GB" sz="900" b="0" i="1" u="none" strike="noStrike" kern="1200" cap="none" spc="0" normalizeH="0" baseline="0" noProof="0" dirty="0">
                <a:ln>
                  <a:noFill/>
                </a:ln>
                <a:solidFill>
                  <a:srgbClr val="53585A"/>
                </a:solidFill>
                <a:effectLst/>
                <a:uLnTx/>
                <a:uFillTx/>
                <a:latin typeface="Calibri"/>
                <a:ea typeface="MS PGothic" charset="0"/>
                <a:cs typeface="+mn-cs"/>
              </a:rPr>
              <a:t> J Med. </a:t>
            </a:r>
            <a:r>
              <a:rPr kumimoji="0" lang="en-GB" sz="900" b="0" i="0" u="none" strike="noStrike" kern="1200" cap="none" spc="0" normalizeH="0" baseline="0" noProof="0" dirty="0">
                <a:ln>
                  <a:noFill/>
                </a:ln>
                <a:solidFill>
                  <a:srgbClr val="53585A"/>
                </a:solidFill>
                <a:effectLst/>
                <a:uLnTx/>
                <a:uFillTx/>
                <a:latin typeface="Calibri"/>
                <a:ea typeface="MS PGothic" charset="0"/>
                <a:cs typeface="+mn-cs"/>
              </a:rPr>
              <a:t>2021;384:105–116; 3. </a:t>
            </a:r>
            <a:r>
              <a:rPr kumimoji="0" lang="en-GB" sz="900" b="0" i="0" u="none" strike="noStrike" kern="1200" cap="none" spc="0" normalizeH="0" baseline="0" noProof="0" dirty="0" err="1">
                <a:ln>
                  <a:noFill/>
                </a:ln>
                <a:solidFill>
                  <a:srgbClr val="53585A"/>
                </a:solidFill>
                <a:effectLst/>
                <a:uLnTx/>
                <a:uFillTx/>
                <a:latin typeface="Calibri"/>
                <a:ea typeface="MS PGothic" charset="0"/>
                <a:cs typeface="+mn-cs"/>
              </a:rPr>
              <a:t>Teerlink</a:t>
            </a:r>
            <a:r>
              <a:rPr kumimoji="0" lang="en-GB" sz="900" b="0" i="0" u="none" strike="noStrike" kern="1200" cap="none" spc="0" normalizeH="0" baseline="0" noProof="0" dirty="0">
                <a:ln>
                  <a:noFill/>
                </a:ln>
                <a:solidFill>
                  <a:srgbClr val="53585A"/>
                </a:solidFill>
                <a:effectLst/>
                <a:uLnTx/>
                <a:uFillTx/>
                <a:latin typeface="Calibri"/>
                <a:ea typeface="MS PGothic" charset="0"/>
                <a:cs typeface="+mn-cs"/>
              </a:rPr>
              <a:t> JR et al. </a:t>
            </a:r>
            <a:r>
              <a:rPr kumimoji="0" lang="en-US" sz="900" b="0" i="1" u="none" strike="noStrike" kern="1200" cap="none" spc="0" normalizeH="0" baseline="0" noProof="0" dirty="0">
                <a:ln>
                  <a:noFill/>
                </a:ln>
                <a:solidFill>
                  <a:prstClr val="black"/>
                </a:solidFill>
                <a:effectLst/>
                <a:uLnTx/>
                <a:uFillTx/>
                <a:latin typeface="Calibri"/>
                <a:ea typeface="+mn-ea"/>
                <a:cs typeface="+mn-cs"/>
              </a:rPr>
              <a:t>Eur J Heart Fail. </a:t>
            </a:r>
            <a:r>
              <a:rPr kumimoji="0" lang="en-US" sz="900" b="0" i="0" u="none" strike="noStrike" kern="1200" cap="none" spc="0" normalizeH="0" baseline="0" noProof="0" dirty="0">
                <a:ln>
                  <a:noFill/>
                </a:ln>
                <a:solidFill>
                  <a:prstClr val="black"/>
                </a:solidFill>
                <a:effectLst/>
                <a:uLnTx/>
                <a:uFillTx/>
                <a:latin typeface="Calibri"/>
                <a:ea typeface="+mn-ea"/>
                <a:cs typeface="+mn-cs"/>
              </a:rPr>
              <a:t>2020;22:2160</a:t>
            </a:r>
            <a:r>
              <a:rPr kumimoji="0" lang="en-GB" sz="900" b="0" i="0" u="none" strike="noStrike" kern="1200" cap="none" spc="0" normalizeH="0" baseline="0" noProof="0" dirty="0">
                <a:ln>
                  <a:noFill/>
                </a:ln>
                <a:solidFill>
                  <a:prstClr val="black"/>
                </a:solidFill>
                <a:effectLst/>
                <a:uLnTx/>
                <a:uFillTx/>
                <a:latin typeface="Calibri"/>
                <a:ea typeface="+mn-ea"/>
                <a:cs typeface="+mn-cs"/>
              </a:rPr>
              <a:t>–</a:t>
            </a:r>
            <a:r>
              <a:rPr kumimoji="0" lang="en-US" sz="900" b="0" i="0" u="none" strike="noStrike" kern="1200" cap="none" spc="0" normalizeH="0" baseline="0" noProof="0" dirty="0">
                <a:ln>
                  <a:noFill/>
                </a:ln>
                <a:solidFill>
                  <a:prstClr val="black"/>
                </a:solidFill>
                <a:effectLst/>
                <a:uLnTx/>
                <a:uFillTx/>
                <a:latin typeface="Calibri"/>
                <a:ea typeface="+mn-ea"/>
                <a:cs typeface="+mn-cs"/>
              </a:rPr>
              <a:t>2171.</a:t>
            </a:r>
            <a:endParaRPr kumimoji="0" lang="en-GB" sz="900" b="0" i="0" u="none" strike="noStrike" kern="1200" cap="none" spc="0" normalizeH="0" baseline="0" noProof="0" dirty="0">
              <a:ln>
                <a:noFill/>
              </a:ln>
              <a:solidFill>
                <a:srgbClr val="53585A"/>
              </a:solidFill>
              <a:effectLst/>
              <a:uLnTx/>
              <a:uFillTx/>
              <a:latin typeface="Calibri"/>
              <a:ea typeface="MS PGothic" charset="0"/>
              <a:cs typeface="+mn-cs"/>
            </a:endParaRPr>
          </a:p>
          <a:p>
            <a:pPr marL="0" marR="0" lvl="0" indent="0" algn="l" defTabSz="1219170" rtl="0" eaLnBrk="1" fontAlgn="auto" latinLnBrk="0" hangingPunct="1">
              <a:lnSpc>
                <a:spcPct val="100000"/>
              </a:lnSpc>
              <a:spcBef>
                <a:spcPts val="60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Text Placeholder 1">
            <a:extLst>
              <a:ext uri="{FF2B5EF4-FFF2-40B4-BE49-F238E27FC236}">
                <a16:creationId xmlns:a16="http://schemas.microsoft.com/office/drawing/2014/main" id="{EAC6A0B9-2F51-4F71-B0E0-40BC4E14CF88}"/>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775597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40EA9FA-7AC1-4E32-8B42-2E91E1741A36}"/>
              </a:ext>
            </a:extLst>
          </p:cNvPr>
          <p:cNvSpPr>
            <a:spLocks noGrp="1"/>
          </p:cNvSpPr>
          <p:nvPr>
            <p:ph type="body" sz="quarter" idx="14"/>
          </p:nvPr>
        </p:nvSpPr>
        <p:spPr/>
        <p:txBody>
          <a:bodyPr/>
          <a:lstStyle/>
          <a:p>
            <a:r>
              <a:rPr lang="en-US"/>
              <a:t>Treatment effect of vericiguat on primary outcome by NT-</a:t>
            </a:r>
            <a:r>
              <a:rPr lang="en-US" err="1"/>
              <a:t>proBNP</a:t>
            </a:r>
            <a:r>
              <a:rPr lang="en-US"/>
              <a:t> at randomization</a:t>
            </a:r>
            <a:r>
              <a:rPr lang="en-US" baseline="30000"/>
              <a:t>1</a:t>
            </a:r>
            <a:endParaRPr lang="en-GB" baseline="30000"/>
          </a:p>
        </p:txBody>
      </p:sp>
      <p:sp>
        <p:nvSpPr>
          <p:cNvPr id="10" name="Title 9">
            <a:extLst>
              <a:ext uri="{FF2B5EF4-FFF2-40B4-BE49-F238E27FC236}">
                <a16:creationId xmlns:a16="http://schemas.microsoft.com/office/drawing/2014/main" id="{36D54CFC-5FEE-4D1B-B6B6-B5101CD7DDE3}"/>
              </a:ext>
            </a:extLst>
          </p:cNvPr>
          <p:cNvSpPr>
            <a:spLocks noGrp="1"/>
          </p:cNvSpPr>
          <p:nvPr>
            <p:ph type="title"/>
          </p:nvPr>
        </p:nvSpPr>
        <p:spPr/>
        <p:txBody>
          <a:bodyPr>
            <a:normAutofit/>
          </a:bodyPr>
          <a:lstStyle/>
          <a:p>
            <a:r>
              <a:rPr lang="en-GB" sz="2400" noProof="0" dirty="0"/>
              <a:t>Benefit of vericiguat </a:t>
            </a:r>
            <a:r>
              <a:rPr lang="en-GB" sz="2400" dirty="0"/>
              <a:t>w</a:t>
            </a:r>
            <a:r>
              <a:rPr lang="en-GB" sz="2400" noProof="0" dirty="0"/>
              <a:t>as </a:t>
            </a:r>
            <a:r>
              <a:rPr lang="en-GB" sz="2400" dirty="0"/>
              <a:t>p</a:t>
            </a:r>
            <a:r>
              <a:rPr lang="en-GB" sz="2400" noProof="0" dirty="0"/>
              <a:t>reserved in patients with NT‑</a:t>
            </a:r>
            <a:r>
              <a:rPr lang="en-GB" sz="2400" noProof="0" dirty="0" err="1"/>
              <a:t>proBNP</a:t>
            </a:r>
            <a:r>
              <a:rPr lang="en-GB" sz="2400" noProof="0" dirty="0"/>
              <a:t> levels </a:t>
            </a:r>
            <a:r>
              <a:rPr lang="en-GB" sz="2400" dirty="0"/>
              <a:t>u</a:t>
            </a:r>
            <a:r>
              <a:rPr lang="en-GB" sz="2400" noProof="0" dirty="0"/>
              <a:t>p to 8,000 </a:t>
            </a:r>
            <a:r>
              <a:rPr lang="en-GB" sz="2400" noProof="0" dirty="0" err="1"/>
              <a:t>pg</a:t>
            </a:r>
            <a:r>
              <a:rPr lang="en-GB" sz="2400" noProof="0" dirty="0"/>
              <a:t>/ml</a:t>
            </a:r>
            <a:r>
              <a:rPr lang="en-GB" sz="2400" baseline="30000" noProof="0" dirty="0"/>
              <a:t>1,2</a:t>
            </a:r>
            <a:endParaRPr lang="en-GB" dirty="0"/>
          </a:p>
        </p:txBody>
      </p:sp>
      <p:grpSp>
        <p:nvGrpSpPr>
          <p:cNvPr id="162" name="Group 161">
            <a:extLst>
              <a:ext uri="{FF2B5EF4-FFF2-40B4-BE49-F238E27FC236}">
                <a16:creationId xmlns:a16="http://schemas.microsoft.com/office/drawing/2014/main" id="{53323F68-EEF1-46F2-B87A-C17FFC607ABB}"/>
              </a:ext>
            </a:extLst>
          </p:cNvPr>
          <p:cNvGrpSpPr/>
          <p:nvPr/>
        </p:nvGrpSpPr>
        <p:grpSpPr>
          <a:xfrm>
            <a:off x="596709" y="1762683"/>
            <a:ext cx="7365930" cy="3976414"/>
            <a:chOff x="457683" y="2007907"/>
            <a:chExt cx="7365930" cy="3976414"/>
          </a:xfrm>
        </p:grpSpPr>
        <p:sp>
          <p:nvSpPr>
            <p:cNvPr id="163" name="TextBox 162">
              <a:extLst>
                <a:ext uri="{FF2B5EF4-FFF2-40B4-BE49-F238E27FC236}">
                  <a16:creationId xmlns:a16="http://schemas.microsoft.com/office/drawing/2014/main" id="{64622FEC-DB54-49FB-90B3-155BACE3E4FB}"/>
                </a:ext>
              </a:extLst>
            </p:cNvPr>
            <p:cNvSpPr txBox="1"/>
            <p:nvPr/>
          </p:nvSpPr>
          <p:spPr>
            <a:xfrm>
              <a:off x="2936103" y="5738100"/>
              <a:ext cx="2470549" cy="246221"/>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Arial"/>
                  <a:ea typeface="+mn-ea"/>
                  <a:cs typeface="+mn-cs"/>
                </a:rPr>
                <a:t>NT-proBNP at randomization (pg/ml)</a:t>
              </a:r>
            </a:p>
          </p:txBody>
        </p:sp>
        <p:sp>
          <p:nvSpPr>
            <p:cNvPr id="164" name="TextBox 163">
              <a:extLst>
                <a:ext uri="{FF2B5EF4-FFF2-40B4-BE49-F238E27FC236}">
                  <a16:creationId xmlns:a16="http://schemas.microsoft.com/office/drawing/2014/main" id="{66638D95-56B3-4313-A5EF-E9A46445330D}"/>
                </a:ext>
              </a:extLst>
            </p:cNvPr>
            <p:cNvSpPr txBox="1"/>
            <p:nvPr/>
          </p:nvSpPr>
          <p:spPr>
            <a:xfrm rot="16200000">
              <a:off x="-584748" y="4143665"/>
              <a:ext cx="2484971" cy="400110"/>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Arial"/>
                  <a:ea typeface="+mn-ea"/>
                  <a:cs typeface="+mn-cs"/>
                </a:rPr>
                <a:t>Treatment effect (vericiguat/placebo), HR (95% CI)</a:t>
              </a:r>
            </a:p>
          </p:txBody>
        </p:sp>
        <p:grpSp>
          <p:nvGrpSpPr>
            <p:cNvPr id="166" name="Group 165">
              <a:extLst>
                <a:ext uri="{FF2B5EF4-FFF2-40B4-BE49-F238E27FC236}">
                  <a16:creationId xmlns:a16="http://schemas.microsoft.com/office/drawing/2014/main" id="{55690B24-FE2D-4D71-A5F8-B0AAC54AA4E8}"/>
                </a:ext>
              </a:extLst>
            </p:cNvPr>
            <p:cNvGrpSpPr/>
            <p:nvPr/>
          </p:nvGrpSpPr>
          <p:grpSpPr>
            <a:xfrm>
              <a:off x="1085481" y="3090194"/>
              <a:ext cx="6191524" cy="2469142"/>
              <a:chOff x="2984657" y="1328837"/>
              <a:chExt cx="6191524" cy="2627583"/>
            </a:xfrm>
          </p:grpSpPr>
          <p:sp>
            <p:nvSpPr>
              <p:cNvPr id="263" name="Rectangle 1">
                <a:extLst>
                  <a:ext uri="{FF2B5EF4-FFF2-40B4-BE49-F238E27FC236}">
                    <a16:creationId xmlns:a16="http://schemas.microsoft.com/office/drawing/2014/main" id="{BD36F15E-3046-4EF9-A8A8-B115A9ED1A02}"/>
                  </a:ext>
                </a:extLst>
              </p:cNvPr>
              <p:cNvSpPr/>
              <p:nvPr/>
            </p:nvSpPr>
            <p:spPr>
              <a:xfrm>
                <a:off x="3037142" y="1328837"/>
                <a:ext cx="6093441" cy="2604792"/>
              </a:xfrm>
              <a:custGeom>
                <a:avLst/>
                <a:gdLst>
                  <a:gd name="connsiteX0" fmla="*/ 0 w 3816350"/>
                  <a:gd name="connsiteY0" fmla="*/ 0 h 3657599"/>
                  <a:gd name="connsiteX1" fmla="*/ 3816350 w 3816350"/>
                  <a:gd name="connsiteY1" fmla="*/ 0 h 3657599"/>
                  <a:gd name="connsiteX2" fmla="*/ 3816350 w 3816350"/>
                  <a:gd name="connsiteY2" fmla="*/ 3657599 h 3657599"/>
                  <a:gd name="connsiteX3" fmla="*/ 0 w 3816350"/>
                  <a:gd name="connsiteY3" fmla="*/ 3657599 h 3657599"/>
                  <a:gd name="connsiteX4" fmla="*/ 0 w 3816350"/>
                  <a:gd name="connsiteY4" fmla="*/ 0 h 3657599"/>
                  <a:gd name="connsiteX0" fmla="*/ 3816350 w 3907790"/>
                  <a:gd name="connsiteY0" fmla="*/ 0 h 3657599"/>
                  <a:gd name="connsiteX1" fmla="*/ 3816350 w 3907790"/>
                  <a:gd name="connsiteY1" fmla="*/ 3657599 h 3657599"/>
                  <a:gd name="connsiteX2" fmla="*/ 0 w 3907790"/>
                  <a:gd name="connsiteY2" fmla="*/ 3657599 h 3657599"/>
                  <a:gd name="connsiteX3" fmla="*/ 0 w 3907790"/>
                  <a:gd name="connsiteY3" fmla="*/ 0 h 3657599"/>
                  <a:gd name="connsiteX4" fmla="*/ 3907790 w 3907790"/>
                  <a:gd name="connsiteY4" fmla="*/ 91440 h 3657599"/>
                  <a:gd name="connsiteX0" fmla="*/ 3816350 w 3816350"/>
                  <a:gd name="connsiteY0" fmla="*/ 0 h 3657599"/>
                  <a:gd name="connsiteX1" fmla="*/ 3816350 w 3816350"/>
                  <a:gd name="connsiteY1" fmla="*/ 3657599 h 3657599"/>
                  <a:gd name="connsiteX2" fmla="*/ 0 w 3816350"/>
                  <a:gd name="connsiteY2" fmla="*/ 3657599 h 3657599"/>
                  <a:gd name="connsiteX3" fmla="*/ 0 w 3816350"/>
                  <a:gd name="connsiteY3" fmla="*/ 0 h 3657599"/>
                </a:gdLst>
                <a:ahLst/>
                <a:cxnLst>
                  <a:cxn ang="0">
                    <a:pos x="connsiteX0" y="connsiteY0"/>
                  </a:cxn>
                  <a:cxn ang="0">
                    <a:pos x="connsiteX1" y="connsiteY1"/>
                  </a:cxn>
                  <a:cxn ang="0">
                    <a:pos x="connsiteX2" y="connsiteY2"/>
                  </a:cxn>
                  <a:cxn ang="0">
                    <a:pos x="connsiteX3" y="connsiteY3"/>
                  </a:cxn>
                </a:cxnLst>
                <a:rect l="l" t="t" r="r" b="b"/>
                <a:pathLst>
                  <a:path w="3816350" h="3657599">
                    <a:moveTo>
                      <a:pt x="3816350" y="0"/>
                    </a:moveTo>
                    <a:lnTo>
                      <a:pt x="3816350" y="3657599"/>
                    </a:lnTo>
                    <a:lnTo>
                      <a:pt x="0" y="3657599"/>
                    </a:lnTo>
                    <a:lnTo>
                      <a:pt x="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264" name="Straight Connector 263">
                <a:extLst>
                  <a:ext uri="{FF2B5EF4-FFF2-40B4-BE49-F238E27FC236}">
                    <a16:creationId xmlns:a16="http://schemas.microsoft.com/office/drawing/2014/main" id="{B1114410-CC1A-46E6-B0C4-8C3D37A2E90E}"/>
                  </a:ext>
                </a:extLst>
              </p:cNvPr>
              <p:cNvCxnSpPr/>
              <p:nvPr/>
            </p:nvCxnSpPr>
            <p:spPr>
              <a:xfrm>
                <a:off x="2984657" y="1378696"/>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B63B7BCF-42E9-4362-A753-9CF785B4A35D}"/>
                  </a:ext>
                </a:extLst>
              </p:cNvPr>
              <p:cNvCxnSpPr/>
              <p:nvPr/>
            </p:nvCxnSpPr>
            <p:spPr>
              <a:xfrm>
                <a:off x="2987038" y="1799309"/>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2D092D6A-06C4-4306-BE04-307BF2D23A8F}"/>
                  </a:ext>
                </a:extLst>
              </p:cNvPr>
              <p:cNvCxnSpPr/>
              <p:nvPr/>
            </p:nvCxnSpPr>
            <p:spPr>
              <a:xfrm>
                <a:off x="2987038" y="2224348"/>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84874BFE-361A-484E-B7E9-97E09E8D5067}"/>
                  </a:ext>
                </a:extLst>
              </p:cNvPr>
              <p:cNvCxnSpPr/>
              <p:nvPr/>
            </p:nvCxnSpPr>
            <p:spPr>
              <a:xfrm>
                <a:off x="2987038" y="2647342"/>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F7D7F469-CDF5-422B-89DC-2B269613DD71}"/>
                  </a:ext>
                </a:extLst>
              </p:cNvPr>
              <p:cNvCxnSpPr/>
              <p:nvPr/>
            </p:nvCxnSpPr>
            <p:spPr>
              <a:xfrm>
                <a:off x="2987038" y="3491912"/>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0E59DF81-85DF-4A6E-8E0E-D38816117AA2}"/>
                  </a:ext>
                </a:extLst>
              </p:cNvPr>
              <p:cNvCxnSpPr/>
              <p:nvPr/>
            </p:nvCxnSpPr>
            <p:spPr>
              <a:xfrm>
                <a:off x="9126969" y="1377377"/>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73A1777B-7267-44FC-81A6-8E8EAFCD652D}"/>
                  </a:ext>
                </a:extLst>
              </p:cNvPr>
              <p:cNvCxnSpPr/>
              <p:nvPr/>
            </p:nvCxnSpPr>
            <p:spPr>
              <a:xfrm>
                <a:off x="9126969" y="1799309"/>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C781E6A0-F23A-4B79-B747-A27F9DE99129}"/>
                  </a:ext>
                </a:extLst>
              </p:cNvPr>
              <p:cNvCxnSpPr/>
              <p:nvPr/>
            </p:nvCxnSpPr>
            <p:spPr>
              <a:xfrm>
                <a:off x="9126969" y="2221966"/>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C7FCA0EF-D511-4956-A249-8D297FB73920}"/>
                  </a:ext>
                </a:extLst>
              </p:cNvPr>
              <p:cNvCxnSpPr/>
              <p:nvPr/>
            </p:nvCxnSpPr>
            <p:spPr>
              <a:xfrm>
                <a:off x="9126969" y="2647344"/>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08CE60C-AB39-4BF1-B140-F00576981C15}"/>
                  </a:ext>
                </a:extLst>
              </p:cNvPr>
              <p:cNvCxnSpPr/>
              <p:nvPr/>
            </p:nvCxnSpPr>
            <p:spPr>
              <a:xfrm>
                <a:off x="9126969" y="3489531"/>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3A68F9A-A779-401D-ACD7-985F5A0FF53A}"/>
                  </a:ext>
                </a:extLst>
              </p:cNvPr>
              <p:cNvCxnSpPr/>
              <p:nvPr/>
            </p:nvCxnSpPr>
            <p:spPr>
              <a:xfrm>
                <a:off x="9126969" y="3914536"/>
                <a:ext cx="492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FF4AB60F-8453-4D7A-85AE-610E30E4915E}"/>
                  </a:ext>
                </a:extLst>
              </p:cNvPr>
              <p:cNvCxnSpPr>
                <a:cxnSpLocks/>
              </p:cNvCxnSpPr>
              <p:nvPr/>
            </p:nvCxnSpPr>
            <p:spPr>
              <a:xfrm rot="5400000">
                <a:off x="3215099"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C2D97CA5-844E-487B-93BB-90A2F46DA24D}"/>
                  </a:ext>
                </a:extLst>
              </p:cNvPr>
              <p:cNvCxnSpPr>
                <a:cxnSpLocks/>
              </p:cNvCxnSpPr>
              <p:nvPr/>
            </p:nvCxnSpPr>
            <p:spPr>
              <a:xfrm rot="5400000">
                <a:off x="3932158"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D6A77127-AF16-4084-91DD-CF7CAC1C3CA4}"/>
                  </a:ext>
                </a:extLst>
              </p:cNvPr>
              <p:cNvCxnSpPr>
                <a:cxnSpLocks/>
              </p:cNvCxnSpPr>
              <p:nvPr/>
            </p:nvCxnSpPr>
            <p:spPr>
              <a:xfrm rot="5400000">
                <a:off x="4641836"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8D72D5FD-9121-4859-8C0C-9DB09CEB5447}"/>
                  </a:ext>
                </a:extLst>
              </p:cNvPr>
              <p:cNvCxnSpPr>
                <a:cxnSpLocks/>
              </p:cNvCxnSpPr>
              <p:nvPr/>
            </p:nvCxnSpPr>
            <p:spPr>
              <a:xfrm rot="5400000">
                <a:off x="5355829"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7996A3CE-F090-4413-A702-7735D61A74A0}"/>
                  </a:ext>
                </a:extLst>
              </p:cNvPr>
              <p:cNvCxnSpPr>
                <a:cxnSpLocks/>
              </p:cNvCxnSpPr>
              <p:nvPr/>
            </p:nvCxnSpPr>
            <p:spPr>
              <a:xfrm rot="5400000">
                <a:off x="6065121"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C1CCDBDA-B640-4C5D-B46D-35A6608FE4D0}"/>
                  </a:ext>
                </a:extLst>
              </p:cNvPr>
              <p:cNvCxnSpPr>
                <a:cxnSpLocks/>
              </p:cNvCxnSpPr>
              <p:nvPr/>
            </p:nvCxnSpPr>
            <p:spPr>
              <a:xfrm rot="5400000">
                <a:off x="6781494"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20C35237-39A1-481D-B13F-ECDA47EABFDF}"/>
                  </a:ext>
                </a:extLst>
              </p:cNvPr>
              <p:cNvCxnSpPr>
                <a:cxnSpLocks/>
              </p:cNvCxnSpPr>
              <p:nvPr/>
            </p:nvCxnSpPr>
            <p:spPr>
              <a:xfrm rot="5400000">
                <a:off x="7497816"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E8BD570-4747-4D7D-B767-AAAE7A11DD93}"/>
                  </a:ext>
                </a:extLst>
              </p:cNvPr>
              <p:cNvCxnSpPr>
                <a:cxnSpLocks/>
              </p:cNvCxnSpPr>
              <p:nvPr/>
            </p:nvCxnSpPr>
            <p:spPr>
              <a:xfrm rot="5400000">
                <a:off x="8207727"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B50582C1-C284-499C-808C-00E2B021E2D7}"/>
                  </a:ext>
                </a:extLst>
              </p:cNvPr>
              <p:cNvCxnSpPr>
                <a:cxnSpLocks/>
              </p:cNvCxnSpPr>
              <p:nvPr/>
            </p:nvCxnSpPr>
            <p:spPr>
              <a:xfrm rot="5400000">
                <a:off x="8924168" y="3945281"/>
                <a:ext cx="22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158E0790-AA97-40BD-BCAB-869D9A50409E}"/>
                </a:ext>
              </a:extLst>
            </p:cNvPr>
            <p:cNvGrpSpPr/>
            <p:nvPr/>
          </p:nvGrpSpPr>
          <p:grpSpPr>
            <a:xfrm>
              <a:off x="879611" y="3063710"/>
              <a:ext cx="6584720" cy="2731379"/>
              <a:chOff x="2780724" y="1303181"/>
              <a:chExt cx="6580662" cy="2904854"/>
            </a:xfrm>
          </p:grpSpPr>
          <p:sp>
            <p:nvSpPr>
              <p:cNvPr id="239" name="TextBox 238">
                <a:extLst>
                  <a:ext uri="{FF2B5EF4-FFF2-40B4-BE49-F238E27FC236}">
                    <a16:creationId xmlns:a16="http://schemas.microsoft.com/office/drawing/2014/main" id="{29B213C9-72ED-44DC-B821-0E1313627206}"/>
                  </a:ext>
                </a:extLst>
              </p:cNvPr>
              <p:cNvSpPr txBox="1"/>
              <p:nvPr/>
            </p:nvSpPr>
            <p:spPr>
              <a:xfrm>
                <a:off x="2780724" y="1310319"/>
                <a:ext cx="176221" cy="15379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3.0</a:t>
                </a:r>
              </a:p>
            </p:txBody>
          </p:sp>
          <p:sp>
            <p:nvSpPr>
              <p:cNvPr id="240" name="TextBox 239">
                <a:extLst>
                  <a:ext uri="{FF2B5EF4-FFF2-40B4-BE49-F238E27FC236}">
                    <a16:creationId xmlns:a16="http://schemas.microsoft.com/office/drawing/2014/main" id="{C3138106-3598-4A3B-B4CB-1D00A46738CA}"/>
                  </a:ext>
                </a:extLst>
              </p:cNvPr>
              <p:cNvSpPr txBox="1"/>
              <p:nvPr/>
            </p:nvSpPr>
            <p:spPr>
              <a:xfrm>
                <a:off x="2780724" y="1725911"/>
                <a:ext cx="176221" cy="15379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5</a:t>
                </a:r>
              </a:p>
            </p:txBody>
          </p:sp>
          <p:sp>
            <p:nvSpPr>
              <p:cNvPr id="241" name="TextBox 240">
                <a:extLst>
                  <a:ext uri="{FF2B5EF4-FFF2-40B4-BE49-F238E27FC236}">
                    <a16:creationId xmlns:a16="http://schemas.microsoft.com/office/drawing/2014/main" id="{ED625F99-2DCB-485B-9FDC-A2AF4AE5AC6E}"/>
                  </a:ext>
                </a:extLst>
              </p:cNvPr>
              <p:cNvSpPr txBox="1"/>
              <p:nvPr/>
            </p:nvSpPr>
            <p:spPr>
              <a:xfrm>
                <a:off x="2780724" y="2160212"/>
                <a:ext cx="176221" cy="15379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0</a:t>
                </a:r>
              </a:p>
            </p:txBody>
          </p:sp>
          <p:sp>
            <p:nvSpPr>
              <p:cNvPr id="242" name="TextBox 241">
                <a:extLst>
                  <a:ext uri="{FF2B5EF4-FFF2-40B4-BE49-F238E27FC236}">
                    <a16:creationId xmlns:a16="http://schemas.microsoft.com/office/drawing/2014/main" id="{72F37F4E-5C49-4DD1-8055-E3979E9AAC98}"/>
                  </a:ext>
                </a:extLst>
              </p:cNvPr>
              <p:cNvSpPr txBox="1"/>
              <p:nvPr/>
            </p:nvSpPr>
            <p:spPr>
              <a:xfrm>
                <a:off x="2780724" y="2575800"/>
                <a:ext cx="176221" cy="15379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5</a:t>
                </a:r>
              </a:p>
            </p:txBody>
          </p:sp>
          <p:sp>
            <p:nvSpPr>
              <p:cNvPr id="243" name="TextBox 242">
                <a:extLst>
                  <a:ext uri="{FF2B5EF4-FFF2-40B4-BE49-F238E27FC236}">
                    <a16:creationId xmlns:a16="http://schemas.microsoft.com/office/drawing/2014/main" id="{04A03B9C-F4D7-4250-B268-B71A4C8102F9}"/>
                  </a:ext>
                </a:extLst>
              </p:cNvPr>
              <p:cNvSpPr txBox="1"/>
              <p:nvPr/>
            </p:nvSpPr>
            <p:spPr>
              <a:xfrm>
                <a:off x="2780724" y="3011404"/>
                <a:ext cx="176221" cy="15379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0</a:t>
                </a:r>
              </a:p>
            </p:txBody>
          </p:sp>
          <p:sp>
            <p:nvSpPr>
              <p:cNvPr id="244" name="TextBox 243">
                <a:extLst>
                  <a:ext uri="{FF2B5EF4-FFF2-40B4-BE49-F238E27FC236}">
                    <a16:creationId xmlns:a16="http://schemas.microsoft.com/office/drawing/2014/main" id="{58AD1E07-48F4-46BD-9D5B-DAE036A040A3}"/>
                  </a:ext>
                </a:extLst>
              </p:cNvPr>
              <p:cNvSpPr txBox="1"/>
              <p:nvPr/>
            </p:nvSpPr>
            <p:spPr>
              <a:xfrm>
                <a:off x="2780724" y="3417467"/>
                <a:ext cx="176221" cy="153793"/>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0.5</a:t>
                </a:r>
              </a:p>
            </p:txBody>
          </p:sp>
          <p:sp>
            <p:nvSpPr>
              <p:cNvPr id="245" name="TextBox 244">
                <a:extLst>
                  <a:ext uri="{FF2B5EF4-FFF2-40B4-BE49-F238E27FC236}">
                    <a16:creationId xmlns:a16="http://schemas.microsoft.com/office/drawing/2014/main" id="{36F70694-C818-4DDF-AE33-9B374FA5A936}"/>
                  </a:ext>
                </a:extLst>
              </p:cNvPr>
              <p:cNvSpPr txBox="1"/>
              <p:nvPr/>
            </p:nvSpPr>
            <p:spPr>
              <a:xfrm>
                <a:off x="2886457" y="3828713"/>
                <a:ext cx="70489" cy="16366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0</a:t>
                </a:r>
              </a:p>
            </p:txBody>
          </p:sp>
          <p:sp>
            <p:nvSpPr>
              <p:cNvPr id="246" name="TextBox 245">
                <a:extLst>
                  <a:ext uri="{FF2B5EF4-FFF2-40B4-BE49-F238E27FC236}">
                    <a16:creationId xmlns:a16="http://schemas.microsoft.com/office/drawing/2014/main" id="{8DA47388-34BF-49FE-9B60-327A51D93F11}"/>
                  </a:ext>
                </a:extLst>
              </p:cNvPr>
              <p:cNvSpPr txBox="1"/>
              <p:nvPr/>
            </p:nvSpPr>
            <p:spPr>
              <a:xfrm>
                <a:off x="9220409" y="1727014"/>
                <a:ext cx="140977"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5</a:t>
                </a:r>
              </a:p>
            </p:txBody>
          </p:sp>
          <p:sp>
            <p:nvSpPr>
              <p:cNvPr id="247" name="TextBox 246">
                <a:extLst>
                  <a:ext uri="{FF2B5EF4-FFF2-40B4-BE49-F238E27FC236}">
                    <a16:creationId xmlns:a16="http://schemas.microsoft.com/office/drawing/2014/main" id="{5E19B843-B32D-4341-89FC-2487ED65998C}"/>
                  </a:ext>
                </a:extLst>
              </p:cNvPr>
              <p:cNvSpPr txBox="1"/>
              <p:nvPr/>
            </p:nvSpPr>
            <p:spPr>
              <a:xfrm>
                <a:off x="9220409" y="2149408"/>
                <a:ext cx="140977"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0</a:t>
                </a:r>
              </a:p>
            </p:txBody>
          </p:sp>
          <p:sp>
            <p:nvSpPr>
              <p:cNvPr id="248" name="TextBox 247">
                <a:extLst>
                  <a:ext uri="{FF2B5EF4-FFF2-40B4-BE49-F238E27FC236}">
                    <a16:creationId xmlns:a16="http://schemas.microsoft.com/office/drawing/2014/main" id="{A944406F-FA25-4C22-A3C7-49FE62008C9D}"/>
                  </a:ext>
                </a:extLst>
              </p:cNvPr>
              <p:cNvSpPr txBox="1"/>
              <p:nvPr/>
            </p:nvSpPr>
            <p:spPr>
              <a:xfrm>
                <a:off x="9220409" y="2567383"/>
                <a:ext cx="140977"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5</a:t>
                </a:r>
              </a:p>
            </p:txBody>
          </p:sp>
          <p:sp>
            <p:nvSpPr>
              <p:cNvPr id="249" name="TextBox 248">
                <a:extLst>
                  <a:ext uri="{FF2B5EF4-FFF2-40B4-BE49-F238E27FC236}">
                    <a16:creationId xmlns:a16="http://schemas.microsoft.com/office/drawing/2014/main" id="{FA8C41FC-C622-4C25-9E2D-4FE292F50079}"/>
                  </a:ext>
                </a:extLst>
              </p:cNvPr>
              <p:cNvSpPr txBox="1"/>
              <p:nvPr/>
            </p:nvSpPr>
            <p:spPr>
              <a:xfrm>
                <a:off x="9220409" y="3002983"/>
                <a:ext cx="140977"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0</a:t>
                </a:r>
              </a:p>
            </p:txBody>
          </p:sp>
          <p:sp>
            <p:nvSpPr>
              <p:cNvPr id="250" name="TextBox 249">
                <a:extLst>
                  <a:ext uri="{FF2B5EF4-FFF2-40B4-BE49-F238E27FC236}">
                    <a16:creationId xmlns:a16="http://schemas.microsoft.com/office/drawing/2014/main" id="{32012FC1-19E5-4097-AC61-4B54F29801DC}"/>
                  </a:ext>
                </a:extLst>
              </p:cNvPr>
              <p:cNvSpPr txBox="1"/>
              <p:nvPr/>
            </p:nvSpPr>
            <p:spPr>
              <a:xfrm>
                <a:off x="9220409" y="3413811"/>
                <a:ext cx="70489"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5</a:t>
                </a:r>
              </a:p>
            </p:txBody>
          </p:sp>
          <p:sp>
            <p:nvSpPr>
              <p:cNvPr id="251" name="TextBox 250">
                <a:extLst>
                  <a:ext uri="{FF2B5EF4-FFF2-40B4-BE49-F238E27FC236}">
                    <a16:creationId xmlns:a16="http://schemas.microsoft.com/office/drawing/2014/main" id="{B1F493FE-420B-4E66-8FD0-1385728AB2AC}"/>
                  </a:ext>
                </a:extLst>
              </p:cNvPr>
              <p:cNvSpPr txBox="1"/>
              <p:nvPr/>
            </p:nvSpPr>
            <p:spPr>
              <a:xfrm>
                <a:off x="9220409" y="3838554"/>
                <a:ext cx="70489"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0</a:t>
                </a:r>
              </a:p>
            </p:txBody>
          </p:sp>
          <p:sp>
            <p:nvSpPr>
              <p:cNvPr id="252" name="TextBox 251">
                <a:extLst>
                  <a:ext uri="{FF2B5EF4-FFF2-40B4-BE49-F238E27FC236}">
                    <a16:creationId xmlns:a16="http://schemas.microsoft.com/office/drawing/2014/main" id="{03697E92-844E-4B89-812E-BEBB31F80605}"/>
                  </a:ext>
                </a:extLst>
              </p:cNvPr>
              <p:cNvSpPr txBox="1"/>
              <p:nvPr/>
            </p:nvSpPr>
            <p:spPr>
              <a:xfrm>
                <a:off x="3062756" y="3946176"/>
                <a:ext cx="325529"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0</a:t>
                </a:r>
              </a:p>
            </p:txBody>
          </p:sp>
          <p:sp>
            <p:nvSpPr>
              <p:cNvPr id="253" name="TextBox 252">
                <a:extLst>
                  <a:ext uri="{FF2B5EF4-FFF2-40B4-BE49-F238E27FC236}">
                    <a16:creationId xmlns:a16="http://schemas.microsoft.com/office/drawing/2014/main" id="{4B1611B6-EC60-46AB-B3EA-7E50525DE943}"/>
                  </a:ext>
                </a:extLst>
              </p:cNvPr>
              <p:cNvSpPr txBox="1"/>
              <p:nvPr/>
            </p:nvSpPr>
            <p:spPr>
              <a:xfrm>
                <a:off x="3691261" y="3946176"/>
                <a:ext cx="501752" cy="26185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4,000</a:t>
                </a:r>
              </a:p>
            </p:txBody>
          </p:sp>
          <p:sp>
            <p:nvSpPr>
              <p:cNvPr id="254" name="TextBox 253">
                <a:extLst>
                  <a:ext uri="{FF2B5EF4-FFF2-40B4-BE49-F238E27FC236}">
                    <a16:creationId xmlns:a16="http://schemas.microsoft.com/office/drawing/2014/main" id="{7E3AF3B5-B6B3-47A9-8409-9A995E5547AD}"/>
                  </a:ext>
                </a:extLst>
              </p:cNvPr>
              <p:cNvSpPr txBox="1"/>
              <p:nvPr/>
            </p:nvSpPr>
            <p:spPr>
              <a:xfrm>
                <a:off x="4402882" y="3946176"/>
                <a:ext cx="501752" cy="26185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8,000</a:t>
                </a:r>
              </a:p>
            </p:txBody>
          </p:sp>
          <p:sp>
            <p:nvSpPr>
              <p:cNvPr id="255" name="TextBox 254">
                <a:extLst>
                  <a:ext uri="{FF2B5EF4-FFF2-40B4-BE49-F238E27FC236}">
                    <a16:creationId xmlns:a16="http://schemas.microsoft.com/office/drawing/2014/main" id="{344D4230-65A4-458F-8353-C9B62709EDF1}"/>
                  </a:ext>
                </a:extLst>
              </p:cNvPr>
              <p:cNvSpPr txBox="1"/>
              <p:nvPr/>
            </p:nvSpPr>
            <p:spPr>
              <a:xfrm>
                <a:off x="5078808" y="3946176"/>
                <a:ext cx="572240"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2,000</a:t>
                </a:r>
              </a:p>
            </p:txBody>
          </p:sp>
          <p:sp>
            <p:nvSpPr>
              <p:cNvPr id="256" name="TextBox 255">
                <a:extLst>
                  <a:ext uri="{FF2B5EF4-FFF2-40B4-BE49-F238E27FC236}">
                    <a16:creationId xmlns:a16="http://schemas.microsoft.com/office/drawing/2014/main" id="{2FA9A894-8C7D-4193-BD86-F7D372F3F4AB}"/>
                  </a:ext>
                </a:extLst>
              </p:cNvPr>
              <p:cNvSpPr txBox="1"/>
              <p:nvPr/>
            </p:nvSpPr>
            <p:spPr>
              <a:xfrm>
                <a:off x="5790045" y="3946176"/>
                <a:ext cx="572240"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16,000</a:t>
                </a:r>
              </a:p>
            </p:txBody>
          </p:sp>
          <p:sp>
            <p:nvSpPr>
              <p:cNvPr id="257" name="TextBox 256">
                <a:extLst>
                  <a:ext uri="{FF2B5EF4-FFF2-40B4-BE49-F238E27FC236}">
                    <a16:creationId xmlns:a16="http://schemas.microsoft.com/office/drawing/2014/main" id="{FF696B5D-2A87-4F0C-9BA0-0ED78FE3B48A}"/>
                  </a:ext>
                </a:extLst>
              </p:cNvPr>
              <p:cNvSpPr txBox="1"/>
              <p:nvPr/>
            </p:nvSpPr>
            <p:spPr>
              <a:xfrm>
                <a:off x="6505977" y="3946176"/>
                <a:ext cx="572240"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0,000</a:t>
                </a:r>
              </a:p>
            </p:txBody>
          </p:sp>
          <p:sp>
            <p:nvSpPr>
              <p:cNvPr id="258" name="TextBox 257">
                <a:extLst>
                  <a:ext uri="{FF2B5EF4-FFF2-40B4-BE49-F238E27FC236}">
                    <a16:creationId xmlns:a16="http://schemas.microsoft.com/office/drawing/2014/main" id="{9DCEAEA2-0B61-4022-9BA7-E02D5B4C0986}"/>
                  </a:ext>
                </a:extLst>
              </p:cNvPr>
              <p:cNvSpPr txBox="1"/>
              <p:nvPr/>
            </p:nvSpPr>
            <p:spPr>
              <a:xfrm>
                <a:off x="7221858" y="3946176"/>
                <a:ext cx="572240"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4,000</a:t>
                </a:r>
              </a:p>
            </p:txBody>
          </p:sp>
          <p:sp>
            <p:nvSpPr>
              <p:cNvPr id="259" name="TextBox 258">
                <a:extLst>
                  <a:ext uri="{FF2B5EF4-FFF2-40B4-BE49-F238E27FC236}">
                    <a16:creationId xmlns:a16="http://schemas.microsoft.com/office/drawing/2014/main" id="{5DB51FE5-254C-4BEC-92D7-C758967A6BD8}"/>
                  </a:ext>
                </a:extLst>
              </p:cNvPr>
              <p:cNvSpPr txBox="1"/>
              <p:nvPr/>
            </p:nvSpPr>
            <p:spPr>
              <a:xfrm>
                <a:off x="7931332" y="3946176"/>
                <a:ext cx="572240"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28,000</a:t>
                </a:r>
              </a:p>
            </p:txBody>
          </p:sp>
          <p:sp>
            <p:nvSpPr>
              <p:cNvPr id="260" name="TextBox 259">
                <a:extLst>
                  <a:ext uri="{FF2B5EF4-FFF2-40B4-BE49-F238E27FC236}">
                    <a16:creationId xmlns:a16="http://schemas.microsoft.com/office/drawing/2014/main" id="{5DDF4B78-09EC-49C5-89CC-6CAB1837CC2E}"/>
                  </a:ext>
                </a:extLst>
              </p:cNvPr>
              <p:cNvSpPr txBox="1"/>
              <p:nvPr/>
            </p:nvSpPr>
            <p:spPr>
              <a:xfrm>
                <a:off x="8647331" y="3946176"/>
                <a:ext cx="572240" cy="246069"/>
              </a:xfrm>
              <a:prstGeom prst="rect">
                <a:avLst/>
              </a:prstGeom>
              <a:noFill/>
            </p:spPr>
            <p:txBody>
              <a:bodyPr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32,000</a:t>
                </a:r>
              </a:p>
            </p:txBody>
          </p:sp>
          <p:cxnSp>
            <p:nvCxnSpPr>
              <p:cNvPr id="261" name="Straight Connector 260">
                <a:extLst>
                  <a:ext uri="{FF2B5EF4-FFF2-40B4-BE49-F238E27FC236}">
                    <a16:creationId xmlns:a16="http://schemas.microsoft.com/office/drawing/2014/main" id="{2D33AF2C-F5B0-46FA-B93D-F1A777C7BEC8}"/>
                  </a:ext>
                </a:extLst>
              </p:cNvPr>
              <p:cNvCxnSpPr/>
              <p:nvPr/>
            </p:nvCxnSpPr>
            <p:spPr>
              <a:xfrm>
                <a:off x="2988848" y="3915446"/>
                <a:ext cx="49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5765B6C0-0BEA-43A4-9E16-339DC69A504C}"/>
                  </a:ext>
                </a:extLst>
              </p:cNvPr>
              <p:cNvSpPr txBox="1"/>
              <p:nvPr/>
            </p:nvSpPr>
            <p:spPr>
              <a:xfrm>
                <a:off x="9220409" y="1303181"/>
                <a:ext cx="140977" cy="153793"/>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ea typeface="+mn-ea"/>
                    <a:cs typeface="+mn-cs"/>
                  </a:rPr>
                  <a:t>30</a:t>
                </a:r>
              </a:p>
            </p:txBody>
          </p:sp>
        </p:grpSp>
        <p:sp>
          <p:nvSpPr>
            <p:cNvPr id="168" name="Rectangle 167">
              <a:extLst>
                <a:ext uri="{FF2B5EF4-FFF2-40B4-BE49-F238E27FC236}">
                  <a16:creationId xmlns:a16="http://schemas.microsoft.com/office/drawing/2014/main" id="{DC781252-B78C-4CAA-AB63-B7E3FADEA73D}"/>
                </a:ext>
              </a:extLst>
            </p:cNvPr>
            <p:cNvSpPr/>
            <p:nvPr/>
          </p:nvSpPr>
          <p:spPr>
            <a:xfrm>
              <a:off x="1309175" y="4231308"/>
              <a:ext cx="202759" cy="128632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Rectangle 168">
              <a:extLst>
                <a:ext uri="{FF2B5EF4-FFF2-40B4-BE49-F238E27FC236}">
                  <a16:creationId xmlns:a16="http://schemas.microsoft.com/office/drawing/2014/main" id="{39D03320-B7FF-4335-B19B-9DB2DF9A930B}"/>
                </a:ext>
              </a:extLst>
            </p:cNvPr>
            <p:cNvSpPr/>
            <p:nvPr/>
          </p:nvSpPr>
          <p:spPr>
            <a:xfrm>
              <a:off x="1527457" y="3376522"/>
              <a:ext cx="202759" cy="2141111"/>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Rectangle 169">
              <a:extLst>
                <a:ext uri="{FF2B5EF4-FFF2-40B4-BE49-F238E27FC236}">
                  <a16:creationId xmlns:a16="http://schemas.microsoft.com/office/drawing/2014/main" id="{021FEB7B-52AD-4FFA-8753-ED01E9750AFB}"/>
                </a:ext>
              </a:extLst>
            </p:cNvPr>
            <p:cNvSpPr/>
            <p:nvPr/>
          </p:nvSpPr>
          <p:spPr>
            <a:xfrm>
              <a:off x="1745739" y="4157466"/>
              <a:ext cx="202759" cy="1360167"/>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Rectangle 170">
              <a:extLst>
                <a:ext uri="{FF2B5EF4-FFF2-40B4-BE49-F238E27FC236}">
                  <a16:creationId xmlns:a16="http://schemas.microsoft.com/office/drawing/2014/main" id="{9D385E08-0A30-4A8B-A3EA-4F4241E68F8D}"/>
                </a:ext>
              </a:extLst>
            </p:cNvPr>
            <p:cNvSpPr/>
            <p:nvPr/>
          </p:nvSpPr>
          <p:spPr>
            <a:xfrm>
              <a:off x="1964020" y="4602761"/>
              <a:ext cx="202759" cy="914872"/>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Rectangle 171">
              <a:extLst>
                <a:ext uri="{FF2B5EF4-FFF2-40B4-BE49-F238E27FC236}">
                  <a16:creationId xmlns:a16="http://schemas.microsoft.com/office/drawing/2014/main" id="{F5269794-872D-46CC-9974-35AD1E8FCE73}"/>
                </a:ext>
              </a:extLst>
            </p:cNvPr>
            <p:cNvSpPr/>
            <p:nvPr/>
          </p:nvSpPr>
          <p:spPr>
            <a:xfrm>
              <a:off x="2181927" y="4929459"/>
              <a:ext cx="202759" cy="588174"/>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Rectangle 172">
              <a:extLst>
                <a:ext uri="{FF2B5EF4-FFF2-40B4-BE49-F238E27FC236}">
                  <a16:creationId xmlns:a16="http://schemas.microsoft.com/office/drawing/2014/main" id="{9378F25A-9939-4077-AF56-540368D977F2}"/>
                </a:ext>
              </a:extLst>
            </p:cNvPr>
            <p:cNvSpPr/>
            <p:nvPr/>
          </p:nvSpPr>
          <p:spPr>
            <a:xfrm>
              <a:off x="2395026" y="5139800"/>
              <a:ext cx="202759" cy="37783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4" name="Rectangle 173">
              <a:extLst>
                <a:ext uri="{FF2B5EF4-FFF2-40B4-BE49-F238E27FC236}">
                  <a16:creationId xmlns:a16="http://schemas.microsoft.com/office/drawing/2014/main" id="{438F4212-C24E-417A-AFBB-367875C164FD}"/>
                </a:ext>
              </a:extLst>
            </p:cNvPr>
            <p:cNvSpPr/>
            <p:nvPr/>
          </p:nvSpPr>
          <p:spPr>
            <a:xfrm>
              <a:off x="2609339" y="5242731"/>
              <a:ext cx="202759" cy="274901"/>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5" name="Rectangle 174">
              <a:extLst>
                <a:ext uri="{FF2B5EF4-FFF2-40B4-BE49-F238E27FC236}">
                  <a16:creationId xmlns:a16="http://schemas.microsoft.com/office/drawing/2014/main" id="{25E5C010-A3BE-4A35-A7CD-A5641515CF61}"/>
                </a:ext>
              </a:extLst>
            </p:cNvPr>
            <p:cNvSpPr/>
            <p:nvPr/>
          </p:nvSpPr>
          <p:spPr>
            <a:xfrm>
              <a:off x="2823652" y="5359090"/>
              <a:ext cx="202759" cy="158542"/>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6" name="Rectangle 175">
              <a:extLst>
                <a:ext uri="{FF2B5EF4-FFF2-40B4-BE49-F238E27FC236}">
                  <a16:creationId xmlns:a16="http://schemas.microsoft.com/office/drawing/2014/main" id="{00B0164A-E5F3-40AC-8576-0C17B9480800}"/>
                </a:ext>
              </a:extLst>
            </p:cNvPr>
            <p:cNvSpPr/>
            <p:nvPr/>
          </p:nvSpPr>
          <p:spPr>
            <a:xfrm>
              <a:off x="3045108" y="5379229"/>
              <a:ext cx="202759" cy="13840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D7B545E8-F0A3-4BB7-942A-807BCFF49AD7}"/>
                </a:ext>
              </a:extLst>
            </p:cNvPr>
            <p:cNvSpPr/>
            <p:nvPr/>
          </p:nvSpPr>
          <p:spPr>
            <a:xfrm>
              <a:off x="3259420" y="5397130"/>
              <a:ext cx="202759" cy="120502"/>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8" name="Rectangle 177">
              <a:extLst>
                <a:ext uri="{FF2B5EF4-FFF2-40B4-BE49-F238E27FC236}">
                  <a16:creationId xmlns:a16="http://schemas.microsoft.com/office/drawing/2014/main" id="{60ECE7F8-4B77-4607-8E8F-5383F310A7DC}"/>
                </a:ext>
              </a:extLst>
            </p:cNvPr>
            <p:cNvSpPr/>
            <p:nvPr/>
          </p:nvSpPr>
          <p:spPr>
            <a:xfrm>
              <a:off x="3473732" y="5441883"/>
              <a:ext cx="202759" cy="7574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9" name="Rectangle 178">
              <a:extLst>
                <a:ext uri="{FF2B5EF4-FFF2-40B4-BE49-F238E27FC236}">
                  <a16:creationId xmlns:a16="http://schemas.microsoft.com/office/drawing/2014/main" id="{FB8916AB-AAB5-43C8-B63F-596DB9A498AB}"/>
                </a:ext>
              </a:extLst>
            </p:cNvPr>
            <p:cNvSpPr/>
            <p:nvPr/>
          </p:nvSpPr>
          <p:spPr>
            <a:xfrm>
              <a:off x="3692807" y="5430696"/>
              <a:ext cx="202759" cy="8693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0" name="Rectangle 179">
              <a:extLst>
                <a:ext uri="{FF2B5EF4-FFF2-40B4-BE49-F238E27FC236}">
                  <a16:creationId xmlns:a16="http://schemas.microsoft.com/office/drawing/2014/main" id="{8419FCB4-1442-4949-B822-43CEEA36AE23}"/>
                </a:ext>
              </a:extLst>
            </p:cNvPr>
            <p:cNvSpPr/>
            <p:nvPr/>
          </p:nvSpPr>
          <p:spPr>
            <a:xfrm>
              <a:off x="3904738" y="5448596"/>
              <a:ext cx="202759" cy="6903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1" name="Rectangle 180">
              <a:extLst>
                <a:ext uri="{FF2B5EF4-FFF2-40B4-BE49-F238E27FC236}">
                  <a16:creationId xmlns:a16="http://schemas.microsoft.com/office/drawing/2014/main" id="{8370ECF7-7FB5-44A8-8E76-3EAED3499973}"/>
                </a:ext>
              </a:extLst>
            </p:cNvPr>
            <p:cNvSpPr/>
            <p:nvPr/>
          </p:nvSpPr>
          <p:spPr>
            <a:xfrm>
              <a:off x="4121432" y="5464261"/>
              <a:ext cx="202759" cy="5337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2" name="Rectangle 181">
              <a:extLst>
                <a:ext uri="{FF2B5EF4-FFF2-40B4-BE49-F238E27FC236}">
                  <a16:creationId xmlns:a16="http://schemas.microsoft.com/office/drawing/2014/main" id="{F485838A-1995-443C-B040-30E5EA6DC846}"/>
                </a:ext>
              </a:extLst>
            </p:cNvPr>
            <p:cNvSpPr/>
            <p:nvPr/>
          </p:nvSpPr>
          <p:spPr>
            <a:xfrm>
              <a:off x="4338126" y="5492210"/>
              <a:ext cx="202759" cy="257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3" name="Rectangle 182">
              <a:extLst>
                <a:ext uri="{FF2B5EF4-FFF2-40B4-BE49-F238E27FC236}">
                  <a16:creationId xmlns:a16="http://schemas.microsoft.com/office/drawing/2014/main" id="{FC4729F4-7E96-47FC-9698-4A34F6F493B3}"/>
                </a:ext>
              </a:extLst>
            </p:cNvPr>
            <p:cNvSpPr/>
            <p:nvPr/>
          </p:nvSpPr>
          <p:spPr>
            <a:xfrm>
              <a:off x="4554819" y="5483975"/>
              <a:ext cx="202759" cy="34371"/>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4" name="Rectangle 183">
              <a:extLst>
                <a:ext uri="{FF2B5EF4-FFF2-40B4-BE49-F238E27FC236}">
                  <a16:creationId xmlns:a16="http://schemas.microsoft.com/office/drawing/2014/main" id="{0109A41F-5716-4A26-A809-AD8B18F3886F}"/>
                </a:ext>
              </a:extLst>
            </p:cNvPr>
            <p:cNvSpPr/>
            <p:nvPr/>
          </p:nvSpPr>
          <p:spPr>
            <a:xfrm>
              <a:off x="4769132" y="5492567"/>
              <a:ext cx="202759" cy="257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5" name="Freeform: Shape 184">
              <a:extLst>
                <a:ext uri="{FF2B5EF4-FFF2-40B4-BE49-F238E27FC236}">
                  <a16:creationId xmlns:a16="http://schemas.microsoft.com/office/drawing/2014/main" id="{C402449F-E2DE-470E-8047-1915067B3C61}"/>
                </a:ext>
              </a:extLst>
            </p:cNvPr>
            <p:cNvSpPr/>
            <p:nvPr/>
          </p:nvSpPr>
          <p:spPr>
            <a:xfrm>
              <a:off x="1320315" y="4278307"/>
              <a:ext cx="5906697" cy="1066574"/>
            </a:xfrm>
            <a:custGeom>
              <a:avLst/>
              <a:gdLst>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3701 w 3693701"/>
                <a:gd name="connsiteY0" fmla="*/ 0 h 1660525"/>
                <a:gd name="connsiteX1" fmla="*/ 3693701 w 3693701"/>
                <a:gd name="connsiteY1" fmla="*/ 679450 h 1660525"/>
                <a:gd name="connsiteX2" fmla="*/ 3011076 w 3693701"/>
                <a:gd name="connsiteY2" fmla="*/ 679450 h 1660525"/>
                <a:gd name="connsiteX3" fmla="*/ 2322101 w 3693701"/>
                <a:gd name="connsiteY3" fmla="*/ 698500 h 1660525"/>
                <a:gd name="connsiteX4" fmla="*/ 1556926 w 3693701"/>
                <a:gd name="connsiteY4" fmla="*/ 733425 h 1660525"/>
                <a:gd name="connsiteX5" fmla="*/ 782226 w 3693701"/>
                <a:gd name="connsiteY5" fmla="*/ 796925 h 1660525"/>
                <a:gd name="connsiteX6" fmla="*/ 391701 w 3693701"/>
                <a:gd name="connsiteY6" fmla="*/ 882650 h 1660525"/>
                <a:gd name="connsiteX7" fmla="*/ 159926 w 3693701"/>
                <a:gd name="connsiteY7" fmla="*/ 1035050 h 1660525"/>
                <a:gd name="connsiteX8" fmla="*/ 58326 w 3693701"/>
                <a:gd name="connsiteY8" fmla="*/ 1209675 h 1660525"/>
                <a:gd name="connsiteX9" fmla="*/ 1176 w 3693701"/>
                <a:gd name="connsiteY9" fmla="*/ 1438275 h 1660525"/>
                <a:gd name="connsiteX10" fmla="*/ 1176 w 3693701"/>
                <a:gd name="connsiteY10" fmla="*/ 1660525 h 1660525"/>
                <a:gd name="connsiteX11" fmla="*/ 1176 w 3693701"/>
                <a:gd name="connsiteY11" fmla="*/ 1228725 h 1660525"/>
                <a:gd name="connsiteX12" fmla="*/ 17051 w 3693701"/>
                <a:gd name="connsiteY12" fmla="*/ 987425 h 1660525"/>
                <a:gd name="connsiteX13" fmla="*/ 96426 w 3693701"/>
                <a:gd name="connsiteY13" fmla="*/ 844550 h 1660525"/>
                <a:gd name="connsiteX14" fmla="*/ 540926 w 3693701"/>
                <a:gd name="connsiteY14" fmla="*/ 641350 h 1660525"/>
                <a:gd name="connsiteX15" fmla="*/ 1067976 w 3693701"/>
                <a:gd name="connsiteY15" fmla="*/ 473075 h 1660525"/>
                <a:gd name="connsiteX16" fmla="*/ 1833151 w 3693701"/>
                <a:gd name="connsiteY16" fmla="*/ 285750 h 1660525"/>
                <a:gd name="connsiteX17" fmla="*/ 2693576 w 3693701"/>
                <a:gd name="connsiteY17" fmla="*/ 139700 h 1660525"/>
                <a:gd name="connsiteX18" fmla="*/ 3395251 w 3693701"/>
                <a:gd name="connsiteY18" fmla="*/ 34925 h 1660525"/>
                <a:gd name="connsiteX19" fmla="*/ 3693701 w 3693701"/>
                <a:gd name="connsiteY19" fmla="*/ 0 h 1660525"/>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298964 w 3696758"/>
                <a:gd name="connsiteY3" fmla="*/ 703263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98964 w 3696758"/>
                <a:gd name="connsiteY3" fmla="*/ 703263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98964 w 3696758"/>
                <a:gd name="connsiteY3" fmla="*/ 703263 h 1664927"/>
                <a:gd name="connsiteX4" fmla="*/ 1526646 w 3696758"/>
                <a:gd name="connsiteY4" fmla="*/ 738188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2377 w 3696758"/>
                <a:gd name="connsiteY6" fmla="*/ 896937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2377 w 3696758"/>
                <a:gd name="connsiteY6" fmla="*/ 896937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2377 w 3696758"/>
                <a:gd name="connsiteY6" fmla="*/ 896937 h 1664927"/>
                <a:gd name="connsiteX7" fmla="*/ 182033 w 3696758"/>
                <a:gd name="connsiteY7" fmla="*/ 1046957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7640 w 3697640"/>
                <a:gd name="connsiteY0" fmla="*/ 0 h 1664903"/>
                <a:gd name="connsiteX1" fmla="*/ 3697640 w 3697640"/>
                <a:gd name="connsiteY1" fmla="*/ 679450 h 1664903"/>
                <a:gd name="connsiteX2" fmla="*/ 3043590 w 3697640"/>
                <a:gd name="connsiteY2" fmla="*/ 684212 h 1664903"/>
                <a:gd name="connsiteX3" fmla="*/ 2273653 w 3697640"/>
                <a:gd name="connsiteY3" fmla="*/ 703263 h 1664903"/>
                <a:gd name="connsiteX4" fmla="*/ 1527528 w 3697640"/>
                <a:gd name="connsiteY4" fmla="*/ 738188 h 1664903"/>
                <a:gd name="connsiteX5" fmla="*/ 814740 w 3697640"/>
                <a:gd name="connsiteY5" fmla="*/ 799306 h 1664903"/>
                <a:gd name="connsiteX6" fmla="*/ 393259 w 3697640"/>
                <a:gd name="connsiteY6" fmla="*/ 896937 h 1664903"/>
                <a:gd name="connsiteX7" fmla="*/ 182915 w 3697640"/>
                <a:gd name="connsiteY7" fmla="*/ 1046957 h 1664903"/>
                <a:gd name="connsiteX8" fmla="*/ 74171 w 3697640"/>
                <a:gd name="connsiteY8" fmla="*/ 1216819 h 1664903"/>
                <a:gd name="connsiteX9" fmla="*/ 5115 w 3697640"/>
                <a:gd name="connsiteY9" fmla="*/ 1438275 h 1664903"/>
                <a:gd name="connsiteX10" fmla="*/ 5115 w 3697640"/>
                <a:gd name="connsiteY10" fmla="*/ 1660525 h 1664903"/>
                <a:gd name="connsiteX11" fmla="*/ 5115 w 3697640"/>
                <a:gd name="connsiteY11" fmla="*/ 1228725 h 1664903"/>
                <a:gd name="connsiteX12" fmla="*/ 20990 w 3697640"/>
                <a:gd name="connsiteY12" fmla="*/ 987425 h 1664903"/>
                <a:gd name="connsiteX13" fmla="*/ 100365 w 3697640"/>
                <a:gd name="connsiteY13" fmla="*/ 844550 h 1664903"/>
                <a:gd name="connsiteX14" fmla="*/ 544865 w 3697640"/>
                <a:gd name="connsiteY14" fmla="*/ 641350 h 1664903"/>
                <a:gd name="connsiteX15" fmla="*/ 1071915 w 3697640"/>
                <a:gd name="connsiteY15" fmla="*/ 473075 h 1664903"/>
                <a:gd name="connsiteX16" fmla="*/ 1837090 w 3697640"/>
                <a:gd name="connsiteY16" fmla="*/ 285750 h 1664903"/>
                <a:gd name="connsiteX17" fmla="*/ 2697515 w 3697640"/>
                <a:gd name="connsiteY17" fmla="*/ 139700 h 1664903"/>
                <a:gd name="connsiteX18" fmla="*/ 3399190 w 3697640"/>
                <a:gd name="connsiteY18" fmla="*/ 34925 h 1664903"/>
                <a:gd name="connsiteX19" fmla="*/ 3697640 w 3697640"/>
                <a:gd name="connsiteY19" fmla="*/ 0 h 166490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79546 w 3694271"/>
                <a:gd name="connsiteY7" fmla="*/ 1046957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77164 w 3694271"/>
                <a:gd name="connsiteY7" fmla="*/ 1023145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86689 w 3694271"/>
                <a:gd name="connsiteY7" fmla="*/ 1027907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86689 w 3694271"/>
                <a:gd name="connsiteY7" fmla="*/ 1027907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6148 w 3696148"/>
                <a:gd name="connsiteY0" fmla="*/ 0 h 1664153"/>
                <a:gd name="connsiteX1" fmla="*/ 3696148 w 3696148"/>
                <a:gd name="connsiteY1" fmla="*/ 679450 h 1664153"/>
                <a:gd name="connsiteX2" fmla="*/ 3042098 w 3696148"/>
                <a:gd name="connsiteY2" fmla="*/ 684212 h 1664153"/>
                <a:gd name="connsiteX3" fmla="*/ 2272161 w 3696148"/>
                <a:gd name="connsiteY3" fmla="*/ 703263 h 1664153"/>
                <a:gd name="connsiteX4" fmla="*/ 1526036 w 3696148"/>
                <a:gd name="connsiteY4" fmla="*/ 738188 h 1664153"/>
                <a:gd name="connsiteX5" fmla="*/ 813248 w 3696148"/>
                <a:gd name="connsiteY5" fmla="*/ 799306 h 1664153"/>
                <a:gd name="connsiteX6" fmla="*/ 391767 w 3696148"/>
                <a:gd name="connsiteY6" fmla="*/ 896937 h 1664153"/>
                <a:gd name="connsiteX7" fmla="*/ 188566 w 3696148"/>
                <a:gd name="connsiteY7" fmla="*/ 1027907 h 1664153"/>
                <a:gd name="connsiteX8" fmla="*/ 72679 w 3696148"/>
                <a:gd name="connsiteY8" fmla="*/ 1216819 h 1664153"/>
                <a:gd name="connsiteX9" fmla="*/ 15529 w 3696148"/>
                <a:gd name="connsiteY9" fmla="*/ 1423988 h 1664153"/>
                <a:gd name="connsiteX10" fmla="*/ 3623 w 3696148"/>
                <a:gd name="connsiteY10" fmla="*/ 1660525 h 1664153"/>
                <a:gd name="connsiteX11" fmla="*/ 3623 w 3696148"/>
                <a:gd name="connsiteY11" fmla="*/ 1228725 h 1664153"/>
                <a:gd name="connsiteX12" fmla="*/ 19498 w 3696148"/>
                <a:gd name="connsiteY12" fmla="*/ 987425 h 1664153"/>
                <a:gd name="connsiteX13" fmla="*/ 203648 w 3696148"/>
                <a:gd name="connsiteY13" fmla="*/ 823119 h 1664153"/>
                <a:gd name="connsiteX14" fmla="*/ 543373 w 3696148"/>
                <a:gd name="connsiteY14" fmla="*/ 641350 h 1664153"/>
                <a:gd name="connsiteX15" fmla="*/ 1070423 w 3696148"/>
                <a:gd name="connsiteY15" fmla="*/ 473075 h 1664153"/>
                <a:gd name="connsiteX16" fmla="*/ 1835598 w 3696148"/>
                <a:gd name="connsiteY16" fmla="*/ 285750 h 1664153"/>
                <a:gd name="connsiteX17" fmla="*/ 2696023 w 3696148"/>
                <a:gd name="connsiteY17" fmla="*/ 139700 h 1664153"/>
                <a:gd name="connsiteX18" fmla="*/ 3397698 w 3696148"/>
                <a:gd name="connsiteY18" fmla="*/ 34925 h 1664153"/>
                <a:gd name="connsiteX19" fmla="*/ 3696148 w 3696148"/>
                <a:gd name="connsiteY19" fmla="*/ 0 h 1664153"/>
                <a:gd name="connsiteX0" fmla="*/ 3699104 w 3699104"/>
                <a:gd name="connsiteY0" fmla="*/ 0 h 1664153"/>
                <a:gd name="connsiteX1" fmla="*/ 3699104 w 3699104"/>
                <a:gd name="connsiteY1" fmla="*/ 679450 h 1664153"/>
                <a:gd name="connsiteX2" fmla="*/ 3045054 w 3699104"/>
                <a:gd name="connsiteY2" fmla="*/ 684212 h 1664153"/>
                <a:gd name="connsiteX3" fmla="*/ 2275117 w 3699104"/>
                <a:gd name="connsiteY3" fmla="*/ 703263 h 1664153"/>
                <a:gd name="connsiteX4" fmla="*/ 1528992 w 3699104"/>
                <a:gd name="connsiteY4" fmla="*/ 738188 h 1664153"/>
                <a:gd name="connsiteX5" fmla="*/ 816204 w 3699104"/>
                <a:gd name="connsiteY5" fmla="*/ 799306 h 1664153"/>
                <a:gd name="connsiteX6" fmla="*/ 394723 w 3699104"/>
                <a:gd name="connsiteY6" fmla="*/ 896937 h 1664153"/>
                <a:gd name="connsiteX7" fmla="*/ 191522 w 3699104"/>
                <a:gd name="connsiteY7" fmla="*/ 1027907 h 1664153"/>
                <a:gd name="connsiteX8" fmla="*/ 75635 w 3699104"/>
                <a:gd name="connsiteY8" fmla="*/ 1216819 h 1664153"/>
                <a:gd name="connsiteX9" fmla="*/ 18485 w 3699104"/>
                <a:gd name="connsiteY9" fmla="*/ 1423988 h 1664153"/>
                <a:gd name="connsiteX10" fmla="*/ 6579 w 3699104"/>
                <a:gd name="connsiteY10" fmla="*/ 1660525 h 1664153"/>
                <a:gd name="connsiteX11" fmla="*/ 6579 w 3699104"/>
                <a:gd name="connsiteY11" fmla="*/ 1228725 h 1664153"/>
                <a:gd name="connsiteX12" fmla="*/ 89129 w 3699104"/>
                <a:gd name="connsiteY12" fmla="*/ 954088 h 1664153"/>
                <a:gd name="connsiteX13" fmla="*/ 206604 w 3699104"/>
                <a:gd name="connsiteY13" fmla="*/ 823119 h 1664153"/>
                <a:gd name="connsiteX14" fmla="*/ 546329 w 3699104"/>
                <a:gd name="connsiteY14" fmla="*/ 641350 h 1664153"/>
                <a:gd name="connsiteX15" fmla="*/ 1073379 w 3699104"/>
                <a:gd name="connsiteY15" fmla="*/ 473075 h 1664153"/>
                <a:gd name="connsiteX16" fmla="*/ 1838554 w 3699104"/>
                <a:gd name="connsiteY16" fmla="*/ 285750 h 1664153"/>
                <a:gd name="connsiteX17" fmla="*/ 2698979 w 3699104"/>
                <a:gd name="connsiteY17" fmla="*/ 139700 h 1664153"/>
                <a:gd name="connsiteX18" fmla="*/ 3400654 w 3699104"/>
                <a:gd name="connsiteY18" fmla="*/ 34925 h 1664153"/>
                <a:gd name="connsiteX19" fmla="*/ 3699104 w 3699104"/>
                <a:gd name="connsiteY19" fmla="*/ 0 h 1664153"/>
                <a:gd name="connsiteX0" fmla="*/ 3696479 w 3696479"/>
                <a:gd name="connsiteY0" fmla="*/ 0 h 1664153"/>
                <a:gd name="connsiteX1" fmla="*/ 3696479 w 3696479"/>
                <a:gd name="connsiteY1" fmla="*/ 679450 h 1664153"/>
                <a:gd name="connsiteX2" fmla="*/ 3042429 w 3696479"/>
                <a:gd name="connsiteY2" fmla="*/ 684212 h 1664153"/>
                <a:gd name="connsiteX3" fmla="*/ 2272492 w 3696479"/>
                <a:gd name="connsiteY3" fmla="*/ 703263 h 1664153"/>
                <a:gd name="connsiteX4" fmla="*/ 1526367 w 3696479"/>
                <a:gd name="connsiteY4" fmla="*/ 738188 h 1664153"/>
                <a:gd name="connsiteX5" fmla="*/ 813579 w 3696479"/>
                <a:gd name="connsiteY5" fmla="*/ 799306 h 1664153"/>
                <a:gd name="connsiteX6" fmla="*/ 392098 w 3696479"/>
                <a:gd name="connsiteY6" fmla="*/ 896937 h 1664153"/>
                <a:gd name="connsiteX7" fmla="*/ 188897 w 3696479"/>
                <a:gd name="connsiteY7" fmla="*/ 1027907 h 1664153"/>
                <a:gd name="connsiteX8" fmla="*/ 73010 w 3696479"/>
                <a:gd name="connsiteY8" fmla="*/ 1216819 h 1664153"/>
                <a:gd name="connsiteX9" fmla="*/ 15860 w 3696479"/>
                <a:gd name="connsiteY9" fmla="*/ 1423988 h 1664153"/>
                <a:gd name="connsiteX10" fmla="*/ 3954 w 3696479"/>
                <a:gd name="connsiteY10" fmla="*/ 1660525 h 1664153"/>
                <a:gd name="connsiteX11" fmla="*/ 3954 w 3696479"/>
                <a:gd name="connsiteY11" fmla="*/ 1228725 h 1664153"/>
                <a:gd name="connsiteX12" fmla="*/ 50785 w 3696479"/>
                <a:gd name="connsiteY12" fmla="*/ 923132 h 1664153"/>
                <a:gd name="connsiteX13" fmla="*/ 203979 w 3696479"/>
                <a:gd name="connsiteY13" fmla="*/ 823119 h 1664153"/>
                <a:gd name="connsiteX14" fmla="*/ 543704 w 3696479"/>
                <a:gd name="connsiteY14" fmla="*/ 641350 h 1664153"/>
                <a:gd name="connsiteX15" fmla="*/ 1070754 w 3696479"/>
                <a:gd name="connsiteY15" fmla="*/ 473075 h 1664153"/>
                <a:gd name="connsiteX16" fmla="*/ 1835929 w 3696479"/>
                <a:gd name="connsiteY16" fmla="*/ 285750 h 1664153"/>
                <a:gd name="connsiteX17" fmla="*/ 2696354 w 3696479"/>
                <a:gd name="connsiteY17" fmla="*/ 139700 h 1664153"/>
                <a:gd name="connsiteX18" fmla="*/ 3398029 w 3696479"/>
                <a:gd name="connsiteY18" fmla="*/ 34925 h 1664153"/>
                <a:gd name="connsiteX19" fmla="*/ 3696479 w 3696479"/>
                <a:gd name="connsiteY19" fmla="*/ 0 h 1664153"/>
                <a:gd name="connsiteX0" fmla="*/ 3692601 w 3692601"/>
                <a:gd name="connsiteY0" fmla="*/ 0 h 1664546"/>
                <a:gd name="connsiteX1" fmla="*/ 3692601 w 3692601"/>
                <a:gd name="connsiteY1" fmla="*/ 679450 h 1664546"/>
                <a:gd name="connsiteX2" fmla="*/ 3038551 w 3692601"/>
                <a:gd name="connsiteY2" fmla="*/ 684212 h 1664546"/>
                <a:gd name="connsiteX3" fmla="*/ 2268614 w 3692601"/>
                <a:gd name="connsiteY3" fmla="*/ 703263 h 1664546"/>
                <a:gd name="connsiteX4" fmla="*/ 1522489 w 3692601"/>
                <a:gd name="connsiteY4" fmla="*/ 738188 h 1664546"/>
                <a:gd name="connsiteX5" fmla="*/ 809701 w 3692601"/>
                <a:gd name="connsiteY5" fmla="*/ 799306 h 1664546"/>
                <a:gd name="connsiteX6" fmla="*/ 388220 w 3692601"/>
                <a:gd name="connsiteY6" fmla="*/ 896937 h 1664546"/>
                <a:gd name="connsiteX7" fmla="*/ 185019 w 3692601"/>
                <a:gd name="connsiteY7" fmla="*/ 1027907 h 1664546"/>
                <a:gd name="connsiteX8" fmla="*/ 69132 w 3692601"/>
                <a:gd name="connsiteY8" fmla="*/ 1216819 h 1664546"/>
                <a:gd name="connsiteX9" fmla="*/ 11982 w 3692601"/>
                <a:gd name="connsiteY9" fmla="*/ 1423988 h 1664546"/>
                <a:gd name="connsiteX10" fmla="*/ 76 w 3692601"/>
                <a:gd name="connsiteY10" fmla="*/ 1660525 h 1664546"/>
                <a:gd name="connsiteX11" fmla="*/ 14364 w 3692601"/>
                <a:gd name="connsiteY11" fmla="*/ 1216819 h 1664546"/>
                <a:gd name="connsiteX12" fmla="*/ 46907 w 3692601"/>
                <a:gd name="connsiteY12" fmla="*/ 923132 h 1664546"/>
                <a:gd name="connsiteX13" fmla="*/ 200101 w 3692601"/>
                <a:gd name="connsiteY13" fmla="*/ 823119 h 1664546"/>
                <a:gd name="connsiteX14" fmla="*/ 539826 w 3692601"/>
                <a:gd name="connsiteY14" fmla="*/ 641350 h 1664546"/>
                <a:gd name="connsiteX15" fmla="*/ 1066876 w 3692601"/>
                <a:gd name="connsiteY15" fmla="*/ 473075 h 1664546"/>
                <a:gd name="connsiteX16" fmla="*/ 1832051 w 3692601"/>
                <a:gd name="connsiteY16" fmla="*/ 285750 h 1664546"/>
                <a:gd name="connsiteX17" fmla="*/ 2692476 w 3692601"/>
                <a:gd name="connsiteY17" fmla="*/ 139700 h 1664546"/>
                <a:gd name="connsiteX18" fmla="*/ 3394151 w 3692601"/>
                <a:gd name="connsiteY18" fmla="*/ 34925 h 1664546"/>
                <a:gd name="connsiteX19" fmla="*/ 3692601 w 3692601"/>
                <a:gd name="connsiteY19" fmla="*/ 0 h 1664546"/>
                <a:gd name="connsiteX0" fmla="*/ 3694876 w 3694876"/>
                <a:gd name="connsiteY0" fmla="*/ 0 h 1664308"/>
                <a:gd name="connsiteX1" fmla="*/ 3694876 w 3694876"/>
                <a:gd name="connsiteY1" fmla="*/ 679450 h 1664308"/>
                <a:gd name="connsiteX2" fmla="*/ 3040826 w 3694876"/>
                <a:gd name="connsiteY2" fmla="*/ 684212 h 1664308"/>
                <a:gd name="connsiteX3" fmla="*/ 2270889 w 3694876"/>
                <a:gd name="connsiteY3" fmla="*/ 703263 h 1664308"/>
                <a:gd name="connsiteX4" fmla="*/ 1524764 w 3694876"/>
                <a:gd name="connsiteY4" fmla="*/ 738188 h 1664308"/>
                <a:gd name="connsiteX5" fmla="*/ 811976 w 3694876"/>
                <a:gd name="connsiteY5" fmla="*/ 799306 h 1664308"/>
                <a:gd name="connsiteX6" fmla="*/ 390495 w 3694876"/>
                <a:gd name="connsiteY6" fmla="*/ 896937 h 1664308"/>
                <a:gd name="connsiteX7" fmla="*/ 187294 w 3694876"/>
                <a:gd name="connsiteY7" fmla="*/ 1027907 h 1664308"/>
                <a:gd name="connsiteX8" fmla="*/ 71407 w 3694876"/>
                <a:gd name="connsiteY8" fmla="*/ 1216819 h 1664308"/>
                <a:gd name="connsiteX9" fmla="*/ 14257 w 3694876"/>
                <a:gd name="connsiteY9" fmla="*/ 1423988 h 1664308"/>
                <a:gd name="connsiteX10" fmla="*/ 2351 w 3694876"/>
                <a:gd name="connsiteY10" fmla="*/ 1660525 h 1664308"/>
                <a:gd name="connsiteX11" fmla="*/ 4733 w 3694876"/>
                <a:gd name="connsiteY11" fmla="*/ 1223963 h 1664308"/>
                <a:gd name="connsiteX12" fmla="*/ 49182 w 3694876"/>
                <a:gd name="connsiteY12" fmla="*/ 923132 h 1664308"/>
                <a:gd name="connsiteX13" fmla="*/ 202376 w 3694876"/>
                <a:gd name="connsiteY13" fmla="*/ 823119 h 1664308"/>
                <a:gd name="connsiteX14" fmla="*/ 542101 w 3694876"/>
                <a:gd name="connsiteY14" fmla="*/ 641350 h 1664308"/>
                <a:gd name="connsiteX15" fmla="*/ 1069151 w 3694876"/>
                <a:gd name="connsiteY15" fmla="*/ 473075 h 1664308"/>
                <a:gd name="connsiteX16" fmla="*/ 1834326 w 3694876"/>
                <a:gd name="connsiteY16" fmla="*/ 285750 h 1664308"/>
                <a:gd name="connsiteX17" fmla="*/ 2694751 w 3694876"/>
                <a:gd name="connsiteY17" fmla="*/ 139700 h 1664308"/>
                <a:gd name="connsiteX18" fmla="*/ 3396426 w 3694876"/>
                <a:gd name="connsiteY18" fmla="*/ 34925 h 1664308"/>
                <a:gd name="connsiteX19" fmla="*/ 3694876 w 3694876"/>
                <a:gd name="connsiteY19" fmla="*/ 0 h 1664308"/>
                <a:gd name="connsiteX0" fmla="*/ 3775897 w 3775897"/>
                <a:gd name="connsiteY0" fmla="*/ 0 h 1582686"/>
                <a:gd name="connsiteX1" fmla="*/ 3775897 w 3775897"/>
                <a:gd name="connsiteY1" fmla="*/ 679450 h 1582686"/>
                <a:gd name="connsiteX2" fmla="*/ 3121847 w 3775897"/>
                <a:gd name="connsiteY2" fmla="*/ 684212 h 1582686"/>
                <a:gd name="connsiteX3" fmla="*/ 2351910 w 3775897"/>
                <a:gd name="connsiteY3" fmla="*/ 703263 h 1582686"/>
                <a:gd name="connsiteX4" fmla="*/ 1605785 w 3775897"/>
                <a:gd name="connsiteY4" fmla="*/ 738188 h 1582686"/>
                <a:gd name="connsiteX5" fmla="*/ 892997 w 3775897"/>
                <a:gd name="connsiteY5" fmla="*/ 799306 h 1582686"/>
                <a:gd name="connsiteX6" fmla="*/ 471516 w 3775897"/>
                <a:gd name="connsiteY6" fmla="*/ 896937 h 1582686"/>
                <a:gd name="connsiteX7" fmla="*/ 268315 w 3775897"/>
                <a:gd name="connsiteY7" fmla="*/ 1027907 h 1582686"/>
                <a:gd name="connsiteX8" fmla="*/ 152428 w 3775897"/>
                <a:gd name="connsiteY8" fmla="*/ 1216819 h 1582686"/>
                <a:gd name="connsiteX9" fmla="*/ 95278 w 3775897"/>
                <a:gd name="connsiteY9" fmla="*/ 1423988 h 1582686"/>
                <a:gd name="connsiteX10" fmla="*/ 28 w 3775897"/>
                <a:gd name="connsiteY10" fmla="*/ 1577181 h 1582686"/>
                <a:gd name="connsiteX11" fmla="*/ 85754 w 3775897"/>
                <a:gd name="connsiteY11" fmla="*/ 1223963 h 1582686"/>
                <a:gd name="connsiteX12" fmla="*/ 130203 w 3775897"/>
                <a:gd name="connsiteY12" fmla="*/ 923132 h 1582686"/>
                <a:gd name="connsiteX13" fmla="*/ 283397 w 3775897"/>
                <a:gd name="connsiteY13" fmla="*/ 823119 h 1582686"/>
                <a:gd name="connsiteX14" fmla="*/ 623122 w 3775897"/>
                <a:gd name="connsiteY14" fmla="*/ 641350 h 1582686"/>
                <a:gd name="connsiteX15" fmla="*/ 1150172 w 3775897"/>
                <a:gd name="connsiteY15" fmla="*/ 473075 h 1582686"/>
                <a:gd name="connsiteX16" fmla="*/ 1915347 w 3775897"/>
                <a:gd name="connsiteY16" fmla="*/ 285750 h 1582686"/>
                <a:gd name="connsiteX17" fmla="*/ 2775772 w 3775897"/>
                <a:gd name="connsiteY17" fmla="*/ 139700 h 1582686"/>
                <a:gd name="connsiteX18" fmla="*/ 3477447 w 3775897"/>
                <a:gd name="connsiteY18" fmla="*/ 34925 h 1582686"/>
                <a:gd name="connsiteX19" fmla="*/ 3775897 w 3775897"/>
                <a:gd name="connsiteY19" fmla="*/ 0 h 1582686"/>
                <a:gd name="connsiteX0" fmla="*/ 3693818 w 3693818"/>
                <a:gd name="connsiteY0" fmla="*/ 0 h 1652579"/>
                <a:gd name="connsiteX1" fmla="*/ 3693818 w 3693818"/>
                <a:gd name="connsiteY1" fmla="*/ 679450 h 1652579"/>
                <a:gd name="connsiteX2" fmla="*/ 3039768 w 3693818"/>
                <a:gd name="connsiteY2" fmla="*/ 684212 h 1652579"/>
                <a:gd name="connsiteX3" fmla="*/ 2269831 w 3693818"/>
                <a:gd name="connsiteY3" fmla="*/ 703263 h 1652579"/>
                <a:gd name="connsiteX4" fmla="*/ 1523706 w 3693818"/>
                <a:gd name="connsiteY4" fmla="*/ 738188 h 1652579"/>
                <a:gd name="connsiteX5" fmla="*/ 810918 w 3693818"/>
                <a:gd name="connsiteY5" fmla="*/ 799306 h 1652579"/>
                <a:gd name="connsiteX6" fmla="*/ 389437 w 3693818"/>
                <a:gd name="connsiteY6" fmla="*/ 896937 h 1652579"/>
                <a:gd name="connsiteX7" fmla="*/ 186236 w 3693818"/>
                <a:gd name="connsiteY7" fmla="*/ 1027907 h 1652579"/>
                <a:gd name="connsiteX8" fmla="*/ 70349 w 3693818"/>
                <a:gd name="connsiteY8" fmla="*/ 1216819 h 1652579"/>
                <a:gd name="connsiteX9" fmla="*/ 13199 w 3693818"/>
                <a:gd name="connsiteY9" fmla="*/ 1423988 h 1652579"/>
                <a:gd name="connsiteX10" fmla="*/ 3674 w 3693818"/>
                <a:gd name="connsiteY10" fmla="*/ 1648619 h 1652579"/>
                <a:gd name="connsiteX11" fmla="*/ 3675 w 3693818"/>
                <a:gd name="connsiteY11" fmla="*/ 1223963 h 1652579"/>
                <a:gd name="connsiteX12" fmla="*/ 48124 w 3693818"/>
                <a:gd name="connsiteY12" fmla="*/ 923132 h 1652579"/>
                <a:gd name="connsiteX13" fmla="*/ 201318 w 3693818"/>
                <a:gd name="connsiteY13" fmla="*/ 823119 h 1652579"/>
                <a:gd name="connsiteX14" fmla="*/ 541043 w 3693818"/>
                <a:gd name="connsiteY14" fmla="*/ 641350 h 1652579"/>
                <a:gd name="connsiteX15" fmla="*/ 1068093 w 3693818"/>
                <a:gd name="connsiteY15" fmla="*/ 473075 h 1652579"/>
                <a:gd name="connsiteX16" fmla="*/ 1833268 w 3693818"/>
                <a:gd name="connsiteY16" fmla="*/ 285750 h 1652579"/>
                <a:gd name="connsiteX17" fmla="*/ 2693693 w 3693818"/>
                <a:gd name="connsiteY17" fmla="*/ 139700 h 1652579"/>
                <a:gd name="connsiteX18" fmla="*/ 3395368 w 3693818"/>
                <a:gd name="connsiteY18" fmla="*/ 34925 h 1652579"/>
                <a:gd name="connsiteX19" fmla="*/ 3693818 w 3693818"/>
                <a:gd name="connsiteY19" fmla="*/ 0 h 1652579"/>
                <a:gd name="connsiteX0" fmla="*/ 3693818 w 3693818"/>
                <a:gd name="connsiteY0" fmla="*/ 0 h 1652579"/>
                <a:gd name="connsiteX1" fmla="*/ 3693818 w 3693818"/>
                <a:gd name="connsiteY1" fmla="*/ 679450 h 1652579"/>
                <a:gd name="connsiteX2" fmla="*/ 3039768 w 3693818"/>
                <a:gd name="connsiteY2" fmla="*/ 684212 h 1652579"/>
                <a:gd name="connsiteX3" fmla="*/ 2269831 w 3693818"/>
                <a:gd name="connsiteY3" fmla="*/ 703263 h 1652579"/>
                <a:gd name="connsiteX4" fmla="*/ 1523706 w 3693818"/>
                <a:gd name="connsiteY4" fmla="*/ 738188 h 1652579"/>
                <a:gd name="connsiteX5" fmla="*/ 810918 w 3693818"/>
                <a:gd name="connsiteY5" fmla="*/ 799306 h 1652579"/>
                <a:gd name="connsiteX6" fmla="*/ 389437 w 3693818"/>
                <a:gd name="connsiteY6" fmla="*/ 896937 h 1652579"/>
                <a:gd name="connsiteX7" fmla="*/ 186236 w 3693818"/>
                <a:gd name="connsiteY7" fmla="*/ 1027907 h 1652579"/>
                <a:gd name="connsiteX8" fmla="*/ 70349 w 3693818"/>
                <a:gd name="connsiteY8" fmla="*/ 1216819 h 1652579"/>
                <a:gd name="connsiteX9" fmla="*/ 13199 w 3693818"/>
                <a:gd name="connsiteY9" fmla="*/ 1423988 h 1652579"/>
                <a:gd name="connsiteX10" fmla="*/ 3674 w 3693818"/>
                <a:gd name="connsiteY10" fmla="*/ 1648619 h 1652579"/>
                <a:gd name="connsiteX11" fmla="*/ 3675 w 3693818"/>
                <a:gd name="connsiteY11" fmla="*/ 1223963 h 1652579"/>
                <a:gd name="connsiteX12" fmla="*/ 48124 w 3693818"/>
                <a:gd name="connsiteY12" fmla="*/ 923132 h 1652579"/>
                <a:gd name="connsiteX13" fmla="*/ 201318 w 3693818"/>
                <a:gd name="connsiteY13" fmla="*/ 823119 h 1652579"/>
                <a:gd name="connsiteX14" fmla="*/ 541043 w 3693818"/>
                <a:gd name="connsiteY14" fmla="*/ 641350 h 1652579"/>
                <a:gd name="connsiteX15" fmla="*/ 1068093 w 3693818"/>
                <a:gd name="connsiteY15" fmla="*/ 473075 h 1652579"/>
                <a:gd name="connsiteX16" fmla="*/ 1833268 w 3693818"/>
                <a:gd name="connsiteY16" fmla="*/ 285750 h 1652579"/>
                <a:gd name="connsiteX17" fmla="*/ 2693693 w 3693818"/>
                <a:gd name="connsiteY17" fmla="*/ 139700 h 1652579"/>
                <a:gd name="connsiteX18" fmla="*/ 3395368 w 3693818"/>
                <a:gd name="connsiteY18" fmla="*/ 34925 h 1652579"/>
                <a:gd name="connsiteX19" fmla="*/ 3693818 w 3693818"/>
                <a:gd name="connsiteY19" fmla="*/ 0 h 1652579"/>
                <a:gd name="connsiteX0" fmla="*/ 3693818 w 3693818"/>
                <a:gd name="connsiteY0" fmla="*/ 0 h 1652579"/>
                <a:gd name="connsiteX1" fmla="*/ 3693818 w 3693818"/>
                <a:gd name="connsiteY1" fmla="*/ 679450 h 1652579"/>
                <a:gd name="connsiteX2" fmla="*/ 3039768 w 3693818"/>
                <a:gd name="connsiteY2" fmla="*/ 684212 h 1652579"/>
                <a:gd name="connsiteX3" fmla="*/ 2269831 w 3693818"/>
                <a:gd name="connsiteY3" fmla="*/ 703263 h 1652579"/>
                <a:gd name="connsiteX4" fmla="*/ 1523706 w 3693818"/>
                <a:gd name="connsiteY4" fmla="*/ 738188 h 1652579"/>
                <a:gd name="connsiteX5" fmla="*/ 810918 w 3693818"/>
                <a:gd name="connsiteY5" fmla="*/ 799306 h 1652579"/>
                <a:gd name="connsiteX6" fmla="*/ 389437 w 3693818"/>
                <a:gd name="connsiteY6" fmla="*/ 896937 h 1652579"/>
                <a:gd name="connsiteX7" fmla="*/ 186236 w 3693818"/>
                <a:gd name="connsiteY7" fmla="*/ 1027907 h 1652579"/>
                <a:gd name="connsiteX8" fmla="*/ 70349 w 3693818"/>
                <a:gd name="connsiteY8" fmla="*/ 1216819 h 1652579"/>
                <a:gd name="connsiteX9" fmla="*/ 13199 w 3693818"/>
                <a:gd name="connsiteY9" fmla="*/ 1423988 h 1652579"/>
                <a:gd name="connsiteX10" fmla="*/ 3674 w 3693818"/>
                <a:gd name="connsiteY10" fmla="*/ 1648619 h 1652579"/>
                <a:gd name="connsiteX11" fmla="*/ 3675 w 3693818"/>
                <a:gd name="connsiteY11" fmla="*/ 1223963 h 1652579"/>
                <a:gd name="connsiteX12" fmla="*/ 48124 w 3693818"/>
                <a:gd name="connsiteY12" fmla="*/ 923132 h 1652579"/>
                <a:gd name="connsiteX13" fmla="*/ 201318 w 3693818"/>
                <a:gd name="connsiteY13" fmla="*/ 789781 h 1652579"/>
                <a:gd name="connsiteX14" fmla="*/ 541043 w 3693818"/>
                <a:gd name="connsiteY14" fmla="*/ 641350 h 1652579"/>
                <a:gd name="connsiteX15" fmla="*/ 1068093 w 3693818"/>
                <a:gd name="connsiteY15" fmla="*/ 473075 h 1652579"/>
                <a:gd name="connsiteX16" fmla="*/ 1833268 w 3693818"/>
                <a:gd name="connsiteY16" fmla="*/ 285750 h 1652579"/>
                <a:gd name="connsiteX17" fmla="*/ 2693693 w 3693818"/>
                <a:gd name="connsiteY17" fmla="*/ 139700 h 1652579"/>
                <a:gd name="connsiteX18" fmla="*/ 3395368 w 3693818"/>
                <a:gd name="connsiteY18" fmla="*/ 34925 h 1652579"/>
                <a:gd name="connsiteX19" fmla="*/ 3693818 w 3693818"/>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40346 w 3693121"/>
                <a:gd name="connsiteY14" fmla="*/ 641350 h 1652579"/>
                <a:gd name="connsiteX15" fmla="*/ 1067396 w 3693121"/>
                <a:gd name="connsiteY15" fmla="*/ 473075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64159 w 3693121"/>
                <a:gd name="connsiteY14" fmla="*/ 665162 h 1652579"/>
                <a:gd name="connsiteX15" fmla="*/ 1067396 w 3693121"/>
                <a:gd name="connsiteY15" fmla="*/ 473075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067396 w 3693121"/>
                <a:gd name="connsiteY15" fmla="*/ 473075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8 w 3693121"/>
                <a:gd name="connsiteY15" fmla="*/ 515937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0264 w 3693121"/>
                <a:gd name="connsiteY15" fmla="*/ 50403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68290 w 3693121"/>
                <a:gd name="connsiteY16" fmla="*/ 359569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714427 w 3693121"/>
                <a:gd name="connsiteY17" fmla="*/ 194469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418483 w 3693121"/>
                <a:gd name="connsiteY18" fmla="*/ 89694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591343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681831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681831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681831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55740 w 3693121"/>
                <a:gd name="connsiteY2" fmla="*/ 555624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14984 w 3693121"/>
                <a:gd name="connsiteY5" fmla="*/ 806450 h 1652579"/>
                <a:gd name="connsiteX6" fmla="*/ 408584 w 3693121"/>
                <a:gd name="connsiteY6" fmla="*/ 84931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14984 w 3693121"/>
                <a:gd name="connsiteY5" fmla="*/ 806450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94359 w 3693121"/>
                <a:gd name="connsiteY5" fmla="*/ 774700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7453 w 3693121"/>
                <a:gd name="connsiteY4" fmla="*/ 73025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66740 w 3693121"/>
                <a:gd name="connsiteY3" fmla="*/ 700882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66740 w 3693121"/>
                <a:gd name="connsiteY3" fmla="*/ 700882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549 w 3693549"/>
                <a:gd name="connsiteY0" fmla="*/ 0 h 1654433"/>
                <a:gd name="connsiteX1" fmla="*/ 3693549 w 3693549"/>
                <a:gd name="connsiteY1" fmla="*/ 679450 h 1654433"/>
                <a:gd name="connsiteX2" fmla="*/ 3034736 w 3693549"/>
                <a:gd name="connsiteY2" fmla="*/ 684212 h 1654433"/>
                <a:gd name="connsiteX3" fmla="*/ 2183043 w 3693549"/>
                <a:gd name="connsiteY3" fmla="*/ 710407 h 1654433"/>
                <a:gd name="connsiteX4" fmla="*/ 1536931 w 3693549"/>
                <a:gd name="connsiteY4" fmla="*/ 739776 h 1654433"/>
                <a:gd name="connsiteX5" fmla="*/ 859862 w 3693549"/>
                <a:gd name="connsiteY5" fmla="*/ 796925 h 1654433"/>
                <a:gd name="connsiteX6" fmla="*/ 437587 w 3693549"/>
                <a:gd name="connsiteY6" fmla="*/ 881062 h 1654433"/>
                <a:gd name="connsiteX7" fmla="*/ 202636 w 3693549"/>
                <a:gd name="connsiteY7" fmla="*/ 1020763 h 1654433"/>
                <a:gd name="connsiteX8" fmla="*/ 70080 w 3693549"/>
                <a:gd name="connsiteY8" fmla="*/ 1216819 h 1654433"/>
                <a:gd name="connsiteX9" fmla="*/ 21742 w 3693549"/>
                <a:gd name="connsiteY9" fmla="*/ 1453945 h 1654433"/>
                <a:gd name="connsiteX10" fmla="*/ 3405 w 3693549"/>
                <a:gd name="connsiteY10" fmla="*/ 1648619 h 1654433"/>
                <a:gd name="connsiteX11" fmla="*/ 3406 w 3693549"/>
                <a:gd name="connsiteY11" fmla="*/ 1223963 h 1654433"/>
                <a:gd name="connsiteX12" fmla="*/ 38330 w 3693549"/>
                <a:gd name="connsiteY12" fmla="*/ 942182 h 1654433"/>
                <a:gd name="connsiteX13" fmla="*/ 201049 w 3693549"/>
                <a:gd name="connsiteY13" fmla="*/ 789781 h 1654433"/>
                <a:gd name="connsiteX14" fmla="*/ 571730 w 3693549"/>
                <a:gd name="connsiteY14" fmla="*/ 636587 h 1654433"/>
                <a:gd name="connsiteX15" fmla="*/ 1165455 w 3693549"/>
                <a:gd name="connsiteY15" fmla="*/ 439738 h 1654433"/>
                <a:gd name="connsiteX16" fmla="*/ 1871099 w 3693549"/>
                <a:gd name="connsiteY16" fmla="*/ 278606 h 1654433"/>
                <a:gd name="connsiteX17" fmla="*/ 2681517 w 3693549"/>
                <a:gd name="connsiteY17" fmla="*/ 134938 h 1654433"/>
                <a:gd name="connsiteX18" fmla="*/ 3383192 w 3693549"/>
                <a:gd name="connsiteY18" fmla="*/ 30163 h 1654433"/>
                <a:gd name="connsiteX19" fmla="*/ 3693549 w 3693549"/>
                <a:gd name="connsiteY19" fmla="*/ 0 h 1654433"/>
                <a:gd name="connsiteX0" fmla="*/ 3693549 w 3693549"/>
                <a:gd name="connsiteY0" fmla="*/ 0 h 1654433"/>
                <a:gd name="connsiteX1" fmla="*/ 3693549 w 3693549"/>
                <a:gd name="connsiteY1" fmla="*/ 679450 h 1654433"/>
                <a:gd name="connsiteX2" fmla="*/ 3034736 w 3693549"/>
                <a:gd name="connsiteY2" fmla="*/ 684212 h 1654433"/>
                <a:gd name="connsiteX3" fmla="*/ 2183043 w 3693549"/>
                <a:gd name="connsiteY3" fmla="*/ 710407 h 1654433"/>
                <a:gd name="connsiteX4" fmla="*/ 1536931 w 3693549"/>
                <a:gd name="connsiteY4" fmla="*/ 739776 h 1654433"/>
                <a:gd name="connsiteX5" fmla="*/ 859862 w 3693549"/>
                <a:gd name="connsiteY5" fmla="*/ 796925 h 1654433"/>
                <a:gd name="connsiteX6" fmla="*/ 437587 w 3693549"/>
                <a:gd name="connsiteY6" fmla="*/ 881062 h 1654433"/>
                <a:gd name="connsiteX7" fmla="*/ 202636 w 3693549"/>
                <a:gd name="connsiteY7" fmla="*/ 1020763 h 1654433"/>
                <a:gd name="connsiteX8" fmla="*/ 70080 w 3693549"/>
                <a:gd name="connsiteY8" fmla="*/ 1216819 h 1654433"/>
                <a:gd name="connsiteX9" fmla="*/ 21742 w 3693549"/>
                <a:gd name="connsiteY9" fmla="*/ 1453945 h 1654433"/>
                <a:gd name="connsiteX10" fmla="*/ 3405 w 3693549"/>
                <a:gd name="connsiteY10" fmla="*/ 1648619 h 1654433"/>
                <a:gd name="connsiteX11" fmla="*/ 3406 w 3693549"/>
                <a:gd name="connsiteY11" fmla="*/ 1223963 h 1654433"/>
                <a:gd name="connsiteX12" fmla="*/ 38330 w 3693549"/>
                <a:gd name="connsiteY12" fmla="*/ 942182 h 1654433"/>
                <a:gd name="connsiteX13" fmla="*/ 201049 w 3693549"/>
                <a:gd name="connsiteY13" fmla="*/ 789781 h 1654433"/>
                <a:gd name="connsiteX14" fmla="*/ 571730 w 3693549"/>
                <a:gd name="connsiteY14" fmla="*/ 636587 h 1654433"/>
                <a:gd name="connsiteX15" fmla="*/ 1165455 w 3693549"/>
                <a:gd name="connsiteY15" fmla="*/ 439738 h 1654433"/>
                <a:gd name="connsiteX16" fmla="*/ 1871099 w 3693549"/>
                <a:gd name="connsiteY16" fmla="*/ 278606 h 1654433"/>
                <a:gd name="connsiteX17" fmla="*/ 2681517 w 3693549"/>
                <a:gd name="connsiteY17" fmla="*/ 134938 h 1654433"/>
                <a:gd name="connsiteX18" fmla="*/ 3383192 w 3693549"/>
                <a:gd name="connsiteY18" fmla="*/ 30163 h 1654433"/>
                <a:gd name="connsiteX19" fmla="*/ 3693549 w 3693549"/>
                <a:gd name="connsiteY19" fmla="*/ 0 h 1654433"/>
                <a:gd name="connsiteX0" fmla="*/ 3692446 w 3692446"/>
                <a:gd name="connsiteY0" fmla="*/ 0 h 1654433"/>
                <a:gd name="connsiteX1" fmla="*/ 3692446 w 3692446"/>
                <a:gd name="connsiteY1" fmla="*/ 679450 h 1654433"/>
                <a:gd name="connsiteX2" fmla="*/ 3033633 w 3692446"/>
                <a:gd name="connsiteY2" fmla="*/ 684212 h 1654433"/>
                <a:gd name="connsiteX3" fmla="*/ 2181940 w 3692446"/>
                <a:gd name="connsiteY3" fmla="*/ 710407 h 1654433"/>
                <a:gd name="connsiteX4" fmla="*/ 1535828 w 3692446"/>
                <a:gd name="connsiteY4" fmla="*/ 739776 h 1654433"/>
                <a:gd name="connsiteX5" fmla="*/ 858759 w 3692446"/>
                <a:gd name="connsiteY5" fmla="*/ 796925 h 1654433"/>
                <a:gd name="connsiteX6" fmla="*/ 436484 w 3692446"/>
                <a:gd name="connsiteY6" fmla="*/ 881062 h 1654433"/>
                <a:gd name="connsiteX7" fmla="*/ 201533 w 3692446"/>
                <a:gd name="connsiteY7" fmla="*/ 1020763 h 1654433"/>
                <a:gd name="connsiteX8" fmla="*/ 68977 w 3692446"/>
                <a:gd name="connsiteY8" fmla="*/ 1216819 h 1654433"/>
                <a:gd name="connsiteX9" fmla="*/ 20639 w 3692446"/>
                <a:gd name="connsiteY9" fmla="*/ 1453945 h 1654433"/>
                <a:gd name="connsiteX10" fmla="*/ 2302 w 3692446"/>
                <a:gd name="connsiteY10" fmla="*/ 1648619 h 1654433"/>
                <a:gd name="connsiteX11" fmla="*/ 2303 w 3692446"/>
                <a:gd name="connsiteY11" fmla="*/ 1223963 h 1654433"/>
                <a:gd name="connsiteX12" fmla="*/ 37227 w 3692446"/>
                <a:gd name="connsiteY12" fmla="*/ 942182 h 1654433"/>
                <a:gd name="connsiteX13" fmla="*/ 199946 w 3692446"/>
                <a:gd name="connsiteY13" fmla="*/ 789781 h 1654433"/>
                <a:gd name="connsiteX14" fmla="*/ 570627 w 3692446"/>
                <a:gd name="connsiteY14" fmla="*/ 636587 h 1654433"/>
                <a:gd name="connsiteX15" fmla="*/ 1164352 w 3692446"/>
                <a:gd name="connsiteY15" fmla="*/ 439738 h 1654433"/>
                <a:gd name="connsiteX16" fmla="*/ 1869996 w 3692446"/>
                <a:gd name="connsiteY16" fmla="*/ 278606 h 1654433"/>
                <a:gd name="connsiteX17" fmla="*/ 2680414 w 3692446"/>
                <a:gd name="connsiteY17" fmla="*/ 134938 h 1654433"/>
                <a:gd name="connsiteX18" fmla="*/ 3382089 w 3692446"/>
                <a:gd name="connsiteY18" fmla="*/ 30163 h 1654433"/>
                <a:gd name="connsiteX19" fmla="*/ 3692446 w 3692446"/>
                <a:gd name="connsiteY19" fmla="*/ 0 h 1654433"/>
                <a:gd name="connsiteX0" fmla="*/ 3692066 w 3692066"/>
                <a:gd name="connsiteY0" fmla="*/ 0 h 1657718"/>
                <a:gd name="connsiteX1" fmla="*/ 3692066 w 3692066"/>
                <a:gd name="connsiteY1" fmla="*/ 679450 h 1657718"/>
                <a:gd name="connsiteX2" fmla="*/ 3033253 w 3692066"/>
                <a:gd name="connsiteY2" fmla="*/ 684212 h 1657718"/>
                <a:gd name="connsiteX3" fmla="*/ 2181560 w 3692066"/>
                <a:gd name="connsiteY3" fmla="*/ 710407 h 1657718"/>
                <a:gd name="connsiteX4" fmla="*/ 1535448 w 3692066"/>
                <a:gd name="connsiteY4" fmla="*/ 739776 h 1657718"/>
                <a:gd name="connsiteX5" fmla="*/ 858379 w 3692066"/>
                <a:gd name="connsiteY5" fmla="*/ 796925 h 1657718"/>
                <a:gd name="connsiteX6" fmla="*/ 436104 w 3692066"/>
                <a:gd name="connsiteY6" fmla="*/ 881062 h 1657718"/>
                <a:gd name="connsiteX7" fmla="*/ 201153 w 3692066"/>
                <a:gd name="connsiteY7" fmla="*/ 1020763 h 1657718"/>
                <a:gd name="connsiteX8" fmla="*/ 68597 w 3692066"/>
                <a:gd name="connsiteY8" fmla="*/ 1216819 h 1657718"/>
                <a:gd name="connsiteX9" fmla="*/ 20259 w 3692066"/>
                <a:gd name="connsiteY9" fmla="*/ 1453945 h 1657718"/>
                <a:gd name="connsiteX10" fmla="*/ 3408 w 3692066"/>
                <a:gd name="connsiteY10" fmla="*/ 1651988 h 1657718"/>
                <a:gd name="connsiteX11" fmla="*/ 1923 w 3692066"/>
                <a:gd name="connsiteY11" fmla="*/ 1223963 h 1657718"/>
                <a:gd name="connsiteX12" fmla="*/ 36847 w 3692066"/>
                <a:gd name="connsiteY12" fmla="*/ 942182 h 1657718"/>
                <a:gd name="connsiteX13" fmla="*/ 199566 w 3692066"/>
                <a:gd name="connsiteY13" fmla="*/ 789781 h 1657718"/>
                <a:gd name="connsiteX14" fmla="*/ 570247 w 3692066"/>
                <a:gd name="connsiteY14" fmla="*/ 636587 h 1657718"/>
                <a:gd name="connsiteX15" fmla="*/ 1163972 w 3692066"/>
                <a:gd name="connsiteY15" fmla="*/ 439738 h 1657718"/>
                <a:gd name="connsiteX16" fmla="*/ 1869616 w 3692066"/>
                <a:gd name="connsiteY16" fmla="*/ 278606 h 1657718"/>
                <a:gd name="connsiteX17" fmla="*/ 2680034 w 3692066"/>
                <a:gd name="connsiteY17" fmla="*/ 134938 h 1657718"/>
                <a:gd name="connsiteX18" fmla="*/ 3381709 w 3692066"/>
                <a:gd name="connsiteY18" fmla="*/ 30163 h 1657718"/>
                <a:gd name="connsiteX19" fmla="*/ 3692066 w 3692066"/>
                <a:gd name="connsiteY19" fmla="*/ 0 h 1657718"/>
                <a:gd name="connsiteX0" fmla="*/ 3692066 w 3692066"/>
                <a:gd name="connsiteY0" fmla="*/ 0 h 1661005"/>
                <a:gd name="connsiteX1" fmla="*/ 3692066 w 3692066"/>
                <a:gd name="connsiteY1" fmla="*/ 679450 h 1661005"/>
                <a:gd name="connsiteX2" fmla="*/ 3033253 w 3692066"/>
                <a:gd name="connsiteY2" fmla="*/ 684212 h 1661005"/>
                <a:gd name="connsiteX3" fmla="*/ 2181560 w 3692066"/>
                <a:gd name="connsiteY3" fmla="*/ 710407 h 1661005"/>
                <a:gd name="connsiteX4" fmla="*/ 1535448 w 3692066"/>
                <a:gd name="connsiteY4" fmla="*/ 739776 h 1661005"/>
                <a:gd name="connsiteX5" fmla="*/ 858379 w 3692066"/>
                <a:gd name="connsiteY5" fmla="*/ 796925 h 1661005"/>
                <a:gd name="connsiteX6" fmla="*/ 436104 w 3692066"/>
                <a:gd name="connsiteY6" fmla="*/ 881062 h 1661005"/>
                <a:gd name="connsiteX7" fmla="*/ 201153 w 3692066"/>
                <a:gd name="connsiteY7" fmla="*/ 1020763 h 1661005"/>
                <a:gd name="connsiteX8" fmla="*/ 68597 w 3692066"/>
                <a:gd name="connsiteY8" fmla="*/ 1216819 h 1661005"/>
                <a:gd name="connsiteX9" fmla="*/ 20259 w 3692066"/>
                <a:gd name="connsiteY9" fmla="*/ 1453945 h 1661005"/>
                <a:gd name="connsiteX10" fmla="*/ 3408 w 3692066"/>
                <a:gd name="connsiteY10" fmla="*/ 1655356 h 1661005"/>
                <a:gd name="connsiteX11" fmla="*/ 1923 w 3692066"/>
                <a:gd name="connsiteY11" fmla="*/ 1223963 h 1661005"/>
                <a:gd name="connsiteX12" fmla="*/ 36847 w 3692066"/>
                <a:gd name="connsiteY12" fmla="*/ 942182 h 1661005"/>
                <a:gd name="connsiteX13" fmla="*/ 199566 w 3692066"/>
                <a:gd name="connsiteY13" fmla="*/ 789781 h 1661005"/>
                <a:gd name="connsiteX14" fmla="*/ 570247 w 3692066"/>
                <a:gd name="connsiteY14" fmla="*/ 636587 h 1661005"/>
                <a:gd name="connsiteX15" fmla="*/ 1163972 w 3692066"/>
                <a:gd name="connsiteY15" fmla="*/ 439738 h 1661005"/>
                <a:gd name="connsiteX16" fmla="*/ 1869616 w 3692066"/>
                <a:gd name="connsiteY16" fmla="*/ 278606 h 1661005"/>
                <a:gd name="connsiteX17" fmla="*/ 2680034 w 3692066"/>
                <a:gd name="connsiteY17" fmla="*/ 134938 h 1661005"/>
                <a:gd name="connsiteX18" fmla="*/ 3381709 w 3692066"/>
                <a:gd name="connsiteY18" fmla="*/ 30163 h 1661005"/>
                <a:gd name="connsiteX19" fmla="*/ 3692066 w 3692066"/>
                <a:gd name="connsiteY19" fmla="*/ 0 h 1661005"/>
                <a:gd name="connsiteX0" fmla="*/ 3692066 w 3692066"/>
                <a:gd name="connsiteY0" fmla="*/ 0 h 1661004"/>
                <a:gd name="connsiteX1" fmla="*/ 3692066 w 3692066"/>
                <a:gd name="connsiteY1" fmla="*/ 679450 h 1661004"/>
                <a:gd name="connsiteX2" fmla="*/ 3033253 w 3692066"/>
                <a:gd name="connsiteY2" fmla="*/ 684212 h 1661004"/>
                <a:gd name="connsiteX3" fmla="*/ 2181560 w 3692066"/>
                <a:gd name="connsiteY3" fmla="*/ 710407 h 1661004"/>
                <a:gd name="connsiteX4" fmla="*/ 1535448 w 3692066"/>
                <a:gd name="connsiteY4" fmla="*/ 739776 h 1661004"/>
                <a:gd name="connsiteX5" fmla="*/ 858379 w 3692066"/>
                <a:gd name="connsiteY5" fmla="*/ 796925 h 1661004"/>
                <a:gd name="connsiteX6" fmla="*/ 436104 w 3692066"/>
                <a:gd name="connsiteY6" fmla="*/ 881062 h 1661004"/>
                <a:gd name="connsiteX7" fmla="*/ 201153 w 3692066"/>
                <a:gd name="connsiteY7" fmla="*/ 1020763 h 1661004"/>
                <a:gd name="connsiteX8" fmla="*/ 68597 w 3692066"/>
                <a:gd name="connsiteY8" fmla="*/ 1216819 h 1661004"/>
                <a:gd name="connsiteX9" fmla="*/ 20259 w 3692066"/>
                <a:gd name="connsiteY9" fmla="*/ 1453945 h 1661004"/>
                <a:gd name="connsiteX10" fmla="*/ 3408 w 3692066"/>
                <a:gd name="connsiteY10" fmla="*/ 1655356 h 1661004"/>
                <a:gd name="connsiteX11" fmla="*/ 1923 w 3692066"/>
                <a:gd name="connsiteY11" fmla="*/ 1223963 h 1661004"/>
                <a:gd name="connsiteX12" fmla="*/ 36847 w 3692066"/>
                <a:gd name="connsiteY12" fmla="*/ 942182 h 1661004"/>
                <a:gd name="connsiteX13" fmla="*/ 199566 w 3692066"/>
                <a:gd name="connsiteY13" fmla="*/ 789781 h 1661004"/>
                <a:gd name="connsiteX14" fmla="*/ 570247 w 3692066"/>
                <a:gd name="connsiteY14" fmla="*/ 636587 h 1661004"/>
                <a:gd name="connsiteX15" fmla="*/ 1163972 w 3692066"/>
                <a:gd name="connsiteY15" fmla="*/ 439738 h 1661004"/>
                <a:gd name="connsiteX16" fmla="*/ 1869616 w 3692066"/>
                <a:gd name="connsiteY16" fmla="*/ 278606 h 1661004"/>
                <a:gd name="connsiteX17" fmla="*/ 2680034 w 3692066"/>
                <a:gd name="connsiteY17" fmla="*/ 134938 h 1661004"/>
                <a:gd name="connsiteX18" fmla="*/ 3381709 w 3692066"/>
                <a:gd name="connsiteY18" fmla="*/ 30163 h 1661004"/>
                <a:gd name="connsiteX19" fmla="*/ 3692066 w 3692066"/>
                <a:gd name="connsiteY19" fmla="*/ 0 h 1661004"/>
                <a:gd name="connsiteX0" fmla="*/ 3688658 w 3688658"/>
                <a:gd name="connsiteY0" fmla="*/ 0 h 1661004"/>
                <a:gd name="connsiteX1" fmla="*/ 3688658 w 3688658"/>
                <a:gd name="connsiteY1" fmla="*/ 679450 h 1661004"/>
                <a:gd name="connsiteX2" fmla="*/ 3029845 w 3688658"/>
                <a:gd name="connsiteY2" fmla="*/ 684212 h 1661004"/>
                <a:gd name="connsiteX3" fmla="*/ 2178152 w 3688658"/>
                <a:gd name="connsiteY3" fmla="*/ 710407 h 1661004"/>
                <a:gd name="connsiteX4" fmla="*/ 1532040 w 3688658"/>
                <a:gd name="connsiteY4" fmla="*/ 739776 h 1661004"/>
                <a:gd name="connsiteX5" fmla="*/ 854971 w 3688658"/>
                <a:gd name="connsiteY5" fmla="*/ 796925 h 1661004"/>
                <a:gd name="connsiteX6" fmla="*/ 432696 w 3688658"/>
                <a:gd name="connsiteY6" fmla="*/ 881062 h 1661004"/>
                <a:gd name="connsiteX7" fmla="*/ 197745 w 3688658"/>
                <a:gd name="connsiteY7" fmla="*/ 1020763 h 1661004"/>
                <a:gd name="connsiteX8" fmla="*/ 65189 w 3688658"/>
                <a:gd name="connsiteY8" fmla="*/ 1216819 h 1661004"/>
                <a:gd name="connsiteX9" fmla="*/ 16851 w 3688658"/>
                <a:gd name="connsiteY9" fmla="*/ 1453945 h 1661004"/>
                <a:gd name="connsiteX10" fmla="*/ 0 w 3688658"/>
                <a:gd name="connsiteY10" fmla="*/ 1655356 h 1661004"/>
                <a:gd name="connsiteX11" fmla="*/ 6184 w 3688658"/>
                <a:gd name="connsiteY11" fmla="*/ 1232653 h 1661004"/>
                <a:gd name="connsiteX12" fmla="*/ 33439 w 3688658"/>
                <a:gd name="connsiteY12" fmla="*/ 942182 h 1661004"/>
                <a:gd name="connsiteX13" fmla="*/ 196158 w 3688658"/>
                <a:gd name="connsiteY13" fmla="*/ 789781 h 1661004"/>
                <a:gd name="connsiteX14" fmla="*/ 566839 w 3688658"/>
                <a:gd name="connsiteY14" fmla="*/ 636587 h 1661004"/>
                <a:gd name="connsiteX15" fmla="*/ 1160564 w 3688658"/>
                <a:gd name="connsiteY15" fmla="*/ 439738 h 1661004"/>
                <a:gd name="connsiteX16" fmla="*/ 1866208 w 3688658"/>
                <a:gd name="connsiteY16" fmla="*/ 278606 h 1661004"/>
                <a:gd name="connsiteX17" fmla="*/ 2676626 w 3688658"/>
                <a:gd name="connsiteY17" fmla="*/ 134938 h 1661004"/>
                <a:gd name="connsiteX18" fmla="*/ 3378301 w 3688658"/>
                <a:gd name="connsiteY18" fmla="*/ 30163 h 1661004"/>
                <a:gd name="connsiteX19" fmla="*/ 3688658 w 3688658"/>
                <a:gd name="connsiteY19" fmla="*/ 0 h 1661004"/>
                <a:gd name="connsiteX0" fmla="*/ 3686102 w 3686102"/>
                <a:gd name="connsiteY0" fmla="*/ 0 h 1666662"/>
                <a:gd name="connsiteX1" fmla="*/ 3686102 w 3686102"/>
                <a:gd name="connsiteY1" fmla="*/ 679450 h 1666662"/>
                <a:gd name="connsiteX2" fmla="*/ 3027289 w 3686102"/>
                <a:gd name="connsiteY2" fmla="*/ 684212 h 1666662"/>
                <a:gd name="connsiteX3" fmla="*/ 2175596 w 3686102"/>
                <a:gd name="connsiteY3" fmla="*/ 710407 h 1666662"/>
                <a:gd name="connsiteX4" fmla="*/ 1529484 w 3686102"/>
                <a:gd name="connsiteY4" fmla="*/ 739776 h 1666662"/>
                <a:gd name="connsiteX5" fmla="*/ 852415 w 3686102"/>
                <a:gd name="connsiteY5" fmla="*/ 796925 h 1666662"/>
                <a:gd name="connsiteX6" fmla="*/ 430140 w 3686102"/>
                <a:gd name="connsiteY6" fmla="*/ 881062 h 1666662"/>
                <a:gd name="connsiteX7" fmla="*/ 195189 w 3686102"/>
                <a:gd name="connsiteY7" fmla="*/ 1020763 h 1666662"/>
                <a:gd name="connsiteX8" fmla="*/ 62633 w 3686102"/>
                <a:gd name="connsiteY8" fmla="*/ 1216819 h 1666662"/>
                <a:gd name="connsiteX9" fmla="*/ 14295 w 3686102"/>
                <a:gd name="connsiteY9" fmla="*/ 1453945 h 1666662"/>
                <a:gd name="connsiteX10" fmla="*/ 0 w 3686102"/>
                <a:gd name="connsiteY10" fmla="*/ 1661149 h 1666662"/>
                <a:gd name="connsiteX11" fmla="*/ 3628 w 3686102"/>
                <a:gd name="connsiteY11" fmla="*/ 1232653 h 1666662"/>
                <a:gd name="connsiteX12" fmla="*/ 30883 w 3686102"/>
                <a:gd name="connsiteY12" fmla="*/ 942182 h 1666662"/>
                <a:gd name="connsiteX13" fmla="*/ 193602 w 3686102"/>
                <a:gd name="connsiteY13" fmla="*/ 789781 h 1666662"/>
                <a:gd name="connsiteX14" fmla="*/ 564283 w 3686102"/>
                <a:gd name="connsiteY14" fmla="*/ 636587 h 1666662"/>
                <a:gd name="connsiteX15" fmla="*/ 1158008 w 3686102"/>
                <a:gd name="connsiteY15" fmla="*/ 439738 h 1666662"/>
                <a:gd name="connsiteX16" fmla="*/ 1863652 w 3686102"/>
                <a:gd name="connsiteY16" fmla="*/ 278606 h 1666662"/>
                <a:gd name="connsiteX17" fmla="*/ 2674070 w 3686102"/>
                <a:gd name="connsiteY17" fmla="*/ 134938 h 1666662"/>
                <a:gd name="connsiteX18" fmla="*/ 3375745 w 3686102"/>
                <a:gd name="connsiteY18" fmla="*/ 30163 h 1666662"/>
                <a:gd name="connsiteX19" fmla="*/ 3686102 w 3686102"/>
                <a:gd name="connsiteY19" fmla="*/ 0 h 1666662"/>
                <a:gd name="connsiteX0" fmla="*/ 3686102 w 3686102"/>
                <a:gd name="connsiteY0" fmla="*/ 0 h 1666637"/>
                <a:gd name="connsiteX1" fmla="*/ 3686102 w 3686102"/>
                <a:gd name="connsiteY1" fmla="*/ 679450 h 1666637"/>
                <a:gd name="connsiteX2" fmla="*/ 3027289 w 3686102"/>
                <a:gd name="connsiteY2" fmla="*/ 684212 h 1666637"/>
                <a:gd name="connsiteX3" fmla="*/ 2175596 w 3686102"/>
                <a:gd name="connsiteY3" fmla="*/ 710407 h 1666637"/>
                <a:gd name="connsiteX4" fmla="*/ 1529484 w 3686102"/>
                <a:gd name="connsiteY4" fmla="*/ 739776 h 1666637"/>
                <a:gd name="connsiteX5" fmla="*/ 852415 w 3686102"/>
                <a:gd name="connsiteY5" fmla="*/ 796925 h 1666637"/>
                <a:gd name="connsiteX6" fmla="*/ 430140 w 3686102"/>
                <a:gd name="connsiteY6" fmla="*/ 881062 h 1666637"/>
                <a:gd name="connsiteX7" fmla="*/ 195189 w 3686102"/>
                <a:gd name="connsiteY7" fmla="*/ 1020763 h 1666637"/>
                <a:gd name="connsiteX8" fmla="*/ 63911 w 3686102"/>
                <a:gd name="connsiteY8" fmla="*/ 1222613 h 1666637"/>
                <a:gd name="connsiteX9" fmla="*/ 14295 w 3686102"/>
                <a:gd name="connsiteY9" fmla="*/ 1453945 h 1666637"/>
                <a:gd name="connsiteX10" fmla="*/ 0 w 3686102"/>
                <a:gd name="connsiteY10" fmla="*/ 1661149 h 1666637"/>
                <a:gd name="connsiteX11" fmla="*/ 3628 w 3686102"/>
                <a:gd name="connsiteY11" fmla="*/ 1232653 h 1666637"/>
                <a:gd name="connsiteX12" fmla="*/ 30883 w 3686102"/>
                <a:gd name="connsiteY12" fmla="*/ 942182 h 1666637"/>
                <a:gd name="connsiteX13" fmla="*/ 193602 w 3686102"/>
                <a:gd name="connsiteY13" fmla="*/ 789781 h 1666637"/>
                <a:gd name="connsiteX14" fmla="*/ 564283 w 3686102"/>
                <a:gd name="connsiteY14" fmla="*/ 636587 h 1666637"/>
                <a:gd name="connsiteX15" fmla="*/ 1158008 w 3686102"/>
                <a:gd name="connsiteY15" fmla="*/ 439738 h 1666637"/>
                <a:gd name="connsiteX16" fmla="*/ 1863652 w 3686102"/>
                <a:gd name="connsiteY16" fmla="*/ 278606 h 1666637"/>
                <a:gd name="connsiteX17" fmla="*/ 2674070 w 3686102"/>
                <a:gd name="connsiteY17" fmla="*/ 134938 h 1666637"/>
                <a:gd name="connsiteX18" fmla="*/ 3375745 w 3686102"/>
                <a:gd name="connsiteY18" fmla="*/ 30163 h 1666637"/>
                <a:gd name="connsiteX19" fmla="*/ 3686102 w 3686102"/>
                <a:gd name="connsiteY19" fmla="*/ 0 h 1666637"/>
                <a:gd name="connsiteX0" fmla="*/ 3686102 w 3686102"/>
                <a:gd name="connsiteY0" fmla="*/ 0 h 1666637"/>
                <a:gd name="connsiteX1" fmla="*/ 3686102 w 3686102"/>
                <a:gd name="connsiteY1" fmla="*/ 679450 h 1666637"/>
                <a:gd name="connsiteX2" fmla="*/ 3027289 w 3686102"/>
                <a:gd name="connsiteY2" fmla="*/ 684212 h 1666637"/>
                <a:gd name="connsiteX3" fmla="*/ 2175596 w 3686102"/>
                <a:gd name="connsiteY3" fmla="*/ 710407 h 1666637"/>
                <a:gd name="connsiteX4" fmla="*/ 1529484 w 3686102"/>
                <a:gd name="connsiteY4" fmla="*/ 739776 h 1666637"/>
                <a:gd name="connsiteX5" fmla="*/ 852415 w 3686102"/>
                <a:gd name="connsiteY5" fmla="*/ 796925 h 1666637"/>
                <a:gd name="connsiteX6" fmla="*/ 430140 w 3686102"/>
                <a:gd name="connsiteY6" fmla="*/ 881062 h 1666637"/>
                <a:gd name="connsiteX7" fmla="*/ 196467 w 3686102"/>
                <a:gd name="connsiteY7" fmla="*/ 1023659 h 1666637"/>
                <a:gd name="connsiteX8" fmla="*/ 63911 w 3686102"/>
                <a:gd name="connsiteY8" fmla="*/ 1222613 h 1666637"/>
                <a:gd name="connsiteX9" fmla="*/ 14295 w 3686102"/>
                <a:gd name="connsiteY9" fmla="*/ 1453945 h 1666637"/>
                <a:gd name="connsiteX10" fmla="*/ 0 w 3686102"/>
                <a:gd name="connsiteY10" fmla="*/ 1661149 h 1666637"/>
                <a:gd name="connsiteX11" fmla="*/ 3628 w 3686102"/>
                <a:gd name="connsiteY11" fmla="*/ 1232653 h 1666637"/>
                <a:gd name="connsiteX12" fmla="*/ 30883 w 3686102"/>
                <a:gd name="connsiteY12" fmla="*/ 942182 h 1666637"/>
                <a:gd name="connsiteX13" fmla="*/ 193602 w 3686102"/>
                <a:gd name="connsiteY13" fmla="*/ 789781 h 1666637"/>
                <a:gd name="connsiteX14" fmla="*/ 564283 w 3686102"/>
                <a:gd name="connsiteY14" fmla="*/ 636587 h 1666637"/>
                <a:gd name="connsiteX15" fmla="*/ 1158008 w 3686102"/>
                <a:gd name="connsiteY15" fmla="*/ 439738 h 1666637"/>
                <a:gd name="connsiteX16" fmla="*/ 1863652 w 3686102"/>
                <a:gd name="connsiteY16" fmla="*/ 278606 h 1666637"/>
                <a:gd name="connsiteX17" fmla="*/ 2674070 w 3686102"/>
                <a:gd name="connsiteY17" fmla="*/ 134938 h 1666637"/>
                <a:gd name="connsiteX18" fmla="*/ 3375745 w 3686102"/>
                <a:gd name="connsiteY18" fmla="*/ 30163 h 1666637"/>
                <a:gd name="connsiteX19" fmla="*/ 3686102 w 3686102"/>
                <a:gd name="connsiteY19" fmla="*/ 0 h 1666637"/>
                <a:gd name="connsiteX0" fmla="*/ 3686102 w 3686102"/>
                <a:gd name="connsiteY0" fmla="*/ 0 h 1666637"/>
                <a:gd name="connsiteX1" fmla="*/ 3686102 w 3686102"/>
                <a:gd name="connsiteY1" fmla="*/ 679450 h 1666637"/>
                <a:gd name="connsiteX2" fmla="*/ 3027289 w 3686102"/>
                <a:gd name="connsiteY2" fmla="*/ 684212 h 1666637"/>
                <a:gd name="connsiteX3" fmla="*/ 2175596 w 3686102"/>
                <a:gd name="connsiteY3" fmla="*/ 710407 h 1666637"/>
                <a:gd name="connsiteX4" fmla="*/ 1529484 w 3686102"/>
                <a:gd name="connsiteY4" fmla="*/ 739776 h 1666637"/>
                <a:gd name="connsiteX5" fmla="*/ 852415 w 3686102"/>
                <a:gd name="connsiteY5" fmla="*/ 796925 h 1666637"/>
                <a:gd name="connsiteX6" fmla="*/ 426306 w 3686102"/>
                <a:gd name="connsiteY6" fmla="*/ 889752 h 1666637"/>
                <a:gd name="connsiteX7" fmla="*/ 196467 w 3686102"/>
                <a:gd name="connsiteY7" fmla="*/ 1023659 h 1666637"/>
                <a:gd name="connsiteX8" fmla="*/ 63911 w 3686102"/>
                <a:gd name="connsiteY8" fmla="*/ 1222613 h 1666637"/>
                <a:gd name="connsiteX9" fmla="*/ 14295 w 3686102"/>
                <a:gd name="connsiteY9" fmla="*/ 1453945 h 1666637"/>
                <a:gd name="connsiteX10" fmla="*/ 0 w 3686102"/>
                <a:gd name="connsiteY10" fmla="*/ 1661149 h 1666637"/>
                <a:gd name="connsiteX11" fmla="*/ 3628 w 3686102"/>
                <a:gd name="connsiteY11" fmla="*/ 1232653 h 1666637"/>
                <a:gd name="connsiteX12" fmla="*/ 30883 w 3686102"/>
                <a:gd name="connsiteY12" fmla="*/ 942182 h 1666637"/>
                <a:gd name="connsiteX13" fmla="*/ 193602 w 3686102"/>
                <a:gd name="connsiteY13" fmla="*/ 789781 h 1666637"/>
                <a:gd name="connsiteX14" fmla="*/ 564283 w 3686102"/>
                <a:gd name="connsiteY14" fmla="*/ 636587 h 1666637"/>
                <a:gd name="connsiteX15" fmla="*/ 1158008 w 3686102"/>
                <a:gd name="connsiteY15" fmla="*/ 439738 h 1666637"/>
                <a:gd name="connsiteX16" fmla="*/ 1863652 w 3686102"/>
                <a:gd name="connsiteY16" fmla="*/ 278606 h 1666637"/>
                <a:gd name="connsiteX17" fmla="*/ 2674070 w 3686102"/>
                <a:gd name="connsiteY17" fmla="*/ 134938 h 1666637"/>
                <a:gd name="connsiteX18" fmla="*/ 3375745 w 3686102"/>
                <a:gd name="connsiteY18" fmla="*/ 30163 h 1666637"/>
                <a:gd name="connsiteX19" fmla="*/ 3686102 w 3686102"/>
                <a:gd name="connsiteY19" fmla="*/ 0 h 1666637"/>
                <a:gd name="connsiteX0" fmla="*/ 3686102 w 3686102"/>
                <a:gd name="connsiteY0" fmla="*/ 0 h 1666637"/>
                <a:gd name="connsiteX1" fmla="*/ 3686102 w 3686102"/>
                <a:gd name="connsiteY1" fmla="*/ 679450 h 1666637"/>
                <a:gd name="connsiteX2" fmla="*/ 3027289 w 3686102"/>
                <a:gd name="connsiteY2" fmla="*/ 684212 h 1666637"/>
                <a:gd name="connsiteX3" fmla="*/ 2175596 w 3686102"/>
                <a:gd name="connsiteY3" fmla="*/ 710407 h 1666637"/>
                <a:gd name="connsiteX4" fmla="*/ 1529484 w 3686102"/>
                <a:gd name="connsiteY4" fmla="*/ 739776 h 1666637"/>
                <a:gd name="connsiteX5" fmla="*/ 852415 w 3686102"/>
                <a:gd name="connsiteY5" fmla="*/ 796925 h 1666637"/>
                <a:gd name="connsiteX6" fmla="*/ 426306 w 3686102"/>
                <a:gd name="connsiteY6" fmla="*/ 889752 h 1666637"/>
                <a:gd name="connsiteX7" fmla="*/ 196467 w 3686102"/>
                <a:gd name="connsiteY7" fmla="*/ 1023659 h 1666637"/>
                <a:gd name="connsiteX8" fmla="*/ 63911 w 3686102"/>
                <a:gd name="connsiteY8" fmla="*/ 1222613 h 1666637"/>
                <a:gd name="connsiteX9" fmla="*/ 14295 w 3686102"/>
                <a:gd name="connsiteY9" fmla="*/ 1453945 h 1666637"/>
                <a:gd name="connsiteX10" fmla="*/ 0 w 3686102"/>
                <a:gd name="connsiteY10" fmla="*/ 1661149 h 1666637"/>
                <a:gd name="connsiteX11" fmla="*/ 3628 w 3686102"/>
                <a:gd name="connsiteY11" fmla="*/ 1232653 h 1666637"/>
                <a:gd name="connsiteX12" fmla="*/ 30883 w 3686102"/>
                <a:gd name="connsiteY12" fmla="*/ 942182 h 1666637"/>
                <a:gd name="connsiteX13" fmla="*/ 193602 w 3686102"/>
                <a:gd name="connsiteY13" fmla="*/ 789781 h 1666637"/>
                <a:gd name="connsiteX14" fmla="*/ 564283 w 3686102"/>
                <a:gd name="connsiteY14" fmla="*/ 636587 h 1666637"/>
                <a:gd name="connsiteX15" fmla="*/ 1158008 w 3686102"/>
                <a:gd name="connsiteY15" fmla="*/ 439738 h 1666637"/>
                <a:gd name="connsiteX16" fmla="*/ 1863652 w 3686102"/>
                <a:gd name="connsiteY16" fmla="*/ 278606 h 1666637"/>
                <a:gd name="connsiteX17" fmla="*/ 2674070 w 3686102"/>
                <a:gd name="connsiteY17" fmla="*/ 134938 h 1666637"/>
                <a:gd name="connsiteX18" fmla="*/ 3375745 w 3686102"/>
                <a:gd name="connsiteY18" fmla="*/ 30163 h 1666637"/>
                <a:gd name="connsiteX19" fmla="*/ 3686102 w 3686102"/>
                <a:gd name="connsiteY19" fmla="*/ 0 h 1666637"/>
                <a:gd name="connsiteX0" fmla="*/ 3686102 w 3686102"/>
                <a:gd name="connsiteY0" fmla="*/ 0 h 1666637"/>
                <a:gd name="connsiteX1" fmla="*/ 3686102 w 3686102"/>
                <a:gd name="connsiteY1" fmla="*/ 679450 h 1666637"/>
                <a:gd name="connsiteX2" fmla="*/ 3027289 w 3686102"/>
                <a:gd name="connsiteY2" fmla="*/ 684212 h 1666637"/>
                <a:gd name="connsiteX3" fmla="*/ 2175596 w 3686102"/>
                <a:gd name="connsiteY3" fmla="*/ 710407 h 1666637"/>
                <a:gd name="connsiteX4" fmla="*/ 1529484 w 3686102"/>
                <a:gd name="connsiteY4" fmla="*/ 739776 h 1666637"/>
                <a:gd name="connsiteX5" fmla="*/ 852415 w 3686102"/>
                <a:gd name="connsiteY5" fmla="*/ 796925 h 1666637"/>
                <a:gd name="connsiteX6" fmla="*/ 426306 w 3686102"/>
                <a:gd name="connsiteY6" fmla="*/ 889752 h 1666637"/>
                <a:gd name="connsiteX7" fmla="*/ 196467 w 3686102"/>
                <a:gd name="connsiteY7" fmla="*/ 1023659 h 1666637"/>
                <a:gd name="connsiteX8" fmla="*/ 63911 w 3686102"/>
                <a:gd name="connsiteY8" fmla="*/ 1222613 h 1666637"/>
                <a:gd name="connsiteX9" fmla="*/ 14295 w 3686102"/>
                <a:gd name="connsiteY9" fmla="*/ 1453945 h 1666637"/>
                <a:gd name="connsiteX10" fmla="*/ 0 w 3686102"/>
                <a:gd name="connsiteY10" fmla="*/ 1661149 h 1666637"/>
                <a:gd name="connsiteX11" fmla="*/ 1629 w 3686102"/>
                <a:gd name="connsiteY11" fmla="*/ 1232653 h 1666637"/>
                <a:gd name="connsiteX12" fmla="*/ 30883 w 3686102"/>
                <a:gd name="connsiteY12" fmla="*/ 942182 h 1666637"/>
                <a:gd name="connsiteX13" fmla="*/ 193602 w 3686102"/>
                <a:gd name="connsiteY13" fmla="*/ 789781 h 1666637"/>
                <a:gd name="connsiteX14" fmla="*/ 564283 w 3686102"/>
                <a:gd name="connsiteY14" fmla="*/ 636587 h 1666637"/>
                <a:gd name="connsiteX15" fmla="*/ 1158008 w 3686102"/>
                <a:gd name="connsiteY15" fmla="*/ 439738 h 1666637"/>
                <a:gd name="connsiteX16" fmla="*/ 1863652 w 3686102"/>
                <a:gd name="connsiteY16" fmla="*/ 278606 h 1666637"/>
                <a:gd name="connsiteX17" fmla="*/ 2674070 w 3686102"/>
                <a:gd name="connsiteY17" fmla="*/ 134938 h 1666637"/>
                <a:gd name="connsiteX18" fmla="*/ 3375745 w 3686102"/>
                <a:gd name="connsiteY18" fmla="*/ 30163 h 1666637"/>
                <a:gd name="connsiteX19" fmla="*/ 3686102 w 3686102"/>
                <a:gd name="connsiteY19" fmla="*/ 0 h 1666637"/>
                <a:gd name="connsiteX0" fmla="*/ 3686102 w 3686102"/>
                <a:gd name="connsiteY0" fmla="*/ 0 h 1666637"/>
                <a:gd name="connsiteX1" fmla="*/ 3686102 w 3686102"/>
                <a:gd name="connsiteY1" fmla="*/ 679450 h 1666637"/>
                <a:gd name="connsiteX2" fmla="*/ 3027289 w 3686102"/>
                <a:gd name="connsiteY2" fmla="*/ 684212 h 1666637"/>
                <a:gd name="connsiteX3" fmla="*/ 2175596 w 3686102"/>
                <a:gd name="connsiteY3" fmla="*/ 710407 h 1666637"/>
                <a:gd name="connsiteX4" fmla="*/ 1529484 w 3686102"/>
                <a:gd name="connsiteY4" fmla="*/ 739776 h 1666637"/>
                <a:gd name="connsiteX5" fmla="*/ 852415 w 3686102"/>
                <a:gd name="connsiteY5" fmla="*/ 796925 h 1666637"/>
                <a:gd name="connsiteX6" fmla="*/ 426306 w 3686102"/>
                <a:gd name="connsiteY6" fmla="*/ 889752 h 1666637"/>
                <a:gd name="connsiteX7" fmla="*/ 196467 w 3686102"/>
                <a:gd name="connsiteY7" fmla="*/ 1023659 h 1666637"/>
                <a:gd name="connsiteX8" fmla="*/ 63911 w 3686102"/>
                <a:gd name="connsiteY8" fmla="*/ 1222613 h 1666637"/>
                <a:gd name="connsiteX9" fmla="*/ 14295 w 3686102"/>
                <a:gd name="connsiteY9" fmla="*/ 1453945 h 1666637"/>
                <a:gd name="connsiteX10" fmla="*/ 0 w 3686102"/>
                <a:gd name="connsiteY10" fmla="*/ 1661149 h 1666637"/>
                <a:gd name="connsiteX11" fmla="*/ 2628 w 3686102"/>
                <a:gd name="connsiteY11" fmla="*/ 1232653 h 1666637"/>
                <a:gd name="connsiteX12" fmla="*/ 30883 w 3686102"/>
                <a:gd name="connsiteY12" fmla="*/ 942182 h 1666637"/>
                <a:gd name="connsiteX13" fmla="*/ 193602 w 3686102"/>
                <a:gd name="connsiteY13" fmla="*/ 789781 h 1666637"/>
                <a:gd name="connsiteX14" fmla="*/ 564283 w 3686102"/>
                <a:gd name="connsiteY14" fmla="*/ 636587 h 1666637"/>
                <a:gd name="connsiteX15" fmla="*/ 1158008 w 3686102"/>
                <a:gd name="connsiteY15" fmla="*/ 439738 h 1666637"/>
                <a:gd name="connsiteX16" fmla="*/ 1863652 w 3686102"/>
                <a:gd name="connsiteY16" fmla="*/ 278606 h 1666637"/>
                <a:gd name="connsiteX17" fmla="*/ 2674070 w 3686102"/>
                <a:gd name="connsiteY17" fmla="*/ 134938 h 1666637"/>
                <a:gd name="connsiteX18" fmla="*/ 3375745 w 3686102"/>
                <a:gd name="connsiteY18" fmla="*/ 30163 h 1666637"/>
                <a:gd name="connsiteX19" fmla="*/ 3686102 w 3686102"/>
                <a:gd name="connsiteY19" fmla="*/ 0 h 1666637"/>
                <a:gd name="connsiteX0" fmla="*/ 3686102 w 3686102"/>
                <a:gd name="connsiteY0" fmla="*/ 0 h 1671066"/>
                <a:gd name="connsiteX1" fmla="*/ 3686102 w 3686102"/>
                <a:gd name="connsiteY1" fmla="*/ 679450 h 1671066"/>
                <a:gd name="connsiteX2" fmla="*/ 3027289 w 3686102"/>
                <a:gd name="connsiteY2" fmla="*/ 684212 h 1671066"/>
                <a:gd name="connsiteX3" fmla="*/ 2175596 w 3686102"/>
                <a:gd name="connsiteY3" fmla="*/ 710407 h 1671066"/>
                <a:gd name="connsiteX4" fmla="*/ 1529484 w 3686102"/>
                <a:gd name="connsiteY4" fmla="*/ 739776 h 1671066"/>
                <a:gd name="connsiteX5" fmla="*/ 852415 w 3686102"/>
                <a:gd name="connsiteY5" fmla="*/ 796925 h 1671066"/>
                <a:gd name="connsiteX6" fmla="*/ 426306 w 3686102"/>
                <a:gd name="connsiteY6" fmla="*/ 889752 h 1671066"/>
                <a:gd name="connsiteX7" fmla="*/ 196467 w 3686102"/>
                <a:gd name="connsiteY7" fmla="*/ 1023659 h 1671066"/>
                <a:gd name="connsiteX8" fmla="*/ 63911 w 3686102"/>
                <a:gd name="connsiteY8" fmla="*/ 1222613 h 1671066"/>
                <a:gd name="connsiteX9" fmla="*/ 14295 w 3686102"/>
                <a:gd name="connsiteY9" fmla="*/ 1453945 h 1671066"/>
                <a:gd name="connsiteX10" fmla="*/ 0 w 3686102"/>
                <a:gd name="connsiteY10" fmla="*/ 1665679 h 1671066"/>
                <a:gd name="connsiteX11" fmla="*/ 2628 w 3686102"/>
                <a:gd name="connsiteY11" fmla="*/ 1232653 h 1671066"/>
                <a:gd name="connsiteX12" fmla="*/ 30883 w 3686102"/>
                <a:gd name="connsiteY12" fmla="*/ 942182 h 1671066"/>
                <a:gd name="connsiteX13" fmla="*/ 193602 w 3686102"/>
                <a:gd name="connsiteY13" fmla="*/ 789781 h 1671066"/>
                <a:gd name="connsiteX14" fmla="*/ 564283 w 3686102"/>
                <a:gd name="connsiteY14" fmla="*/ 636587 h 1671066"/>
                <a:gd name="connsiteX15" fmla="*/ 1158008 w 3686102"/>
                <a:gd name="connsiteY15" fmla="*/ 439738 h 1671066"/>
                <a:gd name="connsiteX16" fmla="*/ 1863652 w 3686102"/>
                <a:gd name="connsiteY16" fmla="*/ 278606 h 1671066"/>
                <a:gd name="connsiteX17" fmla="*/ 2674070 w 3686102"/>
                <a:gd name="connsiteY17" fmla="*/ 134938 h 1671066"/>
                <a:gd name="connsiteX18" fmla="*/ 3375745 w 3686102"/>
                <a:gd name="connsiteY18" fmla="*/ 30163 h 1671066"/>
                <a:gd name="connsiteX19" fmla="*/ 3686102 w 3686102"/>
                <a:gd name="connsiteY19" fmla="*/ 0 h 1671066"/>
                <a:gd name="connsiteX0" fmla="*/ 3686102 w 3686102"/>
                <a:gd name="connsiteY0" fmla="*/ 0 h 1671303"/>
                <a:gd name="connsiteX1" fmla="*/ 3686102 w 3686102"/>
                <a:gd name="connsiteY1" fmla="*/ 679450 h 1671303"/>
                <a:gd name="connsiteX2" fmla="*/ 3027289 w 3686102"/>
                <a:gd name="connsiteY2" fmla="*/ 684212 h 1671303"/>
                <a:gd name="connsiteX3" fmla="*/ 2175596 w 3686102"/>
                <a:gd name="connsiteY3" fmla="*/ 710407 h 1671303"/>
                <a:gd name="connsiteX4" fmla="*/ 1529484 w 3686102"/>
                <a:gd name="connsiteY4" fmla="*/ 739776 h 1671303"/>
                <a:gd name="connsiteX5" fmla="*/ 852415 w 3686102"/>
                <a:gd name="connsiteY5" fmla="*/ 796925 h 1671303"/>
                <a:gd name="connsiteX6" fmla="*/ 426306 w 3686102"/>
                <a:gd name="connsiteY6" fmla="*/ 889752 h 1671303"/>
                <a:gd name="connsiteX7" fmla="*/ 196467 w 3686102"/>
                <a:gd name="connsiteY7" fmla="*/ 1023659 h 1671303"/>
                <a:gd name="connsiteX8" fmla="*/ 63911 w 3686102"/>
                <a:gd name="connsiteY8" fmla="*/ 1222613 h 1671303"/>
                <a:gd name="connsiteX9" fmla="*/ 14295 w 3686102"/>
                <a:gd name="connsiteY9" fmla="*/ 1453945 h 1671303"/>
                <a:gd name="connsiteX10" fmla="*/ 0 w 3686102"/>
                <a:gd name="connsiteY10" fmla="*/ 1665679 h 1671303"/>
                <a:gd name="connsiteX11" fmla="*/ 2628 w 3686102"/>
                <a:gd name="connsiteY11" fmla="*/ 1232653 h 1671303"/>
                <a:gd name="connsiteX12" fmla="*/ 30883 w 3686102"/>
                <a:gd name="connsiteY12" fmla="*/ 942182 h 1671303"/>
                <a:gd name="connsiteX13" fmla="*/ 193602 w 3686102"/>
                <a:gd name="connsiteY13" fmla="*/ 789781 h 1671303"/>
                <a:gd name="connsiteX14" fmla="*/ 564283 w 3686102"/>
                <a:gd name="connsiteY14" fmla="*/ 636587 h 1671303"/>
                <a:gd name="connsiteX15" fmla="*/ 1158008 w 3686102"/>
                <a:gd name="connsiteY15" fmla="*/ 439738 h 1671303"/>
                <a:gd name="connsiteX16" fmla="*/ 1863652 w 3686102"/>
                <a:gd name="connsiteY16" fmla="*/ 278606 h 1671303"/>
                <a:gd name="connsiteX17" fmla="*/ 2674070 w 3686102"/>
                <a:gd name="connsiteY17" fmla="*/ 134938 h 1671303"/>
                <a:gd name="connsiteX18" fmla="*/ 3375745 w 3686102"/>
                <a:gd name="connsiteY18" fmla="*/ 30163 h 1671303"/>
                <a:gd name="connsiteX19" fmla="*/ 3686102 w 3686102"/>
                <a:gd name="connsiteY19" fmla="*/ 0 h 1671303"/>
                <a:gd name="connsiteX0" fmla="*/ 3683475 w 3683475"/>
                <a:gd name="connsiteY0" fmla="*/ 0 h 1604101"/>
                <a:gd name="connsiteX1" fmla="*/ 3683475 w 3683475"/>
                <a:gd name="connsiteY1" fmla="*/ 679450 h 1604101"/>
                <a:gd name="connsiteX2" fmla="*/ 3024662 w 3683475"/>
                <a:gd name="connsiteY2" fmla="*/ 684212 h 1604101"/>
                <a:gd name="connsiteX3" fmla="*/ 2172969 w 3683475"/>
                <a:gd name="connsiteY3" fmla="*/ 710407 h 1604101"/>
                <a:gd name="connsiteX4" fmla="*/ 1526857 w 3683475"/>
                <a:gd name="connsiteY4" fmla="*/ 739776 h 1604101"/>
                <a:gd name="connsiteX5" fmla="*/ 849788 w 3683475"/>
                <a:gd name="connsiteY5" fmla="*/ 796925 h 1604101"/>
                <a:gd name="connsiteX6" fmla="*/ 423679 w 3683475"/>
                <a:gd name="connsiteY6" fmla="*/ 889752 h 1604101"/>
                <a:gd name="connsiteX7" fmla="*/ 193840 w 3683475"/>
                <a:gd name="connsiteY7" fmla="*/ 1023659 h 1604101"/>
                <a:gd name="connsiteX8" fmla="*/ 61284 w 3683475"/>
                <a:gd name="connsiteY8" fmla="*/ 1222613 h 1604101"/>
                <a:gd name="connsiteX9" fmla="*/ 11668 w 3683475"/>
                <a:gd name="connsiteY9" fmla="*/ 1453945 h 1604101"/>
                <a:gd name="connsiteX10" fmla="*/ 371 w 3683475"/>
                <a:gd name="connsiteY10" fmla="*/ 1595473 h 1604101"/>
                <a:gd name="connsiteX11" fmla="*/ 1 w 3683475"/>
                <a:gd name="connsiteY11" fmla="*/ 1232653 h 1604101"/>
                <a:gd name="connsiteX12" fmla="*/ 28256 w 3683475"/>
                <a:gd name="connsiteY12" fmla="*/ 942182 h 1604101"/>
                <a:gd name="connsiteX13" fmla="*/ 190975 w 3683475"/>
                <a:gd name="connsiteY13" fmla="*/ 789781 h 1604101"/>
                <a:gd name="connsiteX14" fmla="*/ 561656 w 3683475"/>
                <a:gd name="connsiteY14" fmla="*/ 636587 h 1604101"/>
                <a:gd name="connsiteX15" fmla="*/ 1155381 w 3683475"/>
                <a:gd name="connsiteY15" fmla="*/ 439738 h 1604101"/>
                <a:gd name="connsiteX16" fmla="*/ 1861025 w 3683475"/>
                <a:gd name="connsiteY16" fmla="*/ 278606 h 1604101"/>
                <a:gd name="connsiteX17" fmla="*/ 2671443 w 3683475"/>
                <a:gd name="connsiteY17" fmla="*/ 134938 h 1604101"/>
                <a:gd name="connsiteX18" fmla="*/ 3373118 w 3683475"/>
                <a:gd name="connsiteY18" fmla="*/ 30163 h 1604101"/>
                <a:gd name="connsiteX19" fmla="*/ 3683475 w 3683475"/>
                <a:gd name="connsiteY19" fmla="*/ 0 h 1604101"/>
                <a:gd name="connsiteX0" fmla="*/ 3685792 w 3685792"/>
                <a:gd name="connsiteY0" fmla="*/ 0 h 1604101"/>
                <a:gd name="connsiteX1" fmla="*/ 3685792 w 3685792"/>
                <a:gd name="connsiteY1" fmla="*/ 679450 h 1604101"/>
                <a:gd name="connsiteX2" fmla="*/ 3026979 w 3685792"/>
                <a:gd name="connsiteY2" fmla="*/ 684212 h 1604101"/>
                <a:gd name="connsiteX3" fmla="*/ 2175286 w 3685792"/>
                <a:gd name="connsiteY3" fmla="*/ 710407 h 1604101"/>
                <a:gd name="connsiteX4" fmla="*/ 1529174 w 3685792"/>
                <a:gd name="connsiteY4" fmla="*/ 739776 h 1604101"/>
                <a:gd name="connsiteX5" fmla="*/ 852105 w 3685792"/>
                <a:gd name="connsiteY5" fmla="*/ 796925 h 1604101"/>
                <a:gd name="connsiteX6" fmla="*/ 425996 w 3685792"/>
                <a:gd name="connsiteY6" fmla="*/ 889752 h 1604101"/>
                <a:gd name="connsiteX7" fmla="*/ 196157 w 3685792"/>
                <a:gd name="connsiteY7" fmla="*/ 1023659 h 1604101"/>
                <a:gd name="connsiteX8" fmla="*/ 63601 w 3685792"/>
                <a:gd name="connsiteY8" fmla="*/ 1222613 h 1604101"/>
                <a:gd name="connsiteX9" fmla="*/ 13985 w 3685792"/>
                <a:gd name="connsiteY9" fmla="*/ 1453945 h 1604101"/>
                <a:gd name="connsiteX10" fmla="*/ 2688 w 3685792"/>
                <a:gd name="connsiteY10" fmla="*/ 1595473 h 1604101"/>
                <a:gd name="connsiteX11" fmla="*/ 2318 w 3685792"/>
                <a:gd name="connsiteY11" fmla="*/ 1232653 h 1604101"/>
                <a:gd name="connsiteX12" fmla="*/ 30573 w 3685792"/>
                <a:gd name="connsiteY12" fmla="*/ 942182 h 1604101"/>
                <a:gd name="connsiteX13" fmla="*/ 193292 w 3685792"/>
                <a:gd name="connsiteY13" fmla="*/ 789781 h 1604101"/>
                <a:gd name="connsiteX14" fmla="*/ 563973 w 3685792"/>
                <a:gd name="connsiteY14" fmla="*/ 636587 h 1604101"/>
                <a:gd name="connsiteX15" fmla="*/ 1157698 w 3685792"/>
                <a:gd name="connsiteY15" fmla="*/ 439738 h 1604101"/>
                <a:gd name="connsiteX16" fmla="*/ 1863342 w 3685792"/>
                <a:gd name="connsiteY16" fmla="*/ 278606 h 1604101"/>
                <a:gd name="connsiteX17" fmla="*/ 2673760 w 3685792"/>
                <a:gd name="connsiteY17" fmla="*/ 134938 h 1604101"/>
                <a:gd name="connsiteX18" fmla="*/ 3375435 w 3685792"/>
                <a:gd name="connsiteY18" fmla="*/ 30163 h 1604101"/>
                <a:gd name="connsiteX19" fmla="*/ 3685792 w 3685792"/>
                <a:gd name="connsiteY19" fmla="*/ 0 h 1604101"/>
                <a:gd name="connsiteX0" fmla="*/ 3684925 w 3684925"/>
                <a:gd name="connsiteY0" fmla="*/ 0 h 1604101"/>
                <a:gd name="connsiteX1" fmla="*/ 3684925 w 3684925"/>
                <a:gd name="connsiteY1" fmla="*/ 679450 h 1604101"/>
                <a:gd name="connsiteX2" fmla="*/ 3026112 w 3684925"/>
                <a:gd name="connsiteY2" fmla="*/ 684212 h 1604101"/>
                <a:gd name="connsiteX3" fmla="*/ 2174419 w 3684925"/>
                <a:gd name="connsiteY3" fmla="*/ 710407 h 1604101"/>
                <a:gd name="connsiteX4" fmla="*/ 1528307 w 3684925"/>
                <a:gd name="connsiteY4" fmla="*/ 739776 h 1604101"/>
                <a:gd name="connsiteX5" fmla="*/ 851238 w 3684925"/>
                <a:gd name="connsiteY5" fmla="*/ 796925 h 1604101"/>
                <a:gd name="connsiteX6" fmla="*/ 425129 w 3684925"/>
                <a:gd name="connsiteY6" fmla="*/ 889752 h 1604101"/>
                <a:gd name="connsiteX7" fmla="*/ 195290 w 3684925"/>
                <a:gd name="connsiteY7" fmla="*/ 1023659 h 1604101"/>
                <a:gd name="connsiteX8" fmla="*/ 62734 w 3684925"/>
                <a:gd name="connsiteY8" fmla="*/ 1222613 h 1604101"/>
                <a:gd name="connsiteX9" fmla="*/ 13118 w 3684925"/>
                <a:gd name="connsiteY9" fmla="*/ 1453945 h 1604101"/>
                <a:gd name="connsiteX10" fmla="*/ 1821 w 3684925"/>
                <a:gd name="connsiteY10" fmla="*/ 1595473 h 1604101"/>
                <a:gd name="connsiteX11" fmla="*/ 1451 w 3684925"/>
                <a:gd name="connsiteY11" fmla="*/ 1232653 h 1604101"/>
                <a:gd name="connsiteX12" fmla="*/ 29706 w 3684925"/>
                <a:gd name="connsiteY12" fmla="*/ 942182 h 1604101"/>
                <a:gd name="connsiteX13" fmla="*/ 192425 w 3684925"/>
                <a:gd name="connsiteY13" fmla="*/ 789781 h 1604101"/>
                <a:gd name="connsiteX14" fmla="*/ 563106 w 3684925"/>
                <a:gd name="connsiteY14" fmla="*/ 636587 h 1604101"/>
                <a:gd name="connsiteX15" fmla="*/ 1156831 w 3684925"/>
                <a:gd name="connsiteY15" fmla="*/ 439738 h 1604101"/>
                <a:gd name="connsiteX16" fmla="*/ 1862475 w 3684925"/>
                <a:gd name="connsiteY16" fmla="*/ 278606 h 1604101"/>
                <a:gd name="connsiteX17" fmla="*/ 2672893 w 3684925"/>
                <a:gd name="connsiteY17" fmla="*/ 134938 h 1604101"/>
                <a:gd name="connsiteX18" fmla="*/ 3374568 w 3684925"/>
                <a:gd name="connsiteY18" fmla="*/ 30163 h 1604101"/>
                <a:gd name="connsiteX19" fmla="*/ 3684925 w 3684925"/>
                <a:gd name="connsiteY19" fmla="*/ 0 h 1604101"/>
                <a:gd name="connsiteX0" fmla="*/ 3683475 w 3683475"/>
                <a:gd name="connsiteY0" fmla="*/ 0 h 1604101"/>
                <a:gd name="connsiteX1" fmla="*/ 3683475 w 3683475"/>
                <a:gd name="connsiteY1" fmla="*/ 679450 h 1604101"/>
                <a:gd name="connsiteX2" fmla="*/ 3024662 w 3683475"/>
                <a:gd name="connsiteY2" fmla="*/ 684212 h 1604101"/>
                <a:gd name="connsiteX3" fmla="*/ 2172969 w 3683475"/>
                <a:gd name="connsiteY3" fmla="*/ 710407 h 1604101"/>
                <a:gd name="connsiteX4" fmla="*/ 1526857 w 3683475"/>
                <a:gd name="connsiteY4" fmla="*/ 739776 h 1604101"/>
                <a:gd name="connsiteX5" fmla="*/ 849788 w 3683475"/>
                <a:gd name="connsiteY5" fmla="*/ 796925 h 1604101"/>
                <a:gd name="connsiteX6" fmla="*/ 423679 w 3683475"/>
                <a:gd name="connsiteY6" fmla="*/ 889752 h 1604101"/>
                <a:gd name="connsiteX7" fmla="*/ 193840 w 3683475"/>
                <a:gd name="connsiteY7" fmla="*/ 1023659 h 1604101"/>
                <a:gd name="connsiteX8" fmla="*/ 61284 w 3683475"/>
                <a:gd name="connsiteY8" fmla="*/ 1222613 h 1604101"/>
                <a:gd name="connsiteX9" fmla="*/ 11668 w 3683475"/>
                <a:gd name="connsiteY9" fmla="*/ 1453945 h 1604101"/>
                <a:gd name="connsiteX10" fmla="*/ 371 w 3683475"/>
                <a:gd name="connsiteY10" fmla="*/ 1595473 h 1604101"/>
                <a:gd name="connsiteX11" fmla="*/ 1 w 3683475"/>
                <a:gd name="connsiteY11" fmla="*/ 1232653 h 1604101"/>
                <a:gd name="connsiteX12" fmla="*/ 28256 w 3683475"/>
                <a:gd name="connsiteY12" fmla="*/ 942182 h 1604101"/>
                <a:gd name="connsiteX13" fmla="*/ 190975 w 3683475"/>
                <a:gd name="connsiteY13" fmla="*/ 789781 h 1604101"/>
                <a:gd name="connsiteX14" fmla="*/ 561656 w 3683475"/>
                <a:gd name="connsiteY14" fmla="*/ 636587 h 1604101"/>
                <a:gd name="connsiteX15" fmla="*/ 1155381 w 3683475"/>
                <a:gd name="connsiteY15" fmla="*/ 439738 h 1604101"/>
                <a:gd name="connsiteX16" fmla="*/ 1861025 w 3683475"/>
                <a:gd name="connsiteY16" fmla="*/ 278606 h 1604101"/>
                <a:gd name="connsiteX17" fmla="*/ 2671443 w 3683475"/>
                <a:gd name="connsiteY17" fmla="*/ 134938 h 1604101"/>
                <a:gd name="connsiteX18" fmla="*/ 3373118 w 3683475"/>
                <a:gd name="connsiteY18" fmla="*/ 30163 h 1604101"/>
                <a:gd name="connsiteX19" fmla="*/ 3683475 w 3683475"/>
                <a:gd name="connsiteY19" fmla="*/ 0 h 1604101"/>
                <a:gd name="connsiteX0" fmla="*/ 3683475 w 3683475"/>
                <a:gd name="connsiteY0" fmla="*/ 0 h 1604101"/>
                <a:gd name="connsiteX1" fmla="*/ 3683475 w 3683475"/>
                <a:gd name="connsiteY1" fmla="*/ 679450 h 1604101"/>
                <a:gd name="connsiteX2" fmla="*/ 3024662 w 3683475"/>
                <a:gd name="connsiteY2" fmla="*/ 684212 h 1604101"/>
                <a:gd name="connsiteX3" fmla="*/ 2172969 w 3683475"/>
                <a:gd name="connsiteY3" fmla="*/ 710407 h 1604101"/>
                <a:gd name="connsiteX4" fmla="*/ 1526857 w 3683475"/>
                <a:gd name="connsiteY4" fmla="*/ 739776 h 1604101"/>
                <a:gd name="connsiteX5" fmla="*/ 849788 w 3683475"/>
                <a:gd name="connsiteY5" fmla="*/ 796925 h 1604101"/>
                <a:gd name="connsiteX6" fmla="*/ 423679 w 3683475"/>
                <a:gd name="connsiteY6" fmla="*/ 889752 h 1604101"/>
                <a:gd name="connsiteX7" fmla="*/ 193840 w 3683475"/>
                <a:gd name="connsiteY7" fmla="*/ 1023659 h 1604101"/>
                <a:gd name="connsiteX8" fmla="*/ 61284 w 3683475"/>
                <a:gd name="connsiteY8" fmla="*/ 1222613 h 1604101"/>
                <a:gd name="connsiteX9" fmla="*/ 11668 w 3683475"/>
                <a:gd name="connsiteY9" fmla="*/ 1453945 h 1604101"/>
                <a:gd name="connsiteX10" fmla="*/ 371 w 3683475"/>
                <a:gd name="connsiteY10" fmla="*/ 1595473 h 1604101"/>
                <a:gd name="connsiteX11" fmla="*/ 1 w 3683475"/>
                <a:gd name="connsiteY11" fmla="*/ 1232653 h 1604101"/>
                <a:gd name="connsiteX12" fmla="*/ 28256 w 3683475"/>
                <a:gd name="connsiteY12" fmla="*/ 942182 h 1604101"/>
                <a:gd name="connsiteX13" fmla="*/ 190975 w 3683475"/>
                <a:gd name="connsiteY13" fmla="*/ 789781 h 1604101"/>
                <a:gd name="connsiteX14" fmla="*/ 561656 w 3683475"/>
                <a:gd name="connsiteY14" fmla="*/ 636587 h 1604101"/>
                <a:gd name="connsiteX15" fmla="*/ 1155381 w 3683475"/>
                <a:gd name="connsiteY15" fmla="*/ 439738 h 1604101"/>
                <a:gd name="connsiteX16" fmla="*/ 1861025 w 3683475"/>
                <a:gd name="connsiteY16" fmla="*/ 278606 h 1604101"/>
                <a:gd name="connsiteX17" fmla="*/ 2671443 w 3683475"/>
                <a:gd name="connsiteY17" fmla="*/ 134938 h 1604101"/>
                <a:gd name="connsiteX18" fmla="*/ 3373118 w 3683475"/>
                <a:gd name="connsiteY18" fmla="*/ 30163 h 1604101"/>
                <a:gd name="connsiteX19" fmla="*/ 3683475 w 3683475"/>
                <a:gd name="connsiteY19" fmla="*/ 0 h 160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83475" h="1604101">
                  <a:moveTo>
                    <a:pt x="3683475" y="0"/>
                  </a:moveTo>
                  <a:lnTo>
                    <a:pt x="3683475" y="679450"/>
                  </a:lnTo>
                  <a:lnTo>
                    <a:pt x="3024662" y="684212"/>
                  </a:lnTo>
                  <a:cubicBezTo>
                    <a:pt x="2772911" y="689371"/>
                    <a:pt x="2422603" y="701146"/>
                    <a:pt x="2172969" y="710407"/>
                  </a:cubicBezTo>
                  <a:cubicBezTo>
                    <a:pt x="1923335" y="719668"/>
                    <a:pt x="1747387" y="725356"/>
                    <a:pt x="1526857" y="739776"/>
                  </a:cubicBezTo>
                  <a:cubicBezTo>
                    <a:pt x="1306327" y="754196"/>
                    <a:pt x="1033651" y="771929"/>
                    <a:pt x="849788" y="796925"/>
                  </a:cubicBezTo>
                  <a:cubicBezTo>
                    <a:pt x="665925" y="821921"/>
                    <a:pt x="533004" y="851963"/>
                    <a:pt x="423679" y="889752"/>
                  </a:cubicBezTo>
                  <a:cubicBezTo>
                    <a:pt x="314354" y="927541"/>
                    <a:pt x="254239" y="968182"/>
                    <a:pt x="193840" y="1023659"/>
                  </a:cubicBezTo>
                  <a:cubicBezTo>
                    <a:pt x="133441" y="1079136"/>
                    <a:pt x="91646" y="1150899"/>
                    <a:pt x="61284" y="1222613"/>
                  </a:cubicBezTo>
                  <a:cubicBezTo>
                    <a:pt x="30922" y="1294327"/>
                    <a:pt x="22320" y="1380101"/>
                    <a:pt x="11668" y="1453945"/>
                  </a:cubicBezTo>
                  <a:cubicBezTo>
                    <a:pt x="5013" y="1536849"/>
                    <a:pt x="3427" y="1633803"/>
                    <a:pt x="371" y="1595473"/>
                  </a:cubicBezTo>
                  <a:cubicBezTo>
                    <a:pt x="1772" y="1553776"/>
                    <a:pt x="-34" y="1345318"/>
                    <a:pt x="1" y="1232653"/>
                  </a:cubicBezTo>
                  <a:cubicBezTo>
                    <a:pt x="2150" y="1112825"/>
                    <a:pt x="-3573" y="1015994"/>
                    <a:pt x="28256" y="942182"/>
                  </a:cubicBezTo>
                  <a:cubicBezTo>
                    <a:pt x="60085" y="868370"/>
                    <a:pt x="102075" y="840713"/>
                    <a:pt x="190975" y="789781"/>
                  </a:cubicBezTo>
                  <a:cubicBezTo>
                    <a:pt x="279875" y="738849"/>
                    <a:pt x="400922" y="694928"/>
                    <a:pt x="561656" y="636587"/>
                  </a:cubicBezTo>
                  <a:cubicBezTo>
                    <a:pt x="722390" y="578247"/>
                    <a:pt x="938820" y="499401"/>
                    <a:pt x="1155381" y="439738"/>
                  </a:cubicBezTo>
                  <a:cubicBezTo>
                    <a:pt x="1371942" y="380075"/>
                    <a:pt x="1608348" y="329406"/>
                    <a:pt x="1861025" y="278606"/>
                  </a:cubicBezTo>
                  <a:cubicBezTo>
                    <a:pt x="2113702" y="227806"/>
                    <a:pt x="2419428" y="176345"/>
                    <a:pt x="2671443" y="134938"/>
                  </a:cubicBezTo>
                  <a:cubicBezTo>
                    <a:pt x="2923459" y="93531"/>
                    <a:pt x="3204446" y="52653"/>
                    <a:pt x="3373118" y="30163"/>
                  </a:cubicBezTo>
                  <a:cubicBezTo>
                    <a:pt x="3541790" y="7673"/>
                    <a:pt x="3583992" y="11642"/>
                    <a:pt x="3683475" y="0"/>
                  </a:cubicBezTo>
                  <a:close/>
                </a:path>
              </a:pathLst>
            </a:custGeom>
            <a:solidFill>
              <a:schemeClr val="accent1">
                <a:lumMod val="60000"/>
                <a:lumOff val="40000"/>
                <a:alpha val="18039"/>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86" name="TextBox 185">
              <a:extLst>
                <a:ext uri="{FF2B5EF4-FFF2-40B4-BE49-F238E27FC236}">
                  <a16:creationId xmlns:a16="http://schemas.microsoft.com/office/drawing/2014/main" id="{BB64C449-1FBB-4274-AC84-ADE25565E727}"/>
                </a:ext>
              </a:extLst>
            </p:cNvPr>
            <p:cNvSpPr txBox="1"/>
            <p:nvPr/>
          </p:nvSpPr>
          <p:spPr>
            <a:xfrm rot="16200000">
              <a:off x="6928831" y="4220608"/>
              <a:ext cx="1543344" cy="24622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Arial"/>
                  <a:ea typeface="+mn-ea"/>
                  <a:cs typeface="+mn-cs"/>
                </a:rPr>
                <a:t>Patients (%)</a:t>
              </a:r>
            </a:p>
          </p:txBody>
        </p:sp>
        <p:cxnSp>
          <p:nvCxnSpPr>
            <p:cNvPr id="187" name="Straight Connector 186">
              <a:extLst>
                <a:ext uri="{FF2B5EF4-FFF2-40B4-BE49-F238E27FC236}">
                  <a16:creationId xmlns:a16="http://schemas.microsoft.com/office/drawing/2014/main" id="{6AD49D6F-43CF-4E7B-8C1F-8D1C92D79CE6}"/>
                </a:ext>
              </a:extLst>
            </p:cNvPr>
            <p:cNvCxnSpPr/>
            <p:nvPr/>
          </p:nvCxnSpPr>
          <p:spPr>
            <a:xfrm>
              <a:off x="1078334" y="4725438"/>
              <a:ext cx="61931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200A0F6E-095A-4A30-8739-C9A16DCA23A3}"/>
                </a:ext>
              </a:extLst>
            </p:cNvPr>
            <p:cNvGrpSpPr/>
            <p:nvPr/>
          </p:nvGrpSpPr>
          <p:grpSpPr>
            <a:xfrm>
              <a:off x="3579703" y="3042279"/>
              <a:ext cx="3529586" cy="1187696"/>
              <a:chOff x="5478879" y="1375596"/>
              <a:chExt cx="3529586" cy="1263908"/>
            </a:xfrm>
          </p:grpSpPr>
          <p:sp>
            <p:nvSpPr>
              <p:cNvPr id="204" name="Rectangle 203">
                <a:extLst>
                  <a:ext uri="{FF2B5EF4-FFF2-40B4-BE49-F238E27FC236}">
                    <a16:creationId xmlns:a16="http://schemas.microsoft.com/office/drawing/2014/main" id="{9A483F1F-F7E8-4620-9CEC-C943B6B82259}"/>
                  </a:ext>
                </a:extLst>
              </p:cNvPr>
              <p:cNvSpPr/>
              <p:nvPr/>
            </p:nvSpPr>
            <p:spPr>
              <a:xfrm rot="16200000">
                <a:off x="5231696" y="1819728"/>
                <a:ext cx="694421" cy="20005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0000"/>
                    </a:solidFill>
                    <a:effectLst/>
                    <a:uLnTx/>
                    <a:uFillTx/>
                    <a:latin typeface="Arial"/>
                    <a:ea typeface="+mn-ea"/>
                    <a:cs typeface="+mn-cs"/>
                  </a:rPr>
                  <a:t>HR (95% CI)</a:t>
                </a:r>
                <a:endParaRPr kumimoji="0" lang="en-GB" sz="700" b="0" i="0" u="none" strike="noStrike" kern="1200" cap="none" spc="0" normalizeH="0" baseline="0" noProof="0">
                  <a:ln>
                    <a:noFill/>
                  </a:ln>
                  <a:solidFill>
                    <a:srgbClr val="000000"/>
                  </a:solidFill>
                  <a:effectLst/>
                  <a:uLnTx/>
                  <a:uFillTx/>
                  <a:latin typeface="Arial"/>
                  <a:ea typeface="+mn-ea"/>
                  <a:cs typeface="+mn-cs"/>
                </a:endParaRPr>
              </a:p>
            </p:txBody>
          </p:sp>
          <p:sp>
            <p:nvSpPr>
              <p:cNvPr id="205" name="TextBox 204">
                <a:extLst>
                  <a:ext uri="{FF2B5EF4-FFF2-40B4-BE49-F238E27FC236}">
                    <a16:creationId xmlns:a16="http://schemas.microsoft.com/office/drawing/2014/main" id="{6C754E5E-EBE1-43A8-9EEB-943CBA9B02B8}"/>
                  </a:ext>
                </a:extLst>
              </p:cNvPr>
              <p:cNvSpPr txBox="1"/>
              <p:nvPr/>
            </p:nvSpPr>
            <p:spPr>
              <a:xfrm>
                <a:off x="6682483" y="2524870"/>
                <a:ext cx="1603004" cy="114634"/>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0000"/>
                    </a:solidFill>
                    <a:effectLst/>
                    <a:uLnTx/>
                    <a:uFillTx/>
                    <a:latin typeface="Arial"/>
                    <a:ea typeface="+mn-ea"/>
                    <a:cs typeface="+mn-cs"/>
                  </a:rPr>
                  <a:t>NT-proBNP at randomization (pg/ml)</a:t>
                </a:r>
              </a:p>
            </p:txBody>
          </p:sp>
          <p:sp>
            <p:nvSpPr>
              <p:cNvPr id="206" name="TextBox 205">
                <a:extLst>
                  <a:ext uri="{FF2B5EF4-FFF2-40B4-BE49-F238E27FC236}">
                    <a16:creationId xmlns:a16="http://schemas.microsoft.com/office/drawing/2014/main" id="{17154F5C-3CD0-49E7-878E-824A9D7A9B98}"/>
                  </a:ext>
                </a:extLst>
              </p:cNvPr>
              <p:cNvSpPr txBox="1"/>
              <p:nvPr/>
            </p:nvSpPr>
            <p:spPr>
              <a:xfrm>
                <a:off x="5734462" y="1375596"/>
                <a:ext cx="125034" cy="1077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1.2</a:t>
                </a:r>
              </a:p>
            </p:txBody>
          </p:sp>
          <p:cxnSp>
            <p:nvCxnSpPr>
              <p:cNvPr id="207" name="Straight Connector 206">
                <a:extLst>
                  <a:ext uri="{FF2B5EF4-FFF2-40B4-BE49-F238E27FC236}">
                    <a16:creationId xmlns:a16="http://schemas.microsoft.com/office/drawing/2014/main" id="{C9EB8037-08C0-4F9A-923C-D5D86243F28F}"/>
                  </a:ext>
                </a:extLst>
              </p:cNvPr>
              <p:cNvCxnSpPr>
                <a:cxnSpLocks/>
              </p:cNvCxnSpPr>
              <p:nvPr/>
            </p:nvCxnSpPr>
            <p:spPr>
              <a:xfrm>
                <a:off x="5884394" y="1612839"/>
                <a:ext cx="30193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A3E44EC2-2ADC-4A59-A7D2-BD2814131C09}"/>
                  </a:ext>
                </a:extLst>
              </p:cNvPr>
              <p:cNvSpPr txBox="1"/>
              <p:nvPr/>
            </p:nvSpPr>
            <p:spPr>
              <a:xfrm>
                <a:off x="5734461" y="1558978"/>
                <a:ext cx="125035" cy="1077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1.0</a:t>
                </a:r>
              </a:p>
            </p:txBody>
          </p:sp>
          <p:sp>
            <p:nvSpPr>
              <p:cNvPr id="209" name="TextBox 208">
                <a:extLst>
                  <a:ext uri="{FF2B5EF4-FFF2-40B4-BE49-F238E27FC236}">
                    <a16:creationId xmlns:a16="http://schemas.microsoft.com/office/drawing/2014/main" id="{D8060D1E-0A43-4304-89C9-8578A397A03C}"/>
                  </a:ext>
                </a:extLst>
              </p:cNvPr>
              <p:cNvSpPr txBox="1"/>
              <p:nvPr/>
            </p:nvSpPr>
            <p:spPr>
              <a:xfrm>
                <a:off x="5734461" y="1734824"/>
                <a:ext cx="125035" cy="1077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0.8</a:t>
                </a:r>
              </a:p>
            </p:txBody>
          </p:sp>
          <p:sp>
            <p:nvSpPr>
              <p:cNvPr id="210" name="TextBox 209">
                <a:extLst>
                  <a:ext uri="{FF2B5EF4-FFF2-40B4-BE49-F238E27FC236}">
                    <a16:creationId xmlns:a16="http://schemas.microsoft.com/office/drawing/2014/main" id="{E27D27E5-0E07-43DD-9523-4BCF3512EBF8}"/>
                  </a:ext>
                </a:extLst>
              </p:cNvPr>
              <p:cNvSpPr txBox="1"/>
              <p:nvPr/>
            </p:nvSpPr>
            <p:spPr>
              <a:xfrm>
                <a:off x="5734461" y="1918206"/>
                <a:ext cx="125035" cy="1077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0.6</a:t>
                </a:r>
              </a:p>
            </p:txBody>
          </p:sp>
          <p:sp>
            <p:nvSpPr>
              <p:cNvPr id="211" name="TextBox 210">
                <a:extLst>
                  <a:ext uri="{FF2B5EF4-FFF2-40B4-BE49-F238E27FC236}">
                    <a16:creationId xmlns:a16="http://schemas.microsoft.com/office/drawing/2014/main" id="{15D7251C-4ABC-4B62-BDFD-6C8C99E8BB88}"/>
                  </a:ext>
                </a:extLst>
              </p:cNvPr>
              <p:cNvSpPr txBox="1"/>
              <p:nvPr/>
            </p:nvSpPr>
            <p:spPr>
              <a:xfrm>
                <a:off x="5734461" y="2099076"/>
                <a:ext cx="125035" cy="1077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0.4</a:t>
                </a:r>
              </a:p>
            </p:txBody>
          </p:sp>
          <p:sp>
            <p:nvSpPr>
              <p:cNvPr id="212" name="TextBox 211">
                <a:extLst>
                  <a:ext uri="{FF2B5EF4-FFF2-40B4-BE49-F238E27FC236}">
                    <a16:creationId xmlns:a16="http://schemas.microsoft.com/office/drawing/2014/main" id="{DDD3B358-F9C6-4F33-A16B-9D4AA455B349}"/>
                  </a:ext>
                </a:extLst>
              </p:cNvPr>
              <p:cNvSpPr txBox="1"/>
              <p:nvPr/>
            </p:nvSpPr>
            <p:spPr>
              <a:xfrm>
                <a:off x="5734461" y="2280051"/>
                <a:ext cx="125035" cy="107722"/>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0.2</a:t>
                </a:r>
              </a:p>
            </p:txBody>
          </p:sp>
          <p:sp>
            <p:nvSpPr>
              <p:cNvPr id="213" name="TextBox 212">
                <a:extLst>
                  <a:ext uri="{FF2B5EF4-FFF2-40B4-BE49-F238E27FC236}">
                    <a16:creationId xmlns:a16="http://schemas.microsoft.com/office/drawing/2014/main" id="{BA5BF406-9D02-4B3B-B7F6-F150148FA316}"/>
                  </a:ext>
                </a:extLst>
              </p:cNvPr>
              <p:cNvSpPr txBox="1"/>
              <p:nvPr/>
            </p:nvSpPr>
            <p:spPr>
              <a:xfrm>
                <a:off x="6046210" y="2378223"/>
                <a:ext cx="99387" cy="107722"/>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10</a:t>
                </a:r>
              </a:p>
            </p:txBody>
          </p:sp>
          <p:sp>
            <p:nvSpPr>
              <p:cNvPr id="214" name="TextBox 213">
                <a:extLst>
                  <a:ext uri="{FF2B5EF4-FFF2-40B4-BE49-F238E27FC236}">
                    <a16:creationId xmlns:a16="http://schemas.microsoft.com/office/drawing/2014/main" id="{8C9DF0B7-00A2-4B6C-9E38-D5B36DE96956}"/>
                  </a:ext>
                </a:extLst>
              </p:cNvPr>
              <p:cNvSpPr txBox="1"/>
              <p:nvPr/>
            </p:nvSpPr>
            <p:spPr>
              <a:xfrm>
                <a:off x="6331357"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1,000</a:t>
                </a:r>
              </a:p>
            </p:txBody>
          </p:sp>
          <p:sp>
            <p:nvSpPr>
              <p:cNvPr id="215" name="TextBox 214">
                <a:extLst>
                  <a:ext uri="{FF2B5EF4-FFF2-40B4-BE49-F238E27FC236}">
                    <a16:creationId xmlns:a16="http://schemas.microsoft.com/office/drawing/2014/main" id="{1FC9F058-3A17-4873-979C-EAB27225A39F}"/>
                  </a:ext>
                </a:extLst>
              </p:cNvPr>
              <p:cNvSpPr txBox="1"/>
              <p:nvPr/>
            </p:nvSpPr>
            <p:spPr>
              <a:xfrm>
                <a:off x="6681401"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2,000</a:t>
                </a:r>
              </a:p>
            </p:txBody>
          </p:sp>
          <p:sp>
            <p:nvSpPr>
              <p:cNvPr id="216" name="TextBox 215">
                <a:extLst>
                  <a:ext uri="{FF2B5EF4-FFF2-40B4-BE49-F238E27FC236}">
                    <a16:creationId xmlns:a16="http://schemas.microsoft.com/office/drawing/2014/main" id="{4F1B3FC1-0371-413A-8CAF-473A58D188AE}"/>
                  </a:ext>
                </a:extLst>
              </p:cNvPr>
              <p:cNvSpPr txBox="1"/>
              <p:nvPr/>
            </p:nvSpPr>
            <p:spPr>
              <a:xfrm>
                <a:off x="7029063"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3,000</a:t>
                </a:r>
              </a:p>
            </p:txBody>
          </p:sp>
          <p:sp>
            <p:nvSpPr>
              <p:cNvPr id="217" name="TextBox 216">
                <a:extLst>
                  <a:ext uri="{FF2B5EF4-FFF2-40B4-BE49-F238E27FC236}">
                    <a16:creationId xmlns:a16="http://schemas.microsoft.com/office/drawing/2014/main" id="{D28AC7B7-EFC9-4732-92EC-8F7CCF31F168}"/>
                  </a:ext>
                </a:extLst>
              </p:cNvPr>
              <p:cNvSpPr txBox="1"/>
              <p:nvPr/>
            </p:nvSpPr>
            <p:spPr>
              <a:xfrm>
                <a:off x="7379106"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4,000</a:t>
                </a:r>
              </a:p>
            </p:txBody>
          </p:sp>
          <p:sp>
            <p:nvSpPr>
              <p:cNvPr id="218" name="TextBox 217">
                <a:extLst>
                  <a:ext uri="{FF2B5EF4-FFF2-40B4-BE49-F238E27FC236}">
                    <a16:creationId xmlns:a16="http://schemas.microsoft.com/office/drawing/2014/main" id="{BFDE1AD3-9380-42A5-96CE-C77A4CD46413}"/>
                  </a:ext>
                </a:extLst>
              </p:cNvPr>
              <p:cNvSpPr txBox="1"/>
              <p:nvPr/>
            </p:nvSpPr>
            <p:spPr>
              <a:xfrm>
                <a:off x="7733912"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5,000</a:t>
                </a:r>
              </a:p>
            </p:txBody>
          </p:sp>
          <p:sp>
            <p:nvSpPr>
              <p:cNvPr id="219" name="TextBox 218">
                <a:extLst>
                  <a:ext uri="{FF2B5EF4-FFF2-40B4-BE49-F238E27FC236}">
                    <a16:creationId xmlns:a16="http://schemas.microsoft.com/office/drawing/2014/main" id="{16C40F74-92A9-43CE-9E6D-160F3F83E3F1}"/>
                  </a:ext>
                </a:extLst>
              </p:cNvPr>
              <p:cNvSpPr txBox="1"/>
              <p:nvPr/>
            </p:nvSpPr>
            <p:spPr>
              <a:xfrm>
                <a:off x="8083956"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6,000</a:t>
                </a:r>
              </a:p>
            </p:txBody>
          </p:sp>
          <p:sp>
            <p:nvSpPr>
              <p:cNvPr id="220" name="TextBox 219">
                <a:extLst>
                  <a:ext uri="{FF2B5EF4-FFF2-40B4-BE49-F238E27FC236}">
                    <a16:creationId xmlns:a16="http://schemas.microsoft.com/office/drawing/2014/main" id="{1BD9D4A7-C28E-4C1E-8984-6A3631F597B7}"/>
                  </a:ext>
                </a:extLst>
              </p:cNvPr>
              <p:cNvSpPr txBox="1"/>
              <p:nvPr/>
            </p:nvSpPr>
            <p:spPr>
              <a:xfrm>
                <a:off x="8429237"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7,000</a:t>
                </a:r>
              </a:p>
            </p:txBody>
          </p:sp>
          <p:sp>
            <p:nvSpPr>
              <p:cNvPr id="221" name="Freeform: Shape 220">
                <a:extLst>
                  <a:ext uri="{FF2B5EF4-FFF2-40B4-BE49-F238E27FC236}">
                    <a16:creationId xmlns:a16="http://schemas.microsoft.com/office/drawing/2014/main" id="{5785737F-831A-4850-9208-9CAD4F3E8A12}"/>
                  </a:ext>
                </a:extLst>
              </p:cNvPr>
              <p:cNvSpPr>
                <a:spLocks noChangeAspect="1"/>
              </p:cNvSpPr>
              <p:nvPr/>
            </p:nvSpPr>
            <p:spPr>
              <a:xfrm>
                <a:off x="6090511" y="1492638"/>
                <a:ext cx="2815449" cy="846502"/>
              </a:xfrm>
              <a:custGeom>
                <a:avLst/>
                <a:gdLst>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2525 w 3692525"/>
                  <a:gd name="connsiteY0" fmla="*/ 0 h 1660525"/>
                  <a:gd name="connsiteX1" fmla="*/ 3692525 w 3692525"/>
                  <a:gd name="connsiteY1" fmla="*/ 679450 h 1660525"/>
                  <a:gd name="connsiteX2" fmla="*/ 3009900 w 3692525"/>
                  <a:gd name="connsiteY2" fmla="*/ 679450 h 1660525"/>
                  <a:gd name="connsiteX3" fmla="*/ 2320925 w 3692525"/>
                  <a:gd name="connsiteY3" fmla="*/ 698500 h 1660525"/>
                  <a:gd name="connsiteX4" fmla="*/ 1555750 w 3692525"/>
                  <a:gd name="connsiteY4" fmla="*/ 733425 h 1660525"/>
                  <a:gd name="connsiteX5" fmla="*/ 781050 w 3692525"/>
                  <a:gd name="connsiteY5" fmla="*/ 796925 h 1660525"/>
                  <a:gd name="connsiteX6" fmla="*/ 390525 w 3692525"/>
                  <a:gd name="connsiteY6" fmla="*/ 882650 h 1660525"/>
                  <a:gd name="connsiteX7" fmla="*/ 158750 w 3692525"/>
                  <a:gd name="connsiteY7" fmla="*/ 1035050 h 1660525"/>
                  <a:gd name="connsiteX8" fmla="*/ 57150 w 3692525"/>
                  <a:gd name="connsiteY8" fmla="*/ 1209675 h 1660525"/>
                  <a:gd name="connsiteX9" fmla="*/ 0 w 3692525"/>
                  <a:gd name="connsiteY9" fmla="*/ 1438275 h 1660525"/>
                  <a:gd name="connsiteX10" fmla="*/ 0 w 3692525"/>
                  <a:gd name="connsiteY10" fmla="*/ 1660525 h 1660525"/>
                  <a:gd name="connsiteX11" fmla="*/ 0 w 3692525"/>
                  <a:gd name="connsiteY11" fmla="*/ 1228725 h 1660525"/>
                  <a:gd name="connsiteX12" fmla="*/ 15875 w 3692525"/>
                  <a:gd name="connsiteY12" fmla="*/ 987425 h 1660525"/>
                  <a:gd name="connsiteX13" fmla="*/ 95250 w 3692525"/>
                  <a:gd name="connsiteY13" fmla="*/ 844550 h 1660525"/>
                  <a:gd name="connsiteX14" fmla="*/ 539750 w 3692525"/>
                  <a:gd name="connsiteY14" fmla="*/ 641350 h 1660525"/>
                  <a:gd name="connsiteX15" fmla="*/ 1066800 w 3692525"/>
                  <a:gd name="connsiteY15" fmla="*/ 473075 h 1660525"/>
                  <a:gd name="connsiteX16" fmla="*/ 1831975 w 3692525"/>
                  <a:gd name="connsiteY16" fmla="*/ 285750 h 1660525"/>
                  <a:gd name="connsiteX17" fmla="*/ 2692400 w 3692525"/>
                  <a:gd name="connsiteY17" fmla="*/ 139700 h 1660525"/>
                  <a:gd name="connsiteX18" fmla="*/ 3394075 w 3692525"/>
                  <a:gd name="connsiteY18" fmla="*/ 34925 h 1660525"/>
                  <a:gd name="connsiteX19" fmla="*/ 3692525 w 3692525"/>
                  <a:gd name="connsiteY19" fmla="*/ 0 h 1660525"/>
                  <a:gd name="connsiteX0" fmla="*/ 3693701 w 3693701"/>
                  <a:gd name="connsiteY0" fmla="*/ 0 h 1660525"/>
                  <a:gd name="connsiteX1" fmla="*/ 3693701 w 3693701"/>
                  <a:gd name="connsiteY1" fmla="*/ 679450 h 1660525"/>
                  <a:gd name="connsiteX2" fmla="*/ 3011076 w 3693701"/>
                  <a:gd name="connsiteY2" fmla="*/ 679450 h 1660525"/>
                  <a:gd name="connsiteX3" fmla="*/ 2322101 w 3693701"/>
                  <a:gd name="connsiteY3" fmla="*/ 698500 h 1660525"/>
                  <a:gd name="connsiteX4" fmla="*/ 1556926 w 3693701"/>
                  <a:gd name="connsiteY4" fmla="*/ 733425 h 1660525"/>
                  <a:gd name="connsiteX5" fmla="*/ 782226 w 3693701"/>
                  <a:gd name="connsiteY5" fmla="*/ 796925 h 1660525"/>
                  <a:gd name="connsiteX6" fmla="*/ 391701 w 3693701"/>
                  <a:gd name="connsiteY6" fmla="*/ 882650 h 1660525"/>
                  <a:gd name="connsiteX7" fmla="*/ 159926 w 3693701"/>
                  <a:gd name="connsiteY7" fmla="*/ 1035050 h 1660525"/>
                  <a:gd name="connsiteX8" fmla="*/ 58326 w 3693701"/>
                  <a:gd name="connsiteY8" fmla="*/ 1209675 h 1660525"/>
                  <a:gd name="connsiteX9" fmla="*/ 1176 w 3693701"/>
                  <a:gd name="connsiteY9" fmla="*/ 1438275 h 1660525"/>
                  <a:gd name="connsiteX10" fmla="*/ 1176 w 3693701"/>
                  <a:gd name="connsiteY10" fmla="*/ 1660525 h 1660525"/>
                  <a:gd name="connsiteX11" fmla="*/ 1176 w 3693701"/>
                  <a:gd name="connsiteY11" fmla="*/ 1228725 h 1660525"/>
                  <a:gd name="connsiteX12" fmla="*/ 17051 w 3693701"/>
                  <a:gd name="connsiteY12" fmla="*/ 987425 h 1660525"/>
                  <a:gd name="connsiteX13" fmla="*/ 96426 w 3693701"/>
                  <a:gd name="connsiteY13" fmla="*/ 844550 h 1660525"/>
                  <a:gd name="connsiteX14" fmla="*/ 540926 w 3693701"/>
                  <a:gd name="connsiteY14" fmla="*/ 641350 h 1660525"/>
                  <a:gd name="connsiteX15" fmla="*/ 1067976 w 3693701"/>
                  <a:gd name="connsiteY15" fmla="*/ 473075 h 1660525"/>
                  <a:gd name="connsiteX16" fmla="*/ 1833151 w 3693701"/>
                  <a:gd name="connsiteY16" fmla="*/ 285750 h 1660525"/>
                  <a:gd name="connsiteX17" fmla="*/ 2693576 w 3693701"/>
                  <a:gd name="connsiteY17" fmla="*/ 139700 h 1660525"/>
                  <a:gd name="connsiteX18" fmla="*/ 3395251 w 3693701"/>
                  <a:gd name="connsiteY18" fmla="*/ 34925 h 1660525"/>
                  <a:gd name="connsiteX19" fmla="*/ 3693701 w 3693701"/>
                  <a:gd name="connsiteY19" fmla="*/ 0 h 1660525"/>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325158 w 3696758"/>
                  <a:gd name="connsiteY3" fmla="*/ 698500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14133 w 3696758"/>
                  <a:gd name="connsiteY2" fmla="*/ 679450 h 1664927"/>
                  <a:gd name="connsiteX3" fmla="*/ 2298964 w 3696758"/>
                  <a:gd name="connsiteY3" fmla="*/ 703263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98964 w 3696758"/>
                  <a:gd name="connsiteY3" fmla="*/ 703263 h 1664927"/>
                  <a:gd name="connsiteX4" fmla="*/ 1559983 w 3696758"/>
                  <a:gd name="connsiteY4" fmla="*/ 733425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98964 w 3696758"/>
                  <a:gd name="connsiteY3" fmla="*/ 703263 h 1664927"/>
                  <a:gd name="connsiteX4" fmla="*/ 1526646 w 3696758"/>
                  <a:gd name="connsiteY4" fmla="*/ 738188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785283 w 3696758"/>
                  <a:gd name="connsiteY5" fmla="*/ 796925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4758 w 3696758"/>
                  <a:gd name="connsiteY6" fmla="*/ 882650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2377 w 3696758"/>
                  <a:gd name="connsiteY6" fmla="*/ 896937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2377 w 3696758"/>
                  <a:gd name="connsiteY6" fmla="*/ 896937 h 1664927"/>
                  <a:gd name="connsiteX7" fmla="*/ 162983 w 3696758"/>
                  <a:gd name="connsiteY7" fmla="*/ 1035050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6758 w 3696758"/>
                  <a:gd name="connsiteY0" fmla="*/ 0 h 1664927"/>
                  <a:gd name="connsiteX1" fmla="*/ 3696758 w 3696758"/>
                  <a:gd name="connsiteY1" fmla="*/ 679450 h 1664927"/>
                  <a:gd name="connsiteX2" fmla="*/ 3042708 w 3696758"/>
                  <a:gd name="connsiteY2" fmla="*/ 684212 h 1664927"/>
                  <a:gd name="connsiteX3" fmla="*/ 2272771 w 3696758"/>
                  <a:gd name="connsiteY3" fmla="*/ 703263 h 1664927"/>
                  <a:gd name="connsiteX4" fmla="*/ 1526646 w 3696758"/>
                  <a:gd name="connsiteY4" fmla="*/ 738188 h 1664927"/>
                  <a:gd name="connsiteX5" fmla="*/ 813858 w 3696758"/>
                  <a:gd name="connsiteY5" fmla="*/ 799306 h 1664927"/>
                  <a:gd name="connsiteX6" fmla="*/ 392377 w 3696758"/>
                  <a:gd name="connsiteY6" fmla="*/ 896937 h 1664927"/>
                  <a:gd name="connsiteX7" fmla="*/ 182033 w 3696758"/>
                  <a:gd name="connsiteY7" fmla="*/ 1046957 h 1664927"/>
                  <a:gd name="connsiteX8" fmla="*/ 61383 w 3696758"/>
                  <a:gd name="connsiteY8" fmla="*/ 1209675 h 1664927"/>
                  <a:gd name="connsiteX9" fmla="*/ 4233 w 3696758"/>
                  <a:gd name="connsiteY9" fmla="*/ 1438275 h 1664927"/>
                  <a:gd name="connsiteX10" fmla="*/ 4233 w 3696758"/>
                  <a:gd name="connsiteY10" fmla="*/ 1660525 h 1664927"/>
                  <a:gd name="connsiteX11" fmla="*/ 4233 w 3696758"/>
                  <a:gd name="connsiteY11" fmla="*/ 1228725 h 1664927"/>
                  <a:gd name="connsiteX12" fmla="*/ 20108 w 3696758"/>
                  <a:gd name="connsiteY12" fmla="*/ 987425 h 1664927"/>
                  <a:gd name="connsiteX13" fmla="*/ 99483 w 3696758"/>
                  <a:gd name="connsiteY13" fmla="*/ 844550 h 1664927"/>
                  <a:gd name="connsiteX14" fmla="*/ 543983 w 3696758"/>
                  <a:gd name="connsiteY14" fmla="*/ 641350 h 1664927"/>
                  <a:gd name="connsiteX15" fmla="*/ 1071033 w 3696758"/>
                  <a:gd name="connsiteY15" fmla="*/ 473075 h 1664927"/>
                  <a:gd name="connsiteX16" fmla="*/ 1836208 w 3696758"/>
                  <a:gd name="connsiteY16" fmla="*/ 285750 h 1664927"/>
                  <a:gd name="connsiteX17" fmla="*/ 2696633 w 3696758"/>
                  <a:gd name="connsiteY17" fmla="*/ 139700 h 1664927"/>
                  <a:gd name="connsiteX18" fmla="*/ 3398308 w 3696758"/>
                  <a:gd name="connsiteY18" fmla="*/ 34925 h 1664927"/>
                  <a:gd name="connsiteX19" fmla="*/ 3696758 w 3696758"/>
                  <a:gd name="connsiteY19" fmla="*/ 0 h 1664927"/>
                  <a:gd name="connsiteX0" fmla="*/ 3697640 w 3697640"/>
                  <a:gd name="connsiteY0" fmla="*/ 0 h 1664903"/>
                  <a:gd name="connsiteX1" fmla="*/ 3697640 w 3697640"/>
                  <a:gd name="connsiteY1" fmla="*/ 679450 h 1664903"/>
                  <a:gd name="connsiteX2" fmla="*/ 3043590 w 3697640"/>
                  <a:gd name="connsiteY2" fmla="*/ 684212 h 1664903"/>
                  <a:gd name="connsiteX3" fmla="*/ 2273653 w 3697640"/>
                  <a:gd name="connsiteY3" fmla="*/ 703263 h 1664903"/>
                  <a:gd name="connsiteX4" fmla="*/ 1527528 w 3697640"/>
                  <a:gd name="connsiteY4" fmla="*/ 738188 h 1664903"/>
                  <a:gd name="connsiteX5" fmla="*/ 814740 w 3697640"/>
                  <a:gd name="connsiteY5" fmla="*/ 799306 h 1664903"/>
                  <a:gd name="connsiteX6" fmla="*/ 393259 w 3697640"/>
                  <a:gd name="connsiteY6" fmla="*/ 896937 h 1664903"/>
                  <a:gd name="connsiteX7" fmla="*/ 182915 w 3697640"/>
                  <a:gd name="connsiteY7" fmla="*/ 1046957 h 1664903"/>
                  <a:gd name="connsiteX8" fmla="*/ 74171 w 3697640"/>
                  <a:gd name="connsiteY8" fmla="*/ 1216819 h 1664903"/>
                  <a:gd name="connsiteX9" fmla="*/ 5115 w 3697640"/>
                  <a:gd name="connsiteY9" fmla="*/ 1438275 h 1664903"/>
                  <a:gd name="connsiteX10" fmla="*/ 5115 w 3697640"/>
                  <a:gd name="connsiteY10" fmla="*/ 1660525 h 1664903"/>
                  <a:gd name="connsiteX11" fmla="*/ 5115 w 3697640"/>
                  <a:gd name="connsiteY11" fmla="*/ 1228725 h 1664903"/>
                  <a:gd name="connsiteX12" fmla="*/ 20990 w 3697640"/>
                  <a:gd name="connsiteY12" fmla="*/ 987425 h 1664903"/>
                  <a:gd name="connsiteX13" fmla="*/ 100365 w 3697640"/>
                  <a:gd name="connsiteY13" fmla="*/ 844550 h 1664903"/>
                  <a:gd name="connsiteX14" fmla="*/ 544865 w 3697640"/>
                  <a:gd name="connsiteY14" fmla="*/ 641350 h 1664903"/>
                  <a:gd name="connsiteX15" fmla="*/ 1071915 w 3697640"/>
                  <a:gd name="connsiteY15" fmla="*/ 473075 h 1664903"/>
                  <a:gd name="connsiteX16" fmla="*/ 1837090 w 3697640"/>
                  <a:gd name="connsiteY16" fmla="*/ 285750 h 1664903"/>
                  <a:gd name="connsiteX17" fmla="*/ 2697515 w 3697640"/>
                  <a:gd name="connsiteY17" fmla="*/ 139700 h 1664903"/>
                  <a:gd name="connsiteX18" fmla="*/ 3399190 w 3697640"/>
                  <a:gd name="connsiteY18" fmla="*/ 34925 h 1664903"/>
                  <a:gd name="connsiteX19" fmla="*/ 3697640 w 3697640"/>
                  <a:gd name="connsiteY19" fmla="*/ 0 h 166490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79546 w 3694271"/>
                  <a:gd name="connsiteY7" fmla="*/ 1046957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77164 w 3694271"/>
                  <a:gd name="connsiteY7" fmla="*/ 1023145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86689 w 3694271"/>
                  <a:gd name="connsiteY7" fmla="*/ 1027907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4271 w 3694271"/>
                  <a:gd name="connsiteY0" fmla="*/ 0 h 1664153"/>
                  <a:gd name="connsiteX1" fmla="*/ 3694271 w 3694271"/>
                  <a:gd name="connsiteY1" fmla="*/ 679450 h 1664153"/>
                  <a:gd name="connsiteX2" fmla="*/ 3040221 w 3694271"/>
                  <a:gd name="connsiteY2" fmla="*/ 684212 h 1664153"/>
                  <a:gd name="connsiteX3" fmla="*/ 2270284 w 3694271"/>
                  <a:gd name="connsiteY3" fmla="*/ 703263 h 1664153"/>
                  <a:gd name="connsiteX4" fmla="*/ 1524159 w 3694271"/>
                  <a:gd name="connsiteY4" fmla="*/ 738188 h 1664153"/>
                  <a:gd name="connsiteX5" fmla="*/ 811371 w 3694271"/>
                  <a:gd name="connsiteY5" fmla="*/ 799306 h 1664153"/>
                  <a:gd name="connsiteX6" fmla="*/ 389890 w 3694271"/>
                  <a:gd name="connsiteY6" fmla="*/ 896937 h 1664153"/>
                  <a:gd name="connsiteX7" fmla="*/ 186689 w 3694271"/>
                  <a:gd name="connsiteY7" fmla="*/ 1027907 h 1664153"/>
                  <a:gd name="connsiteX8" fmla="*/ 70802 w 3694271"/>
                  <a:gd name="connsiteY8" fmla="*/ 1216819 h 1664153"/>
                  <a:gd name="connsiteX9" fmla="*/ 13652 w 3694271"/>
                  <a:gd name="connsiteY9" fmla="*/ 1423988 h 1664153"/>
                  <a:gd name="connsiteX10" fmla="*/ 1746 w 3694271"/>
                  <a:gd name="connsiteY10" fmla="*/ 1660525 h 1664153"/>
                  <a:gd name="connsiteX11" fmla="*/ 1746 w 3694271"/>
                  <a:gd name="connsiteY11" fmla="*/ 1228725 h 1664153"/>
                  <a:gd name="connsiteX12" fmla="*/ 17621 w 3694271"/>
                  <a:gd name="connsiteY12" fmla="*/ 987425 h 1664153"/>
                  <a:gd name="connsiteX13" fmla="*/ 96996 w 3694271"/>
                  <a:gd name="connsiteY13" fmla="*/ 844550 h 1664153"/>
                  <a:gd name="connsiteX14" fmla="*/ 541496 w 3694271"/>
                  <a:gd name="connsiteY14" fmla="*/ 641350 h 1664153"/>
                  <a:gd name="connsiteX15" fmla="*/ 1068546 w 3694271"/>
                  <a:gd name="connsiteY15" fmla="*/ 473075 h 1664153"/>
                  <a:gd name="connsiteX16" fmla="*/ 1833721 w 3694271"/>
                  <a:gd name="connsiteY16" fmla="*/ 285750 h 1664153"/>
                  <a:gd name="connsiteX17" fmla="*/ 2694146 w 3694271"/>
                  <a:gd name="connsiteY17" fmla="*/ 139700 h 1664153"/>
                  <a:gd name="connsiteX18" fmla="*/ 3395821 w 3694271"/>
                  <a:gd name="connsiteY18" fmla="*/ 34925 h 1664153"/>
                  <a:gd name="connsiteX19" fmla="*/ 3694271 w 3694271"/>
                  <a:gd name="connsiteY19" fmla="*/ 0 h 1664153"/>
                  <a:gd name="connsiteX0" fmla="*/ 3696148 w 3696148"/>
                  <a:gd name="connsiteY0" fmla="*/ 0 h 1664153"/>
                  <a:gd name="connsiteX1" fmla="*/ 3696148 w 3696148"/>
                  <a:gd name="connsiteY1" fmla="*/ 679450 h 1664153"/>
                  <a:gd name="connsiteX2" fmla="*/ 3042098 w 3696148"/>
                  <a:gd name="connsiteY2" fmla="*/ 684212 h 1664153"/>
                  <a:gd name="connsiteX3" fmla="*/ 2272161 w 3696148"/>
                  <a:gd name="connsiteY3" fmla="*/ 703263 h 1664153"/>
                  <a:gd name="connsiteX4" fmla="*/ 1526036 w 3696148"/>
                  <a:gd name="connsiteY4" fmla="*/ 738188 h 1664153"/>
                  <a:gd name="connsiteX5" fmla="*/ 813248 w 3696148"/>
                  <a:gd name="connsiteY5" fmla="*/ 799306 h 1664153"/>
                  <a:gd name="connsiteX6" fmla="*/ 391767 w 3696148"/>
                  <a:gd name="connsiteY6" fmla="*/ 896937 h 1664153"/>
                  <a:gd name="connsiteX7" fmla="*/ 188566 w 3696148"/>
                  <a:gd name="connsiteY7" fmla="*/ 1027907 h 1664153"/>
                  <a:gd name="connsiteX8" fmla="*/ 72679 w 3696148"/>
                  <a:gd name="connsiteY8" fmla="*/ 1216819 h 1664153"/>
                  <a:gd name="connsiteX9" fmla="*/ 15529 w 3696148"/>
                  <a:gd name="connsiteY9" fmla="*/ 1423988 h 1664153"/>
                  <a:gd name="connsiteX10" fmla="*/ 3623 w 3696148"/>
                  <a:gd name="connsiteY10" fmla="*/ 1660525 h 1664153"/>
                  <a:gd name="connsiteX11" fmla="*/ 3623 w 3696148"/>
                  <a:gd name="connsiteY11" fmla="*/ 1228725 h 1664153"/>
                  <a:gd name="connsiteX12" fmla="*/ 19498 w 3696148"/>
                  <a:gd name="connsiteY12" fmla="*/ 987425 h 1664153"/>
                  <a:gd name="connsiteX13" fmla="*/ 203648 w 3696148"/>
                  <a:gd name="connsiteY13" fmla="*/ 823119 h 1664153"/>
                  <a:gd name="connsiteX14" fmla="*/ 543373 w 3696148"/>
                  <a:gd name="connsiteY14" fmla="*/ 641350 h 1664153"/>
                  <a:gd name="connsiteX15" fmla="*/ 1070423 w 3696148"/>
                  <a:gd name="connsiteY15" fmla="*/ 473075 h 1664153"/>
                  <a:gd name="connsiteX16" fmla="*/ 1835598 w 3696148"/>
                  <a:gd name="connsiteY16" fmla="*/ 285750 h 1664153"/>
                  <a:gd name="connsiteX17" fmla="*/ 2696023 w 3696148"/>
                  <a:gd name="connsiteY17" fmla="*/ 139700 h 1664153"/>
                  <a:gd name="connsiteX18" fmla="*/ 3397698 w 3696148"/>
                  <a:gd name="connsiteY18" fmla="*/ 34925 h 1664153"/>
                  <a:gd name="connsiteX19" fmla="*/ 3696148 w 3696148"/>
                  <a:gd name="connsiteY19" fmla="*/ 0 h 1664153"/>
                  <a:gd name="connsiteX0" fmla="*/ 3699104 w 3699104"/>
                  <a:gd name="connsiteY0" fmla="*/ 0 h 1664153"/>
                  <a:gd name="connsiteX1" fmla="*/ 3699104 w 3699104"/>
                  <a:gd name="connsiteY1" fmla="*/ 679450 h 1664153"/>
                  <a:gd name="connsiteX2" fmla="*/ 3045054 w 3699104"/>
                  <a:gd name="connsiteY2" fmla="*/ 684212 h 1664153"/>
                  <a:gd name="connsiteX3" fmla="*/ 2275117 w 3699104"/>
                  <a:gd name="connsiteY3" fmla="*/ 703263 h 1664153"/>
                  <a:gd name="connsiteX4" fmla="*/ 1528992 w 3699104"/>
                  <a:gd name="connsiteY4" fmla="*/ 738188 h 1664153"/>
                  <a:gd name="connsiteX5" fmla="*/ 816204 w 3699104"/>
                  <a:gd name="connsiteY5" fmla="*/ 799306 h 1664153"/>
                  <a:gd name="connsiteX6" fmla="*/ 394723 w 3699104"/>
                  <a:gd name="connsiteY6" fmla="*/ 896937 h 1664153"/>
                  <a:gd name="connsiteX7" fmla="*/ 191522 w 3699104"/>
                  <a:gd name="connsiteY7" fmla="*/ 1027907 h 1664153"/>
                  <a:gd name="connsiteX8" fmla="*/ 75635 w 3699104"/>
                  <a:gd name="connsiteY8" fmla="*/ 1216819 h 1664153"/>
                  <a:gd name="connsiteX9" fmla="*/ 18485 w 3699104"/>
                  <a:gd name="connsiteY9" fmla="*/ 1423988 h 1664153"/>
                  <a:gd name="connsiteX10" fmla="*/ 6579 w 3699104"/>
                  <a:gd name="connsiteY10" fmla="*/ 1660525 h 1664153"/>
                  <a:gd name="connsiteX11" fmla="*/ 6579 w 3699104"/>
                  <a:gd name="connsiteY11" fmla="*/ 1228725 h 1664153"/>
                  <a:gd name="connsiteX12" fmla="*/ 89129 w 3699104"/>
                  <a:gd name="connsiteY12" fmla="*/ 954088 h 1664153"/>
                  <a:gd name="connsiteX13" fmla="*/ 206604 w 3699104"/>
                  <a:gd name="connsiteY13" fmla="*/ 823119 h 1664153"/>
                  <a:gd name="connsiteX14" fmla="*/ 546329 w 3699104"/>
                  <a:gd name="connsiteY14" fmla="*/ 641350 h 1664153"/>
                  <a:gd name="connsiteX15" fmla="*/ 1073379 w 3699104"/>
                  <a:gd name="connsiteY15" fmla="*/ 473075 h 1664153"/>
                  <a:gd name="connsiteX16" fmla="*/ 1838554 w 3699104"/>
                  <a:gd name="connsiteY16" fmla="*/ 285750 h 1664153"/>
                  <a:gd name="connsiteX17" fmla="*/ 2698979 w 3699104"/>
                  <a:gd name="connsiteY17" fmla="*/ 139700 h 1664153"/>
                  <a:gd name="connsiteX18" fmla="*/ 3400654 w 3699104"/>
                  <a:gd name="connsiteY18" fmla="*/ 34925 h 1664153"/>
                  <a:gd name="connsiteX19" fmla="*/ 3699104 w 3699104"/>
                  <a:gd name="connsiteY19" fmla="*/ 0 h 1664153"/>
                  <a:gd name="connsiteX0" fmla="*/ 3696479 w 3696479"/>
                  <a:gd name="connsiteY0" fmla="*/ 0 h 1664153"/>
                  <a:gd name="connsiteX1" fmla="*/ 3696479 w 3696479"/>
                  <a:gd name="connsiteY1" fmla="*/ 679450 h 1664153"/>
                  <a:gd name="connsiteX2" fmla="*/ 3042429 w 3696479"/>
                  <a:gd name="connsiteY2" fmla="*/ 684212 h 1664153"/>
                  <a:gd name="connsiteX3" fmla="*/ 2272492 w 3696479"/>
                  <a:gd name="connsiteY3" fmla="*/ 703263 h 1664153"/>
                  <a:gd name="connsiteX4" fmla="*/ 1526367 w 3696479"/>
                  <a:gd name="connsiteY4" fmla="*/ 738188 h 1664153"/>
                  <a:gd name="connsiteX5" fmla="*/ 813579 w 3696479"/>
                  <a:gd name="connsiteY5" fmla="*/ 799306 h 1664153"/>
                  <a:gd name="connsiteX6" fmla="*/ 392098 w 3696479"/>
                  <a:gd name="connsiteY6" fmla="*/ 896937 h 1664153"/>
                  <a:gd name="connsiteX7" fmla="*/ 188897 w 3696479"/>
                  <a:gd name="connsiteY7" fmla="*/ 1027907 h 1664153"/>
                  <a:gd name="connsiteX8" fmla="*/ 73010 w 3696479"/>
                  <a:gd name="connsiteY8" fmla="*/ 1216819 h 1664153"/>
                  <a:gd name="connsiteX9" fmla="*/ 15860 w 3696479"/>
                  <a:gd name="connsiteY9" fmla="*/ 1423988 h 1664153"/>
                  <a:gd name="connsiteX10" fmla="*/ 3954 w 3696479"/>
                  <a:gd name="connsiteY10" fmla="*/ 1660525 h 1664153"/>
                  <a:gd name="connsiteX11" fmla="*/ 3954 w 3696479"/>
                  <a:gd name="connsiteY11" fmla="*/ 1228725 h 1664153"/>
                  <a:gd name="connsiteX12" fmla="*/ 50785 w 3696479"/>
                  <a:gd name="connsiteY12" fmla="*/ 923132 h 1664153"/>
                  <a:gd name="connsiteX13" fmla="*/ 203979 w 3696479"/>
                  <a:gd name="connsiteY13" fmla="*/ 823119 h 1664153"/>
                  <a:gd name="connsiteX14" fmla="*/ 543704 w 3696479"/>
                  <a:gd name="connsiteY14" fmla="*/ 641350 h 1664153"/>
                  <a:gd name="connsiteX15" fmla="*/ 1070754 w 3696479"/>
                  <a:gd name="connsiteY15" fmla="*/ 473075 h 1664153"/>
                  <a:gd name="connsiteX16" fmla="*/ 1835929 w 3696479"/>
                  <a:gd name="connsiteY16" fmla="*/ 285750 h 1664153"/>
                  <a:gd name="connsiteX17" fmla="*/ 2696354 w 3696479"/>
                  <a:gd name="connsiteY17" fmla="*/ 139700 h 1664153"/>
                  <a:gd name="connsiteX18" fmla="*/ 3398029 w 3696479"/>
                  <a:gd name="connsiteY18" fmla="*/ 34925 h 1664153"/>
                  <a:gd name="connsiteX19" fmla="*/ 3696479 w 3696479"/>
                  <a:gd name="connsiteY19" fmla="*/ 0 h 1664153"/>
                  <a:gd name="connsiteX0" fmla="*/ 3692601 w 3692601"/>
                  <a:gd name="connsiteY0" fmla="*/ 0 h 1664546"/>
                  <a:gd name="connsiteX1" fmla="*/ 3692601 w 3692601"/>
                  <a:gd name="connsiteY1" fmla="*/ 679450 h 1664546"/>
                  <a:gd name="connsiteX2" fmla="*/ 3038551 w 3692601"/>
                  <a:gd name="connsiteY2" fmla="*/ 684212 h 1664546"/>
                  <a:gd name="connsiteX3" fmla="*/ 2268614 w 3692601"/>
                  <a:gd name="connsiteY3" fmla="*/ 703263 h 1664546"/>
                  <a:gd name="connsiteX4" fmla="*/ 1522489 w 3692601"/>
                  <a:gd name="connsiteY4" fmla="*/ 738188 h 1664546"/>
                  <a:gd name="connsiteX5" fmla="*/ 809701 w 3692601"/>
                  <a:gd name="connsiteY5" fmla="*/ 799306 h 1664546"/>
                  <a:gd name="connsiteX6" fmla="*/ 388220 w 3692601"/>
                  <a:gd name="connsiteY6" fmla="*/ 896937 h 1664546"/>
                  <a:gd name="connsiteX7" fmla="*/ 185019 w 3692601"/>
                  <a:gd name="connsiteY7" fmla="*/ 1027907 h 1664546"/>
                  <a:gd name="connsiteX8" fmla="*/ 69132 w 3692601"/>
                  <a:gd name="connsiteY8" fmla="*/ 1216819 h 1664546"/>
                  <a:gd name="connsiteX9" fmla="*/ 11982 w 3692601"/>
                  <a:gd name="connsiteY9" fmla="*/ 1423988 h 1664546"/>
                  <a:gd name="connsiteX10" fmla="*/ 76 w 3692601"/>
                  <a:gd name="connsiteY10" fmla="*/ 1660525 h 1664546"/>
                  <a:gd name="connsiteX11" fmla="*/ 14364 w 3692601"/>
                  <a:gd name="connsiteY11" fmla="*/ 1216819 h 1664546"/>
                  <a:gd name="connsiteX12" fmla="*/ 46907 w 3692601"/>
                  <a:gd name="connsiteY12" fmla="*/ 923132 h 1664546"/>
                  <a:gd name="connsiteX13" fmla="*/ 200101 w 3692601"/>
                  <a:gd name="connsiteY13" fmla="*/ 823119 h 1664546"/>
                  <a:gd name="connsiteX14" fmla="*/ 539826 w 3692601"/>
                  <a:gd name="connsiteY14" fmla="*/ 641350 h 1664546"/>
                  <a:gd name="connsiteX15" fmla="*/ 1066876 w 3692601"/>
                  <a:gd name="connsiteY15" fmla="*/ 473075 h 1664546"/>
                  <a:gd name="connsiteX16" fmla="*/ 1832051 w 3692601"/>
                  <a:gd name="connsiteY16" fmla="*/ 285750 h 1664546"/>
                  <a:gd name="connsiteX17" fmla="*/ 2692476 w 3692601"/>
                  <a:gd name="connsiteY17" fmla="*/ 139700 h 1664546"/>
                  <a:gd name="connsiteX18" fmla="*/ 3394151 w 3692601"/>
                  <a:gd name="connsiteY18" fmla="*/ 34925 h 1664546"/>
                  <a:gd name="connsiteX19" fmla="*/ 3692601 w 3692601"/>
                  <a:gd name="connsiteY19" fmla="*/ 0 h 1664546"/>
                  <a:gd name="connsiteX0" fmla="*/ 3694876 w 3694876"/>
                  <a:gd name="connsiteY0" fmla="*/ 0 h 1664308"/>
                  <a:gd name="connsiteX1" fmla="*/ 3694876 w 3694876"/>
                  <a:gd name="connsiteY1" fmla="*/ 679450 h 1664308"/>
                  <a:gd name="connsiteX2" fmla="*/ 3040826 w 3694876"/>
                  <a:gd name="connsiteY2" fmla="*/ 684212 h 1664308"/>
                  <a:gd name="connsiteX3" fmla="*/ 2270889 w 3694876"/>
                  <a:gd name="connsiteY3" fmla="*/ 703263 h 1664308"/>
                  <a:gd name="connsiteX4" fmla="*/ 1524764 w 3694876"/>
                  <a:gd name="connsiteY4" fmla="*/ 738188 h 1664308"/>
                  <a:gd name="connsiteX5" fmla="*/ 811976 w 3694876"/>
                  <a:gd name="connsiteY5" fmla="*/ 799306 h 1664308"/>
                  <a:gd name="connsiteX6" fmla="*/ 390495 w 3694876"/>
                  <a:gd name="connsiteY6" fmla="*/ 896937 h 1664308"/>
                  <a:gd name="connsiteX7" fmla="*/ 187294 w 3694876"/>
                  <a:gd name="connsiteY7" fmla="*/ 1027907 h 1664308"/>
                  <a:gd name="connsiteX8" fmla="*/ 71407 w 3694876"/>
                  <a:gd name="connsiteY8" fmla="*/ 1216819 h 1664308"/>
                  <a:gd name="connsiteX9" fmla="*/ 14257 w 3694876"/>
                  <a:gd name="connsiteY9" fmla="*/ 1423988 h 1664308"/>
                  <a:gd name="connsiteX10" fmla="*/ 2351 w 3694876"/>
                  <a:gd name="connsiteY10" fmla="*/ 1660525 h 1664308"/>
                  <a:gd name="connsiteX11" fmla="*/ 4733 w 3694876"/>
                  <a:gd name="connsiteY11" fmla="*/ 1223963 h 1664308"/>
                  <a:gd name="connsiteX12" fmla="*/ 49182 w 3694876"/>
                  <a:gd name="connsiteY12" fmla="*/ 923132 h 1664308"/>
                  <a:gd name="connsiteX13" fmla="*/ 202376 w 3694876"/>
                  <a:gd name="connsiteY13" fmla="*/ 823119 h 1664308"/>
                  <a:gd name="connsiteX14" fmla="*/ 542101 w 3694876"/>
                  <a:gd name="connsiteY14" fmla="*/ 641350 h 1664308"/>
                  <a:gd name="connsiteX15" fmla="*/ 1069151 w 3694876"/>
                  <a:gd name="connsiteY15" fmla="*/ 473075 h 1664308"/>
                  <a:gd name="connsiteX16" fmla="*/ 1834326 w 3694876"/>
                  <a:gd name="connsiteY16" fmla="*/ 285750 h 1664308"/>
                  <a:gd name="connsiteX17" fmla="*/ 2694751 w 3694876"/>
                  <a:gd name="connsiteY17" fmla="*/ 139700 h 1664308"/>
                  <a:gd name="connsiteX18" fmla="*/ 3396426 w 3694876"/>
                  <a:gd name="connsiteY18" fmla="*/ 34925 h 1664308"/>
                  <a:gd name="connsiteX19" fmla="*/ 3694876 w 3694876"/>
                  <a:gd name="connsiteY19" fmla="*/ 0 h 1664308"/>
                  <a:gd name="connsiteX0" fmla="*/ 3775897 w 3775897"/>
                  <a:gd name="connsiteY0" fmla="*/ 0 h 1582686"/>
                  <a:gd name="connsiteX1" fmla="*/ 3775897 w 3775897"/>
                  <a:gd name="connsiteY1" fmla="*/ 679450 h 1582686"/>
                  <a:gd name="connsiteX2" fmla="*/ 3121847 w 3775897"/>
                  <a:gd name="connsiteY2" fmla="*/ 684212 h 1582686"/>
                  <a:gd name="connsiteX3" fmla="*/ 2351910 w 3775897"/>
                  <a:gd name="connsiteY3" fmla="*/ 703263 h 1582686"/>
                  <a:gd name="connsiteX4" fmla="*/ 1605785 w 3775897"/>
                  <a:gd name="connsiteY4" fmla="*/ 738188 h 1582686"/>
                  <a:gd name="connsiteX5" fmla="*/ 892997 w 3775897"/>
                  <a:gd name="connsiteY5" fmla="*/ 799306 h 1582686"/>
                  <a:gd name="connsiteX6" fmla="*/ 471516 w 3775897"/>
                  <a:gd name="connsiteY6" fmla="*/ 896937 h 1582686"/>
                  <a:gd name="connsiteX7" fmla="*/ 268315 w 3775897"/>
                  <a:gd name="connsiteY7" fmla="*/ 1027907 h 1582686"/>
                  <a:gd name="connsiteX8" fmla="*/ 152428 w 3775897"/>
                  <a:gd name="connsiteY8" fmla="*/ 1216819 h 1582686"/>
                  <a:gd name="connsiteX9" fmla="*/ 95278 w 3775897"/>
                  <a:gd name="connsiteY9" fmla="*/ 1423988 h 1582686"/>
                  <a:gd name="connsiteX10" fmla="*/ 28 w 3775897"/>
                  <a:gd name="connsiteY10" fmla="*/ 1577181 h 1582686"/>
                  <a:gd name="connsiteX11" fmla="*/ 85754 w 3775897"/>
                  <a:gd name="connsiteY11" fmla="*/ 1223963 h 1582686"/>
                  <a:gd name="connsiteX12" fmla="*/ 130203 w 3775897"/>
                  <a:gd name="connsiteY12" fmla="*/ 923132 h 1582686"/>
                  <a:gd name="connsiteX13" fmla="*/ 283397 w 3775897"/>
                  <a:gd name="connsiteY13" fmla="*/ 823119 h 1582686"/>
                  <a:gd name="connsiteX14" fmla="*/ 623122 w 3775897"/>
                  <a:gd name="connsiteY14" fmla="*/ 641350 h 1582686"/>
                  <a:gd name="connsiteX15" fmla="*/ 1150172 w 3775897"/>
                  <a:gd name="connsiteY15" fmla="*/ 473075 h 1582686"/>
                  <a:gd name="connsiteX16" fmla="*/ 1915347 w 3775897"/>
                  <a:gd name="connsiteY16" fmla="*/ 285750 h 1582686"/>
                  <a:gd name="connsiteX17" fmla="*/ 2775772 w 3775897"/>
                  <a:gd name="connsiteY17" fmla="*/ 139700 h 1582686"/>
                  <a:gd name="connsiteX18" fmla="*/ 3477447 w 3775897"/>
                  <a:gd name="connsiteY18" fmla="*/ 34925 h 1582686"/>
                  <a:gd name="connsiteX19" fmla="*/ 3775897 w 3775897"/>
                  <a:gd name="connsiteY19" fmla="*/ 0 h 1582686"/>
                  <a:gd name="connsiteX0" fmla="*/ 3693818 w 3693818"/>
                  <a:gd name="connsiteY0" fmla="*/ 0 h 1652579"/>
                  <a:gd name="connsiteX1" fmla="*/ 3693818 w 3693818"/>
                  <a:gd name="connsiteY1" fmla="*/ 679450 h 1652579"/>
                  <a:gd name="connsiteX2" fmla="*/ 3039768 w 3693818"/>
                  <a:gd name="connsiteY2" fmla="*/ 684212 h 1652579"/>
                  <a:gd name="connsiteX3" fmla="*/ 2269831 w 3693818"/>
                  <a:gd name="connsiteY3" fmla="*/ 703263 h 1652579"/>
                  <a:gd name="connsiteX4" fmla="*/ 1523706 w 3693818"/>
                  <a:gd name="connsiteY4" fmla="*/ 738188 h 1652579"/>
                  <a:gd name="connsiteX5" fmla="*/ 810918 w 3693818"/>
                  <a:gd name="connsiteY5" fmla="*/ 799306 h 1652579"/>
                  <a:gd name="connsiteX6" fmla="*/ 389437 w 3693818"/>
                  <a:gd name="connsiteY6" fmla="*/ 896937 h 1652579"/>
                  <a:gd name="connsiteX7" fmla="*/ 186236 w 3693818"/>
                  <a:gd name="connsiteY7" fmla="*/ 1027907 h 1652579"/>
                  <a:gd name="connsiteX8" fmla="*/ 70349 w 3693818"/>
                  <a:gd name="connsiteY8" fmla="*/ 1216819 h 1652579"/>
                  <a:gd name="connsiteX9" fmla="*/ 13199 w 3693818"/>
                  <a:gd name="connsiteY9" fmla="*/ 1423988 h 1652579"/>
                  <a:gd name="connsiteX10" fmla="*/ 3674 w 3693818"/>
                  <a:gd name="connsiteY10" fmla="*/ 1648619 h 1652579"/>
                  <a:gd name="connsiteX11" fmla="*/ 3675 w 3693818"/>
                  <a:gd name="connsiteY11" fmla="*/ 1223963 h 1652579"/>
                  <a:gd name="connsiteX12" fmla="*/ 48124 w 3693818"/>
                  <a:gd name="connsiteY12" fmla="*/ 923132 h 1652579"/>
                  <a:gd name="connsiteX13" fmla="*/ 201318 w 3693818"/>
                  <a:gd name="connsiteY13" fmla="*/ 823119 h 1652579"/>
                  <a:gd name="connsiteX14" fmla="*/ 541043 w 3693818"/>
                  <a:gd name="connsiteY14" fmla="*/ 641350 h 1652579"/>
                  <a:gd name="connsiteX15" fmla="*/ 1068093 w 3693818"/>
                  <a:gd name="connsiteY15" fmla="*/ 473075 h 1652579"/>
                  <a:gd name="connsiteX16" fmla="*/ 1833268 w 3693818"/>
                  <a:gd name="connsiteY16" fmla="*/ 285750 h 1652579"/>
                  <a:gd name="connsiteX17" fmla="*/ 2693693 w 3693818"/>
                  <a:gd name="connsiteY17" fmla="*/ 139700 h 1652579"/>
                  <a:gd name="connsiteX18" fmla="*/ 3395368 w 3693818"/>
                  <a:gd name="connsiteY18" fmla="*/ 34925 h 1652579"/>
                  <a:gd name="connsiteX19" fmla="*/ 3693818 w 3693818"/>
                  <a:gd name="connsiteY19" fmla="*/ 0 h 1652579"/>
                  <a:gd name="connsiteX0" fmla="*/ 3693818 w 3693818"/>
                  <a:gd name="connsiteY0" fmla="*/ 0 h 1652579"/>
                  <a:gd name="connsiteX1" fmla="*/ 3693818 w 3693818"/>
                  <a:gd name="connsiteY1" fmla="*/ 679450 h 1652579"/>
                  <a:gd name="connsiteX2" fmla="*/ 3039768 w 3693818"/>
                  <a:gd name="connsiteY2" fmla="*/ 684212 h 1652579"/>
                  <a:gd name="connsiteX3" fmla="*/ 2269831 w 3693818"/>
                  <a:gd name="connsiteY3" fmla="*/ 703263 h 1652579"/>
                  <a:gd name="connsiteX4" fmla="*/ 1523706 w 3693818"/>
                  <a:gd name="connsiteY4" fmla="*/ 738188 h 1652579"/>
                  <a:gd name="connsiteX5" fmla="*/ 810918 w 3693818"/>
                  <a:gd name="connsiteY5" fmla="*/ 799306 h 1652579"/>
                  <a:gd name="connsiteX6" fmla="*/ 389437 w 3693818"/>
                  <a:gd name="connsiteY6" fmla="*/ 896937 h 1652579"/>
                  <a:gd name="connsiteX7" fmla="*/ 186236 w 3693818"/>
                  <a:gd name="connsiteY7" fmla="*/ 1027907 h 1652579"/>
                  <a:gd name="connsiteX8" fmla="*/ 70349 w 3693818"/>
                  <a:gd name="connsiteY8" fmla="*/ 1216819 h 1652579"/>
                  <a:gd name="connsiteX9" fmla="*/ 13199 w 3693818"/>
                  <a:gd name="connsiteY9" fmla="*/ 1423988 h 1652579"/>
                  <a:gd name="connsiteX10" fmla="*/ 3674 w 3693818"/>
                  <a:gd name="connsiteY10" fmla="*/ 1648619 h 1652579"/>
                  <a:gd name="connsiteX11" fmla="*/ 3675 w 3693818"/>
                  <a:gd name="connsiteY11" fmla="*/ 1223963 h 1652579"/>
                  <a:gd name="connsiteX12" fmla="*/ 48124 w 3693818"/>
                  <a:gd name="connsiteY12" fmla="*/ 923132 h 1652579"/>
                  <a:gd name="connsiteX13" fmla="*/ 201318 w 3693818"/>
                  <a:gd name="connsiteY13" fmla="*/ 823119 h 1652579"/>
                  <a:gd name="connsiteX14" fmla="*/ 541043 w 3693818"/>
                  <a:gd name="connsiteY14" fmla="*/ 641350 h 1652579"/>
                  <a:gd name="connsiteX15" fmla="*/ 1068093 w 3693818"/>
                  <a:gd name="connsiteY15" fmla="*/ 473075 h 1652579"/>
                  <a:gd name="connsiteX16" fmla="*/ 1833268 w 3693818"/>
                  <a:gd name="connsiteY16" fmla="*/ 285750 h 1652579"/>
                  <a:gd name="connsiteX17" fmla="*/ 2693693 w 3693818"/>
                  <a:gd name="connsiteY17" fmla="*/ 139700 h 1652579"/>
                  <a:gd name="connsiteX18" fmla="*/ 3395368 w 3693818"/>
                  <a:gd name="connsiteY18" fmla="*/ 34925 h 1652579"/>
                  <a:gd name="connsiteX19" fmla="*/ 3693818 w 3693818"/>
                  <a:gd name="connsiteY19" fmla="*/ 0 h 1652579"/>
                  <a:gd name="connsiteX0" fmla="*/ 3693818 w 3693818"/>
                  <a:gd name="connsiteY0" fmla="*/ 0 h 1652579"/>
                  <a:gd name="connsiteX1" fmla="*/ 3693818 w 3693818"/>
                  <a:gd name="connsiteY1" fmla="*/ 679450 h 1652579"/>
                  <a:gd name="connsiteX2" fmla="*/ 3039768 w 3693818"/>
                  <a:gd name="connsiteY2" fmla="*/ 684212 h 1652579"/>
                  <a:gd name="connsiteX3" fmla="*/ 2269831 w 3693818"/>
                  <a:gd name="connsiteY3" fmla="*/ 703263 h 1652579"/>
                  <a:gd name="connsiteX4" fmla="*/ 1523706 w 3693818"/>
                  <a:gd name="connsiteY4" fmla="*/ 738188 h 1652579"/>
                  <a:gd name="connsiteX5" fmla="*/ 810918 w 3693818"/>
                  <a:gd name="connsiteY5" fmla="*/ 799306 h 1652579"/>
                  <a:gd name="connsiteX6" fmla="*/ 389437 w 3693818"/>
                  <a:gd name="connsiteY6" fmla="*/ 896937 h 1652579"/>
                  <a:gd name="connsiteX7" fmla="*/ 186236 w 3693818"/>
                  <a:gd name="connsiteY7" fmla="*/ 1027907 h 1652579"/>
                  <a:gd name="connsiteX8" fmla="*/ 70349 w 3693818"/>
                  <a:gd name="connsiteY8" fmla="*/ 1216819 h 1652579"/>
                  <a:gd name="connsiteX9" fmla="*/ 13199 w 3693818"/>
                  <a:gd name="connsiteY9" fmla="*/ 1423988 h 1652579"/>
                  <a:gd name="connsiteX10" fmla="*/ 3674 w 3693818"/>
                  <a:gd name="connsiteY10" fmla="*/ 1648619 h 1652579"/>
                  <a:gd name="connsiteX11" fmla="*/ 3675 w 3693818"/>
                  <a:gd name="connsiteY11" fmla="*/ 1223963 h 1652579"/>
                  <a:gd name="connsiteX12" fmla="*/ 48124 w 3693818"/>
                  <a:gd name="connsiteY12" fmla="*/ 923132 h 1652579"/>
                  <a:gd name="connsiteX13" fmla="*/ 201318 w 3693818"/>
                  <a:gd name="connsiteY13" fmla="*/ 789781 h 1652579"/>
                  <a:gd name="connsiteX14" fmla="*/ 541043 w 3693818"/>
                  <a:gd name="connsiteY14" fmla="*/ 641350 h 1652579"/>
                  <a:gd name="connsiteX15" fmla="*/ 1068093 w 3693818"/>
                  <a:gd name="connsiteY15" fmla="*/ 473075 h 1652579"/>
                  <a:gd name="connsiteX16" fmla="*/ 1833268 w 3693818"/>
                  <a:gd name="connsiteY16" fmla="*/ 285750 h 1652579"/>
                  <a:gd name="connsiteX17" fmla="*/ 2693693 w 3693818"/>
                  <a:gd name="connsiteY17" fmla="*/ 139700 h 1652579"/>
                  <a:gd name="connsiteX18" fmla="*/ 3395368 w 3693818"/>
                  <a:gd name="connsiteY18" fmla="*/ 34925 h 1652579"/>
                  <a:gd name="connsiteX19" fmla="*/ 3693818 w 3693818"/>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40346 w 3693121"/>
                  <a:gd name="connsiteY14" fmla="*/ 641350 h 1652579"/>
                  <a:gd name="connsiteX15" fmla="*/ 1067396 w 3693121"/>
                  <a:gd name="connsiteY15" fmla="*/ 473075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64159 w 3693121"/>
                  <a:gd name="connsiteY14" fmla="*/ 665162 h 1652579"/>
                  <a:gd name="connsiteX15" fmla="*/ 1067396 w 3693121"/>
                  <a:gd name="connsiteY15" fmla="*/ 473075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067396 w 3693121"/>
                  <a:gd name="connsiteY15" fmla="*/ 473075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8 w 3693121"/>
                  <a:gd name="connsiteY15" fmla="*/ 515937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0221 w 3693121"/>
                  <a:gd name="connsiteY5" fmla="*/ 799306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388740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185539 w 3693121"/>
                  <a:gd name="connsiteY7" fmla="*/ 1027907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53121 w 3693121"/>
                  <a:gd name="connsiteY15" fmla="*/ 44688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0264 w 3693121"/>
                  <a:gd name="connsiteY15" fmla="*/ 504031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32571 w 3693121"/>
                  <a:gd name="connsiteY16" fmla="*/ 285750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68290 w 3693121"/>
                  <a:gd name="connsiteY16" fmla="*/ 359569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92996 w 3693121"/>
                  <a:gd name="connsiteY17" fmla="*/ 139700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714427 w 3693121"/>
                  <a:gd name="connsiteY17" fmla="*/ 194469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94671 w 3693121"/>
                  <a:gd name="connsiteY18" fmla="*/ 34925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418483 w 3693121"/>
                  <a:gd name="connsiteY18" fmla="*/ 89694 h 1652579"/>
                  <a:gd name="connsiteX19" fmla="*/ 3693121 w 3693121"/>
                  <a:gd name="connsiteY19" fmla="*/ 0 h 1652579"/>
                  <a:gd name="connsiteX0" fmla="*/ 3693121 w 3693121"/>
                  <a:gd name="connsiteY0" fmla="*/ 0 h 1652579"/>
                  <a:gd name="connsiteX1" fmla="*/ 3693121 w 3693121"/>
                  <a:gd name="connsiteY1" fmla="*/ 679450 h 1652579"/>
                  <a:gd name="connsiteX2" fmla="*/ 3039071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591343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681831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681831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48596 w 3693121"/>
                  <a:gd name="connsiteY2" fmla="*/ 681831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55740 w 3693121"/>
                  <a:gd name="connsiteY2" fmla="*/ 555624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69134 w 3693121"/>
                  <a:gd name="connsiteY3" fmla="*/ 703263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23009 w 3693121"/>
                  <a:gd name="connsiteY4" fmla="*/ 738188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14984 w 3693121"/>
                  <a:gd name="connsiteY5" fmla="*/ 806450 h 1652579"/>
                  <a:gd name="connsiteX6" fmla="*/ 405409 w 3693121"/>
                  <a:gd name="connsiteY6" fmla="*/ 896937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14984 w 3693121"/>
                  <a:gd name="connsiteY5" fmla="*/ 806450 h 1652579"/>
                  <a:gd name="connsiteX6" fmla="*/ 408584 w 3693121"/>
                  <a:gd name="connsiteY6" fmla="*/ 84931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14984 w 3693121"/>
                  <a:gd name="connsiteY5" fmla="*/ 806450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94359 w 3693121"/>
                  <a:gd name="connsiteY5" fmla="*/ 774700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1103 w 3693121"/>
                  <a:gd name="connsiteY4" fmla="*/ 74295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17453 w 3693121"/>
                  <a:gd name="connsiteY4" fmla="*/ 73025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223890 w 3693121"/>
                  <a:gd name="connsiteY3" fmla="*/ 710407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66740 w 3693121"/>
                  <a:gd name="connsiteY3" fmla="*/ 700882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66740 w 3693121"/>
                  <a:gd name="connsiteY3" fmla="*/ 700882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6601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870671 w 3693121"/>
                  <a:gd name="connsiteY16" fmla="*/ 278606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771677 w 3693121"/>
                  <a:gd name="connsiteY16" fmla="*/ 253197 h 1652579"/>
                  <a:gd name="connsiteX17" fmla="*/ 2681089 w 3693121"/>
                  <a:gd name="connsiteY17" fmla="*/ 134938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165027 w 3693121"/>
                  <a:gd name="connsiteY15" fmla="*/ 439738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571302 w 3693121"/>
                  <a:gd name="connsiteY14" fmla="*/ 636587 h 1652579"/>
                  <a:gd name="connsiteX15" fmla="*/ 1013236 w 3693121"/>
                  <a:gd name="connsiteY15" fmla="*/ 380450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200621 w 3693121"/>
                  <a:gd name="connsiteY13" fmla="*/ 789781 h 1652579"/>
                  <a:gd name="connsiteX14" fmla="*/ 472308 w 3693121"/>
                  <a:gd name="connsiteY14" fmla="*/ 509541 h 1652579"/>
                  <a:gd name="connsiteX15" fmla="*/ 1013236 w 3693121"/>
                  <a:gd name="connsiteY15" fmla="*/ 380450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134624 w 3693121"/>
                  <a:gd name="connsiteY13" fmla="*/ 586507 h 1652579"/>
                  <a:gd name="connsiteX14" fmla="*/ 472308 w 3693121"/>
                  <a:gd name="connsiteY14" fmla="*/ 509541 h 1652579"/>
                  <a:gd name="connsiteX15" fmla="*/ 1013236 w 3693121"/>
                  <a:gd name="connsiteY15" fmla="*/ 380450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134624 w 3693121"/>
                  <a:gd name="connsiteY13" fmla="*/ 586507 h 1652579"/>
                  <a:gd name="connsiteX14" fmla="*/ 551504 w 3693121"/>
                  <a:gd name="connsiteY14" fmla="*/ 446018 h 1652579"/>
                  <a:gd name="connsiteX15" fmla="*/ 1013236 w 3693121"/>
                  <a:gd name="connsiteY15" fmla="*/ 380450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942182 h 1652579"/>
                  <a:gd name="connsiteX13" fmla="*/ 134624 w 3693121"/>
                  <a:gd name="connsiteY13" fmla="*/ 586507 h 1652579"/>
                  <a:gd name="connsiteX14" fmla="*/ 551504 w 3693121"/>
                  <a:gd name="connsiteY14" fmla="*/ 446018 h 1652579"/>
                  <a:gd name="connsiteX15" fmla="*/ 1039635 w 3693121"/>
                  <a:gd name="connsiteY15" fmla="*/ 350806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3121 w 3693121"/>
                  <a:gd name="connsiteY0" fmla="*/ 0 h 1652579"/>
                  <a:gd name="connsiteX1" fmla="*/ 3693121 w 3693121"/>
                  <a:gd name="connsiteY1" fmla="*/ 679450 h 1652579"/>
                  <a:gd name="connsiteX2" fmla="*/ 3034308 w 3693121"/>
                  <a:gd name="connsiteY2" fmla="*/ 684212 h 1652579"/>
                  <a:gd name="connsiteX3" fmla="*/ 2182615 w 3693121"/>
                  <a:gd name="connsiteY3" fmla="*/ 710407 h 1652579"/>
                  <a:gd name="connsiteX4" fmla="*/ 1536503 w 3693121"/>
                  <a:gd name="connsiteY4" fmla="*/ 739776 h 1652579"/>
                  <a:gd name="connsiteX5" fmla="*/ 859434 w 3693121"/>
                  <a:gd name="connsiteY5" fmla="*/ 796925 h 1652579"/>
                  <a:gd name="connsiteX6" fmla="*/ 437159 w 3693121"/>
                  <a:gd name="connsiteY6" fmla="*/ 881062 h 1652579"/>
                  <a:gd name="connsiteX7" fmla="*/ 202208 w 3693121"/>
                  <a:gd name="connsiteY7" fmla="*/ 1020763 h 1652579"/>
                  <a:gd name="connsiteX8" fmla="*/ 69652 w 3693121"/>
                  <a:gd name="connsiteY8" fmla="*/ 1216819 h 1652579"/>
                  <a:gd name="connsiteX9" fmla="*/ 12502 w 3693121"/>
                  <a:gd name="connsiteY9" fmla="*/ 1423988 h 1652579"/>
                  <a:gd name="connsiteX10" fmla="*/ 2977 w 3693121"/>
                  <a:gd name="connsiteY10" fmla="*/ 1648619 h 1652579"/>
                  <a:gd name="connsiteX11" fmla="*/ 2978 w 3693121"/>
                  <a:gd name="connsiteY11" fmla="*/ 1223963 h 1652579"/>
                  <a:gd name="connsiteX12" fmla="*/ 37902 w 3693121"/>
                  <a:gd name="connsiteY12" fmla="*/ 789726 h 1652579"/>
                  <a:gd name="connsiteX13" fmla="*/ 134624 w 3693121"/>
                  <a:gd name="connsiteY13" fmla="*/ 586507 h 1652579"/>
                  <a:gd name="connsiteX14" fmla="*/ 551504 w 3693121"/>
                  <a:gd name="connsiteY14" fmla="*/ 446018 h 1652579"/>
                  <a:gd name="connsiteX15" fmla="*/ 1039635 w 3693121"/>
                  <a:gd name="connsiteY15" fmla="*/ 350806 h 1652579"/>
                  <a:gd name="connsiteX16" fmla="*/ 1771677 w 3693121"/>
                  <a:gd name="connsiteY16" fmla="*/ 253197 h 1652579"/>
                  <a:gd name="connsiteX17" fmla="*/ 2681088 w 3693121"/>
                  <a:gd name="connsiteY17" fmla="*/ 117999 h 1652579"/>
                  <a:gd name="connsiteX18" fmla="*/ 3382764 w 3693121"/>
                  <a:gd name="connsiteY18" fmla="*/ 30163 h 1652579"/>
                  <a:gd name="connsiteX19" fmla="*/ 3693121 w 3693121"/>
                  <a:gd name="connsiteY19" fmla="*/ 0 h 1652579"/>
                  <a:gd name="connsiteX0" fmla="*/ 3690225 w 3690225"/>
                  <a:gd name="connsiteY0" fmla="*/ 0 h 1652579"/>
                  <a:gd name="connsiteX1" fmla="*/ 3690225 w 3690225"/>
                  <a:gd name="connsiteY1" fmla="*/ 679450 h 1652579"/>
                  <a:gd name="connsiteX2" fmla="*/ 3031412 w 3690225"/>
                  <a:gd name="connsiteY2" fmla="*/ 684212 h 1652579"/>
                  <a:gd name="connsiteX3" fmla="*/ 2179719 w 3690225"/>
                  <a:gd name="connsiteY3" fmla="*/ 710407 h 1652579"/>
                  <a:gd name="connsiteX4" fmla="*/ 1533607 w 3690225"/>
                  <a:gd name="connsiteY4" fmla="*/ 739776 h 1652579"/>
                  <a:gd name="connsiteX5" fmla="*/ 856538 w 3690225"/>
                  <a:gd name="connsiteY5" fmla="*/ 796925 h 1652579"/>
                  <a:gd name="connsiteX6" fmla="*/ 434263 w 3690225"/>
                  <a:gd name="connsiteY6" fmla="*/ 881062 h 1652579"/>
                  <a:gd name="connsiteX7" fmla="*/ 199312 w 3690225"/>
                  <a:gd name="connsiteY7" fmla="*/ 1020763 h 1652579"/>
                  <a:gd name="connsiteX8" fmla="*/ 66756 w 3690225"/>
                  <a:gd name="connsiteY8" fmla="*/ 1216819 h 1652579"/>
                  <a:gd name="connsiteX9" fmla="*/ 9606 w 3690225"/>
                  <a:gd name="connsiteY9" fmla="*/ 1423988 h 1652579"/>
                  <a:gd name="connsiteX10" fmla="*/ 81 w 3690225"/>
                  <a:gd name="connsiteY10" fmla="*/ 1648619 h 1652579"/>
                  <a:gd name="connsiteX11" fmla="*/ 26481 w 3690225"/>
                  <a:gd name="connsiteY11" fmla="*/ 1024925 h 1652579"/>
                  <a:gd name="connsiteX12" fmla="*/ 35006 w 3690225"/>
                  <a:gd name="connsiteY12" fmla="*/ 789726 h 1652579"/>
                  <a:gd name="connsiteX13" fmla="*/ 131728 w 3690225"/>
                  <a:gd name="connsiteY13" fmla="*/ 586507 h 1652579"/>
                  <a:gd name="connsiteX14" fmla="*/ 548608 w 3690225"/>
                  <a:gd name="connsiteY14" fmla="*/ 446018 h 1652579"/>
                  <a:gd name="connsiteX15" fmla="*/ 1036739 w 3690225"/>
                  <a:gd name="connsiteY15" fmla="*/ 350806 h 1652579"/>
                  <a:gd name="connsiteX16" fmla="*/ 1768781 w 3690225"/>
                  <a:gd name="connsiteY16" fmla="*/ 253197 h 1652579"/>
                  <a:gd name="connsiteX17" fmla="*/ 2678192 w 3690225"/>
                  <a:gd name="connsiteY17" fmla="*/ 117999 h 1652579"/>
                  <a:gd name="connsiteX18" fmla="*/ 3379868 w 3690225"/>
                  <a:gd name="connsiteY18" fmla="*/ 30163 h 1652579"/>
                  <a:gd name="connsiteX19" fmla="*/ 3690225 w 3690225"/>
                  <a:gd name="connsiteY19" fmla="*/ 0 h 1652579"/>
                  <a:gd name="connsiteX0" fmla="*/ 3690225 w 3690225"/>
                  <a:gd name="connsiteY0" fmla="*/ 0 h 1652579"/>
                  <a:gd name="connsiteX1" fmla="*/ 3690225 w 3690225"/>
                  <a:gd name="connsiteY1" fmla="*/ 679450 h 1652579"/>
                  <a:gd name="connsiteX2" fmla="*/ 3031412 w 3690225"/>
                  <a:gd name="connsiteY2" fmla="*/ 684212 h 1652579"/>
                  <a:gd name="connsiteX3" fmla="*/ 2179719 w 3690225"/>
                  <a:gd name="connsiteY3" fmla="*/ 710407 h 1652579"/>
                  <a:gd name="connsiteX4" fmla="*/ 1533607 w 3690225"/>
                  <a:gd name="connsiteY4" fmla="*/ 739776 h 1652579"/>
                  <a:gd name="connsiteX5" fmla="*/ 856538 w 3690225"/>
                  <a:gd name="connsiteY5" fmla="*/ 796925 h 1652579"/>
                  <a:gd name="connsiteX6" fmla="*/ 434263 w 3690225"/>
                  <a:gd name="connsiteY6" fmla="*/ 881062 h 1652579"/>
                  <a:gd name="connsiteX7" fmla="*/ 298307 w 3690225"/>
                  <a:gd name="connsiteY7" fmla="*/ 986884 h 1652579"/>
                  <a:gd name="connsiteX8" fmla="*/ 66756 w 3690225"/>
                  <a:gd name="connsiteY8" fmla="*/ 1216819 h 1652579"/>
                  <a:gd name="connsiteX9" fmla="*/ 9606 w 3690225"/>
                  <a:gd name="connsiteY9" fmla="*/ 1423988 h 1652579"/>
                  <a:gd name="connsiteX10" fmla="*/ 81 w 3690225"/>
                  <a:gd name="connsiteY10" fmla="*/ 1648619 h 1652579"/>
                  <a:gd name="connsiteX11" fmla="*/ 26481 w 3690225"/>
                  <a:gd name="connsiteY11" fmla="*/ 1024925 h 1652579"/>
                  <a:gd name="connsiteX12" fmla="*/ 35006 w 3690225"/>
                  <a:gd name="connsiteY12" fmla="*/ 789726 h 1652579"/>
                  <a:gd name="connsiteX13" fmla="*/ 131728 w 3690225"/>
                  <a:gd name="connsiteY13" fmla="*/ 586507 h 1652579"/>
                  <a:gd name="connsiteX14" fmla="*/ 548608 w 3690225"/>
                  <a:gd name="connsiteY14" fmla="*/ 446018 h 1652579"/>
                  <a:gd name="connsiteX15" fmla="*/ 1036739 w 3690225"/>
                  <a:gd name="connsiteY15" fmla="*/ 350806 h 1652579"/>
                  <a:gd name="connsiteX16" fmla="*/ 1768781 w 3690225"/>
                  <a:gd name="connsiteY16" fmla="*/ 253197 h 1652579"/>
                  <a:gd name="connsiteX17" fmla="*/ 2678192 w 3690225"/>
                  <a:gd name="connsiteY17" fmla="*/ 117999 h 1652579"/>
                  <a:gd name="connsiteX18" fmla="*/ 3379868 w 3690225"/>
                  <a:gd name="connsiteY18" fmla="*/ 30163 h 1652579"/>
                  <a:gd name="connsiteX19" fmla="*/ 3690225 w 3690225"/>
                  <a:gd name="connsiteY19" fmla="*/ 0 h 1652579"/>
                  <a:gd name="connsiteX0" fmla="*/ 3693168 w 3693168"/>
                  <a:gd name="connsiteY0" fmla="*/ 0 h 1652822"/>
                  <a:gd name="connsiteX1" fmla="*/ 3693168 w 3693168"/>
                  <a:gd name="connsiteY1" fmla="*/ 679450 h 1652822"/>
                  <a:gd name="connsiteX2" fmla="*/ 3034355 w 3693168"/>
                  <a:gd name="connsiteY2" fmla="*/ 684212 h 1652822"/>
                  <a:gd name="connsiteX3" fmla="*/ 2182662 w 3693168"/>
                  <a:gd name="connsiteY3" fmla="*/ 710407 h 1652822"/>
                  <a:gd name="connsiteX4" fmla="*/ 1536550 w 3693168"/>
                  <a:gd name="connsiteY4" fmla="*/ 739776 h 1652822"/>
                  <a:gd name="connsiteX5" fmla="*/ 859481 w 3693168"/>
                  <a:gd name="connsiteY5" fmla="*/ 796925 h 1652822"/>
                  <a:gd name="connsiteX6" fmla="*/ 437206 w 3693168"/>
                  <a:gd name="connsiteY6" fmla="*/ 881062 h 1652822"/>
                  <a:gd name="connsiteX7" fmla="*/ 301250 w 3693168"/>
                  <a:gd name="connsiteY7" fmla="*/ 986884 h 1652822"/>
                  <a:gd name="connsiteX8" fmla="*/ 135696 w 3693168"/>
                  <a:gd name="connsiteY8" fmla="*/ 1140591 h 1652822"/>
                  <a:gd name="connsiteX9" fmla="*/ 12549 w 3693168"/>
                  <a:gd name="connsiteY9" fmla="*/ 1423988 h 1652822"/>
                  <a:gd name="connsiteX10" fmla="*/ 3024 w 3693168"/>
                  <a:gd name="connsiteY10" fmla="*/ 1648619 h 1652822"/>
                  <a:gd name="connsiteX11" fmla="*/ 29424 w 3693168"/>
                  <a:gd name="connsiteY11" fmla="*/ 1024925 h 1652822"/>
                  <a:gd name="connsiteX12" fmla="*/ 37949 w 3693168"/>
                  <a:gd name="connsiteY12" fmla="*/ 789726 h 1652822"/>
                  <a:gd name="connsiteX13" fmla="*/ 134671 w 3693168"/>
                  <a:gd name="connsiteY13" fmla="*/ 586507 h 1652822"/>
                  <a:gd name="connsiteX14" fmla="*/ 551551 w 3693168"/>
                  <a:gd name="connsiteY14" fmla="*/ 446018 h 1652822"/>
                  <a:gd name="connsiteX15" fmla="*/ 1039682 w 3693168"/>
                  <a:gd name="connsiteY15" fmla="*/ 350806 h 1652822"/>
                  <a:gd name="connsiteX16" fmla="*/ 1771724 w 3693168"/>
                  <a:gd name="connsiteY16" fmla="*/ 253197 h 1652822"/>
                  <a:gd name="connsiteX17" fmla="*/ 2681135 w 3693168"/>
                  <a:gd name="connsiteY17" fmla="*/ 117999 h 1652822"/>
                  <a:gd name="connsiteX18" fmla="*/ 3382811 w 3693168"/>
                  <a:gd name="connsiteY18" fmla="*/ 30163 h 1652822"/>
                  <a:gd name="connsiteX19" fmla="*/ 3693168 w 3693168"/>
                  <a:gd name="connsiteY19" fmla="*/ 0 h 1652822"/>
                  <a:gd name="connsiteX0" fmla="*/ 3690227 w 3690227"/>
                  <a:gd name="connsiteY0" fmla="*/ 0 h 1651223"/>
                  <a:gd name="connsiteX1" fmla="*/ 3690227 w 3690227"/>
                  <a:gd name="connsiteY1" fmla="*/ 679450 h 1651223"/>
                  <a:gd name="connsiteX2" fmla="*/ 3031414 w 3690227"/>
                  <a:gd name="connsiteY2" fmla="*/ 684212 h 1651223"/>
                  <a:gd name="connsiteX3" fmla="*/ 2179721 w 3690227"/>
                  <a:gd name="connsiteY3" fmla="*/ 710407 h 1651223"/>
                  <a:gd name="connsiteX4" fmla="*/ 1533609 w 3690227"/>
                  <a:gd name="connsiteY4" fmla="*/ 739776 h 1651223"/>
                  <a:gd name="connsiteX5" fmla="*/ 856540 w 3690227"/>
                  <a:gd name="connsiteY5" fmla="*/ 796925 h 1651223"/>
                  <a:gd name="connsiteX6" fmla="*/ 434265 w 3690227"/>
                  <a:gd name="connsiteY6" fmla="*/ 881062 h 1651223"/>
                  <a:gd name="connsiteX7" fmla="*/ 298309 w 3690227"/>
                  <a:gd name="connsiteY7" fmla="*/ 986884 h 1651223"/>
                  <a:gd name="connsiteX8" fmla="*/ 132755 w 3690227"/>
                  <a:gd name="connsiteY8" fmla="*/ 1140591 h 1651223"/>
                  <a:gd name="connsiteX9" fmla="*/ 860959 w 3690227"/>
                  <a:gd name="connsiteY9" fmla="*/ 1301177 h 1651223"/>
                  <a:gd name="connsiteX10" fmla="*/ 83 w 3690227"/>
                  <a:gd name="connsiteY10" fmla="*/ 1648619 h 1651223"/>
                  <a:gd name="connsiteX11" fmla="*/ 26483 w 3690227"/>
                  <a:gd name="connsiteY11" fmla="*/ 1024925 h 1651223"/>
                  <a:gd name="connsiteX12" fmla="*/ 35008 w 3690227"/>
                  <a:gd name="connsiteY12" fmla="*/ 789726 h 1651223"/>
                  <a:gd name="connsiteX13" fmla="*/ 131730 w 3690227"/>
                  <a:gd name="connsiteY13" fmla="*/ 586507 h 1651223"/>
                  <a:gd name="connsiteX14" fmla="*/ 548610 w 3690227"/>
                  <a:gd name="connsiteY14" fmla="*/ 446018 h 1651223"/>
                  <a:gd name="connsiteX15" fmla="*/ 1036741 w 3690227"/>
                  <a:gd name="connsiteY15" fmla="*/ 350806 h 1651223"/>
                  <a:gd name="connsiteX16" fmla="*/ 1768783 w 3690227"/>
                  <a:gd name="connsiteY16" fmla="*/ 253197 h 1651223"/>
                  <a:gd name="connsiteX17" fmla="*/ 2678194 w 3690227"/>
                  <a:gd name="connsiteY17" fmla="*/ 117999 h 1651223"/>
                  <a:gd name="connsiteX18" fmla="*/ 3379870 w 3690227"/>
                  <a:gd name="connsiteY18" fmla="*/ 30163 h 1651223"/>
                  <a:gd name="connsiteX19" fmla="*/ 3690227 w 3690227"/>
                  <a:gd name="connsiteY19" fmla="*/ 0 h 1651223"/>
                  <a:gd name="connsiteX0" fmla="*/ 3679560 w 3679560"/>
                  <a:gd name="connsiteY0" fmla="*/ 0 h 1406145"/>
                  <a:gd name="connsiteX1" fmla="*/ 3679560 w 3679560"/>
                  <a:gd name="connsiteY1" fmla="*/ 679450 h 1406145"/>
                  <a:gd name="connsiteX2" fmla="*/ 3020747 w 3679560"/>
                  <a:gd name="connsiteY2" fmla="*/ 684212 h 1406145"/>
                  <a:gd name="connsiteX3" fmla="*/ 2169054 w 3679560"/>
                  <a:gd name="connsiteY3" fmla="*/ 710407 h 1406145"/>
                  <a:gd name="connsiteX4" fmla="*/ 1522942 w 3679560"/>
                  <a:gd name="connsiteY4" fmla="*/ 739776 h 1406145"/>
                  <a:gd name="connsiteX5" fmla="*/ 845873 w 3679560"/>
                  <a:gd name="connsiteY5" fmla="*/ 796925 h 1406145"/>
                  <a:gd name="connsiteX6" fmla="*/ 423598 w 3679560"/>
                  <a:gd name="connsiteY6" fmla="*/ 881062 h 1406145"/>
                  <a:gd name="connsiteX7" fmla="*/ 287642 w 3679560"/>
                  <a:gd name="connsiteY7" fmla="*/ 986884 h 1406145"/>
                  <a:gd name="connsiteX8" fmla="*/ 122088 w 3679560"/>
                  <a:gd name="connsiteY8" fmla="*/ 1140591 h 1406145"/>
                  <a:gd name="connsiteX9" fmla="*/ 850292 w 3679560"/>
                  <a:gd name="connsiteY9" fmla="*/ 1301177 h 1406145"/>
                  <a:gd name="connsiteX10" fmla="*/ 213803 w 3679560"/>
                  <a:gd name="connsiteY10" fmla="*/ 1398762 h 1406145"/>
                  <a:gd name="connsiteX11" fmla="*/ 15816 w 3679560"/>
                  <a:gd name="connsiteY11" fmla="*/ 1024925 h 1406145"/>
                  <a:gd name="connsiteX12" fmla="*/ 24341 w 3679560"/>
                  <a:gd name="connsiteY12" fmla="*/ 789726 h 1406145"/>
                  <a:gd name="connsiteX13" fmla="*/ 121063 w 3679560"/>
                  <a:gd name="connsiteY13" fmla="*/ 586507 h 1406145"/>
                  <a:gd name="connsiteX14" fmla="*/ 537943 w 3679560"/>
                  <a:gd name="connsiteY14" fmla="*/ 446018 h 1406145"/>
                  <a:gd name="connsiteX15" fmla="*/ 1026074 w 3679560"/>
                  <a:gd name="connsiteY15" fmla="*/ 350806 h 1406145"/>
                  <a:gd name="connsiteX16" fmla="*/ 1758116 w 3679560"/>
                  <a:gd name="connsiteY16" fmla="*/ 253197 h 1406145"/>
                  <a:gd name="connsiteX17" fmla="*/ 2667527 w 3679560"/>
                  <a:gd name="connsiteY17" fmla="*/ 117999 h 1406145"/>
                  <a:gd name="connsiteX18" fmla="*/ 3369203 w 3679560"/>
                  <a:gd name="connsiteY18" fmla="*/ 30163 h 1406145"/>
                  <a:gd name="connsiteX19" fmla="*/ 3679560 w 3679560"/>
                  <a:gd name="connsiteY19" fmla="*/ 0 h 1406145"/>
                  <a:gd name="connsiteX0" fmla="*/ 3683651 w 3683651"/>
                  <a:gd name="connsiteY0" fmla="*/ 0 h 1563074"/>
                  <a:gd name="connsiteX1" fmla="*/ 3683651 w 3683651"/>
                  <a:gd name="connsiteY1" fmla="*/ 679450 h 1563074"/>
                  <a:gd name="connsiteX2" fmla="*/ 3024838 w 3683651"/>
                  <a:gd name="connsiteY2" fmla="*/ 684212 h 1563074"/>
                  <a:gd name="connsiteX3" fmla="*/ 2173145 w 3683651"/>
                  <a:gd name="connsiteY3" fmla="*/ 710407 h 1563074"/>
                  <a:gd name="connsiteX4" fmla="*/ 1527033 w 3683651"/>
                  <a:gd name="connsiteY4" fmla="*/ 739776 h 1563074"/>
                  <a:gd name="connsiteX5" fmla="*/ 849964 w 3683651"/>
                  <a:gd name="connsiteY5" fmla="*/ 796925 h 1563074"/>
                  <a:gd name="connsiteX6" fmla="*/ 427689 w 3683651"/>
                  <a:gd name="connsiteY6" fmla="*/ 881062 h 1563074"/>
                  <a:gd name="connsiteX7" fmla="*/ 291733 w 3683651"/>
                  <a:gd name="connsiteY7" fmla="*/ 986884 h 1563074"/>
                  <a:gd name="connsiteX8" fmla="*/ 126179 w 3683651"/>
                  <a:gd name="connsiteY8" fmla="*/ 1140591 h 1563074"/>
                  <a:gd name="connsiteX9" fmla="*/ 854383 w 3683651"/>
                  <a:gd name="connsiteY9" fmla="*/ 1301177 h 1563074"/>
                  <a:gd name="connsiteX10" fmla="*/ 106 w 3683651"/>
                  <a:gd name="connsiteY10" fmla="*/ 1559687 h 1563074"/>
                  <a:gd name="connsiteX11" fmla="*/ 19907 w 3683651"/>
                  <a:gd name="connsiteY11" fmla="*/ 1024925 h 1563074"/>
                  <a:gd name="connsiteX12" fmla="*/ 28432 w 3683651"/>
                  <a:gd name="connsiteY12" fmla="*/ 789726 h 1563074"/>
                  <a:gd name="connsiteX13" fmla="*/ 125154 w 3683651"/>
                  <a:gd name="connsiteY13" fmla="*/ 586507 h 1563074"/>
                  <a:gd name="connsiteX14" fmla="*/ 542034 w 3683651"/>
                  <a:gd name="connsiteY14" fmla="*/ 446018 h 1563074"/>
                  <a:gd name="connsiteX15" fmla="*/ 1030165 w 3683651"/>
                  <a:gd name="connsiteY15" fmla="*/ 350806 h 1563074"/>
                  <a:gd name="connsiteX16" fmla="*/ 1762207 w 3683651"/>
                  <a:gd name="connsiteY16" fmla="*/ 253197 h 1563074"/>
                  <a:gd name="connsiteX17" fmla="*/ 2671618 w 3683651"/>
                  <a:gd name="connsiteY17" fmla="*/ 117999 h 1563074"/>
                  <a:gd name="connsiteX18" fmla="*/ 3373294 w 3683651"/>
                  <a:gd name="connsiteY18" fmla="*/ 30163 h 1563074"/>
                  <a:gd name="connsiteX19" fmla="*/ 3683651 w 3683651"/>
                  <a:gd name="connsiteY19" fmla="*/ 0 h 1563074"/>
                  <a:gd name="connsiteX0" fmla="*/ 3683651 w 3683651"/>
                  <a:gd name="connsiteY0" fmla="*/ 0 h 1563322"/>
                  <a:gd name="connsiteX1" fmla="*/ 3683651 w 3683651"/>
                  <a:gd name="connsiteY1" fmla="*/ 679450 h 1563322"/>
                  <a:gd name="connsiteX2" fmla="*/ 3024838 w 3683651"/>
                  <a:gd name="connsiteY2" fmla="*/ 684212 h 1563322"/>
                  <a:gd name="connsiteX3" fmla="*/ 2173145 w 3683651"/>
                  <a:gd name="connsiteY3" fmla="*/ 710407 h 1563322"/>
                  <a:gd name="connsiteX4" fmla="*/ 1527033 w 3683651"/>
                  <a:gd name="connsiteY4" fmla="*/ 739776 h 1563322"/>
                  <a:gd name="connsiteX5" fmla="*/ 849964 w 3683651"/>
                  <a:gd name="connsiteY5" fmla="*/ 796925 h 1563322"/>
                  <a:gd name="connsiteX6" fmla="*/ 427689 w 3683651"/>
                  <a:gd name="connsiteY6" fmla="*/ 881062 h 1563322"/>
                  <a:gd name="connsiteX7" fmla="*/ 291733 w 3683651"/>
                  <a:gd name="connsiteY7" fmla="*/ 986884 h 1563322"/>
                  <a:gd name="connsiteX8" fmla="*/ 126179 w 3683651"/>
                  <a:gd name="connsiteY8" fmla="*/ 1140591 h 1563322"/>
                  <a:gd name="connsiteX9" fmla="*/ 49230 w 3683651"/>
                  <a:gd name="connsiteY9" fmla="*/ 1318117 h 1563322"/>
                  <a:gd name="connsiteX10" fmla="*/ 106 w 3683651"/>
                  <a:gd name="connsiteY10" fmla="*/ 1559687 h 1563322"/>
                  <a:gd name="connsiteX11" fmla="*/ 19907 w 3683651"/>
                  <a:gd name="connsiteY11" fmla="*/ 1024925 h 1563322"/>
                  <a:gd name="connsiteX12" fmla="*/ 28432 w 3683651"/>
                  <a:gd name="connsiteY12" fmla="*/ 789726 h 1563322"/>
                  <a:gd name="connsiteX13" fmla="*/ 125154 w 3683651"/>
                  <a:gd name="connsiteY13" fmla="*/ 586507 h 1563322"/>
                  <a:gd name="connsiteX14" fmla="*/ 542034 w 3683651"/>
                  <a:gd name="connsiteY14" fmla="*/ 446018 h 1563322"/>
                  <a:gd name="connsiteX15" fmla="*/ 1030165 w 3683651"/>
                  <a:gd name="connsiteY15" fmla="*/ 350806 h 1563322"/>
                  <a:gd name="connsiteX16" fmla="*/ 1762207 w 3683651"/>
                  <a:gd name="connsiteY16" fmla="*/ 253197 h 1563322"/>
                  <a:gd name="connsiteX17" fmla="*/ 2671618 w 3683651"/>
                  <a:gd name="connsiteY17" fmla="*/ 117999 h 1563322"/>
                  <a:gd name="connsiteX18" fmla="*/ 3373294 w 3683651"/>
                  <a:gd name="connsiteY18" fmla="*/ 30163 h 1563322"/>
                  <a:gd name="connsiteX19" fmla="*/ 3683651 w 3683651"/>
                  <a:gd name="connsiteY19" fmla="*/ 0 h 1563322"/>
                  <a:gd name="connsiteX0" fmla="*/ 3683647 w 3683647"/>
                  <a:gd name="connsiteY0" fmla="*/ 0 h 1563322"/>
                  <a:gd name="connsiteX1" fmla="*/ 3683647 w 3683647"/>
                  <a:gd name="connsiteY1" fmla="*/ 679450 h 1563322"/>
                  <a:gd name="connsiteX2" fmla="*/ 3024834 w 3683647"/>
                  <a:gd name="connsiteY2" fmla="*/ 684212 h 1563322"/>
                  <a:gd name="connsiteX3" fmla="*/ 2173141 w 3683647"/>
                  <a:gd name="connsiteY3" fmla="*/ 710407 h 1563322"/>
                  <a:gd name="connsiteX4" fmla="*/ 1527029 w 3683647"/>
                  <a:gd name="connsiteY4" fmla="*/ 739776 h 1563322"/>
                  <a:gd name="connsiteX5" fmla="*/ 849960 w 3683647"/>
                  <a:gd name="connsiteY5" fmla="*/ 796925 h 1563322"/>
                  <a:gd name="connsiteX6" fmla="*/ 427685 w 3683647"/>
                  <a:gd name="connsiteY6" fmla="*/ 881062 h 1563322"/>
                  <a:gd name="connsiteX7" fmla="*/ 291729 w 3683647"/>
                  <a:gd name="connsiteY7" fmla="*/ 986884 h 1563322"/>
                  <a:gd name="connsiteX8" fmla="*/ 126175 w 3683647"/>
                  <a:gd name="connsiteY8" fmla="*/ 1140591 h 1563322"/>
                  <a:gd name="connsiteX9" fmla="*/ 49226 w 3683647"/>
                  <a:gd name="connsiteY9" fmla="*/ 1318117 h 1563322"/>
                  <a:gd name="connsiteX10" fmla="*/ 102 w 3683647"/>
                  <a:gd name="connsiteY10" fmla="*/ 1559687 h 1563322"/>
                  <a:gd name="connsiteX11" fmla="*/ 19903 w 3683647"/>
                  <a:gd name="connsiteY11" fmla="*/ 1024925 h 1563322"/>
                  <a:gd name="connsiteX12" fmla="*/ 21828 w 3683647"/>
                  <a:gd name="connsiteY12" fmla="*/ 760083 h 1563322"/>
                  <a:gd name="connsiteX13" fmla="*/ 125150 w 3683647"/>
                  <a:gd name="connsiteY13" fmla="*/ 586507 h 1563322"/>
                  <a:gd name="connsiteX14" fmla="*/ 542030 w 3683647"/>
                  <a:gd name="connsiteY14" fmla="*/ 446018 h 1563322"/>
                  <a:gd name="connsiteX15" fmla="*/ 1030161 w 3683647"/>
                  <a:gd name="connsiteY15" fmla="*/ 350806 h 1563322"/>
                  <a:gd name="connsiteX16" fmla="*/ 1762203 w 3683647"/>
                  <a:gd name="connsiteY16" fmla="*/ 253197 h 1563322"/>
                  <a:gd name="connsiteX17" fmla="*/ 2671614 w 3683647"/>
                  <a:gd name="connsiteY17" fmla="*/ 117999 h 1563322"/>
                  <a:gd name="connsiteX18" fmla="*/ 3373290 w 3683647"/>
                  <a:gd name="connsiteY18" fmla="*/ 30163 h 1563322"/>
                  <a:gd name="connsiteX19" fmla="*/ 3683647 w 3683647"/>
                  <a:gd name="connsiteY19" fmla="*/ 0 h 1563322"/>
                  <a:gd name="connsiteX0" fmla="*/ 3691022 w 3691022"/>
                  <a:gd name="connsiteY0" fmla="*/ 0 h 1563322"/>
                  <a:gd name="connsiteX1" fmla="*/ 3691022 w 3691022"/>
                  <a:gd name="connsiteY1" fmla="*/ 679450 h 1563322"/>
                  <a:gd name="connsiteX2" fmla="*/ 3032209 w 3691022"/>
                  <a:gd name="connsiteY2" fmla="*/ 684212 h 1563322"/>
                  <a:gd name="connsiteX3" fmla="*/ 2180516 w 3691022"/>
                  <a:gd name="connsiteY3" fmla="*/ 710407 h 1563322"/>
                  <a:gd name="connsiteX4" fmla="*/ 1534404 w 3691022"/>
                  <a:gd name="connsiteY4" fmla="*/ 739776 h 1563322"/>
                  <a:gd name="connsiteX5" fmla="*/ 857335 w 3691022"/>
                  <a:gd name="connsiteY5" fmla="*/ 796925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32525 w 3691022"/>
                  <a:gd name="connsiteY13" fmla="*/ 586507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91022 w 3691022"/>
                  <a:gd name="connsiteY1" fmla="*/ 679450 h 1563322"/>
                  <a:gd name="connsiteX2" fmla="*/ 3032209 w 3691022"/>
                  <a:gd name="connsiteY2" fmla="*/ 684212 h 1563322"/>
                  <a:gd name="connsiteX3" fmla="*/ 2180516 w 3691022"/>
                  <a:gd name="connsiteY3" fmla="*/ 710407 h 1563322"/>
                  <a:gd name="connsiteX4" fmla="*/ 1534404 w 3691022"/>
                  <a:gd name="connsiteY4" fmla="*/ 739776 h 1563322"/>
                  <a:gd name="connsiteX5" fmla="*/ 857335 w 3691022"/>
                  <a:gd name="connsiteY5" fmla="*/ 796925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32525 w 3691022"/>
                  <a:gd name="connsiteY13" fmla="*/ 586507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91022 w 3691022"/>
                  <a:gd name="connsiteY1" fmla="*/ 679450 h 1563322"/>
                  <a:gd name="connsiteX2" fmla="*/ 3032209 w 3691022"/>
                  <a:gd name="connsiteY2" fmla="*/ 684212 h 1563322"/>
                  <a:gd name="connsiteX3" fmla="*/ 2180516 w 3691022"/>
                  <a:gd name="connsiteY3" fmla="*/ 710407 h 1563322"/>
                  <a:gd name="connsiteX4" fmla="*/ 1534404 w 3691022"/>
                  <a:gd name="connsiteY4" fmla="*/ 739776 h 1563322"/>
                  <a:gd name="connsiteX5" fmla="*/ 857335 w 3691022"/>
                  <a:gd name="connsiteY5" fmla="*/ 796925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91022 w 3691022"/>
                  <a:gd name="connsiteY1" fmla="*/ 679450 h 1563322"/>
                  <a:gd name="connsiteX2" fmla="*/ 3032209 w 3691022"/>
                  <a:gd name="connsiteY2" fmla="*/ 684212 h 1563322"/>
                  <a:gd name="connsiteX3" fmla="*/ 2180516 w 3691022"/>
                  <a:gd name="connsiteY3" fmla="*/ 710407 h 1563322"/>
                  <a:gd name="connsiteX4" fmla="*/ 1534404 w 3691022"/>
                  <a:gd name="connsiteY4" fmla="*/ 739776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91022 w 3691022"/>
                  <a:gd name="connsiteY1" fmla="*/ 679450 h 1563322"/>
                  <a:gd name="connsiteX2" fmla="*/ 3032209 w 3691022"/>
                  <a:gd name="connsiteY2" fmla="*/ 684212 h 1563322"/>
                  <a:gd name="connsiteX3" fmla="*/ 2180516 w 3691022"/>
                  <a:gd name="connsiteY3" fmla="*/ 710407 h 1563322"/>
                  <a:gd name="connsiteX4" fmla="*/ 1811589 w 3691022"/>
                  <a:gd name="connsiteY4" fmla="*/ 544972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91022 w 3691022"/>
                  <a:gd name="connsiteY1" fmla="*/ 679450 h 1563322"/>
                  <a:gd name="connsiteX2" fmla="*/ 3032209 w 3691022"/>
                  <a:gd name="connsiteY2" fmla="*/ 684212 h 1563322"/>
                  <a:gd name="connsiteX3" fmla="*/ 2424703 w 3691022"/>
                  <a:gd name="connsiteY3" fmla="*/ 485959 h 1563322"/>
                  <a:gd name="connsiteX4" fmla="*/ 1811589 w 3691022"/>
                  <a:gd name="connsiteY4" fmla="*/ 544972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91022 w 3691022"/>
                  <a:gd name="connsiteY1" fmla="*/ 679450 h 1563322"/>
                  <a:gd name="connsiteX2" fmla="*/ 3243397 w 3691022"/>
                  <a:gd name="connsiteY2" fmla="*/ 425885 h 1563322"/>
                  <a:gd name="connsiteX3" fmla="*/ 2424703 w 3691022"/>
                  <a:gd name="connsiteY3" fmla="*/ 485959 h 1563322"/>
                  <a:gd name="connsiteX4" fmla="*/ 1811589 w 3691022"/>
                  <a:gd name="connsiteY4" fmla="*/ 544972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243397 w 3691022"/>
                  <a:gd name="connsiteY2" fmla="*/ 425885 h 1563322"/>
                  <a:gd name="connsiteX3" fmla="*/ 2424703 w 3691022"/>
                  <a:gd name="connsiteY3" fmla="*/ 485959 h 1563322"/>
                  <a:gd name="connsiteX4" fmla="*/ 1811589 w 3691022"/>
                  <a:gd name="connsiteY4" fmla="*/ 544972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424703 w 3691022"/>
                  <a:gd name="connsiteY3" fmla="*/ 485959 h 1563322"/>
                  <a:gd name="connsiteX4" fmla="*/ 1811589 w 3691022"/>
                  <a:gd name="connsiteY4" fmla="*/ 544972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358707 w 3691022"/>
                  <a:gd name="connsiteY3" fmla="*/ 477489 h 1563322"/>
                  <a:gd name="connsiteX4" fmla="*/ 1811589 w 3691022"/>
                  <a:gd name="connsiteY4" fmla="*/ 544972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358707 w 3691022"/>
                  <a:gd name="connsiteY3" fmla="*/ 477489 h 1563322"/>
                  <a:gd name="connsiteX4" fmla="*/ 1758792 w 3691022"/>
                  <a:gd name="connsiteY4" fmla="*/ 540738 h 1563322"/>
                  <a:gd name="connsiteX5" fmla="*/ 1022326 w 3691022"/>
                  <a:gd name="connsiteY5" fmla="*/ 66140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358707 w 3691022"/>
                  <a:gd name="connsiteY3" fmla="*/ 477489 h 1563322"/>
                  <a:gd name="connsiteX4" fmla="*/ 1758792 w 3691022"/>
                  <a:gd name="connsiteY4" fmla="*/ 540738 h 1563322"/>
                  <a:gd name="connsiteX5" fmla="*/ 910133 w 3691022"/>
                  <a:gd name="connsiteY5" fmla="*/ 644470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358707 w 3691022"/>
                  <a:gd name="connsiteY3" fmla="*/ 477489 h 1563322"/>
                  <a:gd name="connsiteX4" fmla="*/ 1758792 w 3691022"/>
                  <a:gd name="connsiteY4" fmla="*/ 540738 h 1563322"/>
                  <a:gd name="connsiteX5" fmla="*/ 982728 w 3691022"/>
                  <a:gd name="connsiteY5" fmla="*/ 669879 h 1563322"/>
                  <a:gd name="connsiteX6" fmla="*/ 435060 w 3691022"/>
                  <a:gd name="connsiteY6" fmla="*/ 881062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358707 w 3691022"/>
                  <a:gd name="connsiteY3" fmla="*/ 477489 h 1563322"/>
                  <a:gd name="connsiteX4" fmla="*/ 1758792 w 3691022"/>
                  <a:gd name="connsiteY4" fmla="*/ 540738 h 1563322"/>
                  <a:gd name="connsiteX5" fmla="*/ 982728 w 3691022"/>
                  <a:gd name="connsiteY5" fmla="*/ 669879 h 1563322"/>
                  <a:gd name="connsiteX6" fmla="*/ 487857 w 3691022"/>
                  <a:gd name="connsiteY6" fmla="*/ 855653 h 1563322"/>
                  <a:gd name="connsiteX7" fmla="*/ 299104 w 3691022"/>
                  <a:gd name="connsiteY7" fmla="*/ 986884 h 1563322"/>
                  <a:gd name="connsiteX8" fmla="*/ 133550 w 3691022"/>
                  <a:gd name="connsiteY8" fmla="*/ 1140591 h 1563322"/>
                  <a:gd name="connsiteX9" fmla="*/ 56601 w 3691022"/>
                  <a:gd name="connsiteY9" fmla="*/ 1318117 h 1563322"/>
                  <a:gd name="connsiteX10" fmla="*/ 7477 w 3691022"/>
                  <a:gd name="connsiteY10" fmla="*/ 1559687 h 1563322"/>
                  <a:gd name="connsiteX11" fmla="*/ 879 w 3691022"/>
                  <a:gd name="connsiteY11" fmla="*/ 1016456 h 1563322"/>
                  <a:gd name="connsiteX12" fmla="*/ 29203 w 3691022"/>
                  <a:gd name="connsiteY12" fmla="*/ 760083 h 1563322"/>
                  <a:gd name="connsiteX13" fmla="*/ 185322 w 3691022"/>
                  <a:gd name="connsiteY13" fmla="*/ 565333 h 1563322"/>
                  <a:gd name="connsiteX14" fmla="*/ 549405 w 3691022"/>
                  <a:gd name="connsiteY14" fmla="*/ 446018 h 1563322"/>
                  <a:gd name="connsiteX15" fmla="*/ 1037536 w 3691022"/>
                  <a:gd name="connsiteY15" fmla="*/ 350806 h 1563322"/>
                  <a:gd name="connsiteX16" fmla="*/ 1769578 w 3691022"/>
                  <a:gd name="connsiteY16" fmla="*/ 253197 h 1563322"/>
                  <a:gd name="connsiteX17" fmla="*/ 2678989 w 3691022"/>
                  <a:gd name="connsiteY17" fmla="*/ 117999 h 1563322"/>
                  <a:gd name="connsiteX18" fmla="*/ 3380665 w 3691022"/>
                  <a:gd name="connsiteY18" fmla="*/ 30163 h 1563322"/>
                  <a:gd name="connsiteX19" fmla="*/ 3691022 w 3691022"/>
                  <a:gd name="connsiteY19" fmla="*/ 0 h 1563322"/>
                  <a:gd name="connsiteX0" fmla="*/ 3691022 w 3691022"/>
                  <a:gd name="connsiteY0" fmla="*/ 0 h 1563322"/>
                  <a:gd name="connsiteX1" fmla="*/ 3677823 w 3691022"/>
                  <a:gd name="connsiteY1" fmla="*/ 395714 h 1563322"/>
                  <a:gd name="connsiteX2" fmla="*/ 3032209 w 3691022"/>
                  <a:gd name="connsiteY2" fmla="*/ 430120 h 1563322"/>
                  <a:gd name="connsiteX3" fmla="*/ 2358707 w 3691022"/>
                  <a:gd name="connsiteY3" fmla="*/ 477489 h 1563322"/>
                  <a:gd name="connsiteX4" fmla="*/ 1758792 w 3691022"/>
                  <a:gd name="connsiteY4" fmla="*/ 540738 h 1563322"/>
                  <a:gd name="connsiteX5" fmla="*/ 982728 w 3691022"/>
                  <a:gd name="connsiteY5" fmla="*/ 669879 h 1563322"/>
                  <a:gd name="connsiteX6" fmla="*/ 487857 w 3691022"/>
                  <a:gd name="connsiteY6" fmla="*/ 855653 h 1563322"/>
                  <a:gd name="connsiteX7" fmla="*/ 133550 w 3691022"/>
                  <a:gd name="connsiteY7" fmla="*/ 1140591 h 1563322"/>
                  <a:gd name="connsiteX8" fmla="*/ 56601 w 3691022"/>
                  <a:gd name="connsiteY8" fmla="*/ 1318117 h 1563322"/>
                  <a:gd name="connsiteX9" fmla="*/ 7477 w 3691022"/>
                  <a:gd name="connsiteY9" fmla="*/ 1559687 h 1563322"/>
                  <a:gd name="connsiteX10" fmla="*/ 879 w 3691022"/>
                  <a:gd name="connsiteY10" fmla="*/ 1016456 h 1563322"/>
                  <a:gd name="connsiteX11" fmla="*/ 29203 w 3691022"/>
                  <a:gd name="connsiteY11" fmla="*/ 760083 h 1563322"/>
                  <a:gd name="connsiteX12" fmla="*/ 185322 w 3691022"/>
                  <a:gd name="connsiteY12" fmla="*/ 565333 h 1563322"/>
                  <a:gd name="connsiteX13" fmla="*/ 549405 w 3691022"/>
                  <a:gd name="connsiteY13" fmla="*/ 446018 h 1563322"/>
                  <a:gd name="connsiteX14" fmla="*/ 1037536 w 3691022"/>
                  <a:gd name="connsiteY14" fmla="*/ 350806 h 1563322"/>
                  <a:gd name="connsiteX15" fmla="*/ 1769578 w 3691022"/>
                  <a:gd name="connsiteY15" fmla="*/ 253197 h 1563322"/>
                  <a:gd name="connsiteX16" fmla="*/ 2678989 w 3691022"/>
                  <a:gd name="connsiteY16" fmla="*/ 117999 h 1563322"/>
                  <a:gd name="connsiteX17" fmla="*/ 3380665 w 3691022"/>
                  <a:gd name="connsiteY17" fmla="*/ 30163 h 1563322"/>
                  <a:gd name="connsiteX18" fmla="*/ 3691022 w 3691022"/>
                  <a:gd name="connsiteY18" fmla="*/ 0 h 1563322"/>
                  <a:gd name="connsiteX0" fmla="*/ 3691022 w 3691022"/>
                  <a:gd name="connsiteY0" fmla="*/ 0 h 1563715"/>
                  <a:gd name="connsiteX1" fmla="*/ 3677823 w 3691022"/>
                  <a:gd name="connsiteY1" fmla="*/ 395714 h 1563715"/>
                  <a:gd name="connsiteX2" fmla="*/ 3032209 w 3691022"/>
                  <a:gd name="connsiteY2" fmla="*/ 430120 h 1563715"/>
                  <a:gd name="connsiteX3" fmla="*/ 2358707 w 3691022"/>
                  <a:gd name="connsiteY3" fmla="*/ 477489 h 1563715"/>
                  <a:gd name="connsiteX4" fmla="*/ 1758792 w 3691022"/>
                  <a:gd name="connsiteY4" fmla="*/ 540738 h 1563715"/>
                  <a:gd name="connsiteX5" fmla="*/ 982728 w 3691022"/>
                  <a:gd name="connsiteY5" fmla="*/ 669879 h 1563715"/>
                  <a:gd name="connsiteX6" fmla="*/ 487857 w 3691022"/>
                  <a:gd name="connsiteY6" fmla="*/ 855653 h 1563715"/>
                  <a:gd name="connsiteX7" fmla="*/ 219344 w 3691022"/>
                  <a:gd name="connsiteY7" fmla="*/ 1000841 h 1563715"/>
                  <a:gd name="connsiteX8" fmla="*/ 56601 w 3691022"/>
                  <a:gd name="connsiteY8" fmla="*/ 1318117 h 1563715"/>
                  <a:gd name="connsiteX9" fmla="*/ 7477 w 3691022"/>
                  <a:gd name="connsiteY9" fmla="*/ 1559687 h 1563715"/>
                  <a:gd name="connsiteX10" fmla="*/ 879 w 3691022"/>
                  <a:gd name="connsiteY10" fmla="*/ 1016456 h 1563715"/>
                  <a:gd name="connsiteX11" fmla="*/ 29203 w 3691022"/>
                  <a:gd name="connsiteY11" fmla="*/ 760083 h 1563715"/>
                  <a:gd name="connsiteX12" fmla="*/ 185322 w 3691022"/>
                  <a:gd name="connsiteY12" fmla="*/ 565333 h 1563715"/>
                  <a:gd name="connsiteX13" fmla="*/ 549405 w 3691022"/>
                  <a:gd name="connsiteY13" fmla="*/ 446018 h 1563715"/>
                  <a:gd name="connsiteX14" fmla="*/ 1037536 w 3691022"/>
                  <a:gd name="connsiteY14" fmla="*/ 350806 h 1563715"/>
                  <a:gd name="connsiteX15" fmla="*/ 1769578 w 3691022"/>
                  <a:gd name="connsiteY15" fmla="*/ 253197 h 1563715"/>
                  <a:gd name="connsiteX16" fmla="*/ 2678989 w 3691022"/>
                  <a:gd name="connsiteY16" fmla="*/ 117999 h 1563715"/>
                  <a:gd name="connsiteX17" fmla="*/ 3380665 w 3691022"/>
                  <a:gd name="connsiteY17" fmla="*/ 30163 h 1563715"/>
                  <a:gd name="connsiteX18" fmla="*/ 3691022 w 3691022"/>
                  <a:gd name="connsiteY18" fmla="*/ 0 h 1563715"/>
                  <a:gd name="connsiteX0" fmla="*/ 3691022 w 3691022"/>
                  <a:gd name="connsiteY0" fmla="*/ 0 h 1563515"/>
                  <a:gd name="connsiteX1" fmla="*/ 3677823 w 3691022"/>
                  <a:gd name="connsiteY1" fmla="*/ 395714 h 1563515"/>
                  <a:gd name="connsiteX2" fmla="*/ 3032209 w 3691022"/>
                  <a:gd name="connsiteY2" fmla="*/ 430120 h 1563515"/>
                  <a:gd name="connsiteX3" fmla="*/ 2358707 w 3691022"/>
                  <a:gd name="connsiteY3" fmla="*/ 477489 h 1563515"/>
                  <a:gd name="connsiteX4" fmla="*/ 1758792 w 3691022"/>
                  <a:gd name="connsiteY4" fmla="*/ 540738 h 1563515"/>
                  <a:gd name="connsiteX5" fmla="*/ 982728 w 3691022"/>
                  <a:gd name="connsiteY5" fmla="*/ 669879 h 1563515"/>
                  <a:gd name="connsiteX6" fmla="*/ 487857 w 3691022"/>
                  <a:gd name="connsiteY6" fmla="*/ 855653 h 1563515"/>
                  <a:gd name="connsiteX7" fmla="*/ 192946 w 3691022"/>
                  <a:gd name="connsiteY7" fmla="*/ 1068599 h 1563515"/>
                  <a:gd name="connsiteX8" fmla="*/ 56601 w 3691022"/>
                  <a:gd name="connsiteY8" fmla="*/ 1318117 h 1563515"/>
                  <a:gd name="connsiteX9" fmla="*/ 7477 w 3691022"/>
                  <a:gd name="connsiteY9" fmla="*/ 1559687 h 1563515"/>
                  <a:gd name="connsiteX10" fmla="*/ 879 w 3691022"/>
                  <a:gd name="connsiteY10" fmla="*/ 1016456 h 1563515"/>
                  <a:gd name="connsiteX11" fmla="*/ 29203 w 3691022"/>
                  <a:gd name="connsiteY11" fmla="*/ 760083 h 1563515"/>
                  <a:gd name="connsiteX12" fmla="*/ 185322 w 3691022"/>
                  <a:gd name="connsiteY12" fmla="*/ 565333 h 1563515"/>
                  <a:gd name="connsiteX13" fmla="*/ 549405 w 3691022"/>
                  <a:gd name="connsiteY13" fmla="*/ 446018 h 1563515"/>
                  <a:gd name="connsiteX14" fmla="*/ 1037536 w 3691022"/>
                  <a:gd name="connsiteY14" fmla="*/ 350806 h 1563515"/>
                  <a:gd name="connsiteX15" fmla="*/ 1769578 w 3691022"/>
                  <a:gd name="connsiteY15" fmla="*/ 253197 h 1563515"/>
                  <a:gd name="connsiteX16" fmla="*/ 2678989 w 3691022"/>
                  <a:gd name="connsiteY16" fmla="*/ 117999 h 1563515"/>
                  <a:gd name="connsiteX17" fmla="*/ 3380665 w 3691022"/>
                  <a:gd name="connsiteY17" fmla="*/ 30163 h 1563515"/>
                  <a:gd name="connsiteX18" fmla="*/ 3691022 w 3691022"/>
                  <a:gd name="connsiteY18" fmla="*/ 0 h 1563515"/>
                  <a:gd name="connsiteX0" fmla="*/ 3691022 w 3691022"/>
                  <a:gd name="connsiteY0" fmla="*/ 0 h 1563515"/>
                  <a:gd name="connsiteX1" fmla="*/ 3677823 w 3691022"/>
                  <a:gd name="connsiteY1" fmla="*/ 395714 h 1563515"/>
                  <a:gd name="connsiteX2" fmla="*/ 3032209 w 3691022"/>
                  <a:gd name="connsiteY2" fmla="*/ 430120 h 1563515"/>
                  <a:gd name="connsiteX3" fmla="*/ 2358707 w 3691022"/>
                  <a:gd name="connsiteY3" fmla="*/ 477489 h 1563515"/>
                  <a:gd name="connsiteX4" fmla="*/ 1758792 w 3691022"/>
                  <a:gd name="connsiteY4" fmla="*/ 540738 h 1563515"/>
                  <a:gd name="connsiteX5" fmla="*/ 982728 w 3691022"/>
                  <a:gd name="connsiteY5" fmla="*/ 669879 h 1563515"/>
                  <a:gd name="connsiteX6" fmla="*/ 468058 w 3691022"/>
                  <a:gd name="connsiteY6" fmla="*/ 826009 h 1563515"/>
                  <a:gd name="connsiteX7" fmla="*/ 192946 w 3691022"/>
                  <a:gd name="connsiteY7" fmla="*/ 1068599 h 1563515"/>
                  <a:gd name="connsiteX8" fmla="*/ 56601 w 3691022"/>
                  <a:gd name="connsiteY8" fmla="*/ 1318117 h 1563515"/>
                  <a:gd name="connsiteX9" fmla="*/ 7477 w 3691022"/>
                  <a:gd name="connsiteY9" fmla="*/ 1559687 h 1563515"/>
                  <a:gd name="connsiteX10" fmla="*/ 879 w 3691022"/>
                  <a:gd name="connsiteY10" fmla="*/ 1016456 h 1563515"/>
                  <a:gd name="connsiteX11" fmla="*/ 29203 w 3691022"/>
                  <a:gd name="connsiteY11" fmla="*/ 760083 h 1563515"/>
                  <a:gd name="connsiteX12" fmla="*/ 185322 w 3691022"/>
                  <a:gd name="connsiteY12" fmla="*/ 565333 h 1563515"/>
                  <a:gd name="connsiteX13" fmla="*/ 549405 w 3691022"/>
                  <a:gd name="connsiteY13" fmla="*/ 446018 h 1563515"/>
                  <a:gd name="connsiteX14" fmla="*/ 1037536 w 3691022"/>
                  <a:gd name="connsiteY14" fmla="*/ 350806 h 1563515"/>
                  <a:gd name="connsiteX15" fmla="*/ 1769578 w 3691022"/>
                  <a:gd name="connsiteY15" fmla="*/ 253197 h 1563515"/>
                  <a:gd name="connsiteX16" fmla="*/ 2678989 w 3691022"/>
                  <a:gd name="connsiteY16" fmla="*/ 117999 h 1563515"/>
                  <a:gd name="connsiteX17" fmla="*/ 3380665 w 3691022"/>
                  <a:gd name="connsiteY17" fmla="*/ 30163 h 1563515"/>
                  <a:gd name="connsiteX18" fmla="*/ 3691022 w 3691022"/>
                  <a:gd name="connsiteY18" fmla="*/ 0 h 1563515"/>
                  <a:gd name="connsiteX0" fmla="*/ 3691022 w 3691022"/>
                  <a:gd name="connsiteY0" fmla="*/ 0 h 1563515"/>
                  <a:gd name="connsiteX1" fmla="*/ 3677823 w 3691022"/>
                  <a:gd name="connsiteY1" fmla="*/ 395714 h 1563515"/>
                  <a:gd name="connsiteX2" fmla="*/ 3032209 w 3691022"/>
                  <a:gd name="connsiteY2" fmla="*/ 430120 h 1563515"/>
                  <a:gd name="connsiteX3" fmla="*/ 2358707 w 3691022"/>
                  <a:gd name="connsiteY3" fmla="*/ 477489 h 1563515"/>
                  <a:gd name="connsiteX4" fmla="*/ 1758792 w 3691022"/>
                  <a:gd name="connsiteY4" fmla="*/ 540738 h 1563515"/>
                  <a:gd name="connsiteX5" fmla="*/ 982728 w 3691022"/>
                  <a:gd name="connsiteY5" fmla="*/ 669879 h 1563515"/>
                  <a:gd name="connsiteX6" fmla="*/ 487857 w 3691022"/>
                  <a:gd name="connsiteY6" fmla="*/ 859888 h 1563515"/>
                  <a:gd name="connsiteX7" fmla="*/ 192946 w 3691022"/>
                  <a:gd name="connsiteY7" fmla="*/ 1068599 h 1563515"/>
                  <a:gd name="connsiteX8" fmla="*/ 56601 w 3691022"/>
                  <a:gd name="connsiteY8" fmla="*/ 1318117 h 1563515"/>
                  <a:gd name="connsiteX9" fmla="*/ 7477 w 3691022"/>
                  <a:gd name="connsiteY9" fmla="*/ 1559687 h 1563515"/>
                  <a:gd name="connsiteX10" fmla="*/ 879 w 3691022"/>
                  <a:gd name="connsiteY10" fmla="*/ 1016456 h 1563515"/>
                  <a:gd name="connsiteX11" fmla="*/ 29203 w 3691022"/>
                  <a:gd name="connsiteY11" fmla="*/ 760083 h 1563515"/>
                  <a:gd name="connsiteX12" fmla="*/ 185322 w 3691022"/>
                  <a:gd name="connsiteY12" fmla="*/ 565333 h 1563515"/>
                  <a:gd name="connsiteX13" fmla="*/ 549405 w 3691022"/>
                  <a:gd name="connsiteY13" fmla="*/ 446018 h 1563515"/>
                  <a:gd name="connsiteX14" fmla="*/ 1037536 w 3691022"/>
                  <a:gd name="connsiteY14" fmla="*/ 350806 h 1563515"/>
                  <a:gd name="connsiteX15" fmla="*/ 1769578 w 3691022"/>
                  <a:gd name="connsiteY15" fmla="*/ 253197 h 1563515"/>
                  <a:gd name="connsiteX16" fmla="*/ 2678989 w 3691022"/>
                  <a:gd name="connsiteY16" fmla="*/ 117999 h 1563515"/>
                  <a:gd name="connsiteX17" fmla="*/ 3380665 w 3691022"/>
                  <a:gd name="connsiteY17" fmla="*/ 30163 h 1563515"/>
                  <a:gd name="connsiteX18" fmla="*/ 3691022 w 3691022"/>
                  <a:gd name="connsiteY18" fmla="*/ 0 h 1563515"/>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549405 w 3677823"/>
                  <a:gd name="connsiteY13" fmla="*/ 441783 h 1559280"/>
                  <a:gd name="connsiteX14" fmla="*/ 1037536 w 3677823"/>
                  <a:gd name="connsiteY14" fmla="*/ 346571 h 1559280"/>
                  <a:gd name="connsiteX15" fmla="*/ 1769578 w 3677823"/>
                  <a:gd name="connsiteY15" fmla="*/ 248962 h 1559280"/>
                  <a:gd name="connsiteX16" fmla="*/ 2678989 w 3677823"/>
                  <a:gd name="connsiteY16" fmla="*/ 113764 h 1559280"/>
                  <a:gd name="connsiteX17" fmla="*/ 3380665 w 3677823"/>
                  <a:gd name="connsiteY17" fmla="*/ 25928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549405 w 3677823"/>
                  <a:gd name="connsiteY13" fmla="*/ 441783 h 1559280"/>
                  <a:gd name="connsiteX14" fmla="*/ 1037536 w 3677823"/>
                  <a:gd name="connsiteY14" fmla="*/ 346571 h 1559280"/>
                  <a:gd name="connsiteX15" fmla="*/ 1782777 w 3677823"/>
                  <a:gd name="connsiteY15" fmla="*/ 236258 h 1559280"/>
                  <a:gd name="connsiteX16" fmla="*/ 2678989 w 3677823"/>
                  <a:gd name="connsiteY16" fmla="*/ 113764 h 1559280"/>
                  <a:gd name="connsiteX17" fmla="*/ 3380665 w 3677823"/>
                  <a:gd name="connsiteY17" fmla="*/ 25928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549405 w 3677823"/>
                  <a:gd name="connsiteY13" fmla="*/ 441783 h 1559280"/>
                  <a:gd name="connsiteX14" fmla="*/ 1037536 w 3677823"/>
                  <a:gd name="connsiteY14" fmla="*/ 346571 h 1559280"/>
                  <a:gd name="connsiteX15" fmla="*/ 1782777 w 3677823"/>
                  <a:gd name="connsiteY15" fmla="*/ 236258 h 1559280"/>
                  <a:gd name="connsiteX16" fmla="*/ 2678989 w 3677823"/>
                  <a:gd name="connsiteY16" fmla="*/ 126469 h 1559280"/>
                  <a:gd name="connsiteX17" fmla="*/ 3380665 w 3677823"/>
                  <a:gd name="connsiteY17" fmla="*/ 25928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549405 w 3677823"/>
                  <a:gd name="connsiteY13" fmla="*/ 441783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380665 w 3677823"/>
                  <a:gd name="connsiteY17" fmla="*/ 25928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549405 w 3677823"/>
                  <a:gd name="connsiteY13" fmla="*/ 441783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314669 w 3677823"/>
                  <a:gd name="connsiteY17" fmla="*/ 68277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549405 w 3677823"/>
                  <a:gd name="connsiteY13" fmla="*/ 441783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281671 w 3677823"/>
                  <a:gd name="connsiteY17" fmla="*/ 51337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85322 w 3677823"/>
                  <a:gd name="connsiteY12" fmla="*/ 561098 h 1559280"/>
                  <a:gd name="connsiteX13" fmla="*/ 496608 w 3677823"/>
                  <a:gd name="connsiteY13" fmla="*/ 458722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281671 w 3677823"/>
                  <a:gd name="connsiteY17" fmla="*/ 51337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55848 h 1559280"/>
                  <a:gd name="connsiteX12" fmla="*/ 152323 w 3677823"/>
                  <a:gd name="connsiteY12" fmla="*/ 578038 h 1559280"/>
                  <a:gd name="connsiteX13" fmla="*/ 496608 w 3677823"/>
                  <a:gd name="connsiteY13" fmla="*/ 458722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281671 w 3677823"/>
                  <a:gd name="connsiteY17" fmla="*/ 51337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12221 h 1559280"/>
                  <a:gd name="connsiteX11" fmla="*/ 29203 w 3677823"/>
                  <a:gd name="connsiteY11" fmla="*/ 713500 h 1559280"/>
                  <a:gd name="connsiteX12" fmla="*/ 152323 w 3677823"/>
                  <a:gd name="connsiteY12" fmla="*/ 578038 h 1559280"/>
                  <a:gd name="connsiteX13" fmla="*/ 496608 w 3677823"/>
                  <a:gd name="connsiteY13" fmla="*/ 458722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281671 w 3677823"/>
                  <a:gd name="connsiteY17" fmla="*/ 51337 h 1559280"/>
                  <a:gd name="connsiteX18" fmla="*/ 3671223 w 3677823"/>
                  <a:gd name="connsiteY18" fmla="*/ 0 h 1559280"/>
                  <a:gd name="connsiteX0" fmla="*/ 3663900 w 3670500"/>
                  <a:gd name="connsiteY0" fmla="*/ 0 h 1559280"/>
                  <a:gd name="connsiteX1" fmla="*/ 3670500 w 3670500"/>
                  <a:gd name="connsiteY1" fmla="*/ 391479 h 1559280"/>
                  <a:gd name="connsiteX2" fmla="*/ 3024886 w 3670500"/>
                  <a:gd name="connsiteY2" fmla="*/ 425885 h 1559280"/>
                  <a:gd name="connsiteX3" fmla="*/ 2351384 w 3670500"/>
                  <a:gd name="connsiteY3" fmla="*/ 473254 h 1559280"/>
                  <a:gd name="connsiteX4" fmla="*/ 1751469 w 3670500"/>
                  <a:gd name="connsiteY4" fmla="*/ 536503 h 1559280"/>
                  <a:gd name="connsiteX5" fmla="*/ 975405 w 3670500"/>
                  <a:gd name="connsiteY5" fmla="*/ 665644 h 1559280"/>
                  <a:gd name="connsiteX6" fmla="*/ 480534 w 3670500"/>
                  <a:gd name="connsiteY6" fmla="*/ 855653 h 1559280"/>
                  <a:gd name="connsiteX7" fmla="*/ 185623 w 3670500"/>
                  <a:gd name="connsiteY7" fmla="*/ 1064364 h 1559280"/>
                  <a:gd name="connsiteX8" fmla="*/ 49278 w 3670500"/>
                  <a:gd name="connsiteY8" fmla="*/ 1313882 h 1559280"/>
                  <a:gd name="connsiteX9" fmla="*/ 154 w 3670500"/>
                  <a:gd name="connsiteY9" fmla="*/ 1555452 h 1559280"/>
                  <a:gd name="connsiteX10" fmla="*/ 13355 w 3670500"/>
                  <a:gd name="connsiteY10" fmla="*/ 991047 h 1559280"/>
                  <a:gd name="connsiteX11" fmla="*/ 21880 w 3670500"/>
                  <a:gd name="connsiteY11" fmla="*/ 713500 h 1559280"/>
                  <a:gd name="connsiteX12" fmla="*/ 145000 w 3670500"/>
                  <a:gd name="connsiteY12" fmla="*/ 578038 h 1559280"/>
                  <a:gd name="connsiteX13" fmla="*/ 489285 w 3670500"/>
                  <a:gd name="connsiteY13" fmla="*/ 458722 h 1559280"/>
                  <a:gd name="connsiteX14" fmla="*/ 1030213 w 3670500"/>
                  <a:gd name="connsiteY14" fmla="*/ 346571 h 1559280"/>
                  <a:gd name="connsiteX15" fmla="*/ 1775454 w 3670500"/>
                  <a:gd name="connsiteY15" fmla="*/ 236258 h 1559280"/>
                  <a:gd name="connsiteX16" fmla="*/ 2651868 w 3670500"/>
                  <a:gd name="connsiteY16" fmla="*/ 126469 h 1559280"/>
                  <a:gd name="connsiteX17" fmla="*/ 3274348 w 3670500"/>
                  <a:gd name="connsiteY17" fmla="*/ 51337 h 1559280"/>
                  <a:gd name="connsiteX18" fmla="*/ 3663900 w 3670500"/>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03752 h 1559280"/>
                  <a:gd name="connsiteX11" fmla="*/ 29203 w 3677823"/>
                  <a:gd name="connsiteY11" fmla="*/ 713500 h 1559280"/>
                  <a:gd name="connsiteX12" fmla="*/ 152323 w 3677823"/>
                  <a:gd name="connsiteY12" fmla="*/ 578038 h 1559280"/>
                  <a:gd name="connsiteX13" fmla="*/ 496608 w 3677823"/>
                  <a:gd name="connsiteY13" fmla="*/ 458722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281671 w 3677823"/>
                  <a:gd name="connsiteY17" fmla="*/ 51337 h 1559280"/>
                  <a:gd name="connsiteX18" fmla="*/ 3671223 w 3677823"/>
                  <a:gd name="connsiteY18" fmla="*/ 0 h 1559280"/>
                  <a:gd name="connsiteX0" fmla="*/ 3671223 w 3677823"/>
                  <a:gd name="connsiteY0" fmla="*/ 0 h 1559280"/>
                  <a:gd name="connsiteX1" fmla="*/ 3677823 w 3677823"/>
                  <a:gd name="connsiteY1" fmla="*/ 391479 h 1559280"/>
                  <a:gd name="connsiteX2" fmla="*/ 3032209 w 3677823"/>
                  <a:gd name="connsiteY2" fmla="*/ 425885 h 1559280"/>
                  <a:gd name="connsiteX3" fmla="*/ 2358707 w 3677823"/>
                  <a:gd name="connsiteY3" fmla="*/ 473254 h 1559280"/>
                  <a:gd name="connsiteX4" fmla="*/ 1758792 w 3677823"/>
                  <a:gd name="connsiteY4" fmla="*/ 536503 h 1559280"/>
                  <a:gd name="connsiteX5" fmla="*/ 982728 w 3677823"/>
                  <a:gd name="connsiteY5" fmla="*/ 665644 h 1559280"/>
                  <a:gd name="connsiteX6" fmla="*/ 487857 w 3677823"/>
                  <a:gd name="connsiteY6" fmla="*/ 855653 h 1559280"/>
                  <a:gd name="connsiteX7" fmla="*/ 192946 w 3677823"/>
                  <a:gd name="connsiteY7" fmla="*/ 1064364 h 1559280"/>
                  <a:gd name="connsiteX8" fmla="*/ 56601 w 3677823"/>
                  <a:gd name="connsiteY8" fmla="*/ 1313882 h 1559280"/>
                  <a:gd name="connsiteX9" fmla="*/ 7477 w 3677823"/>
                  <a:gd name="connsiteY9" fmla="*/ 1555452 h 1559280"/>
                  <a:gd name="connsiteX10" fmla="*/ 879 w 3677823"/>
                  <a:gd name="connsiteY10" fmla="*/ 1003752 h 1559280"/>
                  <a:gd name="connsiteX11" fmla="*/ 29203 w 3677823"/>
                  <a:gd name="connsiteY11" fmla="*/ 713500 h 1559280"/>
                  <a:gd name="connsiteX12" fmla="*/ 152323 w 3677823"/>
                  <a:gd name="connsiteY12" fmla="*/ 578038 h 1559280"/>
                  <a:gd name="connsiteX13" fmla="*/ 424012 w 3677823"/>
                  <a:gd name="connsiteY13" fmla="*/ 471427 h 1559280"/>
                  <a:gd name="connsiteX14" fmla="*/ 1037536 w 3677823"/>
                  <a:gd name="connsiteY14" fmla="*/ 346571 h 1559280"/>
                  <a:gd name="connsiteX15" fmla="*/ 1782777 w 3677823"/>
                  <a:gd name="connsiteY15" fmla="*/ 236258 h 1559280"/>
                  <a:gd name="connsiteX16" fmla="*/ 2659191 w 3677823"/>
                  <a:gd name="connsiteY16" fmla="*/ 126469 h 1559280"/>
                  <a:gd name="connsiteX17" fmla="*/ 3281671 w 3677823"/>
                  <a:gd name="connsiteY17" fmla="*/ 51337 h 1559280"/>
                  <a:gd name="connsiteX18" fmla="*/ 3671223 w 3677823"/>
                  <a:gd name="connsiteY18" fmla="*/ 0 h 1559280"/>
                  <a:gd name="connsiteX0" fmla="*/ 3670888 w 3677488"/>
                  <a:gd name="connsiteY0" fmla="*/ 0 h 1559280"/>
                  <a:gd name="connsiteX1" fmla="*/ 3677488 w 3677488"/>
                  <a:gd name="connsiteY1" fmla="*/ 391479 h 1559280"/>
                  <a:gd name="connsiteX2" fmla="*/ 3031874 w 3677488"/>
                  <a:gd name="connsiteY2" fmla="*/ 425885 h 1559280"/>
                  <a:gd name="connsiteX3" fmla="*/ 2358372 w 3677488"/>
                  <a:gd name="connsiteY3" fmla="*/ 473254 h 1559280"/>
                  <a:gd name="connsiteX4" fmla="*/ 1758457 w 3677488"/>
                  <a:gd name="connsiteY4" fmla="*/ 536503 h 1559280"/>
                  <a:gd name="connsiteX5" fmla="*/ 982393 w 3677488"/>
                  <a:gd name="connsiteY5" fmla="*/ 665644 h 1559280"/>
                  <a:gd name="connsiteX6" fmla="*/ 487522 w 3677488"/>
                  <a:gd name="connsiteY6" fmla="*/ 855653 h 1559280"/>
                  <a:gd name="connsiteX7" fmla="*/ 192611 w 3677488"/>
                  <a:gd name="connsiteY7" fmla="*/ 1064364 h 1559280"/>
                  <a:gd name="connsiteX8" fmla="*/ 56266 w 3677488"/>
                  <a:gd name="connsiteY8" fmla="*/ 1313882 h 1559280"/>
                  <a:gd name="connsiteX9" fmla="*/ 7142 w 3677488"/>
                  <a:gd name="connsiteY9" fmla="*/ 1555452 h 1559280"/>
                  <a:gd name="connsiteX10" fmla="*/ 544 w 3677488"/>
                  <a:gd name="connsiteY10" fmla="*/ 1003752 h 1559280"/>
                  <a:gd name="connsiteX11" fmla="*/ 22870 w 3677488"/>
                  <a:gd name="connsiteY11" fmla="*/ 713500 h 1559280"/>
                  <a:gd name="connsiteX12" fmla="*/ 151988 w 3677488"/>
                  <a:gd name="connsiteY12" fmla="*/ 578038 h 1559280"/>
                  <a:gd name="connsiteX13" fmla="*/ 423677 w 3677488"/>
                  <a:gd name="connsiteY13" fmla="*/ 471427 h 1559280"/>
                  <a:gd name="connsiteX14" fmla="*/ 1037201 w 3677488"/>
                  <a:gd name="connsiteY14" fmla="*/ 346571 h 1559280"/>
                  <a:gd name="connsiteX15" fmla="*/ 1782442 w 3677488"/>
                  <a:gd name="connsiteY15" fmla="*/ 236258 h 1559280"/>
                  <a:gd name="connsiteX16" fmla="*/ 2658856 w 3677488"/>
                  <a:gd name="connsiteY16" fmla="*/ 126469 h 1559280"/>
                  <a:gd name="connsiteX17" fmla="*/ 3281336 w 3677488"/>
                  <a:gd name="connsiteY17" fmla="*/ 51337 h 1559280"/>
                  <a:gd name="connsiteX18" fmla="*/ 3670888 w 3677488"/>
                  <a:gd name="connsiteY18" fmla="*/ 0 h 1559280"/>
                  <a:gd name="connsiteX0" fmla="*/ 3670888 w 3677488"/>
                  <a:gd name="connsiteY0" fmla="*/ 0 h 1559280"/>
                  <a:gd name="connsiteX1" fmla="*/ 3677488 w 3677488"/>
                  <a:gd name="connsiteY1" fmla="*/ 391479 h 1559280"/>
                  <a:gd name="connsiteX2" fmla="*/ 3031874 w 3677488"/>
                  <a:gd name="connsiteY2" fmla="*/ 425885 h 1559280"/>
                  <a:gd name="connsiteX3" fmla="*/ 2358372 w 3677488"/>
                  <a:gd name="connsiteY3" fmla="*/ 473254 h 1559280"/>
                  <a:gd name="connsiteX4" fmla="*/ 1758457 w 3677488"/>
                  <a:gd name="connsiteY4" fmla="*/ 536503 h 1559280"/>
                  <a:gd name="connsiteX5" fmla="*/ 982393 w 3677488"/>
                  <a:gd name="connsiteY5" fmla="*/ 665644 h 1559280"/>
                  <a:gd name="connsiteX6" fmla="*/ 487522 w 3677488"/>
                  <a:gd name="connsiteY6" fmla="*/ 855653 h 1559280"/>
                  <a:gd name="connsiteX7" fmla="*/ 192611 w 3677488"/>
                  <a:gd name="connsiteY7" fmla="*/ 1064364 h 1559280"/>
                  <a:gd name="connsiteX8" fmla="*/ 56266 w 3677488"/>
                  <a:gd name="connsiteY8" fmla="*/ 1313882 h 1559280"/>
                  <a:gd name="connsiteX9" fmla="*/ 7142 w 3677488"/>
                  <a:gd name="connsiteY9" fmla="*/ 1555452 h 1559280"/>
                  <a:gd name="connsiteX10" fmla="*/ 544 w 3677488"/>
                  <a:gd name="connsiteY10" fmla="*/ 1003752 h 1559280"/>
                  <a:gd name="connsiteX11" fmla="*/ 22870 w 3677488"/>
                  <a:gd name="connsiteY11" fmla="*/ 713500 h 1559280"/>
                  <a:gd name="connsiteX12" fmla="*/ 148989 w 3677488"/>
                  <a:gd name="connsiteY12" fmla="*/ 573902 h 1559280"/>
                  <a:gd name="connsiteX13" fmla="*/ 423677 w 3677488"/>
                  <a:gd name="connsiteY13" fmla="*/ 471427 h 1559280"/>
                  <a:gd name="connsiteX14" fmla="*/ 1037201 w 3677488"/>
                  <a:gd name="connsiteY14" fmla="*/ 346571 h 1559280"/>
                  <a:gd name="connsiteX15" fmla="*/ 1782442 w 3677488"/>
                  <a:gd name="connsiteY15" fmla="*/ 236258 h 1559280"/>
                  <a:gd name="connsiteX16" fmla="*/ 2658856 w 3677488"/>
                  <a:gd name="connsiteY16" fmla="*/ 126469 h 1559280"/>
                  <a:gd name="connsiteX17" fmla="*/ 3281336 w 3677488"/>
                  <a:gd name="connsiteY17" fmla="*/ 51337 h 1559280"/>
                  <a:gd name="connsiteX18" fmla="*/ 3670888 w 3677488"/>
                  <a:gd name="connsiteY18" fmla="*/ 0 h 1559280"/>
                  <a:gd name="connsiteX0" fmla="*/ 3671500 w 3678100"/>
                  <a:gd name="connsiteY0" fmla="*/ 0 h 1563335"/>
                  <a:gd name="connsiteX1" fmla="*/ 3678100 w 3678100"/>
                  <a:gd name="connsiteY1" fmla="*/ 391479 h 1563335"/>
                  <a:gd name="connsiteX2" fmla="*/ 3032486 w 3678100"/>
                  <a:gd name="connsiteY2" fmla="*/ 425885 h 1563335"/>
                  <a:gd name="connsiteX3" fmla="*/ 2358984 w 3678100"/>
                  <a:gd name="connsiteY3" fmla="*/ 473254 h 1563335"/>
                  <a:gd name="connsiteX4" fmla="*/ 1759069 w 3678100"/>
                  <a:gd name="connsiteY4" fmla="*/ 536503 h 1563335"/>
                  <a:gd name="connsiteX5" fmla="*/ 983005 w 3678100"/>
                  <a:gd name="connsiteY5" fmla="*/ 665644 h 1563335"/>
                  <a:gd name="connsiteX6" fmla="*/ 488134 w 3678100"/>
                  <a:gd name="connsiteY6" fmla="*/ 855653 h 1563335"/>
                  <a:gd name="connsiteX7" fmla="*/ 193223 w 3678100"/>
                  <a:gd name="connsiteY7" fmla="*/ 1064364 h 1563335"/>
                  <a:gd name="connsiteX8" fmla="*/ 46381 w 3678100"/>
                  <a:gd name="connsiteY8" fmla="*/ 1311814 h 1563335"/>
                  <a:gd name="connsiteX9" fmla="*/ 7754 w 3678100"/>
                  <a:gd name="connsiteY9" fmla="*/ 1555452 h 1563335"/>
                  <a:gd name="connsiteX10" fmla="*/ 1156 w 3678100"/>
                  <a:gd name="connsiteY10" fmla="*/ 1003752 h 1563335"/>
                  <a:gd name="connsiteX11" fmla="*/ 23482 w 3678100"/>
                  <a:gd name="connsiteY11" fmla="*/ 713500 h 1563335"/>
                  <a:gd name="connsiteX12" fmla="*/ 149601 w 3678100"/>
                  <a:gd name="connsiteY12" fmla="*/ 573902 h 1563335"/>
                  <a:gd name="connsiteX13" fmla="*/ 424289 w 3678100"/>
                  <a:gd name="connsiteY13" fmla="*/ 471427 h 1563335"/>
                  <a:gd name="connsiteX14" fmla="*/ 1037813 w 3678100"/>
                  <a:gd name="connsiteY14" fmla="*/ 346571 h 1563335"/>
                  <a:gd name="connsiteX15" fmla="*/ 1783054 w 3678100"/>
                  <a:gd name="connsiteY15" fmla="*/ 236258 h 1563335"/>
                  <a:gd name="connsiteX16" fmla="*/ 2659468 w 3678100"/>
                  <a:gd name="connsiteY16" fmla="*/ 126469 h 1563335"/>
                  <a:gd name="connsiteX17" fmla="*/ 3281948 w 3678100"/>
                  <a:gd name="connsiteY17" fmla="*/ 51337 h 1563335"/>
                  <a:gd name="connsiteX18" fmla="*/ 3671500 w 3678100"/>
                  <a:gd name="connsiteY18" fmla="*/ 0 h 1563335"/>
                  <a:gd name="connsiteX0" fmla="*/ 3671500 w 3678100"/>
                  <a:gd name="connsiteY0" fmla="*/ 0 h 1563346"/>
                  <a:gd name="connsiteX1" fmla="*/ 3678100 w 3678100"/>
                  <a:gd name="connsiteY1" fmla="*/ 391479 h 1563346"/>
                  <a:gd name="connsiteX2" fmla="*/ 3032486 w 3678100"/>
                  <a:gd name="connsiteY2" fmla="*/ 425885 h 1563346"/>
                  <a:gd name="connsiteX3" fmla="*/ 2358984 w 3678100"/>
                  <a:gd name="connsiteY3" fmla="*/ 473254 h 1563346"/>
                  <a:gd name="connsiteX4" fmla="*/ 1759069 w 3678100"/>
                  <a:gd name="connsiteY4" fmla="*/ 536503 h 1563346"/>
                  <a:gd name="connsiteX5" fmla="*/ 983005 w 3678100"/>
                  <a:gd name="connsiteY5" fmla="*/ 665644 h 1563346"/>
                  <a:gd name="connsiteX6" fmla="*/ 488134 w 3678100"/>
                  <a:gd name="connsiteY6" fmla="*/ 855653 h 1563346"/>
                  <a:gd name="connsiteX7" fmla="*/ 188725 w 3678100"/>
                  <a:gd name="connsiteY7" fmla="*/ 1062296 h 1563346"/>
                  <a:gd name="connsiteX8" fmla="*/ 46381 w 3678100"/>
                  <a:gd name="connsiteY8" fmla="*/ 1311814 h 1563346"/>
                  <a:gd name="connsiteX9" fmla="*/ 7754 w 3678100"/>
                  <a:gd name="connsiteY9" fmla="*/ 1555452 h 1563346"/>
                  <a:gd name="connsiteX10" fmla="*/ 1156 w 3678100"/>
                  <a:gd name="connsiteY10" fmla="*/ 1003752 h 1563346"/>
                  <a:gd name="connsiteX11" fmla="*/ 23482 w 3678100"/>
                  <a:gd name="connsiteY11" fmla="*/ 713500 h 1563346"/>
                  <a:gd name="connsiteX12" fmla="*/ 149601 w 3678100"/>
                  <a:gd name="connsiteY12" fmla="*/ 573902 h 1563346"/>
                  <a:gd name="connsiteX13" fmla="*/ 424289 w 3678100"/>
                  <a:gd name="connsiteY13" fmla="*/ 471427 h 1563346"/>
                  <a:gd name="connsiteX14" fmla="*/ 1037813 w 3678100"/>
                  <a:gd name="connsiteY14" fmla="*/ 346571 h 1563346"/>
                  <a:gd name="connsiteX15" fmla="*/ 1783054 w 3678100"/>
                  <a:gd name="connsiteY15" fmla="*/ 236258 h 1563346"/>
                  <a:gd name="connsiteX16" fmla="*/ 2659468 w 3678100"/>
                  <a:gd name="connsiteY16" fmla="*/ 126469 h 1563346"/>
                  <a:gd name="connsiteX17" fmla="*/ 3281948 w 3678100"/>
                  <a:gd name="connsiteY17" fmla="*/ 51337 h 1563346"/>
                  <a:gd name="connsiteX18" fmla="*/ 3671500 w 3678100"/>
                  <a:gd name="connsiteY18" fmla="*/ 0 h 1563346"/>
                  <a:gd name="connsiteX0" fmla="*/ 3671500 w 3678100"/>
                  <a:gd name="connsiteY0" fmla="*/ 0 h 1555452"/>
                  <a:gd name="connsiteX1" fmla="*/ 3678100 w 3678100"/>
                  <a:gd name="connsiteY1" fmla="*/ 391479 h 1555452"/>
                  <a:gd name="connsiteX2" fmla="*/ 3032486 w 3678100"/>
                  <a:gd name="connsiteY2" fmla="*/ 425885 h 1555452"/>
                  <a:gd name="connsiteX3" fmla="*/ 2358984 w 3678100"/>
                  <a:gd name="connsiteY3" fmla="*/ 473254 h 1555452"/>
                  <a:gd name="connsiteX4" fmla="*/ 1759069 w 3678100"/>
                  <a:gd name="connsiteY4" fmla="*/ 536503 h 1555452"/>
                  <a:gd name="connsiteX5" fmla="*/ 983005 w 3678100"/>
                  <a:gd name="connsiteY5" fmla="*/ 665644 h 1555452"/>
                  <a:gd name="connsiteX6" fmla="*/ 488134 w 3678100"/>
                  <a:gd name="connsiteY6" fmla="*/ 855653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46571 h 1555452"/>
                  <a:gd name="connsiteX15" fmla="*/ 1783054 w 3678100"/>
                  <a:gd name="connsiteY15" fmla="*/ 236258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32486 w 3678100"/>
                  <a:gd name="connsiteY2" fmla="*/ 425885 h 1555452"/>
                  <a:gd name="connsiteX3" fmla="*/ 2358984 w 3678100"/>
                  <a:gd name="connsiteY3" fmla="*/ 473254 h 1555452"/>
                  <a:gd name="connsiteX4" fmla="*/ 1759069 w 3678100"/>
                  <a:gd name="connsiteY4" fmla="*/ 536503 h 1555452"/>
                  <a:gd name="connsiteX5" fmla="*/ 983005 w 3678100"/>
                  <a:gd name="connsiteY5" fmla="*/ 665644 h 1555452"/>
                  <a:gd name="connsiteX6" fmla="*/ 488134 w 3678100"/>
                  <a:gd name="connsiteY6" fmla="*/ 855653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83054 w 3678100"/>
                  <a:gd name="connsiteY15" fmla="*/ 236258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32486 w 3678100"/>
                  <a:gd name="connsiteY2" fmla="*/ 425885 h 1555452"/>
                  <a:gd name="connsiteX3" fmla="*/ 2358984 w 3678100"/>
                  <a:gd name="connsiteY3" fmla="*/ 473254 h 1555452"/>
                  <a:gd name="connsiteX4" fmla="*/ 1759069 w 3678100"/>
                  <a:gd name="connsiteY4" fmla="*/ 536503 h 1555452"/>
                  <a:gd name="connsiteX5" fmla="*/ 983005 w 3678100"/>
                  <a:gd name="connsiteY5" fmla="*/ 665644 h 1555452"/>
                  <a:gd name="connsiteX6" fmla="*/ 488134 w 3678100"/>
                  <a:gd name="connsiteY6" fmla="*/ 855653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32486 w 3678100"/>
                  <a:gd name="connsiteY2" fmla="*/ 425885 h 1555452"/>
                  <a:gd name="connsiteX3" fmla="*/ 2358984 w 3678100"/>
                  <a:gd name="connsiteY3" fmla="*/ 473254 h 1555452"/>
                  <a:gd name="connsiteX4" fmla="*/ 1759069 w 3678100"/>
                  <a:gd name="connsiteY4" fmla="*/ 536503 h 1555452"/>
                  <a:gd name="connsiteX5" fmla="*/ 983005 w 3678100"/>
                  <a:gd name="connsiteY5" fmla="*/ 665644 h 1555452"/>
                  <a:gd name="connsiteX6" fmla="*/ 488134 w 3678100"/>
                  <a:gd name="connsiteY6" fmla="*/ 851517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32486 w 3678100"/>
                  <a:gd name="connsiteY2" fmla="*/ 425885 h 1555452"/>
                  <a:gd name="connsiteX3" fmla="*/ 2358984 w 3678100"/>
                  <a:gd name="connsiteY3" fmla="*/ 473254 h 1555452"/>
                  <a:gd name="connsiteX4" fmla="*/ 1759069 w 3678100"/>
                  <a:gd name="connsiteY4" fmla="*/ 536503 h 1555452"/>
                  <a:gd name="connsiteX5" fmla="*/ 968009 w 3678100"/>
                  <a:gd name="connsiteY5" fmla="*/ 675984 h 1555452"/>
                  <a:gd name="connsiteX6" fmla="*/ 488134 w 3678100"/>
                  <a:gd name="connsiteY6" fmla="*/ 851517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32486 w 3678100"/>
                  <a:gd name="connsiteY2" fmla="*/ 425885 h 1555452"/>
                  <a:gd name="connsiteX3" fmla="*/ 2358984 w 3678100"/>
                  <a:gd name="connsiteY3" fmla="*/ 477390 h 1555452"/>
                  <a:gd name="connsiteX4" fmla="*/ 1759069 w 3678100"/>
                  <a:gd name="connsiteY4" fmla="*/ 536503 h 1555452"/>
                  <a:gd name="connsiteX5" fmla="*/ 968009 w 3678100"/>
                  <a:gd name="connsiteY5" fmla="*/ 675984 h 1555452"/>
                  <a:gd name="connsiteX6" fmla="*/ 488134 w 3678100"/>
                  <a:gd name="connsiteY6" fmla="*/ 851517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29487 w 3678100"/>
                  <a:gd name="connsiteY2" fmla="*/ 432089 h 1555452"/>
                  <a:gd name="connsiteX3" fmla="*/ 2358984 w 3678100"/>
                  <a:gd name="connsiteY3" fmla="*/ 477390 h 1555452"/>
                  <a:gd name="connsiteX4" fmla="*/ 1759069 w 3678100"/>
                  <a:gd name="connsiteY4" fmla="*/ 536503 h 1555452"/>
                  <a:gd name="connsiteX5" fmla="*/ 968009 w 3678100"/>
                  <a:gd name="connsiteY5" fmla="*/ 675984 h 1555452"/>
                  <a:gd name="connsiteX6" fmla="*/ 488134 w 3678100"/>
                  <a:gd name="connsiteY6" fmla="*/ 851517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59468 w 3678100"/>
                  <a:gd name="connsiteY16" fmla="*/ 12646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29487 w 3678100"/>
                  <a:gd name="connsiteY2" fmla="*/ 432089 h 1555452"/>
                  <a:gd name="connsiteX3" fmla="*/ 2358984 w 3678100"/>
                  <a:gd name="connsiteY3" fmla="*/ 477390 h 1555452"/>
                  <a:gd name="connsiteX4" fmla="*/ 1759069 w 3678100"/>
                  <a:gd name="connsiteY4" fmla="*/ 536503 h 1555452"/>
                  <a:gd name="connsiteX5" fmla="*/ 968009 w 3678100"/>
                  <a:gd name="connsiteY5" fmla="*/ 675984 h 1555452"/>
                  <a:gd name="connsiteX6" fmla="*/ 488134 w 3678100"/>
                  <a:gd name="connsiteY6" fmla="*/ 851517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63967 w 3678100"/>
                  <a:gd name="connsiteY16" fmla="*/ 147149 h 1555452"/>
                  <a:gd name="connsiteX17" fmla="*/ 3281948 w 3678100"/>
                  <a:gd name="connsiteY17" fmla="*/ 51337 h 1555452"/>
                  <a:gd name="connsiteX18" fmla="*/ 3671500 w 3678100"/>
                  <a:gd name="connsiteY18" fmla="*/ 0 h 1555452"/>
                  <a:gd name="connsiteX0" fmla="*/ 3671500 w 3678100"/>
                  <a:gd name="connsiteY0" fmla="*/ 0 h 1555452"/>
                  <a:gd name="connsiteX1" fmla="*/ 3678100 w 3678100"/>
                  <a:gd name="connsiteY1" fmla="*/ 391479 h 1555452"/>
                  <a:gd name="connsiteX2" fmla="*/ 3029487 w 3678100"/>
                  <a:gd name="connsiteY2" fmla="*/ 432089 h 1555452"/>
                  <a:gd name="connsiteX3" fmla="*/ 2358984 w 3678100"/>
                  <a:gd name="connsiteY3" fmla="*/ 477390 h 1555452"/>
                  <a:gd name="connsiteX4" fmla="*/ 1759069 w 3678100"/>
                  <a:gd name="connsiteY4" fmla="*/ 536503 h 1555452"/>
                  <a:gd name="connsiteX5" fmla="*/ 968009 w 3678100"/>
                  <a:gd name="connsiteY5" fmla="*/ 675984 h 1555452"/>
                  <a:gd name="connsiteX6" fmla="*/ 488134 w 3678100"/>
                  <a:gd name="connsiteY6" fmla="*/ 851517 h 1555452"/>
                  <a:gd name="connsiteX7" fmla="*/ 188725 w 3678100"/>
                  <a:gd name="connsiteY7" fmla="*/ 1062296 h 1555452"/>
                  <a:gd name="connsiteX8" fmla="*/ 46381 w 3678100"/>
                  <a:gd name="connsiteY8" fmla="*/ 1311814 h 1555452"/>
                  <a:gd name="connsiteX9" fmla="*/ 7754 w 3678100"/>
                  <a:gd name="connsiteY9" fmla="*/ 1555452 h 1555452"/>
                  <a:gd name="connsiteX10" fmla="*/ 1156 w 3678100"/>
                  <a:gd name="connsiteY10" fmla="*/ 1003752 h 1555452"/>
                  <a:gd name="connsiteX11" fmla="*/ 23482 w 3678100"/>
                  <a:gd name="connsiteY11" fmla="*/ 713500 h 1555452"/>
                  <a:gd name="connsiteX12" fmla="*/ 149601 w 3678100"/>
                  <a:gd name="connsiteY12" fmla="*/ 573902 h 1555452"/>
                  <a:gd name="connsiteX13" fmla="*/ 424289 w 3678100"/>
                  <a:gd name="connsiteY13" fmla="*/ 471427 h 1555452"/>
                  <a:gd name="connsiteX14" fmla="*/ 1037813 w 3678100"/>
                  <a:gd name="connsiteY14" fmla="*/ 363115 h 1555452"/>
                  <a:gd name="connsiteX15" fmla="*/ 1775556 w 3678100"/>
                  <a:gd name="connsiteY15" fmla="*/ 261074 h 1555452"/>
                  <a:gd name="connsiteX16" fmla="*/ 2663967 w 3678100"/>
                  <a:gd name="connsiteY16" fmla="*/ 147149 h 1555452"/>
                  <a:gd name="connsiteX17" fmla="*/ 3280448 w 3678100"/>
                  <a:gd name="connsiteY17" fmla="*/ 69949 h 1555452"/>
                  <a:gd name="connsiteX18" fmla="*/ 3671500 w 3678100"/>
                  <a:gd name="connsiteY18" fmla="*/ 0 h 1555452"/>
                  <a:gd name="connsiteX0" fmla="*/ 3674499 w 3678100"/>
                  <a:gd name="connsiteY0" fmla="*/ 0 h 1524432"/>
                  <a:gd name="connsiteX1" fmla="*/ 3678100 w 3678100"/>
                  <a:gd name="connsiteY1" fmla="*/ 360459 h 1524432"/>
                  <a:gd name="connsiteX2" fmla="*/ 3029487 w 3678100"/>
                  <a:gd name="connsiteY2" fmla="*/ 401069 h 1524432"/>
                  <a:gd name="connsiteX3" fmla="*/ 2358984 w 3678100"/>
                  <a:gd name="connsiteY3" fmla="*/ 446370 h 1524432"/>
                  <a:gd name="connsiteX4" fmla="*/ 1759069 w 3678100"/>
                  <a:gd name="connsiteY4" fmla="*/ 505483 h 1524432"/>
                  <a:gd name="connsiteX5" fmla="*/ 968009 w 3678100"/>
                  <a:gd name="connsiteY5" fmla="*/ 644964 h 1524432"/>
                  <a:gd name="connsiteX6" fmla="*/ 488134 w 3678100"/>
                  <a:gd name="connsiteY6" fmla="*/ 820497 h 1524432"/>
                  <a:gd name="connsiteX7" fmla="*/ 188725 w 3678100"/>
                  <a:gd name="connsiteY7" fmla="*/ 1031276 h 1524432"/>
                  <a:gd name="connsiteX8" fmla="*/ 46381 w 3678100"/>
                  <a:gd name="connsiteY8" fmla="*/ 1280794 h 1524432"/>
                  <a:gd name="connsiteX9" fmla="*/ 7754 w 3678100"/>
                  <a:gd name="connsiteY9" fmla="*/ 1524432 h 1524432"/>
                  <a:gd name="connsiteX10" fmla="*/ 1156 w 3678100"/>
                  <a:gd name="connsiteY10" fmla="*/ 972732 h 1524432"/>
                  <a:gd name="connsiteX11" fmla="*/ 23482 w 3678100"/>
                  <a:gd name="connsiteY11" fmla="*/ 682480 h 1524432"/>
                  <a:gd name="connsiteX12" fmla="*/ 149601 w 3678100"/>
                  <a:gd name="connsiteY12" fmla="*/ 542882 h 1524432"/>
                  <a:gd name="connsiteX13" fmla="*/ 424289 w 3678100"/>
                  <a:gd name="connsiteY13" fmla="*/ 440407 h 1524432"/>
                  <a:gd name="connsiteX14" fmla="*/ 1037813 w 3678100"/>
                  <a:gd name="connsiteY14" fmla="*/ 332095 h 1524432"/>
                  <a:gd name="connsiteX15" fmla="*/ 1775556 w 3678100"/>
                  <a:gd name="connsiteY15" fmla="*/ 230054 h 1524432"/>
                  <a:gd name="connsiteX16" fmla="*/ 2663967 w 3678100"/>
                  <a:gd name="connsiteY16" fmla="*/ 116129 h 1524432"/>
                  <a:gd name="connsiteX17" fmla="*/ 3280448 w 3678100"/>
                  <a:gd name="connsiteY17" fmla="*/ 38929 h 1524432"/>
                  <a:gd name="connsiteX18" fmla="*/ 3674499 w 3678100"/>
                  <a:gd name="connsiteY18" fmla="*/ 0 h 1524432"/>
                  <a:gd name="connsiteX0" fmla="*/ 3674499 w 3676600"/>
                  <a:gd name="connsiteY0" fmla="*/ 0 h 1524432"/>
                  <a:gd name="connsiteX1" fmla="*/ 3676600 w 3676600"/>
                  <a:gd name="connsiteY1" fmla="*/ 374935 h 1524432"/>
                  <a:gd name="connsiteX2" fmla="*/ 3029487 w 3676600"/>
                  <a:gd name="connsiteY2" fmla="*/ 401069 h 1524432"/>
                  <a:gd name="connsiteX3" fmla="*/ 2358984 w 3676600"/>
                  <a:gd name="connsiteY3" fmla="*/ 446370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8725 w 3676600"/>
                  <a:gd name="connsiteY7" fmla="*/ 1031276 h 1524432"/>
                  <a:gd name="connsiteX8" fmla="*/ 463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8984 w 3676600"/>
                  <a:gd name="connsiteY3" fmla="*/ 446370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8725 w 3676600"/>
                  <a:gd name="connsiteY7" fmla="*/ 1031276 h 1524432"/>
                  <a:gd name="connsiteX8" fmla="*/ 463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8984 w 3676600"/>
                  <a:gd name="connsiteY3" fmla="*/ 446370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8725 w 3676600"/>
                  <a:gd name="connsiteY7" fmla="*/ 1031276 h 1524432"/>
                  <a:gd name="connsiteX8" fmla="*/ 463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8984 w 3676600"/>
                  <a:gd name="connsiteY3" fmla="*/ 446370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8725 w 3676600"/>
                  <a:gd name="connsiteY7" fmla="*/ 1031276 h 1524432"/>
                  <a:gd name="connsiteX8" fmla="*/ 463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7484 w 3676600"/>
                  <a:gd name="connsiteY3" fmla="*/ 452574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8725 w 3676600"/>
                  <a:gd name="connsiteY7" fmla="*/ 1031276 h 1524432"/>
                  <a:gd name="connsiteX8" fmla="*/ 463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7484 w 3676600"/>
                  <a:gd name="connsiteY3" fmla="*/ 452574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8725 w 3676600"/>
                  <a:gd name="connsiteY7" fmla="*/ 1031276 h 1524432"/>
                  <a:gd name="connsiteX8" fmla="*/ 448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7484 w 3676600"/>
                  <a:gd name="connsiteY3" fmla="*/ 452574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5726 w 3676600"/>
                  <a:gd name="connsiteY7" fmla="*/ 1033345 h 1524432"/>
                  <a:gd name="connsiteX8" fmla="*/ 448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0407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 name="connsiteX0" fmla="*/ 3674499 w 3676600"/>
                  <a:gd name="connsiteY0" fmla="*/ 0 h 1524432"/>
                  <a:gd name="connsiteX1" fmla="*/ 3676600 w 3676600"/>
                  <a:gd name="connsiteY1" fmla="*/ 374935 h 1524432"/>
                  <a:gd name="connsiteX2" fmla="*/ 3029487 w 3676600"/>
                  <a:gd name="connsiteY2" fmla="*/ 405205 h 1524432"/>
                  <a:gd name="connsiteX3" fmla="*/ 2357484 w 3676600"/>
                  <a:gd name="connsiteY3" fmla="*/ 452574 h 1524432"/>
                  <a:gd name="connsiteX4" fmla="*/ 1759069 w 3676600"/>
                  <a:gd name="connsiteY4" fmla="*/ 505483 h 1524432"/>
                  <a:gd name="connsiteX5" fmla="*/ 968009 w 3676600"/>
                  <a:gd name="connsiteY5" fmla="*/ 644964 h 1524432"/>
                  <a:gd name="connsiteX6" fmla="*/ 488134 w 3676600"/>
                  <a:gd name="connsiteY6" fmla="*/ 820497 h 1524432"/>
                  <a:gd name="connsiteX7" fmla="*/ 185726 w 3676600"/>
                  <a:gd name="connsiteY7" fmla="*/ 1033345 h 1524432"/>
                  <a:gd name="connsiteX8" fmla="*/ 44881 w 3676600"/>
                  <a:gd name="connsiteY8" fmla="*/ 1280794 h 1524432"/>
                  <a:gd name="connsiteX9" fmla="*/ 7754 w 3676600"/>
                  <a:gd name="connsiteY9" fmla="*/ 1524432 h 1524432"/>
                  <a:gd name="connsiteX10" fmla="*/ 1156 w 3676600"/>
                  <a:gd name="connsiteY10" fmla="*/ 972732 h 1524432"/>
                  <a:gd name="connsiteX11" fmla="*/ 23482 w 3676600"/>
                  <a:gd name="connsiteY11" fmla="*/ 682480 h 1524432"/>
                  <a:gd name="connsiteX12" fmla="*/ 149601 w 3676600"/>
                  <a:gd name="connsiteY12" fmla="*/ 542882 h 1524432"/>
                  <a:gd name="connsiteX13" fmla="*/ 424289 w 3676600"/>
                  <a:gd name="connsiteY13" fmla="*/ 444543 h 1524432"/>
                  <a:gd name="connsiteX14" fmla="*/ 1037813 w 3676600"/>
                  <a:gd name="connsiteY14" fmla="*/ 332095 h 1524432"/>
                  <a:gd name="connsiteX15" fmla="*/ 1775556 w 3676600"/>
                  <a:gd name="connsiteY15" fmla="*/ 230054 h 1524432"/>
                  <a:gd name="connsiteX16" fmla="*/ 2663967 w 3676600"/>
                  <a:gd name="connsiteY16" fmla="*/ 116129 h 1524432"/>
                  <a:gd name="connsiteX17" fmla="*/ 3280448 w 3676600"/>
                  <a:gd name="connsiteY17" fmla="*/ 38929 h 1524432"/>
                  <a:gd name="connsiteX18" fmla="*/ 3674499 w 3676600"/>
                  <a:gd name="connsiteY18" fmla="*/ 0 h 152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76600" h="1524432">
                    <a:moveTo>
                      <a:pt x="3674499" y="0"/>
                    </a:moveTo>
                    <a:cubicBezTo>
                      <a:pt x="3675699" y="120153"/>
                      <a:pt x="3675400" y="254782"/>
                      <a:pt x="3676600" y="374935"/>
                    </a:cubicBezTo>
                    <a:cubicBezTo>
                      <a:pt x="3455497" y="382725"/>
                      <a:pt x="3262836" y="395712"/>
                      <a:pt x="3029487" y="405205"/>
                    </a:cubicBezTo>
                    <a:lnTo>
                      <a:pt x="2357484" y="452574"/>
                    </a:lnTo>
                    <a:cubicBezTo>
                      <a:pt x="2145248" y="471010"/>
                      <a:pt x="1990648" y="473418"/>
                      <a:pt x="1759069" y="505483"/>
                    </a:cubicBezTo>
                    <a:cubicBezTo>
                      <a:pt x="1527490" y="537548"/>
                      <a:pt x="1179831" y="592462"/>
                      <a:pt x="968009" y="644964"/>
                    </a:cubicBezTo>
                    <a:cubicBezTo>
                      <a:pt x="756187" y="697466"/>
                      <a:pt x="618515" y="755767"/>
                      <a:pt x="488134" y="820497"/>
                    </a:cubicBezTo>
                    <a:cubicBezTo>
                      <a:pt x="357754" y="885227"/>
                      <a:pt x="259602" y="956629"/>
                      <a:pt x="185726" y="1033345"/>
                    </a:cubicBezTo>
                    <a:cubicBezTo>
                      <a:pt x="111851" y="1110061"/>
                      <a:pt x="74543" y="1198946"/>
                      <a:pt x="44881" y="1280794"/>
                    </a:cubicBezTo>
                    <a:cubicBezTo>
                      <a:pt x="15219" y="1362642"/>
                      <a:pt x="12292" y="1451696"/>
                      <a:pt x="7754" y="1524432"/>
                    </a:cubicBezTo>
                    <a:cubicBezTo>
                      <a:pt x="217" y="1473088"/>
                      <a:pt x="-1465" y="1113057"/>
                      <a:pt x="1156" y="972732"/>
                    </a:cubicBezTo>
                    <a:cubicBezTo>
                      <a:pt x="3777" y="832407"/>
                      <a:pt x="-1259" y="754122"/>
                      <a:pt x="23482" y="682480"/>
                    </a:cubicBezTo>
                    <a:cubicBezTo>
                      <a:pt x="48223" y="610838"/>
                      <a:pt x="82800" y="582538"/>
                      <a:pt x="149601" y="542882"/>
                    </a:cubicBezTo>
                    <a:cubicBezTo>
                      <a:pt x="216402" y="503226"/>
                      <a:pt x="276254" y="479674"/>
                      <a:pt x="424289" y="444543"/>
                    </a:cubicBezTo>
                    <a:cubicBezTo>
                      <a:pt x="572324" y="409412"/>
                      <a:pt x="812602" y="367843"/>
                      <a:pt x="1037813" y="332095"/>
                    </a:cubicBezTo>
                    <a:cubicBezTo>
                      <a:pt x="1263024" y="296347"/>
                      <a:pt x="1504530" y="266048"/>
                      <a:pt x="1775556" y="230054"/>
                    </a:cubicBezTo>
                    <a:lnTo>
                      <a:pt x="2663967" y="116129"/>
                    </a:lnTo>
                    <a:cubicBezTo>
                      <a:pt x="2913783" y="85309"/>
                      <a:pt x="3061955" y="58326"/>
                      <a:pt x="3280448" y="38929"/>
                    </a:cubicBezTo>
                    <a:lnTo>
                      <a:pt x="3674499" y="0"/>
                    </a:lnTo>
                    <a:close/>
                  </a:path>
                </a:pathLst>
              </a:custGeom>
              <a:solidFill>
                <a:schemeClr val="accent1">
                  <a:lumMod val="60000"/>
                  <a:lumOff val="40000"/>
                  <a:alpha val="1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222" name="Freeform: Shape 221">
                <a:extLst>
                  <a:ext uri="{FF2B5EF4-FFF2-40B4-BE49-F238E27FC236}">
                    <a16:creationId xmlns:a16="http://schemas.microsoft.com/office/drawing/2014/main" id="{65DC8A23-6314-4FB0-A953-2716F71F591B}"/>
                  </a:ext>
                </a:extLst>
              </p:cNvPr>
              <p:cNvSpPr/>
              <p:nvPr/>
            </p:nvSpPr>
            <p:spPr>
              <a:xfrm>
                <a:off x="5927454" y="1426862"/>
                <a:ext cx="2968095" cy="915466"/>
              </a:xfrm>
              <a:custGeom>
                <a:avLst/>
                <a:gdLst>
                  <a:gd name="connsiteX0" fmla="*/ 0 w 7698658"/>
                  <a:gd name="connsiteY0" fmla="*/ 0 h 2374491"/>
                  <a:gd name="connsiteX1" fmla="*/ 0 w 7698658"/>
                  <a:gd name="connsiteY1" fmla="*/ 2374491 h 2374491"/>
                  <a:gd name="connsiteX2" fmla="*/ 7698658 w 7698658"/>
                  <a:gd name="connsiteY2" fmla="*/ 2374491 h 2374491"/>
                </a:gdLst>
                <a:ahLst/>
                <a:cxnLst>
                  <a:cxn ang="0">
                    <a:pos x="connsiteX0" y="connsiteY0"/>
                  </a:cxn>
                  <a:cxn ang="0">
                    <a:pos x="connsiteX1" y="connsiteY1"/>
                  </a:cxn>
                  <a:cxn ang="0">
                    <a:pos x="connsiteX2" y="connsiteY2"/>
                  </a:cxn>
                </a:cxnLst>
                <a:rect l="l" t="t" r="r" b="b"/>
                <a:pathLst>
                  <a:path w="7698658" h="2374491">
                    <a:moveTo>
                      <a:pt x="0" y="0"/>
                    </a:moveTo>
                    <a:lnTo>
                      <a:pt x="0" y="2374491"/>
                    </a:lnTo>
                    <a:lnTo>
                      <a:pt x="7698658" y="2374491"/>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23" name="Straight Connector 222">
                <a:extLst>
                  <a:ext uri="{FF2B5EF4-FFF2-40B4-BE49-F238E27FC236}">
                    <a16:creationId xmlns:a16="http://schemas.microsoft.com/office/drawing/2014/main" id="{F110DAF3-0234-42AC-99E4-29CF5C97819C}"/>
                  </a:ext>
                </a:extLst>
              </p:cNvPr>
              <p:cNvCxnSpPr>
                <a:cxnSpLocks/>
              </p:cNvCxnSpPr>
              <p:nvPr/>
            </p:nvCxnSpPr>
            <p:spPr>
              <a:xfrm>
                <a:off x="5882162" y="1429457"/>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96B13123-B5CB-4629-9656-C672CBE4796A}"/>
                  </a:ext>
                </a:extLst>
              </p:cNvPr>
              <p:cNvCxnSpPr>
                <a:cxnSpLocks/>
              </p:cNvCxnSpPr>
              <p:nvPr/>
            </p:nvCxnSpPr>
            <p:spPr>
              <a:xfrm>
                <a:off x="5882162" y="1788685"/>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5C378F7-B853-4FDB-97B2-11DBE924AED4}"/>
                  </a:ext>
                </a:extLst>
              </p:cNvPr>
              <p:cNvCxnSpPr>
                <a:cxnSpLocks/>
              </p:cNvCxnSpPr>
              <p:nvPr/>
            </p:nvCxnSpPr>
            <p:spPr>
              <a:xfrm>
                <a:off x="5882162" y="1972067"/>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64843CD4-7421-40D9-8A92-8CAE6E51AFFB}"/>
                  </a:ext>
                </a:extLst>
              </p:cNvPr>
              <p:cNvCxnSpPr>
                <a:cxnSpLocks/>
              </p:cNvCxnSpPr>
              <p:nvPr/>
            </p:nvCxnSpPr>
            <p:spPr>
              <a:xfrm>
                <a:off x="5882162" y="2152937"/>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FFA2ED3C-2636-4C9E-AD18-4969A2120D7C}"/>
                  </a:ext>
                </a:extLst>
              </p:cNvPr>
              <p:cNvCxnSpPr>
                <a:cxnSpLocks/>
              </p:cNvCxnSpPr>
              <p:nvPr/>
            </p:nvCxnSpPr>
            <p:spPr>
              <a:xfrm>
                <a:off x="5882162" y="2333912"/>
                <a:ext cx="45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6A65CC91-1904-4009-929E-6BD784F254CB}"/>
                  </a:ext>
                </a:extLst>
              </p:cNvPr>
              <p:cNvCxnSpPr>
                <a:cxnSpLocks/>
              </p:cNvCxnSpPr>
              <p:nvPr/>
            </p:nvCxnSpPr>
            <p:spPr>
              <a:xfrm rot="5400000">
                <a:off x="6082187"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4D3AA9F9-FE60-451A-B448-CFFC66B9C346}"/>
                  </a:ext>
                </a:extLst>
              </p:cNvPr>
              <p:cNvCxnSpPr>
                <a:cxnSpLocks/>
              </p:cNvCxnSpPr>
              <p:nvPr/>
            </p:nvCxnSpPr>
            <p:spPr>
              <a:xfrm rot="5400000">
                <a:off x="6429850"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21FEDF40-BADD-4B9A-A8C0-083005E752FC}"/>
                  </a:ext>
                </a:extLst>
              </p:cNvPr>
              <p:cNvCxnSpPr>
                <a:cxnSpLocks/>
              </p:cNvCxnSpPr>
              <p:nvPr/>
            </p:nvCxnSpPr>
            <p:spPr>
              <a:xfrm rot="5400000">
                <a:off x="6779894"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A6AAFAB-A270-43D6-B48F-E0DD5113BC17}"/>
                  </a:ext>
                </a:extLst>
              </p:cNvPr>
              <p:cNvCxnSpPr>
                <a:cxnSpLocks/>
              </p:cNvCxnSpPr>
              <p:nvPr/>
            </p:nvCxnSpPr>
            <p:spPr>
              <a:xfrm rot="5400000">
                <a:off x="7127556"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FC7F086C-AB34-45F2-9AA5-2887AC7D0F5C}"/>
                  </a:ext>
                </a:extLst>
              </p:cNvPr>
              <p:cNvCxnSpPr>
                <a:cxnSpLocks/>
              </p:cNvCxnSpPr>
              <p:nvPr/>
            </p:nvCxnSpPr>
            <p:spPr>
              <a:xfrm rot="5400000">
                <a:off x="7477599"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CAF46D97-6EBB-42FF-B5E4-65AFE87F2EC7}"/>
                  </a:ext>
                </a:extLst>
              </p:cNvPr>
              <p:cNvCxnSpPr>
                <a:cxnSpLocks/>
              </p:cNvCxnSpPr>
              <p:nvPr/>
            </p:nvCxnSpPr>
            <p:spPr>
              <a:xfrm rot="5400000">
                <a:off x="7832405"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03434A0A-A451-4490-9C4C-D2D192510A68}"/>
                  </a:ext>
                </a:extLst>
              </p:cNvPr>
              <p:cNvCxnSpPr>
                <a:cxnSpLocks/>
              </p:cNvCxnSpPr>
              <p:nvPr/>
            </p:nvCxnSpPr>
            <p:spPr>
              <a:xfrm rot="5400000">
                <a:off x="8182449"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08FBF0A-AEFB-4156-A185-7C37566AC0B7}"/>
                  </a:ext>
                </a:extLst>
              </p:cNvPr>
              <p:cNvCxnSpPr>
                <a:cxnSpLocks/>
              </p:cNvCxnSpPr>
              <p:nvPr/>
            </p:nvCxnSpPr>
            <p:spPr>
              <a:xfrm rot="5400000">
                <a:off x="8527730" y="2357681"/>
                <a:ext cx="274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A17CE4D8-2563-4169-8CB5-2844D1CF8208}"/>
                  </a:ext>
                </a:extLst>
              </p:cNvPr>
              <p:cNvCxnSpPr>
                <a:cxnSpLocks/>
              </p:cNvCxnSpPr>
              <p:nvPr/>
            </p:nvCxnSpPr>
            <p:spPr>
              <a:xfrm rot="5400000">
                <a:off x="8877965" y="2357491"/>
                <a:ext cx="365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7" name="TextBox 236">
                <a:extLst>
                  <a:ext uri="{FF2B5EF4-FFF2-40B4-BE49-F238E27FC236}">
                    <a16:creationId xmlns:a16="http://schemas.microsoft.com/office/drawing/2014/main" id="{E8A6C285-45FC-4FEA-A756-D5DB7580E6A7}"/>
                  </a:ext>
                </a:extLst>
              </p:cNvPr>
              <p:cNvSpPr txBox="1"/>
              <p:nvPr/>
            </p:nvSpPr>
            <p:spPr>
              <a:xfrm>
                <a:off x="8784044" y="2374768"/>
                <a:ext cx="224421" cy="114634"/>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mn-cs"/>
                  </a:rPr>
                  <a:t>8,000</a:t>
                </a:r>
              </a:p>
            </p:txBody>
          </p:sp>
          <p:sp>
            <p:nvSpPr>
              <p:cNvPr id="238" name="Freeform: Shape 237">
                <a:extLst>
                  <a:ext uri="{FF2B5EF4-FFF2-40B4-BE49-F238E27FC236}">
                    <a16:creationId xmlns:a16="http://schemas.microsoft.com/office/drawing/2014/main" id="{7F54D5D8-ECED-4C35-815D-90BAFF8F1E12}"/>
                  </a:ext>
                </a:extLst>
              </p:cNvPr>
              <p:cNvSpPr/>
              <p:nvPr/>
            </p:nvSpPr>
            <p:spPr>
              <a:xfrm>
                <a:off x="6097138" y="1604563"/>
                <a:ext cx="2806357" cy="584122"/>
              </a:xfrm>
              <a:custGeom>
                <a:avLst/>
                <a:gdLst>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15875 w 1762125"/>
                  <a:gd name="connsiteY6" fmla="*/ 714375 h 831850"/>
                  <a:gd name="connsiteX7" fmla="*/ 0 w 1762125"/>
                  <a:gd name="connsiteY7"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0 w 1762125"/>
                  <a:gd name="connsiteY6"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0 w 1762125"/>
                  <a:gd name="connsiteY6"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52400 w 1762125"/>
                  <a:gd name="connsiteY4" fmla="*/ 400050 h 831850"/>
                  <a:gd name="connsiteX5" fmla="*/ 38100 w 1762125"/>
                  <a:gd name="connsiteY5" fmla="*/ 584200 h 831850"/>
                  <a:gd name="connsiteX6" fmla="*/ 0 w 1762125"/>
                  <a:gd name="connsiteY6"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209550 w 1762125"/>
                  <a:gd name="connsiteY4" fmla="*/ 442912 h 831850"/>
                  <a:gd name="connsiteX5" fmla="*/ 38100 w 1762125"/>
                  <a:gd name="connsiteY5" fmla="*/ 584200 h 831850"/>
                  <a:gd name="connsiteX6" fmla="*/ 0 w 1762125"/>
                  <a:gd name="connsiteY6"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403225 w 1762125"/>
                  <a:gd name="connsiteY3" fmla="*/ 257175 h 831850"/>
                  <a:gd name="connsiteX4" fmla="*/ 178594 w 1762125"/>
                  <a:gd name="connsiteY4" fmla="*/ 395287 h 831850"/>
                  <a:gd name="connsiteX5" fmla="*/ 38100 w 1762125"/>
                  <a:gd name="connsiteY5" fmla="*/ 584200 h 831850"/>
                  <a:gd name="connsiteX6" fmla="*/ 0 w 1762125"/>
                  <a:gd name="connsiteY6" fmla="*/ 831850 h 831850"/>
                  <a:gd name="connsiteX0" fmla="*/ 1762125 w 1762125"/>
                  <a:gd name="connsiteY0" fmla="*/ 0 h 831850"/>
                  <a:gd name="connsiteX1" fmla="*/ 1257300 w 1762125"/>
                  <a:gd name="connsiteY1" fmla="*/ 63500 h 831850"/>
                  <a:gd name="connsiteX2" fmla="*/ 777875 w 1762125"/>
                  <a:gd name="connsiteY2" fmla="*/ 158750 h 831850"/>
                  <a:gd name="connsiteX3" fmla="*/ 393700 w 1762125"/>
                  <a:gd name="connsiteY3" fmla="*/ 269081 h 831850"/>
                  <a:gd name="connsiteX4" fmla="*/ 178594 w 1762125"/>
                  <a:gd name="connsiteY4" fmla="*/ 395287 h 831850"/>
                  <a:gd name="connsiteX5" fmla="*/ 38100 w 1762125"/>
                  <a:gd name="connsiteY5" fmla="*/ 584200 h 831850"/>
                  <a:gd name="connsiteX6" fmla="*/ 0 w 1762125"/>
                  <a:gd name="connsiteY6" fmla="*/ 831850 h 831850"/>
                  <a:gd name="connsiteX0" fmla="*/ 1729471 w 1729471"/>
                  <a:gd name="connsiteY0" fmla="*/ 0 h 831850"/>
                  <a:gd name="connsiteX1" fmla="*/ 1224646 w 1729471"/>
                  <a:gd name="connsiteY1" fmla="*/ 63500 h 831850"/>
                  <a:gd name="connsiteX2" fmla="*/ 745221 w 1729471"/>
                  <a:gd name="connsiteY2" fmla="*/ 158750 h 831850"/>
                  <a:gd name="connsiteX3" fmla="*/ 361046 w 1729471"/>
                  <a:gd name="connsiteY3" fmla="*/ 269081 h 831850"/>
                  <a:gd name="connsiteX4" fmla="*/ 145940 w 1729471"/>
                  <a:gd name="connsiteY4" fmla="*/ 395287 h 831850"/>
                  <a:gd name="connsiteX5" fmla="*/ 5446 w 1729471"/>
                  <a:gd name="connsiteY5" fmla="*/ 584200 h 831850"/>
                  <a:gd name="connsiteX6" fmla="*/ 22115 w 1729471"/>
                  <a:gd name="connsiteY6" fmla="*/ 831850 h 831850"/>
                  <a:gd name="connsiteX0" fmla="*/ 1759744 w 1759744"/>
                  <a:gd name="connsiteY0" fmla="*/ 0 h 834231"/>
                  <a:gd name="connsiteX1" fmla="*/ 1254919 w 1759744"/>
                  <a:gd name="connsiteY1" fmla="*/ 63500 h 834231"/>
                  <a:gd name="connsiteX2" fmla="*/ 775494 w 1759744"/>
                  <a:gd name="connsiteY2" fmla="*/ 158750 h 834231"/>
                  <a:gd name="connsiteX3" fmla="*/ 391319 w 1759744"/>
                  <a:gd name="connsiteY3" fmla="*/ 269081 h 834231"/>
                  <a:gd name="connsiteX4" fmla="*/ 176213 w 1759744"/>
                  <a:gd name="connsiteY4" fmla="*/ 395287 h 834231"/>
                  <a:gd name="connsiteX5" fmla="*/ 35719 w 1759744"/>
                  <a:gd name="connsiteY5" fmla="*/ 584200 h 834231"/>
                  <a:gd name="connsiteX6" fmla="*/ 0 w 1759744"/>
                  <a:gd name="connsiteY6" fmla="*/ 834231 h 834231"/>
                  <a:gd name="connsiteX0" fmla="*/ 1759936 w 1759936"/>
                  <a:gd name="connsiteY0" fmla="*/ 0 h 834231"/>
                  <a:gd name="connsiteX1" fmla="*/ 1255111 w 1759936"/>
                  <a:gd name="connsiteY1" fmla="*/ 63500 h 834231"/>
                  <a:gd name="connsiteX2" fmla="*/ 775686 w 1759936"/>
                  <a:gd name="connsiteY2" fmla="*/ 158750 h 834231"/>
                  <a:gd name="connsiteX3" fmla="*/ 391511 w 1759936"/>
                  <a:gd name="connsiteY3" fmla="*/ 269081 h 834231"/>
                  <a:gd name="connsiteX4" fmla="*/ 176405 w 1759936"/>
                  <a:gd name="connsiteY4" fmla="*/ 395287 h 834231"/>
                  <a:gd name="connsiteX5" fmla="*/ 35911 w 1759936"/>
                  <a:gd name="connsiteY5" fmla="*/ 584200 h 834231"/>
                  <a:gd name="connsiteX6" fmla="*/ 192 w 1759936"/>
                  <a:gd name="connsiteY6" fmla="*/ 834231 h 834231"/>
                  <a:gd name="connsiteX0" fmla="*/ 1759811 w 1759811"/>
                  <a:gd name="connsiteY0" fmla="*/ 0 h 834231"/>
                  <a:gd name="connsiteX1" fmla="*/ 1254986 w 1759811"/>
                  <a:gd name="connsiteY1" fmla="*/ 63500 h 834231"/>
                  <a:gd name="connsiteX2" fmla="*/ 775561 w 1759811"/>
                  <a:gd name="connsiteY2" fmla="*/ 158750 h 834231"/>
                  <a:gd name="connsiteX3" fmla="*/ 391386 w 1759811"/>
                  <a:gd name="connsiteY3" fmla="*/ 269081 h 834231"/>
                  <a:gd name="connsiteX4" fmla="*/ 176280 w 1759811"/>
                  <a:gd name="connsiteY4" fmla="*/ 395287 h 834231"/>
                  <a:gd name="connsiteX5" fmla="*/ 54836 w 1759811"/>
                  <a:gd name="connsiteY5" fmla="*/ 560388 h 834231"/>
                  <a:gd name="connsiteX6" fmla="*/ 67 w 1759811"/>
                  <a:gd name="connsiteY6" fmla="*/ 834231 h 834231"/>
                  <a:gd name="connsiteX0" fmla="*/ 1759811 w 1759811"/>
                  <a:gd name="connsiteY0" fmla="*/ 0 h 834231"/>
                  <a:gd name="connsiteX1" fmla="*/ 1276417 w 1759811"/>
                  <a:gd name="connsiteY1" fmla="*/ 68262 h 834231"/>
                  <a:gd name="connsiteX2" fmla="*/ 775561 w 1759811"/>
                  <a:gd name="connsiteY2" fmla="*/ 158750 h 834231"/>
                  <a:gd name="connsiteX3" fmla="*/ 391386 w 1759811"/>
                  <a:gd name="connsiteY3" fmla="*/ 269081 h 834231"/>
                  <a:gd name="connsiteX4" fmla="*/ 176280 w 1759811"/>
                  <a:gd name="connsiteY4" fmla="*/ 395287 h 834231"/>
                  <a:gd name="connsiteX5" fmla="*/ 54836 w 1759811"/>
                  <a:gd name="connsiteY5" fmla="*/ 560388 h 834231"/>
                  <a:gd name="connsiteX6" fmla="*/ 67 w 1759811"/>
                  <a:gd name="connsiteY6" fmla="*/ 834231 h 834231"/>
                  <a:gd name="connsiteX0" fmla="*/ 1759811 w 1759811"/>
                  <a:gd name="connsiteY0" fmla="*/ 0 h 834231"/>
                  <a:gd name="connsiteX1" fmla="*/ 1259749 w 1759811"/>
                  <a:gd name="connsiteY1" fmla="*/ 68262 h 834231"/>
                  <a:gd name="connsiteX2" fmla="*/ 775561 w 1759811"/>
                  <a:gd name="connsiteY2" fmla="*/ 158750 h 834231"/>
                  <a:gd name="connsiteX3" fmla="*/ 391386 w 1759811"/>
                  <a:gd name="connsiteY3" fmla="*/ 269081 h 834231"/>
                  <a:gd name="connsiteX4" fmla="*/ 176280 w 1759811"/>
                  <a:gd name="connsiteY4" fmla="*/ 395287 h 834231"/>
                  <a:gd name="connsiteX5" fmla="*/ 54836 w 1759811"/>
                  <a:gd name="connsiteY5" fmla="*/ 560388 h 834231"/>
                  <a:gd name="connsiteX6" fmla="*/ 67 w 1759811"/>
                  <a:gd name="connsiteY6" fmla="*/ 834231 h 834231"/>
                  <a:gd name="connsiteX0" fmla="*/ 1759811 w 1759811"/>
                  <a:gd name="connsiteY0" fmla="*/ 0 h 834231"/>
                  <a:gd name="connsiteX1" fmla="*/ 1259749 w 1759811"/>
                  <a:gd name="connsiteY1" fmla="*/ 68262 h 834231"/>
                  <a:gd name="connsiteX2" fmla="*/ 775561 w 1759811"/>
                  <a:gd name="connsiteY2" fmla="*/ 158750 h 834231"/>
                  <a:gd name="connsiteX3" fmla="*/ 386624 w 1759811"/>
                  <a:gd name="connsiteY3" fmla="*/ 286307 h 834231"/>
                  <a:gd name="connsiteX4" fmla="*/ 176280 w 1759811"/>
                  <a:gd name="connsiteY4" fmla="*/ 395287 h 834231"/>
                  <a:gd name="connsiteX5" fmla="*/ 54836 w 1759811"/>
                  <a:gd name="connsiteY5" fmla="*/ 560388 h 834231"/>
                  <a:gd name="connsiteX6" fmla="*/ 67 w 1759811"/>
                  <a:gd name="connsiteY6" fmla="*/ 834231 h 834231"/>
                  <a:gd name="connsiteX0" fmla="*/ 1759813 w 1759813"/>
                  <a:gd name="connsiteY0" fmla="*/ 0 h 834231"/>
                  <a:gd name="connsiteX1" fmla="*/ 1259751 w 1759813"/>
                  <a:gd name="connsiteY1" fmla="*/ 68262 h 834231"/>
                  <a:gd name="connsiteX2" fmla="*/ 775563 w 1759813"/>
                  <a:gd name="connsiteY2" fmla="*/ 158750 h 834231"/>
                  <a:gd name="connsiteX3" fmla="*/ 386626 w 1759813"/>
                  <a:gd name="connsiteY3" fmla="*/ 286307 h 834231"/>
                  <a:gd name="connsiteX4" fmla="*/ 183426 w 1759813"/>
                  <a:gd name="connsiteY4" fmla="*/ 400209 h 834231"/>
                  <a:gd name="connsiteX5" fmla="*/ 54838 w 1759813"/>
                  <a:gd name="connsiteY5" fmla="*/ 560388 h 834231"/>
                  <a:gd name="connsiteX6" fmla="*/ 69 w 1759813"/>
                  <a:gd name="connsiteY6" fmla="*/ 834231 h 834231"/>
                  <a:gd name="connsiteX0" fmla="*/ 1759813 w 1759813"/>
                  <a:gd name="connsiteY0" fmla="*/ 0 h 834231"/>
                  <a:gd name="connsiteX1" fmla="*/ 1259751 w 1759813"/>
                  <a:gd name="connsiteY1" fmla="*/ 68262 h 834231"/>
                  <a:gd name="connsiteX2" fmla="*/ 775563 w 1759813"/>
                  <a:gd name="connsiteY2" fmla="*/ 158750 h 834231"/>
                  <a:gd name="connsiteX3" fmla="*/ 391389 w 1759813"/>
                  <a:gd name="connsiteY3" fmla="*/ 278924 h 834231"/>
                  <a:gd name="connsiteX4" fmla="*/ 183426 w 1759813"/>
                  <a:gd name="connsiteY4" fmla="*/ 400209 h 834231"/>
                  <a:gd name="connsiteX5" fmla="*/ 54838 w 1759813"/>
                  <a:gd name="connsiteY5" fmla="*/ 560388 h 834231"/>
                  <a:gd name="connsiteX6" fmla="*/ 69 w 1759813"/>
                  <a:gd name="connsiteY6" fmla="*/ 834231 h 834231"/>
                  <a:gd name="connsiteX0" fmla="*/ 1759813 w 1759813"/>
                  <a:gd name="connsiteY0" fmla="*/ 0 h 856378"/>
                  <a:gd name="connsiteX1" fmla="*/ 1259751 w 1759813"/>
                  <a:gd name="connsiteY1" fmla="*/ 68262 h 856378"/>
                  <a:gd name="connsiteX2" fmla="*/ 775563 w 1759813"/>
                  <a:gd name="connsiteY2" fmla="*/ 158750 h 856378"/>
                  <a:gd name="connsiteX3" fmla="*/ 391389 w 1759813"/>
                  <a:gd name="connsiteY3" fmla="*/ 278924 h 856378"/>
                  <a:gd name="connsiteX4" fmla="*/ 183426 w 1759813"/>
                  <a:gd name="connsiteY4" fmla="*/ 400209 h 856378"/>
                  <a:gd name="connsiteX5" fmla="*/ 54838 w 1759813"/>
                  <a:gd name="connsiteY5" fmla="*/ 560388 h 856378"/>
                  <a:gd name="connsiteX6" fmla="*/ 69 w 1759813"/>
                  <a:gd name="connsiteY6" fmla="*/ 856378 h 856378"/>
                  <a:gd name="connsiteX0" fmla="*/ 1759811 w 1759811"/>
                  <a:gd name="connsiteY0" fmla="*/ 0 h 856378"/>
                  <a:gd name="connsiteX1" fmla="*/ 1259749 w 1759811"/>
                  <a:gd name="connsiteY1" fmla="*/ 68262 h 856378"/>
                  <a:gd name="connsiteX2" fmla="*/ 775561 w 1759811"/>
                  <a:gd name="connsiteY2" fmla="*/ 158750 h 856378"/>
                  <a:gd name="connsiteX3" fmla="*/ 391387 w 1759811"/>
                  <a:gd name="connsiteY3" fmla="*/ 278924 h 856378"/>
                  <a:gd name="connsiteX4" fmla="*/ 176281 w 1759811"/>
                  <a:gd name="connsiteY4" fmla="*/ 402669 h 856378"/>
                  <a:gd name="connsiteX5" fmla="*/ 54836 w 1759811"/>
                  <a:gd name="connsiteY5" fmla="*/ 560388 h 856378"/>
                  <a:gd name="connsiteX6" fmla="*/ 67 w 1759811"/>
                  <a:gd name="connsiteY6" fmla="*/ 856378 h 856378"/>
                  <a:gd name="connsiteX0" fmla="*/ 1759811 w 1759811"/>
                  <a:gd name="connsiteY0" fmla="*/ 0 h 881746"/>
                  <a:gd name="connsiteX1" fmla="*/ 1259749 w 1759811"/>
                  <a:gd name="connsiteY1" fmla="*/ 68262 h 881746"/>
                  <a:gd name="connsiteX2" fmla="*/ 775561 w 1759811"/>
                  <a:gd name="connsiteY2" fmla="*/ 158750 h 881746"/>
                  <a:gd name="connsiteX3" fmla="*/ 391387 w 1759811"/>
                  <a:gd name="connsiteY3" fmla="*/ 278924 h 881746"/>
                  <a:gd name="connsiteX4" fmla="*/ 176281 w 1759811"/>
                  <a:gd name="connsiteY4" fmla="*/ 402669 h 881746"/>
                  <a:gd name="connsiteX5" fmla="*/ 54836 w 1759811"/>
                  <a:gd name="connsiteY5" fmla="*/ 560388 h 881746"/>
                  <a:gd name="connsiteX6" fmla="*/ 67 w 1759811"/>
                  <a:gd name="connsiteY6" fmla="*/ 881746 h 881746"/>
                  <a:gd name="connsiteX0" fmla="*/ 1759811 w 1759811"/>
                  <a:gd name="connsiteY0" fmla="*/ 0 h 878122"/>
                  <a:gd name="connsiteX1" fmla="*/ 1259749 w 1759811"/>
                  <a:gd name="connsiteY1" fmla="*/ 68262 h 878122"/>
                  <a:gd name="connsiteX2" fmla="*/ 775561 w 1759811"/>
                  <a:gd name="connsiteY2" fmla="*/ 158750 h 878122"/>
                  <a:gd name="connsiteX3" fmla="*/ 391387 w 1759811"/>
                  <a:gd name="connsiteY3" fmla="*/ 278924 h 878122"/>
                  <a:gd name="connsiteX4" fmla="*/ 176281 w 1759811"/>
                  <a:gd name="connsiteY4" fmla="*/ 402669 h 878122"/>
                  <a:gd name="connsiteX5" fmla="*/ 54836 w 1759811"/>
                  <a:gd name="connsiteY5" fmla="*/ 560388 h 878122"/>
                  <a:gd name="connsiteX6" fmla="*/ 67 w 1759811"/>
                  <a:gd name="connsiteY6" fmla="*/ 878122 h 878122"/>
                  <a:gd name="connsiteX0" fmla="*/ 1759833 w 1759833"/>
                  <a:gd name="connsiteY0" fmla="*/ 0 h 878122"/>
                  <a:gd name="connsiteX1" fmla="*/ 1259771 w 1759833"/>
                  <a:gd name="connsiteY1" fmla="*/ 68262 h 878122"/>
                  <a:gd name="connsiteX2" fmla="*/ 775583 w 1759833"/>
                  <a:gd name="connsiteY2" fmla="*/ 158750 h 878122"/>
                  <a:gd name="connsiteX3" fmla="*/ 391409 w 1759833"/>
                  <a:gd name="connsiteY3" fmla="*/ 278924 h 878122"/>
                  <a:gd name="connsiteX4" fmla="*/ 176303 w 1759833"/>
                  <a:gd name="connsiteY4" fmla="*/ 402669 h 878122"/>
                  <a:gd name="connsiteX5" fmla="*/ 54858 w 1759833"/>
                  <a:gd name="connsiteY5" fmla="*/ 560388 h 878122"/>
                  <a:gd name="connsiteX6" fmla="*/ 89 w 1759833"/>
                  <a:gd name="connsiteY6" fmla="*/ 878122 h 878122"/>
                  <a:gd name="connsiteX0" fmla="*/ 1759833 w 1759833"/>
                  <a:gd name="connsiteY0" fmla="*/ 0 h 878122"/>
                  <a:gd name="connsiteX1" fmla="*/ 1259771 w 1759833"/>
                  <a:gd name="connsiteY1" fmla="*/ 68262 h 878122"/>
                  <a:gd name="connsiteX2" fmla="*/ 775583 w 1759833"/>
                  <a:gd name="connsiteY2" fmla="*/ 158750 h 878122"/>
                  <a:gd name="connsiteX3" fmla="*/ 391409 w 1759833"/>
                  <a:gd name="connsiteY3" fmla="*/ 278924 h 878122"/>
                  <a:gd name="connsiteX4" fmla="*/ 176303 w 1759833"/>
                  <a:gd name="connsiteY4" fmla="*/ 402669 h 878122"/>
                  <a:gd name="connsiteX5" fmla="*/ 54858 w 1759833"/>
                  <a:gd name="connsiteY5" fmla="*/ 560388 h 878122"/>
                  <a:gd name="connsiteX6" fmla="*/ 89 w 1759833"/>
                  <a:gd name="connsiteY6" fmla="*/ 878122 h 878122"/>
                  <a:gd name="connsiteX0" fmla="*/ 1759833 w 1759833"/>
                  <a:gd name="connsiteY0" fmla="*/ 0 h 878122"/>
                  <a:gd name="connsiteX1" fmla="*/ 1259771 w 1759833"/>
                  <a:gd name="connsiteY1" fmla="*/ 68262 h 878122"/>
                  <a:gd name="connsiteX2" fmla="*/ 775583 w 1759833"/>
                  <a:gd name="connsiteY2" fmla="*/ 158750 h 878122"/>
                  <a:gd name="connsiteX3" fmla="*/ 391409 w 1759833"/>
                  <a:gd name="connsiteY3" fmla="*/ 278924 h 878122"/>
                  <a:gd name="connsiteX4" fmla="*/ 176303 w 1759833"/>
                  <a:gd name="connsiteY4" fmla="*/ 402669 h 878122"/>
                  <a:gd name="connsiteX5" fmla="*/ 54858 w 1759833"/>
                  <a:gd name="connsiteY5" fmla="*/ 560388 h 878122"/>
                  <a:gd name="connsiteX6" fmla="*/ 89 w 1759833"/>
                  <a:gd name="connsiteY6" fmla="*/ 878122 h 878122"/>
                  <a:gd name="connsiteX0" fmla="*/ 1759833 w 1759833"/>
                  <a:gd name="connsiteY0" fmla="*/ 0 h 878122"/>
                  <a:gd name="connsiteX1" fmla="*/ 1259771 w 1759833"/>
                  <a:gd name="connsiteY1" fmla="*/ 68262 h 878122"/>
                  <a:gd name="connsiteX2" fmla="*/ 775583 w 1759833"/>
                  <a:gd name="connsiteY2" fmla="*/ 158750 h 878122"/>
                  <a:gd name="connsiteX3" fmla="*/ 391409 w 1759833"/>
                  <a:gd name="connsiteY3" fmla="*/ 278924 h 878122"/>
                  <a:gd name="connsiteX4" fmla="*/ 176303 w 1759833"/>
                  <a:gd name="connsiteY4" fmla="*/ 402669 h 878122"/>
                  <a:gd name="connsiteX5" fmla="*/ 54858 w 1759833"/>
                  <a:gd name="connsiteY5" fmla="*/ 560388 h 878122"/>
                  <a:gd name="connsiteX6" fmla="*/ 89 w 1759833"/>
                  <a:gd name="connsiteY6" fmla="*/ 878122 h 878122"/>
                  <a:gd name="connsiteX0" fmla="*/ 1759833 w 1759833"/>
                  <a:gd name="connsiteY0" fmla="*/ 0 h 878122"/>
                  <a:gd name="connsiteX1" fmla="*/ 1259771 w 1759833"/>
                  <a:gd name="connsiteY1" fmla="*/ 68262 h 878122"/>
                  <a:gd name="connsiteX2" fmla="*/ 775583 w 1759833"/>
                  <a:gd name="connsiteY2" fmla="*/ 158750 h 878122"/>
                  <a:gd name="connsiteX3" fmla="*/ 391409 w 1759833"/>
                  <a:gd name="connsiteY3" fmla="*/ 278924 h 878122"/>
                  <a:gd name="connsiteX4" fmla="*/ 176303 w 1759833"/>
                  <a:gd name="connsiteY4" fmla="*/ 402669 h 878122"/>
                  <a:gd name="connsiteX5" fmla="*/ 54858 w 1759833"/>
                  <a:gd name="connsiteY5" fmla="*/ 560388 h 878122"/>
                  <a:gd name="connsiteX6" fmla="*/ 89 w 1759833"/>
                  <a:gd name="connsiteY6" fmla="*/ 878122 h 878122"/>
                  <a:gd name="connsiteX0" fmla="*/ 1759833 w 1759833"/>
                  <a:gd name="connsiteY0" fmla="*/ 0 h 878122"/>
                  <a:gd name="connsiteX1" fmla="*/ 1259771 w 1759833"/>
                  <a:gd name="connsiteY1" fmla="*/ 68262 h 878122"/>
                  <a:gd name="connsiteX2" fmla="*/ 775583 w 1759833"/>
                  <a:gd name="connsiteY2" fmla="*/ 158750 h 878122"/>
                  <a:gd name="connsiteX3" fmla="*/ 391409 w 1759833"/>
                  <a:gd name="connsiteY3" fmla="*/ 278924 h 878122"/>
                  <a:gd name="connsiteX4" fmla="*/ 176303 w 1759833"/>
                  <a:gd name="connsiteY4" fmla="*/ 402669 h 878122"/>
                  <a:gd name="connsiteX5" fmla="*/ 54858 w 1759833"/>
                  <a:gd name="connsiteY5" fmla="*/ 560388 h 878122"/>
                  <a:gd name="connsiteX6" fmla="*/ 89 w 1759833"/>
                  <a:gd name="connsiteY6" fmla="*/ 878122 h 878122"/>
                  <a:gd name="connsiteX0" fmla="*/ 1759856 w 1759856"/>
                  <a:gd name="connsiteY0" fmla="*/ 0 h 878122"/>
                  <a:gd name="connsiteX1" fmla="*/ 1259794 w 1759856"/>
                  <a:gd name="connsiteY1" fmla="*/ 68262 h 878122"/>
                  <a:gd name="connsiteX2" fmla="*/ 775606 w 1759856"/>
                  <a:gd name="connsiteY2" fmla="*/ 158750 h 878122"/>
                  <a:gd name="connsiteX3" fmla="*/ 391432 w 1759856"/>
                  <a:gd name="connsiteY3" fmla="*/ 278924 h 878122"/>
                  <a:gd name="connsiteX4" fmla="*/ 176326 w 1759856"/>
                  <a:gd name="connsiteY4" fmla="*/ 402669 h 878122"/>
                  <a:gd name="connsiteX5" fmla="*/ 54881 w 1759856"/>
                  <a:gd name="connsiteY5" fmla="*/ 560388 h 878122"/>
                  <a:gd name="connsiteX6" fmla="*/ 112 w 1759856"/>
                  <a:gd name="connsiteY6" fmla="*/ 878122 h 878122"/>
                  <a:gd name="connsiteX0" fmla="*/ 1756901 w 1756901"/>
                  <a:gd name="connsiteY0" fmla="*/ 0 h 878122"/>
                  <a:gd name="connsiteX1" fmla="*/ 1256839 w 1756901"/>
                  <a:gd name="connsiteY1" fmla="*/ 68262 h 878122"/>
                  <a:gd name="connsiteX2" fmla="*/ 772651 w 1756901"/>
                  <a:gd name="connsiteY2" fmla="*/ 158750 h 878122"/>
                  <a:gd name="connsiteX3" fmla="*/ 388477 w 1756901"/>
                  <a:gd name="connsiteY3" fmla="*/ 278924 h 878122"/>
                  <a:gd name="connsiteX4" fmla="*/ 173371 w 1756901"/>
                  <a:gd name="connsiteY4" fmla="*/ 402669 h 878122"/>
                  <a:gd name="connsiteX5" fmla="*/ 51926 w 1756901"/>
                  <a:gd name="connsiteY5" fmla="*/ 560388 h 878122"/>
                  <a:gd name="connsiteX6" fmla="*/ 136 w 1756901"/>
                  <a:gd name="connsiteY6"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173358 w 1756888"/>
                  <a:gd name="connsiteY4" fmla="*/ 402669 h 878122"/>
                  <a:gd name="connsiteX5" fmla="*/ 53403 w 1756888"/>
                  <a:gd name="connsiteY5" fmla="*/ 564012 h 878122"/>
                  <a:gd name="connsiteX6" fmla="*/ 123 w 1756888"/>
                  <a:gd name="connsiteY6"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173358 w 1756888"/>
                  <a:gd name="connsiteY4" fmla="*/ 402669 h 878122"/>
                  <a:gd name="connsiteX5" fmla="*/ 53403 w 1756888"/>
                  <a:gd name="connsiteY5" fmla="*/ 564012 h 878122"/>
                  <a:gd name="connsiteX6" fmla="*/ 123 w 1756888"/>
                  <a:gd name="connsiteY6"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173358 w 1756888"/>
                  <a:gd name="connsiteY4" fmla="*/ 402669 h 878122"/>
                  <a:gd name="connsiteX5" fmla="*/ 53403 w 1756888"/>
                  <a:gd name="connsiteY5" fmla="*/ 564012 h 878122"/>
                  <a:gd name="connsiteX6" fmla="*/ 123 w 1756888"/>
                  <a:gd name="connsiteY6"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173358 w 1756888"/>
                  <a:gd name="connsiteY4" fmla="*/ 402669 h 878122"/>
                  <a:gd name="connsiteX5" fmla="*/ 53403 w 1756888"/>
                  <a:gd name="connsiteY5" fmla="*/ 564012 h 878122"/>
                  <a:gd name="connsiteX6" fmla="*/ 123 w 1756888"/>
                  <a:gd name="connsiteY6"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53403 w 1756888"/>
                  <a:gd name="connsiteY4" fmla="*/ 564012 h 878122"/>
                  <a:gd name="connsiteX5" fmla="*/ 123 w 1756888"/>
                  <a:gd name="connsiteY5"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53403 w 1756888"/>
                  <a:gd name="connsiteY4" fmla="*/ 564012 h 878122"/>
                  <a:gd name="connsiteX5" fmla="*/ 123 w 1756888"/>
                  <a:gd name="connsiteY5"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53403 w 1756888"/>
                  <a:gd name="connsiteY4" fmla="*/ 564012 h 878122"/>
                  <a:gd name="connsiteX5" fmla="*/ 123 w 1756888"/>
                  <a:gd name="connsiteY5" fmla="*/ 878122 h 878122"/>
                  <a:gd name="connsiteX0" fmla="*/ 1756888 w 1756888"/>
                  <a:gd name="connsiteY0" fmla="*/ 0 h 878122"/>
                  <a:gd name="connsiteX1" fmla="*/ 1256826 w 1756888"/>
                  <a:gd name="connsiteY1" fmla="*/ 68262 h 878122"/>
                  <a:gd name="connsiteX2" fmla="*/ 772638 w 1756888"/>
                  <a:gd name="connsiteY2" fmla="*/ 158750 h 878122"/>
                  <a:gd name="connsiteX3" fmla="*/ 388464 w 1756888"/>
                  <a:gd name="connsiteY3" fmla="*/ 278924 h 878122"/>
                  <a:gd name="connsiteX4" fmla="*/ 53403 w 1756888"/>
                  <a:gd name="connsiteY4" fmla="*/ 564012 h 878122"/>
                  <a:gd name="connsiteX5" fmla="*/ 123 w 1756888"/>
                  <a:gd name="connsiteY5" fmla="*/ 878122 h 878122"/>
                  <a:gd name="connsiteX0" fmla="*/ 1756888 w 1756888"/>
                  <a:gd name="connsiteY0" fmla="*/ 0 h 878122"/>
                  <a:gd name="connsiteX1" fmla="*/ 1255337 w 1756888"/>
                  <a:gd name="connsiteY1" fmla="*/ 68262 h 878122"/>
                  <a:gd name="connsiteX2" fmla="*/ 772638 w 1756888"/>
                  <a:gd name="connsiteY2" fmla="*/ 158750 h 878122"/>
                  <a:gd name="connsiteX3" fmla="*/ 388464 w 1756888"/>
                  <a:gd name="connsiteY3" fmla="*/ 278924 h 878122"/>
                  <a:gd name="connsiteX4" fmla="*/ 53403 w 1756888"/>
                  <a:gd name="connsiteY4" fmla="*/ 564012 h 878122"/>
                  <a:gd name="connsiteX5" fmla="*/ 123 w 1756888"/>
                  <a:gd name="connsiteY5" fmla="*/ 878122 h 878122"/>
                  <a:gd name="connsiteX0" fmla="*/ 1756888 w 1756888"/>
                  <a:gd name="connsiteY0" fmla="*/ 0 h 878122"/>
                  <a:gd name="connsiteX1" fmla="*/ 1255337 w 1756888"/>
                  <a:gd name="connsiteY1" fmla="*/ 68262 h 878122"/>
                  <a:gd name="connsiteX2" fmla="*/ 772638 w 1756888"/>
                  <a:gd name="connsiteY2" fmla="*/ 158750 h 878122"/>
                  <a:gd name="connsiteX3" fmla="*/ 388464 w 1756888"/>
                  <a:gd name="connsiteY3" fmla="*/ 278924 h 878122"/>
                  <a:gd name="connsiteX4" fmla="*/ 53403 w 1756888"/>
                  <a:gd name="connsiteY4" fmla="*/ 564012 h 878122"/>
                  <a:gd name="connsiteX5" fmla="*/ 123 w 1756888"/>
                  <a:gd name="connsiteY5" fmla="*/ 878122 h 878122"/>
                  <a:gd name="connsiteX0" fmla="*/ 1755399 w 1755399"/>
                  <a:gd name="connsiteY0" fmla="*/ 0 h 881746"/>
                  <a:gd name="connsiteX1" fmla="*/ 1255337 w 1755399"/>
                  <a:gd name="connsiteY1" fmla="*/ 71886 h 881746"/>
                  <a:gd name="connsiteX2" fmla="*/ 772638 w 1755399"/>
                  <a:gd name="connsiteY2" fmla="*/ 162374 h 881746"/>
                  <a:gd name="connsiteX3" fmla="*/ 388464 w 1755399"/>
                  <a:gd name="connsiteY3" fmla="*/ 282548 h 881746"/>
                  <a:gd name="connsiteX4" fmla="*/ 53403 w 1755399"/>
                  <a:gd name="connsiteY4" fmla="*/ 567636 h 881746"/>
                  <a:gd name="connsiteX5" fmla="*/ 123 w 1755399"/>
                  <a:gd name="connsiteY5" fmla="*/ 881746 h 881746"/>
                  <a:gd name="connsiteX0" fmla="*/ 1756878 w 1756878"/>
                  <a:gd name="connsiteY0" fmla="*/ 0 h 881746"/>
                  <a:gd name="connsiteX1" fmla="*/ 1256816 w 1756878"/>
                  <a:gd name="connsiteY1" fmla="*/ 71886 h 881746"/>
                  <a:gd name="connsiteX2" fmla="*/ 774117 w 1756878"/>
                  <a:gd name="connsiteY2" fmla="*/ 162374 h 881746"/>
                  <a:gd name="connsiteX3" fmla="*/ 389943 w 1756878"/>
                  <a:gd name="connsiteY3" fmla="*/ 282548 h 881746"/>
                  <a:gd name="connsiteX4" fmla="*/ 54882 w 1756878"/>
                  <a:gd name="connsiteY4" fmla="*/ 567636 h 881746"/>
                  <a:gd name="connsiteX5" fmla="*/ 112 w 1756878"/>
                  <a:gd name="connsiteY5" fmla="*/ 881746 h 881746"/>
                  <a:gd name="connsiteX0" fmla="*/ 1756878 w 1756878"/>
                  <a:gd name="connsiteY0" fmla="*/ 0 h 881746"/>
                  <a:gd name="connsiteX1" fmla="*/ 1256816 w 1756878"/>
                  <a:gd name="connsiteY1" fmla="*/ 71886 h 881746"/>
                  <a:gd name="connsiteX2" fmla="*/ 774117 w 1756878"/>
                  <a:gd name="connsiteY2" fmla="*/ 162374 h 881746"/>
                  <a:gd name="connsiteX3" fmla="*/ 389943 w 1756878"/>
                  <a:gd name="connsiteY3" fmla="*/ 282548 h 881746"/>
                  <a:gd name="connsiteX4" fmla="*/ 54882 w 1756878"/>
                  <a:gd name="connsiteY4" fmla="*/ 567636 h 881746"/>
                  <a:gd name="connsiteX5" fmla="*/ 112 w 1756878"/>
                  <a:gd name="connsiteY5" fmla="*/ 881746 h 881746"/>
                  <a:gd name="connsiteX0" fmla="*/ 1756878 w 1756878"/>
                  <a:gd name="connsiteY0" fmla="*/ 0 h 888995"/>
                  <a:gd name="connsiteX1" fmla="*/ 1256816 w 1756878"/>
                  <a:gd name="connsiteY1" fmla="*/ 71886 h 888995"/>
                  <a:gd name="connsiteX2" fmla="*/ 774117 w 1756878"/>
                  <a:gd name="connsiteY2" fmla="*/ 162374 h 888995"/>
                  <a:gd name="connsiteX3" fmla="*/ 389943 w 1756878"/>
                  <a:gd name="connsiteY3" fmla="*/ 282548 h 888995"/>
                  <a:gd name="connsiteX4" fmla="*/ 54882 w 1756878"/>
                  <a:gd name="connsiteY4" fmla="*/ 567636 h 888995"/>
                  <a:gd name="connsiteX5" fmla="*/ 112 w 1756878"/>
                  <a:gd name="connsiteY5" fmla="*/ 888995 h 888995"/>
                  <a:gd name="connsiteX0" fmla="*/ 1756878 w 1756878"/>
                  <a:gd name="connsiteY0" fmla="*/ 0 h 888995"/>
                  <a:gd name="connsiteX1" fmla="*/ 1256816 w 1756878"/>
                  <a:gd name="connsiteY1" fmla="*/ 71886 h 888995"/>
                  <a:gd name="connsiteX2" fmla="*/ 774117 w 1756878"/>
                  <a:gd name="connsiteY2" fmla="*/ 162374 h 888995"/>
                  <a:gd name="connsiteX3" fmla="*/ 389943 w 1756878"/>
                  <a:gd name="connsiteY3" fmla="*/ 282548 h 888995"/>
                  <a:gd name="connsiteX4" fmla="*/ 54882 w 1756878"/>
                  <a:gd name="connsiteY4" fmla="*/ 567636 h 888995"/>
                  <a:gd name="connsiteX5" fmla="*/ 112 w 1756878"/>
                  <a:gd name="connsiteY5" fmla="*/ 888995 h 888995"/>
                  <a:gd name="connsiteX0" fmla="*/ 1756870 w 1756870"/>
                  <a:gd name="connsiteY0" fmla="*/ 0 h 888995"/>
                  <a:gd name="connsiteX1" fmla="*/ 1256808 w 1756870"/>
                  <a:gd name="connsiteY1" fmla="*/ 71886 h 888995"/>
                  <a:gd name="connsiteX2" fmla="*/ 774109 w 1756870"/>
                  <a:gd name="connsiteY2" fmla="*/ 162374 h 888995"/>
                  <a:gd name="connsiteX3" fmla="*/ 389935 w 1756870"/>
                  <a:gd name="connsiteY3" fmla="*/ 282548 h 888995"/>
                  <a:gd name="connsiteX4" fmla="*/ 54874 w 1756870"/>
                  <a:gd name="connsiteY4" fmla="*/ 567636 h 888995"/>
                  <a:gd name="connsiteX5" fmla="*/ 104 w 1756870"/>
                  <a:gd name="connsiteY5" fmla="*/ 888995 h 888995"/>
                  <a:gd name="connsiteX0" fmla="*/ 1756889 w 1756889"/>
                  <a:gd name="connsiteY0" fmla="*/ 0 h 888995"/>
                  <a:gd name="connsiteX1" fmla="*/ 1256827 w 1756889"/>
                  <a:gd name="connsiteY1" fmla="*/ 71886 h 888995"/>
                  <a:gd name="connsiteX2" fmla="*/ 774128 w 1756889"/>
                  <a:gd name="connsiteY2" fmla="*/ 162374 h 888995"/>
                  <a:gd name="connsiteX3" fmla="*/ 389954 w 1756889"/>
                  <a:gd name="connsiteY3" fmla="*/ 282548 h 888995"/>
                  <a:gd name="connsiteX4" fmla="*/ 51913 w 1756889"/>
                  <a:gd name="connsiteY4" fmla="*/ 571259 h 888995"/>
                  <a:gd name="connsiteX5" fmla="*/ 123 w 1756889"/>
                  <a:gd name="connsiteY5" fmla="*/ 888995 h 888995"/>
                  <a:gd name="connsiteX0" fmla="*/ 1756889 w 1756889"/>
                  <a:gd name="connsiteY0" fmla="*/ 0 h 888995"/>
                  <a:gd name="connsiteX1" fmla="*/ 1256827 w 1756889"/>
                  <a:gd name="connsiteY1" fmla="*/ 71886 h 888995"/>
                  <a:gd name="connsiteX2" fmla="*/ 774128 w 1756889"/>
                  <a:gd name="connsiteY2" fmla="*/ 162374 h 888995"/>
                  <a:gd name="connsiteX3" fmla="*/ 389954 w 1756889"/>
                  <a:gd name="connsiteY3" fmla="*/ 282548 h 888995"/>
                  <a:gd name="connsiteX4" fmla="*/ 51913 w 1756889"/>
                  <a:gd name="connsiteY4" fmla="*/ 571259 h 888995"/>
                  <a:gd name="connsiteX5" fmla="*/ 123 w 1756889"/>
                  <a:gd name="connsiteY5" fmla="*/ 888995 h 888995"/>
                  <a:gd name="connsiteX0" fmla="*/ 1755412 w 1755412"/>
                  <a:gd name="connsiteY0" fmla="*/ 0 h 888995"/>
                  <a:gd name="connsiteX1" fmla="*/ 1255350 w 1755412"/>
                  <a:gd name="connsiteY1" fmla="*/ 71886 h 888995"/>
                  <a:gd name="connsiteX2" fmla="*/ 772651 w 1755412"/>
                  <a:gd name="connsiteY2" fmla="*/ 162374 h 888995"/>
                  <a:gd name="connsiteX3" fmla="*/ 388477 w 1755412"/>
                  <a:gd name="connsiteY3" fmla="*/ 282548 h 888995"/>
                  <a:gd name="connsiteX4" fmla="*/ 50436 w 1755412"/>
                  <a:gd name="connsiteY4" fmla="*/ 571259 h 888995"/>
                  <a:gd name="connsiteX5" fmla="*/ 136 w 1755412"/>
                  <a:gd name="connsiteY5" fmla="*/ 888995 h 88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5412" h="888995">
                    <a:moveTo>
                      <a:pt x="1755412" y="0"/>
                    </a:moveTo>
                    <a:cubicBezTo>
                      <a:pt x="1587137" y="21167"/>
                      <a:pt x="1422371" y="38179"/>
                      <a:pt x="1255350" y="71886"/>
                    </a:cubicBezTo>
                    <a:cubicBezTo>
                      <a:pt x="1091308" y="98344"/>
                      <a:pt x="917130" y="127264"/>
                      <a:pt x="772651" y="162374"/>
                    </a:cubicBezTo>
                    <a:cubicBezTo>
                      <a:pt x="628172" y="197484"/>
                      <a:pt x="509838" y="236749"/>
                      <a:pt x="388477" y="282548"/>
                    </a:cubicBezTo>
                    <a:cubicBezTo>
                      <a:pt x="268605" y="350092"/>
                      <a:pt x="118533" y="415910"/>
                      <a:pt x="50436" y="571259"/>
                    </a:cubicBezTo>
                    <a:cubicBezTo>
                      <a:pt x="10640" y="668623"/>
                      <a:pt x="-1452" y="785630"/>
                      <a:pt x="136" y="888995"/>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Arial"/>
                  <a:ea typeface="+mn-ea"/>
                  <a:cs typeface="+mn-cs"/>
                </a:endParaRPr>
              </a:p>
            </p:txBody>
          </p:sp>
        </p:grpSp>
        <p:sp>
          <p:nvSpPr>
            <p:cNvPr id="189" name="Freeform: Shape 188">
              <a:extLst>
                <a:ext uri="{FF2B5EF4-FFF2-40B4-BE49-F238E27FC236}">
                  <a16:creationId xmlns:a16="http://schemas.microsoft.com/office/drawing/2014/main" id="{7A3DE63C-9CEB-4A63-BAC2-D9FACE2F27B5}"/>
                </a:ext>
              </a:extLst>
            </p:cNvPr>
            <p:cNvSpPr/>
            <p:nvPr/>
          </p:nvSpPr>
          <p:spPr>
            <a:xfrm>
              <a:off x="1332275" y="4527282"/>
              <a:ext cx="5893121" cy="708170"/>
            </a:xfrm>
            <a:custGeom>
              <a:avLst/>
              <a:gdLst>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673475 w 3673475"/>
                <a:gd name="connsiteY0" fmla="*/ 0 h 1066800"/>
                <a:gd name="connsiteX1" fmla="*/ 2768600 w 3673475"/>
                <a:gd name="connsiteY1" fmla="*/ 57150 h 1066800"/>
                <a:gd name="connsiteX2" fmla="*/ 1997075 w 3673475"/>
                <a:gd name="connsiteY2" fmla="*/ 133350 h 1066800"/>
                <a:gd name="connsiteX3" fmla="*/ 1330325 w 3673475"/>
                <a:gd name="connsiteY3" fmla="*/ 209550 h 1066800"/>
                <a:gd name="connsiteX4" fmla="*/ 787400 w 3673475"/>
                <a:gd name="connsiteY4" fmla="*/ 314325 h 1066800"/>
                <a:gd name="connsiteX5" fmla="*/ 450850 w 3673475"/>
                <a:gd name="connsiteY5" fmla="*/ 412750 h 1066800"/>
                <a:gd name="connsiteX6" fmla="*/ 190500 w 3673475"/>
                <a:gd name="connsiteY6" fmla="*/ 523875 h 1066800"/>
                <a:gd name="connsiteX7" fmla="*/ 60325 w 3673475"/>
                <a:gd name="connsiteY7" fmla="*/ 660400 h 1066800"/>
                <a:gd name="connsiteX8" fmla="*/ 15875 w 3673475"/>
                <a:gd name="connsiteY8" fmla="*/ 850900 h 1066800"/>
                <a:gd name="connsiteX9" fmla="*/ 0 w 3673475"/>
                <a:gd name="connsiteY9" fmla="*/ 1066800 h 1066800"/>
                <a:gd name="connsiteX0" fmla="*/ 3744912 w 3744912"/>
                <a:gd name="connsiteY0" fmla="*/ 0 h 1042988"/>
                <a:gd name="connsiteX1" fmla="*/ 2840037 w 3744912"/>
                <a:gd name="connsiteY1" fmla="*/ 57150 h 1042988"/>
                <a:gd name="connsiteX2" fmla="*/ 2068512 w 3744912"/>
                <a:gd name="connsiteY2" fmla="*/ 133350 h 1042988"/>
                <a:gd name="connsiteX3" fmla="*/ 1401762 w 3744912"/>
                <a:gd name="connsiteY3" fmla="*/ 209550 h 1042988"/>
                <a:gd name="connsiteX4" fmla="*/ 858837 w 3744912"/>
                <a:gd name="connsiteY4" fmla="*/ 314325 h 1042988"/>
                <a:gd name="connsiteX5" fmla="*/ 522287 w 3744912"/>
                <a:gd name="connsiteY5" fmla="*/ 412750 h 1042988"/>
                <a:gd name="connsiteX6" fmla="*/ 261937 w 3744912"/>
                <a:gd name="connsiteY6" fmla="*/ 523875 h 1042988"/>
                <a:gd name="connsiteX7" fmla="*/ 131762 w 3744912"/>
                <a:gd name="connsiteY7" fmla="*/ 660400 h 1042988"/>
                <a:gd name="connsiteX8" fmla="*/ 87312 w 3744912"/>
                <a:gd name="connsiteY8" fmla="*/ 850900 h 1042988"/>
                <a:gd name="connsiteX9" fmla="*/ 0 w 3744912"/>
                <a:gd name="connsiteY9" fmla="*/ 1042988 h 1042988"/>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57944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74613 w 3671094"/>
                <a:gd name="connsiteY7" fmla="*/ 660400 h 1052513"/>
                <a:gd name="connsiteX8" fmla="*/ 13494 w 3671094"/>
                <a:gd name="connsiteY8" fmla="*/ 850900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74613 w 3671094"/>
                <a:gd name="connsiteY7" fmla="*/ 660400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188119 w 3671094"/>
                <a:gd name="connsiteY6" fmla="*/ 523875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48469 w 3671094"/>
                <a:gd name="connsiteY5" fmla="*/ 412750 h 1052513"/>
                <a:gd name="connsiteX6" fmla="*/ 209551 w 3671094"/>
                <a:gd name="connsiteY6" fmla="*/ 526257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60376 w 3671094"/>
                <a:gd name="connsiteY5" fmla="*/ 400843 h 1052513"/>
                <a:gd name="connsiteX6" fmla="*/ 209551 w 3671094"/>
                <a:gd name="connsiteY6" fmla="*/ 526257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785019 w 3671094"/>
                <a:gd name="connsiteY4" fmla="*/ 314325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811213 w 3671094"/>
                <a:gd name="connsiteY4" fmla="*/ 302419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27944 w 3671094"/>
                <a:gd name="connsiteY3" fmla="*/ 209550 h 1052513"/>
                <a:gd name="connsiteX4" fmla="*/ 808832 w 3671094"/>
                <a:gd name="connsiteY4" fmla="*/ 309563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94694 w 3671094"/>
                <a:gd name="connsiteY2" fmla="*/ 133350 h 1052513"/>
                <a:gd name="connsiteX3" fmla="*/ 1346994 w 3671094"/>
                <a:gd name="connsiteY3" fmla="*/ 211931 h 1052513"/>
                <a:gd name="connsiteX4" fmla="*/ 808832 w 3671094"/>
                <a:gd name="connsiteY4" fmla="*/ 309563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66219 w 3671094"/>
                <a:gd name="connsiteY1" fmla="*/ 57150 h 1052513"/>
                <a:gd name="connsiteX2" fmla="*/ 1982787 w 3671094"/>
                <a:gd name="connsiteY2" fmla="*/ 130969 h 1052513"/>
                <a:gd name="connsiteX3" fmla="*/ 1346994 w 3671094"/>
                <a:gd name="connsiteY3" fmla="*/ 211931 h 1052513"/>
                <a:gd name="connsiteX4" fmla="*/ 808832 w 3671094"/>
                <a:gd name="connsiteY4" fmla="*/ 309563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59075 w 3671094"/>
                <a:gd name="connsiteY1" fmla="*/ 64294 h 1052513"/>
                <a:gd name="connsiteX2" fmla="*/ 1982787 w 3671094"/>
                <a:gd name="connsiteY2" fmla="*/ 130969 h 1052513"/>
                <a:gd name="connsiteX3" fmla="*/ 1346994 w 3671094"/>
                <a:gd name="connsiteY3" fmla="*/ 211931 h 1052513"/>
                <a:gd name="connsiteX4" fmla="*/ 808832 w 3671094"/>
                <a:gd name="connsiteY4" fmla="*/ 309563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1094 w 3671094"/>
                <a:gd name="connsiteY0" fmla="*/ 0 h 1052513"/>
                <a:gd name="connsiteX1" fmla="*/ 2759075 w 3671094"/>
                <a:gd name="connsiteY1" fmla="*/ 59531 h 1052513"/>
                <a:gd name="connsiteX2" fmla="*/ 1982787 w 3671094"/>
                <a:gd name="connsiteY2" fmla="*/ 130969 h 1052513"/>
                <a:gd name="connsiteX3" fmla="*/ 1346994 w 3671094"/>
                <a:gd name="connsiteY3" fmla="*/ 211931 h 1052513"/>
                <a:gd name="connsiteX4" fmla="*/ 808832 w 3671094"/>
                <a:gd name="connsiteY4" fmla="*/ 309563 h 1052513"/>
                <a:gd name="connsiteX5" fmla="*/ 460376 w 3671094"/>
                <a:gd name="connsiteY5" fmla="*/ 400843 h 1052513"/>
                <a:gd name="connsiteX6" fmla="*/ 226220 w 3671094"/>
                <a:gd name="connsiteY6" fmla="*/ 511969 h 1052513"/>
                <a:gd name="connsiteX7" fmla="*/ 76994 w 3671094"/>
                <a:gd name="connsiteY7" fmla="*/ 648494 h 1052513"/>
                <a:gd name="connsiteX8" fmla="*/ 13494 w 3671094"/>
                <a:gd name="connsiteY8" fmla="*/ 817563 h 1052513"/>
                <a:gd name="connsiteX9" fmla="*/ 0 w 3671094"/>
                <a:gd name="connsiteY9" fmla="*/ 1052513 h 1052513"/>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08832 w 3675857"/>
                <a:gd name="connsiteY4" fmla="*/ 311944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75857 w 3675857"/>
                <a:gd name="connsiteY0" fmla="*/ 0 h 1054894"/>
                <a:gd name="connsiteX1" fmla="*/ 2759075 w 3675857"/>
                <a:gd name="connsiteY1" fmla="*/ 61912 h 1054894"/>
                <a:gd name="connsiteX2" fmla="*/ 1982787 w 3675857"/>
                <a:gd name="connsiteY2" fmla="*/ 133350 h 1054894"/>
                <a:gd name="connsiteX3" fmla="*/ 1346994 w 3675857"/>
                <a:gd name="connsiteY3" fmla="*/ 214312 h 1054894"/>
                <a:gd name="connsiteX4" fmla="*/ 823120 w 3675857"/>
                <a:gd name="connsiteY4" fmla="*/ 302419 h 1054894"/>
                <a:gd name="connsiteX5" fmla="*/ 460376 w 3675857"/>
                <a:gd name="connsiteY5" fmla="*/ 403224 h 1054894"/>
                <a:gd name="connsiteX6" fmla="*/ 226220 w 3675857"/>
                <a:gd name="connsiteY6" fmla="*/ 514350 h 1054894"/>
                <a:gd name="connsiteX7" fmla="*/ 76994 w 3675857"/>
                <a:gd name="connsiteY7" fmla="*/ 650875 h 1054894"/>
                <a:gd name="connsiteX8" fmla="*/ 13494 w 3675857"/>
                <a:gd name="connsiteY8" fmla="*/ 819944 h 1054894"/>
                <a:gd name="connsiteX9" fmla="*/ 0 w 3675857"/>
                <a:gd name="connsiteY9" fmla="*/ 1054894 h 1054894"/>
                <a:gd name="connsiteX0" fmla="*/ 3680620 w 3680620"/>
                <a:gd name="connsiteY0" fmla="*/ 0 h 1059656"/>
                <a:gd name="connsiteX1" fmla="*/ 2763838 w 3680620"/>
                <a:gd name="connsiteY1" fmla="*/ 61912 h 1059656"/>
                <a:gd name="connsiteX2" fmla="*/ 1987550 w 3680620"/>
                <a:gd name="connsiteY2" fmla="*/ 133350 h 1059656"/>
                <a:gd name="connsiteX3" fmla="*/ 1351757 w 3680620"/>
                <a:gd name="connsiteY3" fmla="*/ 214312 h 1059656"/>
                <a:gd name="connsiteX4" fmla="*/ 827883 w 3680620"/>
                <a:gd name="connsiteY4" fmla="*/ 302419 h 1059656"/>
                <a:gd name="connsiteX5" fmla="*/ 465139 w 3680620"/>
                <a:gd name="connsiteY5" fmla="*/ 403224 h 1059656"/>
                <a:gd name="connsiteX6" fmla="*/ 230983 w 3680620"/>
                <a:gd name="connsiteY6" fmla="*/ 514350 h 1059656"/>
                <a:gd name="connsiteX7" fmla="*/ 81757 w 3680620"/>
                <a:gd name="connsiteY7" fmla="*/ 650875 h 1059656"/>
                <a:gd name="connsiteX8" fmla="*/ 18257 w 3680620"/>
                <a:gd name="connsiteY8" fmla="*/ 819944 h 1059656"/>
                <a:gd name="connsiteX9" fmla="*/ 0 w 3680620"/>
                <a:gd name="connsiteY9" fmla="*/ 1059656 h 1059656"/>
                <a:gd name="connsiteX0" fmla="*/ 3680620 w 3680620"/>
                <a:gd name="connsiteY0" fmla="*/ 0 h 1059656"/>
                <a:gd name="connsiteX1" fmla="*/ 2763838 w 3680620"/>
                <a:gd name="connsiteY1" fmla="*/ 61912 h 1059656"/>
                <a:gd name="connsiteX2" fmla="*/ 1987550 w 3680620"/>
                <a:gd name="connsiteY2" fmla="*/ 133350 h 1059656"/>
                <a:gd name="connsiteX3" fmla="*/ 1351757 w 3680620"/>
                <a:gd name="connsiteY3" fmla="*/ 214312 h 1059656"/>
                <a:gd name="connsiteX4" fmla="*/ 827883 w 3680620"/>
                <a:gd name="connsiteY4" fmla="*/ 302419 h 1059656"/>
                <a:gd name="connsiteX5" fmla="*/ 465139 w 3680620"/>
                <a:gd name="connsiteY5" fmla="*/ 403224 h 1059656"/>
                <a:gd name="connsiteX6" fmla="*/ 230983 w 3680620"/>
                <a:gd name="connsiteY6" fmla="*/ 514350 h 1059656"/>
                <a:gd name="connsiteX7" fmla="*/ 86519 w 3680620"/>
                <a:gd name="connsiteY7" fmla="*/ 658018 h 1059656"/>
                <a:gd name="connsiteX8" fmla="*/ 18257 w 3680620"/>
                <a:gd name="connsiteY8" fmla="*/ 819944 h 1059656"/>
                <a:gd name="connsiteX9" fmla="*/ 0 w 3680620"/>
                <a:gd name="connsiteY9" fmla="*/ 1059656 h 1059656"/>
                <a:gd name="connsiteX0" fmla="*/ 3680620 w 3680620"/>
                <a:gd name="connsiteY0" fmla="*/ 0 h 1059656"/>
                <a:gd name="connsiteX1" fmla="*/ 2763838 w 3680620"/>
                <a:gd name="connsiteY1" fmla="*/ 61912 h 1059656"/>
                <a:gd name="connsiteX2" fmla="*/ 1987550 w 3680620"/>
                <a:gd name="connsiteY2" fmla="*/ 133350 h 1059656"/>
                <a:gd name="connsiteX3" fmla="*/ 1351757 w 3680620"/>
                <a:gd name="connsiteY3" fmla="*/ 214312 h 1059656"/>
                <a:gd name="connsiteX4" fmla="*/ 827883 w 3680620"/>
                <a:gd name="connsiteY4" fmla="*/ 302419 h 1059656"/>
                <a:gd name="connsiteX5" fmla="*/ 465139 w 3680620"/>
                <a:gd name="connsiteY5" fmla="*/ 403224 h 1059656"/>
                <a:gd name="connsiteX6" fmla="*/ 230983 w 3680620"/>
                <a:gd name="connsiteY6" fmla="*/ 514350 h 1059656"/>
                <a:gd name="connsiteX7" fmla="*/ 86519 w 3680620"/>
                <a:gd name="connsiteY7" fmla="*/ 650875 h 1059656"/>
                <a:gd name="connsiteX8" fmla="*/ 18257 w 3680620"/>
                <a:gd name="connsiteY8" fmla="*/ 819944 h 1059656"/>
                <a:gd name="connsiteX9" fmla="*/ 0 w 3680620"/>
                <a:gd name="connsiteY9" fmla="*/ 1059656 h 1059656"/>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5282 w 3677645"/>
                <a:gd name="connsiteY8" fmla="*/ 819944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5282 w 3677645"/>
                <a:gd name="connsiteY8" fmla="*/ 819944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8257 w 3677645"/>
                <a:gd name="connsiteY8" fmla="*/ 819944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6769 w 3677645"/>
                <a:gd name="connsiteY8" fmla="*/ 813268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6769 w 3677645"/>
                <a:gd name="connsiteY8" fmla="*/ 813268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6769 w 3677645"/>
                <a:gd name="connsiteY8" fmla="*/ 813268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6769 w 3677645"/>
                <a:gd name="connsiteY8" fmla="*/ 813268 h 1046305"/>
                <a:gd name="connsiteX9" fmla="*/ 0 w 3677645"/>
                <a:gd name="connsiteY9" fmla="*/ 1046305 h 1046305"/>
                <a:gd name="connsiteX0" fmla="*/ 3677645 w 3677645"/>
                <a:gd name="connsiteY0" fmla="*/ 0 h 1046305"/>
                <a:gd name="connsiteX1" fmla="*/ 2760863 w 3677645"/>
                <a:gd name="connsiteY1" fmla="*/ 61912 h 1046305"/>
                <a:gd name="connsiteX2" fmla="*/ 1984575 w 3677645"/>
                <a:gd name="connsiteY2" fmla="*/ 133350 h 1046305"/>
                <a:gd name="connsiteX3" fmla="*/ 1348782 w 3677645"/>
                <a:gd name="connsiteY3" fmla="*/ 214312 h 1046305"/>
                <a:gd name="connsiteX4" fmla="*/ 824908 w 3677645"/>
                <a:gd name="connsiteY4" fmla="*/ 302419 h 1046305"/>
                <a:gd name="connsiteX5" fmla="*/ 462164 w 3677645"/>
                <a:gd name="connsiteY5" fmla="*/ 403224 h 1046305"/>
                <a:gd name="connsiteX6" fmla="*/ 228008 w 3677645"/>
                <a:gd name="connsiteY6" fmla="*/ 514350 h 1046305"/>
                <a:gd name="connsiteX7" fmla="*/ 83544 w 3677645"/>
                <a:gd name="connsiteY7" fmla="*/ 650875 h 1046305"/>
                <a:gd name="connsiteX8" fmla="*/ 16769 w 3677645"/>
                <a:gd name="connsiteY8" fmla="*/ 813268 h 1046305"/>
                <a:gd name="connsiteX9" fmla="*/ 0 w 3677645"/>
                <a:gd name="connsiteY9" fmla="*/ 1046305 h 1046305"/>
                <a:gd name="connsiteX0" fmla="*/ 3677645 w 3677645"/>
                <a:gd name="connsiteY0" fmla="*/ 0 h 1049642"/>
                <a:gd name="connsiteX1" fmla="*/ 2760863 w 3677645"/>
                <a:gd name="connsiteY1" fmla="*/ 61912 h 1049642"/>
                <a:gd name="connsiteX2" fmla="*/ 1984575 w 3677645"/>
                <a:gd name="connsiteY2" fmla="*/ 133350 h 1049642"/>
                <a:gd name="connsiteX3" fmla="*/ 1348782 w 3677645"/>
                <a:gd name="connsiteY3" fmla="*/ 214312 h 1049642"/>
                <a:gd name="connsiteX4" fmla="*/ 824908 w 3677645"/>
                <a:gd name="connsiteY4" fmla="*/ 302419 h 1049642"/>
                <a:gd name="connsiteX5" fmla="*/ 462164 w 3677645"/>
                <a:gd name="connsiteY5" fmla="*/ 403224 h 1049642"/>
                <a:gd name="connsiteX6" fmla="*/ 228008 w 3677645"/>
                <a:gd name="connsiteY6" fmla="*/ 514350 h 1049642"/>
                <a:gd name="connsiteX7" fmla="*/ 83544 w 3677645"/>
                <a:gd name="connsiteY7" fmla="*/ 650875 h 1049642"/>
                <a:gd name="connsiteX8" fmla="*/ 16769 w 3677645"/>
                <a:gd name="connsiteY8" fmla="*/ 813268 h 1049642"/>
                <a:gd name="connsiteX9" fmla="*/ 0 w 3677645"/>
                <a:gd name="connsiteY9" fmla="*/ 1049642 h 1049642"/>
                <a:gd name="connsiteX0" fmla="*/ 3677645 w 3677645"/>
                <a:gd name="connsiteY0" fmla="*/ 0 h 1056318"/>
                <a:gd name="connsiteX1" fmla="*/ 2760863 w 3677645"/>
                <a:gd name="connsiteY1" fmla="*/ 61912 h 1056318"/>
                <a:gd name="connsiteX2" fmla="*/ 1984575 w 3677645"/>
                <a:gd name="connsiteY2" fmla="*/ 133350 h 1056318"/>
                <a:gd name="connsiteX3" fmla="*/ 1348782 w 3677645"/>
                <a:gd name="connsiteY3" fmla="*/ 214312 h 1056318"/>
                <a:gd name="connsiteX4" fmla="*/ 824908 w 3677645"/>
                <a:gd name="connsiteY4" fmla="*/ 302419 h 1056318"/>
                <a:gd name="connsiteX5" fmla="*/ 462164 w 3677645"/>
                <a:gd name="connsiteY5" fmla="*/ 403224 h 1056318"/>
                <a:gd name="connsiteX6" fmla="*/ 228008 w 3677645"/>
                <a:gd name="connsiteY6" fmla="*/ 514350 h 1056318"/>
                <a:gd name="connsiteX7" fmla="*/ 83544 w 3677645"/>
                <a:gd name="connsiteY7" fmla="*/ 650875 h 1056318"/>
                <a:gd name="connsiteX8" fmla="*/ 16769 w 3677645"/>
                <a:gd name="connsiteY8" fmla="*/ 813268 h 1056318"/>
                <a:gd name="connsiteX9" fmla="*/ 0 w 3677645"/>
                <a:gd name="connsiteY9" fmla="*/ 1056318 h 1056318"/>
                <a:gd name="connsiteX0" fmla="*/ 3685085 w 3685085"/>
                <a:gd name="connsiteY0" fmla="*/ 0 h 1056318"/>
                <a:gd name="connsiteX1" fmla="*/ 2760863 w 3685085"/>
                <a:gd name="connsiteY1" fmla="*/ 61912 h 1056318"/>
                <a:gd name="connsiteX2" fmla="*/ 1984575 w 3685085"/>
                <a:gd name="connsiteY2" fmla="*/ 133350 h 1056318"/>
                <a:gd name="connsiteX3" fmla="*/ 1348782 w 3685085"/>
                <a:gd name="connsiteY3" fmla="*/ 214312 h 1056318"/>
                <a:gd name="connsiteX4" fmla="*/ 824908 w 3685085"/>
                <a:gd name="connsiteY4" fmla="*/ 302419 h 1056318"/>
                <a:gd name="connsiteX5" fmla="*/ 462164 w 3685085"/>
                <a:gd name="connsiteY5" fmla="*/ 403224 h 1056318"/>
                <a:gd name="connsiteX6" fmla="*/ 228008 w 3685085"/>
                <a:gd name="connsiteY6" fmla="*/ 514350 h 1056318"/>
                <a:gd name="connsiteX7" fmla="*/ 83544 w 3685085"/>
                <a:gd name="connsiteY7" fmla="*/ 650875 h 1056318"/>
                <a:gd name="connsiteX8" fmla="*/ 16769 w 3685085"/>
                <a:gd name="connsiteY8" fmla="*/ 813268 h 1056318"/>
                <a:gd name="connsiteX9" fmla="*/ 0 w 3685085"/>
                <a:gd name="connsiteY9" fmla="*/ 1056318 h 1056318"/>
                <a:gd name="connsiteX0" fmla="*/ 3682109 w 3682109"/>
                <a:gd name="connsiteY0" fmla="*/ 0 h 1056318"/>
                <a:gd name="connsiteX1" fmla="*/ 2760863 w 3682109"/>
                <a:gd name="connsiteY1" fmla="*/ 61912 h 1056318"/>
                <a:gd name="connsiteX2" fmla="*/ 1984575 w 3682109"/>
                <a:gd name="connsiteY2" fmla="*/ 133350 h 1056318"/>
                <a:gd name="connsiteX3" fmla="*/ 1348782 w 3682109"/>
                <a:gd name="connsiteY3" fmla="*/ 214312 h 1056318"/>
                <a:gd name="connsiteX4" fmla="*/ 824908 w 3682109"/>
                <a:gd name="connsiteY4" fmla="*/ 302419 h 1056318"/>
                <a:gd name="connsiteX5" fmla="*/ 462164 w 3682109"/>
                <a:gd name="connsiteY5" fmla="*/ 403224 h 1056318"/>
                <a:gd name="connsiteX6" fmla="*/ 228008 w 3682109"/>
                <a:gd name="connsiteY6" fmla="*/ 514350 h 1056318"/>
                <a:gd name="connsiteX7" fmla="*/ 83544 w 3682109"/>
                <a:gd name="connsiteY7" fmla="*/ 650875 h 1056318"/>
                <a:gd name="connsiteX8" fmla="*/ 16769 w 3682109"/>
                <a:gd name="connsiteY8" fmla="*/ 813268 h 1056318"/>
                <a:gd name="connsiteX9" fmla="*/ 0 w 3682109"/>
                <a:gd name="connsiteY9" fmla="*/ 1056318 h 105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2109" h="1056318">
                  <a:moveTo>
                    <a:pt x="3682109" y="0"/>
                  </a:moveTo>
                  <a:lnTo>
                    <a:pt x="2760863" y="61912"/>
                  </a:lnTo>
                  <a:cubicBezTo>
                    <a:pt x="2478685" y="84137"/>
                    <a:pt x="2243338" y="109537"/>
                    <a:pt x="1984575" y="133350"/>
                  </a:cubicBezTo>
                  <a:cubicBezTo>
                    <a:pt x="1749228" y="158750"/>
                    <a:pt x="1542060" y="186134"/>
                    <a:pt x="1348782" y="214312"/>
                  </a:cubicBezTo>
                  <a:cubicBezTo>
                    <a:pt x="1155504" y="242490"/>
                    <a:pt x="958390" y="273316"/>
                    <a:pt x="824908" y="302419"/>
                  </a:cubicBezTo>
                  <a:cubicBezTo>
                    <a:pt x="691426" y="331522"/>
                    <a:pt x="561647" y="367902"/>
                    <a:pt x="462164" y="403224"/>
                  </a:cubicBezTo>
                  <a:cubicBezTo>
                    <a:pt x="362681" y="438546"/>
                    <a:pt x="291111" y="473075"/>
                    <a:pt x="228008" y="514350"/>
                  </a:cubicBezTo>
                  <a:cubicBezTo>
                    <a:pt x="164905" y="555625"/>
                    <a:pt x="118750" y="601055"/>
                    <a:pt x="83544" y="650875"/>
                  </a:cubicBezTo>
                  <a:cubicBezTo>
                    <a:pt x="48338" y="700695"/>
                    <a:pt x="34165" y="745138"/>
                    <a:pt x="16769" y="813268"/>
                  </a:cubicBezTo>
                  <a:cubicBezTo>
                    <a:pt x="5325" y="881398"/>
                    <a:pt x="529" y="958951"/>
                    <a:pt x="0" y="1056318"/>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190" name="Rectangle 189">
              <a:extLst>
                <a:ext uri="{FF2B5EF4-FFF2-40B4-BE49-F238E27FC236}">
                  <a16:creationId xmlns:a16="http://schemas.microsoft.com/office/drawing/2014/main" id="{22259877-7FC7-4D02-9401-A9EFFCB70360}"/>
                </a:ext>
              </a:extLst>
            </p:cNvPr>
            <p:cNvSpPr/>
            <p:nvPr/>
          </p:nvSpPr>
          <p:spPr>
            <a:xfrm>
              <a:off x="5204901" y="5492567"/>
              <a:ext cx="202759" cy="257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1" name="Rectangle 190">
              <a:extLst>
                <a:ext uri="{FF2B5EF4-FFF2-40B4-BE49-F238E27FC236}">
                  <a16:creationId xmlns:a16="http://schemas.microsoft.com/office/drawing/2014/main" id="{1A07D972-E20E-4950-8082-F3F3B4B19306}"/>
                </a:ext>
              </a:extLst>
            </p:cNvPr>
            <p:cNvSpPr/>
            <p:nvPr/>
          </p:nvSpPr>
          <p:spPr>
            <a:xfrm>
              <a:off x="5631144" y="5492567"/>
              <a:ext cx="202759" cy="257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548AD4E0-3879-4C4E-8A4E-04B26583F8C5}"/>
                </a:ext>
              </a:extLst>
            </p:cNvPr>
            <p:cNvSpPr/>
            <p:nvPr/>
          </p:nvSpPr>
          <p:spPr>
            <a:xfrm>
              <a:off x="4985826"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3" name="Rectangle 192">
              <a:extLst>
                <a:ext uri="{FF2B5EF4-FFF2-40B4-BE49-F238E27FC236}">
                  <a16:creationId xmlns:a16="http://schemas.microsoft.com/office/drawing/2014/main" id="{7F9F3C1F-55D1-41F8-849E-098832BB7369}"/>
                </a:ext>
              </a:extLst>
            </p:cNvPr>
            <p:cNvSpPr/>
            <p:nvPr/>
          </p:nvSpPr>
          <p:spPr>
            <a:xfrm>
              <a:off x="5421594"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4" name="Rectangle 193">
              <a:extLst>
                <a:ext uri="{FF2B5EF4-FFF2-40B4-BE49-F238E27FC236}">
                  <a16:creationId xmlns:a16="http://schemas.microsoft.com/office/drawing/2014/main" id="{607AB34E-3044-4CE1-B357-B3340ADE8659}"/>
                </a:ext>
              </a:extLst>
            </p:cNvPr>
            <p:cNvSpPr/>
            <p:nvPr/>
          </p:nvSpPr>
          <p:spPr>
            <a:xfrm>
              <a:off x="5850218"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5" name="Rectangle 194">
              <a:extLst>
                <a:ext uri="{FF2B5EF4-FFF2-40B4-BE49-F238E27FC236}">
                  <a16:creationId xmlns:a16="http://schemas.microsoft.com/office/drawing/2014/main" id="{377355F0-0455-43EB-9331-81E602CE3461}"/>
                </a:ext>
              </a:extLst>
            </p:cNvPr>
            <p:cNvSpPr/>
            <p:nvPr/>
          </p:nvSpPr>
          <p:spPr>
            <a:xfrm>
              <a:off x="6059768"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6" name="Rectangle 195">
              <a:extLst>
                <a:ext uri="{FF2B5EF4-FFF2-40B4-BE49-F238E27FC236}">
                  <a16:creationId xmlns:a16="http://schemas.microsoft.com/office/drawing/2014/main" id="{D4A528DD-725B-4395-8E83-3B2A6758DE57}"/>
                </a:ext>
              </a:extLst>
            </p:cNvPr>
            <p:cNvSpPr/>
            <p:nvPr/>
          </p:nvSpPr>
          <p:spPr>
            <a:xfrm>
              <a:off x="6276462"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7" name="Rectangle 196">
              <a:extLst>
                <a:ext uri="{FF2B5EF4-FFF2-40B4-BE49-F238E27FC236}">
                  <a16:creationId xmlns:a16="http://schemas.microsoft.com/office/drawing/2014/main" id="{13BA7C59-B30C-407A-85D8-8A07D0169AC9}"/>
                </a:ext>
              </a:extLst>
            </p:cNvPr>
            <p:cNvSpPr/>
            <p:nvPr/>
          </p:nvSpPr>
          <p:spPr>
            <a:xfrm>
              <a:off x="6719374"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8" name="Rectangle 197">
              <a:extLst>
                <a:ext uri="{FF2B5EF4-FFF2-40B4-BE49-F238E27FC236}">
                  <a16:creationId xmlns:a16="http://schemas.microsoft.com/office/drawing/2014/main" id="{523E17D6-3121-43C1-B1DC-9C2D3446BF2C}"/>
                </a:ext>
              </a:extLst>
            </p:cNvPr>
            <p:cNvSpPr/>
            <p:nvPr/>
          </p:nvSpPr>
          <p:spPr>
            <a:xfrm>
              <a:off x="6495537"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9" name="Rectangle 198">
              <a:extLst>
                <a:ext uri="{FF2B5EF4-FFF2-40B4-BE49-F238E27FC236}">
                  <a16:creationId xmlns:a16="http://schemas.microsoft.com/office/drawing/2014/main" id="{DACFEBE6-849E-4E9A-9CF1-174A45763D4B}"/>
                </a:ext>
              </a:extLst>
            </p:cNvPr>
            <p:cNvSpPr/>
            <p:nvPr/>
          </p:nvSpPr>
          <p:spPr>
            <a:xfrm>
              <a:off x="6933687" y="5509753"/>
              <a:ext cx="202759" cy="859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00" name="Straight Connector 199">
              <a:extLst>
                <a:ext uri="{FF2B5EF4-FFF2-40B4-BE49-F238E27FC236}">
                  <a16:creationId xmlns:a16="http://schemas.microsoft.com/office/drawing/2014/main" id="{0C54F1DA-E0C9-4544-A4FC-D6489C40170E}"/>
                </a:ext>
              </a:extLst>
            </p:cNvPr>
            <p:cNvCxnSpPr>
              <a:cxnSpLocks/>
            </p:cNvCxnSpPr>
            <p:nvPr/>
          </p:nvCxnSpPr>
          <p:spPr>
            <a:xfrm flipH="1" flipV="1">
              <a:off x="2038517" y="2652143"/>
              <a:ext cx="0" cy="28439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ADFDD8DB-8D6F-4DEA-9EA3-7265AFF08A9F}"/>
                </a:ext>
              </a:extLst>
            </p:cNvPr>
            <p:cNvCxnSpPr>
              <a:cxnSpLocks/>
            </p:cNvCxnSpPr>
            <p:nvPr/>
          </p:nvCxnSpPr>
          <p:spPr>
            <a:xfrm flipH="1" flipV="1">
              <a:off x="2752167" y="2190559"/>
              <a:ext cx="0" cy="329760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2" name="Arrow: Left 201">
              <a:extLst>
                <a:ext uri="{FF2B5EF4-FFF2-40B4-BE49-F238E27FC236}">
                  <a16:creationId xmlns:a16="http://schemas.microsoft.com/office/drawing/2014/main" id="{9715670E-36C9-4DF9-95C8-30F51CEA6481}"/>
                </a:ext>
              </a:extLst>
            </p:cNvPr>
            <p:cNvSpPr/>
            <p:nvPr/>
          </p:nvSpPr>
          <p:spPr>
            <a:xfrm>
              <a:off x="1161817" y="2470229"/>
              <a:ext cx="864000" cy="423324"/>
            </a:xfrm>
            <a:prstGeom prst="leftArrow">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4,000</a:t>
              </a:r>
            </a:p>
          </p:txBody>
        </p:sp>
        <p:sp>
          <p:nvSpPr>
            <p:cNvPr id="203" name="Arrow: Left 202">
              <a:extLst>
                <a:ext uri="{FF2B5EF4-FFF2-40B4-BE49-F238E27FC236}">
                  <a16:creationId xmlns:a16="http://schemas.microsoft.com/office/drawing/2014/main" id="{A02EF552-063A-4017-9E81-6E13556F3A8D}"/>
                </a:ext>
              </a:extLst>
            </p:cNvPr>
            <p:cNvSpPr/>
            <p:nvPr/>
          </p:nvSpPr>
          <p:spPr>
            <a:xfrm>
              <a:off x="1161817" y="2007907"/>
              <a:ext cx="1584000" cy="424800"/>
            </a:xfrm>
            <a:prstGeom prst="leftArrow">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8,000</a:t>
              </a:r>
            </a:p>
          </p:txBody>
        </p:sp>
      </p:grpSp>
      <p:sp>
        <p:nvSpPr>
          <p:cNvPr id="284" name="Rectangle 283">
            <a:extLst>
              <a:ext uri="{FF2B5EF4-FFF2-40B4-BE49-F238E27FC236}">
                <a16:creationId xmlns:a16="http://schemas.microsoft.com/office/drawing/2014/main" id="{584B08C9-B01D-427D-B326-1766A18497F3}"/>
              </a:ext>
            </a:extLst>
          </p:cNvPr>
          <p:cNvSpPr/>
          <p:nvPr/>
        </p:nvSpPr>
        <p:spPr>
          <a:xfrm>
            <a:off x="8075948" y="1898915"/>
            <a:ext cx="2840879" cy="3546009"/>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45719" rIns="90000" bIns="45719" rtlCol="0" anchor="ctr"/>
          <a:lstStyle/>
          <a:p>
            <a:pPr marL="0" marR="0" lvl="1"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he positive treatment effect of vericiguat </a:t>
            </a:r>
            <a:r>
              <a:rPr kumimoji="0" lang="en-US" sz="1400" b="0" i="1" u="none" strike="noStrike" kern="1200" cap="none" spc="0" normalizeH="0" baseline="0" noProof="0">
                <a:ln>
                  <a:noFill/>
                </a:ln>
                <a:solidFill>
                  <a:srgbClr val="000000"/>
                </a:solidFill>
                <a:effectLst/>
                <a:uLnTx/>
                <a:uFillTx/>
                <a:latin typeface="Arial"/>
                <a:ea typeface="+mn-ea"/>
                <a:cs typeface="+mn-cs"/>
              </a:rPr>
              <a:t>vs</a:t>
            </a:r>
            <a:r>
              <a:rPr kumimoji="0" lang="en-US" sz="1400" b="0" i="0" u="none" strike="noStrike" kern="1200" cap="none" spc="0" normalizeH="0" baseline="0" noProof="0">
                <a:ln>
                  <a:noFill/>
                </a:ln>
                <a:solidFill>
                  <a:srgbClr val="000000"/>
                </a:solidFill>
                <a:effectLst/>
                <a:uLnTx/>
                <a:uFillTx/>
                <a:latin typeface="Arial"/>
                <a:ea typeface="+mn-ea"/>
                <a:cs typeface="+mn-cs"/>
              </a:rPr>
              <a:t> placebo on the primary endpoint was:</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Evident for patients with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NT‑proBNP </a:t>
            </a:r>
            <a:r>
              <a:rPr kumimoji="0" lang="en-GB" sz="1400" b="1" i="0" u="none" strike="noStrike" kern="1200" cap="none" spc="0" normalizeH="0" baseline="0" noProof="0">
                <a:ln>
                  <a:noFill/>
                </a:ln>
                <a:solidFill>
                  <a:srgbClr val="4F256F"/>
                </a:solidFill>
                <a:effectLst/>
                <a:uLnTx/>
                <a:uFillTx/>
                <a:latin typeface="Arial" panose="020B0604020202020204"/>
                <a:ea typeface="+mn-ea"/>
                <a:cs typeface="+mn-cs"/>
              </a:rPr>
              <a:t>≤8,000 </a:t>
            </a:r>
            <a:r>
              <a:rPr kumimoji="0" lang="en-GB" sz="1400" b="1" i="0" u="none" strike="noStrike" kern="1200" cap="none" spc="0" normalizeH="0" baseline="0" noProof="0" err="1">
                <a:ln>
                  <a:noFill/>
                </a:ln>
                <a:solidFill>
                  <a:srgbClr val="4F256F"/>
                </a:solidFill>
                <a:effectLst/>
                <a:uLnTx/>
                <a:uFillTx/>
                <a:latin typeface="Arial" panose="020B0604020202020204"/>
                <a:ea typeface="+mn-ea"/>
                <a:cs typeface="+mn-cs"/>
              </a:rPr>
              <a:t>pg</a:t>
            </a:r>
            <a:r>
              <a:rPr kumimoji="0" lang="en-GB" sz="1400" b="1" i="0" u="none" strike="noStrike" kern="1200" cap="none" spc="0" normalizeH="0" baseline="0" noProof="0">
                <a:ln>
                  <a:noFill/>
                </a:ln>
                <a:solidFill>
                  <a:srgbClr val="4F256F"/>
                </a:solidFill>
                <a:effectLst/>
                <a:uLnTx/>
                <a:uFillTx/>
                <a:latin typeface="Arial" panose="020B0604020202020204"/>
                <a:ea typeface="+mn-ea"/>
                <a:cs typeface="+mn-cs"/>
              </a:rPr>
              <a:t>/ml </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86% of the VICTORIA population)</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Further amplified in patients with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NT-proBNP </a:t>
            </a:r>
            <a:r>
              <a:rPr kumimoji="0" lang="en-GB" sz="1400" b="1" i="0" u="none" strike="noStrike" kern="1200" cap="none" spc="0" normalizeH="0" baseline="0" noProof="0">
                <a:ln>
                  <a:noFill/>
                </a:ln>
                <a:solidFill>
                  <a:srgbClr val="704F8A"/>
                </a:solidFill>
                <a:effectLst/>
                <a:uLnTx/>
                <a:uFillTx/>
                <a:latin typeface="Arial" panose="020B0604020202020204"/>
                <a:ea typeface="+mn-ea"/>
                <a:cs typeface="+mn-cs"/>
              </a:rPr>
              <a:t>≤4,000 </a:t>
            </a:r>
            <a:r>
              <a:rPr kumimoji="0" lang="en-GB" sz="1400" b="1" i="0" u="none" strike="noStrike" kern="1200" cap="none" spc="0" normalizeH="0" baseline="0" noProof="0" err="1">
                <a:ln>
                  <a:noFill/>
                </a:ln>
                <a:solidFill>
                  <a:srgbClr val="704F8A"/>
                </a:solidFill>
                <a:effectLst/>
                <a:uLnTx/>
                <a:uFillTx/>
                <a:latin typeface="Arial" panose="020B0604020202020204"/>
                <a:ea typeface="+mn-ea"/>
                <a:cs typeface="+mn-cs"/>
              </a:rPr>
              <a:t>pg</a:t>
            </a:r>
            <a:r>
              <a:rPr kumimoji="0" lang="en-GB" sz="1400" b="1" i="0" u="none" strike="noStrike" kern="1200" cap="none" spc="0" normalizeH="0" baseline="0" noProof="0">
                <a:ln>
                  <a:noFill/>
                </a:ln>
                <a:solidFill>
                  <a:srgbClr val="704F8A"/>
                </a:solidFill>
                <a:effectLst/>
                <a:uLnTx/>
                <a:uFillTx/>
                <a:latin typeface="Arial" panose="020B0604020202020204"/>
                <a:ea typeface="+mn-ea"/>
                <a:cs typeface="+mn-cs"/>
              </a:rPr>
              <a:t>/ml </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65% of the VICTORIA population)</a:t>
            </a:r>
          </a:p>
        </p:txBody>
      </p:sp>
      <p:sp>
        <p:nvSpPr>
          <p:cNvPr id="285" name="Slide Number Placeholder 3">
            <a:extLst>
              <a:ext uri="{FF2B5EF4-FFF2-40B4-BE49-F238E27FC236}">
                <a16:creationId xmlns:a16="http://schemas.microsoft.com/office/drawing/2014/main" id="{3502B68B-6256-45F9-978F-4E533865AE98}"/>
              </a:ext>
            </a:extLst>
          </p:cNvPr>
          <p:cNvSpPr>
            <a:spLocks noGrp="1"/>
          </p:cNvSpPr>
          <p:nvPr>
            <p:ph type="sldNum" sz="quarter" idx="16"/>
          </p:nvPr>
        </p:nvSpPr>
        <p:spPr>
          <a:xfrm>
            <a:off x="11591927" y="6340239"/>
            <a:ext cx="4807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286" name="Footer Placeholder 5">
            <a:extLst>
              <a:ext uri="{FF2B5EF4-FFF2-40B4-BE49-F238E27FC236}">
                <a16:creationId xmlns:a16="http://schemas.microsoft.com/office/drawing/2014/main" id="{C5F9D1BA-FDA1-4E6A-828D-08A0969D430D}"/>
              </a:ext>
            </a:extLst>
          </p:cNvPr>
          <p:cNvSpPr>
            <a:spLocks noGrp="1"/>
          </p:cNvSpPr>
          <p:nvPr>
            <p:ph type="ftr" sz="quarter" idx="17"/>
          </p:nvPr>
        </p:nvSpPr>
        <p:spPr>
          <a:xfrm>
            <a:off x="600073" y="6340239"/>
            <a:ext cx="992505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78787"/>
                </a:solidFill>
                <a:effectLst/>
                <a:uLnTx/>
                <a:uFillTx/>
                <a:latin typeface="Arial"/>
                <a:ea typeface="+mn-ea"/>
                <a:cs typeface="+mn-cs"/>
              </a:rPr>
              <a:t>Range of the treatment effect of vericiguat compared with placebo for the primary composite endpoint by NT-</a:t>
            </a:r>
            <a:r>
              <a:rPr kumimoji="0" lang="en-GB" sz="800" b="0" i="0" u="none" strike="noStrike" kern="1200" cap="none" spc="0" normalizeH="0" baseline="0" noProof="0" err="1">
                <a:ln>
                  <a:noFill/>
                </a:ln>
                <a:solidFill>
                  <a:srgbClr val="878787"/>
                </a:solidFill>
                <a:effectLst/>
                <a:uLnTx/>
                <a:uFillTx/>
                <a:latin typeface="Arial"/>
                <a:ea typeface="+mn-ea"/>
                <a:cs typeface="+mn-cs"/>
              </a:rPr>
              <a:t>proBNP</a:t>
            </a:r>
            <a:r>
              <a:rPr kumimoji="0" lang="en-GB" sz="800" b="0" i="0" u="none" strike="noStrike" kern="1200" cap="none" spc="0" normalizeH="0" baseline="0" noProof="0">
                <a:ln>
                  <a:noFill/>
                </a:ln>
                <a:solidFill>
                  <a:srgbClr val="878787"/>
                </a:solidFill>
                <a:effectLst/>
                <a:uLnTx/>
                <a:uFillTx/>
                <a:latin typeface="Arial"/>
                <a:ea typeface="+mn-ea"/>
                <a:cs typeface="+mn-cs"/>
              </a:rPr>
              <a:t> at randomization, adjusted for the MAGGIC risk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78787"/>
                </a:solidFill>
                <a:effectLst/>
                <a:uLnTx/>
                <a:uFillTx/>
                <a:latin typeface="Arial"/>
                <a:ea typeface="+mn-ea"/>
                <a:cs typeface="+mn-cs"/>
              </a:rPr>
              <a:t>CI, confidence interval; HR, hazard ratio; MAGGIC, Meta-Analysis Global Group in Chronic Heart Failure; NT-</a:t>
            </a:r>
            <a:r>
              <a:rPr kumimoji="0" lang="en-GB" sz="800" b="0" i="0" u="none" strike="noStrike" kern="1200" cap="none" spc="0" normalizeH="0" baseline="0" noProof="0" err="1">
                <a:ln>
                  <a:noFill/>
                </a:ln>
                <a:solidFill>
                  <a:srgbClr val="878787"/>
                </a:solidFill>
                <a:effectLst/>
                <a:uLnTx/>
                <a:uFillTx/>
                <a:latin typeface="Arial"/>
                <a:ea typeface="+mn-ea"/>
                <a:cs typeface="+mn-cs"/>
              </a:rPr>
              <a:t>proBNP</a:t>
            </a:r>
            <a:r>
              <a:rPr kumimoji="0" lang="en-GB" sz="800" b="0" i="0" u="none" strike="noStrike" kern="1200" cap="none" spc="0" normalizeH="0" baseline="0" noProof="0">
                <a:ln>
                  <a:noFill/>
                </a:ln>
                <a:solidFill>
                  <a:srgbClr val="878787"/>
                </a:solidFill>
                <a:effectLst/>
                <a:uLnTx/>
                <a:uFillTx/>
                <a:latin typeface="Arial"/>
                <a:ea typeface="+mn-ea"/>
                <a:cs typeface="+mn-cs"/>
              </a:rPr>
              <a:t>, N-terminal pro-brain natriuretic pept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878787"/>
                </a:solidFill>
                <a:effectLst/>
                <a:uLnTx/>
                <a:uFillTx/>
                <a:latin typeface="Arial"/>
                <a:ea typeface="+mn-ea"/>
                <a:cs typeface="+mn-cs"/>
              </a:rPr>
              <a:t>References: 1.</a:t>
            </a:r>
            <a:r>
              <a:rPr kumimoji="0" lang="en-GB" sz="800" b="0" i="0" u="none" strike="noStrike" kern="1200" cap="none" spc="0" normalizeH="0" baseline="0" noProof="0">
                <a:ln>
                  <a:noFill/>
                </a:ln>
                <a:solidFill>
                  <a:srgbClr val="878787"/>
                </a:solidFill>
                <a:effectLst/>
                <a:uLnTx/>
                <a:uFillTx/>
                <a:latin typeface="Arial"/>
                <a:ea typeface="+mn-ea"/>
                <a:cs typeface="+mn-cs"/>
              </a:rPr>
              <a:t> Ezekowitz JA </a:t>
            </a:r>
            <a:r>
              <a:rPr kumimoji="0" lang="en-GB" sz="800" b="0" i="1" u="none" strike="noStrike" kern="1200" cap="none" spc="0" normalizeH="0" baseline="0" noProof="0">
                <a:ln>
                  <a:noFill/>
                </a:ln>
                <a:solidFill>
                  <a:srgbClr val="878787"/>
                </a:solidFill>
                <a:effectLst/>
                <a:uLnTx/>
                <a:uFillTx/>
                <a:latin typeface="Arial"/>
                <a:ea typeface="+mn-ea"/>
                <a:cs typeface="+mn-cs"/>
              </a:rPr>
              <a:t>et al.</a:t>
            </a:r>
            <a:r>
              <a:rPr kumimoji="0" lang="en-GB" sz="800" b="0" i="0" u="none" strike="noStrike" kern="1200" cap="none" spc="0" normalizeH="0" baseline="0" noProof="0">
                <a:ln>
                  <a:noFill/>
                </a:ln>
                <a:solidFill>
                  <a:srgbClr val="878787"/>
                </a:solidFill>
                <a:effectLst/>
                <a:uLnTx/>
                <a:uFillTx/>
                <a:latin typeface="Arial"/>
                <a:ea typeface="+mn-ea"/>
                <a:cs typeface="+mn-cs"/>
              </a:rPr>
              <a:t> </a:t>
            </a:r>
            <a:r>
              <a:rPr kumimoji="0" lang="en-GB" sz="800" b="0" i="1" u="none" strike="noStrike" kern="1200" cap="none" spc="0" normalizeH="0" baseline="0" noProof="0">
                <a:ln>
                  <a:noFill/>
                </a:ln>
                <a:solidFill>
                  <a:srgbClr val="878787"/>
                </a:solidFill>
                <a:effectLst/>
                <a:uLnTx/>
                <a:uFillTx/>
                <a:latin typeface="Arial"/>
                <a:ea typeface="+mn-ea"/>
                <a:cs typeface="+mn-cs"/>
              </a:rPr>
              <a:t>JACC Heart Fail</a:t>
            </a:r>
            <a:r>
              <a:rPr kumimoji="0" lang="en-GB" sz="800" b="0" i="0" u="none" strike="noStrike" kern="1200" cap="none" spc="0" normalizeH="0" baseline="0" noProof="0">
                <a:ln>
                  <a:noFill/>
                </a:ln>
                <a:solidFill>
                  <a:srgbClr val="878787"/>
                </a:solidFill>
                <a:effectLst/>
                <a:uLnTx/>
                <a:uFillTx/>
                <a:latin typeface="Arial"/>
                <a:ea typeface="+mn-ea"/>
                <a:cs typeface="+mn-cs"/>
              </a:rPr>
              <a:t> 2020;8:931–939; </a:t>
            </a:r>
            <a:r>
              <a:rPr kumimoji="0" lang="en-GB" sz="800" b="1" i="0" u="none" strike="noStrike" kern="1200" cap="none" spc="0" normalizeH="0" baseline="0" noProof="0">
                <a:ln>
                  <a:noFill/>
                </a:ln>
                <a:solidFill>
                  <a:srgbClr val="878787"/>
                </a:solidFill>
                <a:effectLst/>
                <a:uLnTx/>
                <a:uFillTx/>
                <a:latin typeface="Arial"/>
                <a:ea typeface="+mn-ea"/>
                <a:cs typeface="+mn-cs"/>
              </a:rPr>
              <a:t>2. </a:t>
            </a:r>
            <a:r>
              <a:rPr kumimoji="0" lang="en-GB" sz="800" b="0" i="0" u="none" strike="noStrike" kern="1200" cap="none" spc="0" normalizeH="0" baseline="0" noProof="0">
                <a:ln>
                  <a:noFill/>
                </a:ln>
                <a:solidFill>
                  <a:srgbClr val="878787"/>
                </a:solidFill>
                <a:effectLst/>
                <a:uLnTx/>
                <a:uFillTx/>
                <a:latin typeface="Arial"/>
                <a:ea typeface="+mn-ea"/>
                <a:cs typeface="+mn-cs"/>
              </a:rPr>
              <a:t>Ezekowitz JA </a:t>
            </a:r>
            <a:r>
              <a:rPr kumimoji="0" lang="en-GB" sz="800" b="0" i="1" u="none" strike="noStrike" kern="1200" cap="none" spc="0" normalizeH="0" baseline="0" noProof="0">
                <a:ln>
                  <a:noFill/>
                </a:ln>
                <a:solidFill>
                  <a:srgbClr val="878787"/>
                </a:solidFill>
                <a:effectLst/>
                <a:uLnTx/>
                <a:uFillTx/>
                <a:latin typeface="Arial"/>
                <a:ea typeface="+mn-ea"/>
                <a:cs typeface="+mn-cs"/>
              </a:rPr>
              <a:t>et al.</a:t>
            </a:r>
            <a:r>
              <a:rPr kumimoji="0" lang="en-GB" sz="800" b="0" i="0" u="none" strike="noStrike" kern="1200" cap="none" spc="0" normalizeH="0" baseline="0" noProof="0">
                <a:ln>
                  <a:noFill/>
                </a:ln>
                <a:solidFill>
                  <a:srgbClr val="878787"/>
                </a:solidFill>
                <a:effectLst/>
                <a:uLnTx/>
                <a:uFillTx/>
                <a:latin typeface="Arial"/>
                <a:ea typeface="+mn-ea"/>
                <a:cs typeface="+mn-cs"/>
              </a:rPr>
              <a:t> </a:t>
            </a:r>
            <a:r>
              <a:rPr kumimoji="0" lang="en-GB" sz="800" b="0" i="1" u="none" strike="noStrike" kern="1200" cap="none" spc="0" normalizeH="0" baseline="0" noProof="0">
                <a:ln>
                  <a:noFill/>
                </a:ln>
                <a:solidFill>
                  <a:srgbClr val="878787"/>
                </a:solidFill>
                <a:effectLst/>
                <a:uLnTx/>
                <a:uFillTx/>
                <a:latin typeface="Arial"/>
                <a:ea typeface="+mn-ea"/>
                <a:cs typeface="+mn-cs"/>
              </a:rPr>
              <a:t>JACC Heart Fail</a:t>
            </a:r>
            <a:r>
              <a:rPr kumimoji="0" lang="en-GB" sz="800" b="0" i="0" u="none" strike="noStrike" kern="1200" cap="none" spc="0" normalizeH="0" baseline="0" noProof="0">
                <a:ln>
                  <a:noFill/>
                </a:ln>
                <a:solidFill>
                  <a:srgbClr val="878787"/>
                </a:solidFill>
                <a:effectLst/>
                <a:uLnTx/>
                <a:uFillTx/>
                <a:latin typeface="Arial"/>
                <a:ea typeface="+mn-ea"/>
                <a:cs typeface="+mn-cs"/>
              </a:rPr>
              <a:t> 2020;8(</a:t>
            </a:r>
            <a:r>
              <a:rPr kumimoji="0" lang="en-GB" sz="800" b="0" i="0" u="none" strike="noStrike" kern="1200" cap="none" spc="0" normalizeH="0" baseline="0" noProof="0" err="1">
                <a:ln>
                  <a:noFill/>
                </a:ln>
                <a:solidFill>
                  <a:srgbClr val="878787"/>
                </a:solidFill>
                <a:effectLst/>
                <a:uLnTx/>
                <a:uFillTx/>
                <a:latin typeface="Arial"/>
                <a:ea typeface="+mn-ea"/>
                <a:cs typeface="+mn-cs"/>
              </a:rPr>
              <a:t>suppl</a:t>
            </a:r>
            <a:r>
              <a:rPr kumimoji="0" lang="en-GB" sz="800" b="0" i="0" u="none" strike="noStrike" kern="1200" cap="none" spc="0" normalizeH="0" baseline="0" noProof="0">
                <a:ln>
                  <a:noFill/>
                </a:ln>
                <a:solidFill>
                  <a:srgbClr val="878787"/>
                </a:solidFill>
                <a:effectLst/>
                <a:uLnTx/>
                <a:uFillTx/>
                <a:latin typeface="Arial"/>
                <a:ea typeface="+mn-ea"/>
                <a:cs typeface="+mn-cs"/>
              </a:rPr>
              <a:t> 1–17):931–939.</a:t>
            </a:r>
          </a:p>
        </p:txBody>
      </p:sp>
      <p:sp>
        <p:nvSpPr>
          <p:cNvPr id="128" name="Text Placeholder 1">
            <a:extLst>
              <a:ext uri="{FF2B5EF4-FFF2-40B4-BE49-F238E27FC236}">
                <a16:creationId xmlns:a16="http://schemas.microsoft.com/office/drawing/2014/main" id="{7B2BC536-0F46-47A9-A700-CC9656176D7E}"/>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9284011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B7856DB-62DD-4098-B061-A10C05421CA9}"/>
              </a:ext>
            </a:extLst>
          </p:cNvPr>
          <p:cNvSpPr>
            <a:spLocks noGrp="1"/>
          </p:cNvSpPr>
          <p:nvPr>
            <p:ph sz="quarter" idx="13"/>
          </p:nvPr>
        </p:nvSpPr>
        <p:spPr/>
        <p:txBody>
          <a:bodyPr/>
          <a:lstStyle/>
          <a:p>
            <a:endParaRPr lang="en-US"/>
          </a:p>
        </p:txBody>
      </p:sp>
      <p:sp>
        <p:nvSpPr>
          <p:cNvPr id="9" name="Text Placeholder 8">
            <a:extLst>
              <a:ext uri="{FF2B5EF4-FFF2-40B4-BE49-F238E27FC236}">
                <a16:creationId xmlns:a16="http://schemas.microsoft.com/office/drawing/2014/main" id="{27210A98-4680-4E2D-A627-AF9F5557C40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676B3C50-D6A4-0748-894B-B5EB4A130C9D}"/>
              </a:ext>
            </a:extLst>
          </p:cNvPr>
          <p:cNvSpPr>
            <a:spLocks noGrp="1"/>
          </p:cNvSpPr>
          <p:nvPr>
            <p:ph type="title"/>
          </p:nvPr>
        </p:nvSpPr>
        <p:spPr/>
        <p:txBody>
          <a:bodyPr>
            <a:normAutofit/>
          </a:bodyPr>
          <a:lstStyle/>
          <a:p>
            <a:r>
              <a:rPr lang="en-US" dirty="0"/>
              <a:t>NT-proBNP changes over time</a:t>
            </a:r>
          </a:p>
        </p:txBody>
      </p:sp>
      <p:pic>
        <p:nvPicPr>
          <p:cNvPr id="4" name="Picture 3">
            <a:extLst>
              <a:ext uri="{FF2B5EF4-FFF2-40B4-BE49-F238E27FC236}">
                <a16:creationId xmlns:a16="http://schemas.microsoft.com/office/drawing/2014/main" id="{27F41ABF-94D9-504D-A1A7-AD14DE4FF5B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266" y="1945126"/>
            <a:ext cx="6407255" cy="4805441"/>
          </a:xfrm>
          <a:prstGeom prst="rect">
            <a:avLst/>
          </a:prstGeom>
          <a:noFill/>
          <a:ln>
            <a:noFill/>
          </a:ln>
        </p:spPr>
      </p:pic>
      <p:sp>
        <p:nvSpPr>
          <p:cNvPr id="5" name="TextBox 4">
            <a:extLst>
              <a:ext uri="{FF2B5EF4-FFF2-40B4-BE49-F238E27FC236}">
                <a16:creationId xmlns:a16="http://schemas.microsoft.com/office/drawing/2014/main" id="{40C13B06-00EA-8E40-8249-EB24418F8168}"/>
              </a:ext>
            </a:extLst>
          </p:cNvPr>
          <p:cNvSpPr txBox="1"/>
          <p:nvPr/>
        </p:nvSpPr>
        <p:spPr>
          <a:xfrm>
            <a:off x="5422127" y="2500415"/>
            <a:ext cx="914033" cy="3385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black"/>
                </a:solidFill>
                <a:effectLst/>
                <a:uLnTx/>
                <a:uFillTx/>
                <a:latin typeface="Calibri"/>
                <a:ea typeface="+mn-ea"/>
                <a:cs typeface="+mn-cs"/>
              </a:rPr>
              <a:t>P&lt;0.001 </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7" name="Table 6">
            <a:extLst>
              <a:ext uri="{FF2B5EF4-FFF2-40B4-BE49-F238E27FC236}">
                <a16:creationId xmlns:a16="http://schemas.microsoft.com/office/drawing/2014/main" id="{F7375B69-80AE-0047-B0B0-54CA3672942F}"/>
              </a:ext>
            </a:extLst>
          </p:cNvPr>
          <p:cNvGraphicFramePr>
            <a:graphicFrameLocks noGrp="1"/>
          </p:cNvGraphicFramePr>
          <p:nvPr/>
        </p:nvGraphicFramePr>
        <p:xfrm>
          <a:off x="6539061" y="4347846"/>
          <a:ext cx="5652941" cy="2179175"/>
        </p:xfrm>
        <a:graphic>
          <a:graphicData uri="http://schemas.openxmlformats.org/drawingml/2006/table">
            <a:tbl>
              <a:tblPr>
                <a:tableStyleId>{21E4AEA4-8DFA-4A89-87EB-49C32662AFE0}</a:tableStyleId>
              </a:tblPr>
              <a:tblGrid>
                <a:gridCol w="1688871">
                  <a:extLst>
                    <a:ext uri="{9D8B030D-6E8A-4147-A177-3AD203B41FA5}">
                      <a16:colId xmlns:a16="http://schemas.microsoft.com/office/drawing/2014/main" val="394373153"/>
                    </a:ext>
                  </a:extLst>
                </a:gridCol>
                <a:gridCol w="862003">
                  <a:extLst>
                    <a:ext uri="{9D8B030D-6E8A-4147-A177-3AD203B41FA5}">
                      <a16:colId xmlns:a16="http://schemas.microsoft.com/office/drawing/2014/main" val="2175511980"/>
                    </a:ext>
                  </a:extLst>
                </a:gridCol>
                <a:gridCol w="871655">
                  <a:extLst>
                    <a:ext uri="{9D8B030D-6E8A-4147-A177-3AD203B41FA5}">
                      <a16:colId xmlns:a16="http://schemas.microsoft.com/office/drawing/2014/main" val="1270740342"/>
                    </a:ext>
                  </a:extLst>
                </a:gridCol>
                <a:gridCol w="1525397">
                  <a:extLst>
                    <a:ext uri="{9D8B030D-6E8A-4147-A177-3AD203B41FA5}">
                      <a16:colId xmlns:a16="http://schemas.microsoft.com/office/drawing/2014/main" val="588695141"/>
                    </a:ext>
                  </a:extLst>
                </a:gridCol>
                <a:gridCol w="705015">
                  <a:extLst>
                    <a:ext uri="{9D8B030D-6E8A-4147-A177-3AD203B41FA5}">
                      <a16:colId xmlns:a16="http://schemas.microsoft.com/office/drawing/2014/main" val="2968923834"/>
                    </a:ext>
                  </a:extLst>
                </a:gridCol>
              </a:tblGrid>
              <a:tr h="720599">
                <a:tc>
                  <a:txBody>
                    <a:bodyPr/>
                    <a:lstStyle/>
                    <a:p>
                      <a:pPr>
                        <a:lnSpc>
                          <a:spcPct val="115000"/>
                        </a:lnSpc>
                        <a:spcBef>
                          <a:spcPts val="85"/>
                        </a:spcBef>
                        <a:spcAft>
                          <a:spcPts val="85"/>
                        </a:spcAft>
                      </a:pPr>
                      <a:r>
                        <a:rPr lang="en-CA" sz="1400" dirty="0">
                          <a:solidFill>
                            <a:schemeClr val="tx1"/>
                          </a:solidFill>
                          <a:effectLst/>
                        </a:rPr>
                        <a:t>Week 16 Change </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Vericiguat</a:t>
                      </a:r>
                      <a:br>
                        <a:rPr lang="en-CA" sz="1400" dirty="0">
                          <a:solidFill>
                            <a:schemeClr val="tx1"/>
                          </a:solidFill>
                          <a:effectLst/>
                        </a:rPr>
                      </a:br>
                      <a:r>
                        <a:rPr lang="en-CA" sz="1400" dirty="0">
                          <a:solidFill>
                            <a:schemeClr val="tx1"/>
                          </a:solidFill>
                          <a:effectLst/>
                        </a:rPr>
                        <a:t>(n=2047)</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Placebo</a:t>
                      </a:r>
                      <a:br>
                        <a:rPr lang="en-CA" sz="1400" dirty="0">
                          <a:solidFill>
                            <a:schemeClr val="tx1"/>
                          </a:solidFill>
                          <a:effectLst/>
                        </a:rPr>
                      </a:br>
                      <a:r>
                        <a:rPr lang="en-CA" sz="1400" dirty="0">
                          <a:solidFill>
                            <a:schemeClr val="tx1"/>
                          </a:solidFill>
                          <a:effectLst/>
                        </a:rPr>
                        <a:t>(n=2053)</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err="1">
                          <a:solidFill>
                            <a:schemeClr val="tx1"/>
                          </a:solidFill>
                          <a:effectLst/>
                        </a:rPr>
                        <a:t>Vericiguat</a:t>
                      </a:r>
                      <a:r>
                        <a:rPr lang="en-CA" sz="1400" dirty="0">
                          <a:solidFill>
                            <a:schemeClr val="tx1"/>
                          </a:solidFill>
                          <a:effectLst/>
                        </a:rPr>
                        <a:t> vs. Placebo</a:t>
                      </a:r>
                      <a:br>
                        <a:rPr lang="en-CA" sz="1400" dirty="0">
                          <a:solidFill>
                            <a:schemeClr val="tx1"/>
                          </a:solidFill>
                          <a:effectLst/>
                        </a:rPr>
                      </a:br>
                      <a:r>
                        <a:rPr lang="en-CA" sz="1400" dirty="0">
                          <a:solidFill>
                            <a:schemeClr val="tx1"/>
                          </a:solidFill>
                          <a:effectLst/>
                        </a:rPr>
                        <a:t>OR (95% CI)</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P-value</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extLst>
                  <a:ext uri="{0D108BD9-81ED-4DB2-BD59-A6C34878D82A}">
                    <a16:rowId xmlns:a16="http://schemas.microsoft.com/office/drawing/2014/main" val="4241593086"/>
                  </a:ext>
                </a:extLst>
              </a:tr>
              <a:tr h="267896">
                <a:tc>
                  <a:txBody>
                    <a:bodyPr/>
                    <a:lstStyle/>
                    <a:p>
                      <a:pPr>
                        <a:lnSpc>
                          <a:spcPct val="115000"/>
                        </a:lnSpc>
                        <a:spcBef>
                          <a:spcPts val="85"/>
                        </a:spcBef>
                        <a:spcAft>
                          <a:spcPts val="85"/>
                        </a:spcAft>
                      </a:pPr>
                      <a:r>
                        <a:rPr lang="en-CA" sz="1400" dirty="0">
                          <a:solidFill>
                            <a:schemeClr val="tx1"/>
                          </a:solidFill>
                          <a:effectLst/>
                        </a:rPr>
                        <a:t>Any reduction</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66.5%</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57.8%</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1.45 (1.28-1.65)</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lt;0.001</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extLst>
                  <a:ext uri="{0D108BD9-81ED-4DB2-BD59-A6C34878D82A}">
                    <a16:rowId xmlns:a16="http://schemas.microsoft.com/office/drawing/2014/main" val="2283733453"/>
                  </a:ext>
                </a:extLst>
              </a:tr>
              <a:tr h="229871">
                <a:tc>
                  <a:txBody>
                    <a:bodyPr/>
                    <a:lstStyle/>
                    <a:p>
                      <a:pPr>
                        <a:lnSpc>
                          <a:spcPct val="115000"/>
                        </a:lnSpc>
                        <a:spcBef>
                          <a:spcPts val="85"/>
                        </a:spcBef>
                        <a:spcAft>
                          <a:spcPts val="85"/>
                        </a:spcAft>
                      </a:pPr>
                      <a:r>
                        <a:rPr lang="en-CA" sz="1400" dirty="0">
                          <a:solidFill>
                            <a:schemeClr val="tx1"/>
                          </a:solidFill>
                          <a:effectLst/>
                        </a:rPr>
                        <a:t>Reduction ≥50%</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25.3%</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21.0%</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1.27 (1.10-1.47)</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0.001</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extLst>
                  <a:ext uri="{0D108BD9-81ED-4DB2-BD59-A6C34878D82A}">
                    <a16:rowId xmlns:a16="http://schemas.microsoft.com/office/drawing/2014/main" val="3416897508"/>
                  </a:ext>
                </a:extLst>
              </a:tr>
              <a:tr h="230971">
                <a:tc>
                  <a:txBody>
                    <a:bodyPr/>
                    <a:lstStyle/>
                    <a:p>
                      <a:pPr>
                        <a:lnSpc>
                          <a:spcPct val="115000"/>
                        </a:lnSpc>
                        <a:spcBef>
                          <a:spcPts val="85"/>
                        </a:spcBef>
                        <a:spcAft>
                          <a:spcPts val="85"/>
                        </a:spcAft>
                      </a:pPr>
                      <a:r>
                        <a:rPr lang="en-US" sz="1400" kern="1200" dirty="0">
                          <a:solidFill>
                            <a:schemeClr val="tx1"/>
                          </a:solidFill>
                          <a:effectLst/>
                        </a:rPr>
                        <a:t>20%-50% Reduction</a:t>
                      </a:r>
                      <a:endParaRPr lang="en-CA" sz="1400" kern="1200" dirty="0">
                        <a:solidFill>
                          <a:schemeClr val="tx1"/>
                        </a:solidFill>
                        <a:effectLst/>
                        <a:latin typeface="+mn-lt"/>
                        <a:ea typeface="+mn-ea"/>
                        <a:cs typeface="+mn-cs"/>
                      </a:endParaRPr>
                    </a:p>
                  </a:txBody>
                  <a:tcPr marL="14393" marR="14393" marT="0" marB="0" anchor="ctr"/>
                </a:tc>
                <a:tc>
                  <a:txBody>
                    <a:bodyPr/>
                    <a:lstStyle/>
                    <a:p>
                      <a:pPr algn="ctr">
                        <a:lnSpc>
                          <a:spcPct val="115000"/>
                        </a:lnSpc>
                        <a:spcBef>
                          <a:spcPts val="85"/>
                        </a:spcBef>
                        <a:spcAft>
                          <a:spcPts val="85"/>
                        </a:spcAft>
                      </a:pPr>
                      <a:r>
                        <a:rPr lang="en-CA" sz="1400" kern="1200" dirty="0">
                          <a:solidFill>
                            <a:schemeClr val="tx1"/>
                          </a:solidFill>
                          <a:effectLst/>
                        </a:rPr>
                        <a:t>27.2%</a:t>
                      </a:r>
                      <a:endParaRPr lang="en-CA" sz="1400" kern="1200" dirty="0">
                        <a:solidFill>
                          <a:schemeClr val="tx1"/>
                        </a:solidFill>
                        <a:effectLst/>
                        <a:latin typeface="+mn-lt"/>
                        <a:ea typeface="+mn-ea"/>
                        <a:cs typeface="+mn-cs"/>
                      </a:endParaRPr>
                    </a:p>
                  </a:txBody>
                  <a:tcPr marL="14393" marR="14393" marT="0" marB="0" anchor="ctr"/>
                </a:tc>
                <a:tc>
                  <a:txBody>
                    <a:bodyPr/>
                    <a:lstStyle/>
                    <a:p>
                      <a:pPr algn="ctr">
                        <a:lnSpc>
                          <a:spcPct val="115000"/>
                        </a:lnSpc>
                        <a:spcBef>
                          <a:spcPts val="85"/>
                        </a:spcBef>
                        <a:spcAft>
                          <a:spcPts val="85"/>
                        </a:spcAft>
                      </a:pPr>
                      <a:r>
                        <a:rPr lang="en-CA" sz="1400" kern="1200" dirty="0">
                          <a:solidFill>
                            <a:schemeClr val="tx1"/>
                          </a:solidFill>
                          <a:effectLst/>
                        </a:rPr>
                        <a:t>22.9%</a:t>
                      </a:r>
                      <a:endParaRPr lang="en-CA" sz="1400" kern="1200" dirty="0">
                        <a:solidFill>
                          <a:schemeClr val="tx1"/>
                        </a:solidFill>
                        <a:effectLst/>
                        <a:latin typeface="+mn-lt"/>
                        <a:ea typeface="+mn-ea"/>
                        <a:cs typeface="+mn-cs"/>
                      </a:endParaRPr>
                    </a:p>
                  </a:txBody>
                  <a:tcPr marL="14393" marR="14393" marT="0" marB="0" anchor="ctr"/>
                </a:tc>
                <a:tc>
                  <a:txBody>
                    <a:bodyPr/>
                    <a:lstStyle/>
                    <a:p>
                      <a:pPr marL="0" marR="0" algn="ctr">
                        <a:lnSpc>
                          <a:spcPct val="107000"/>
                        </a:lnSpc>
                        <a:spcBef>
                          <a:spcPts val="300"/>
                        </a:spcBef>
                        <a:spcAft>
                          <a:spcPts val="300"/>
                        </a:spcAft>
                      </a:pPr>
                      <a:r>
                        <a:rPr lang="en-US" sz="1400" kern="1200" dirty="0">
                          <a:solidFill>
                            <a:schemeClr val="tx1"/>
                          </a:solidFill>
                          <a:effectLst/>
                        </a:rPr>
                        <a:t>1.26 (1.09-1.45)</a:t>
                      </a:r>
                      <a:endParaRPr lang="en-US" sz="1400" kern="1200" dirty="0">
                        <a:solidFill>
                          <a:schemeClr val="tx1"/>
                        </a:solidFill>
                        <a:effectLst/>
                        <a:latin typeface="+mn-lt"/>
                        <a:ea typeface="+mn-ea"/>
                        <a:cs typeface="+mn-cs"/>
                      </a:endParaRPr>
                    </a:p>
                  </a:txBody>
                  <a:tcPr marL="50800" marR="50800" marT="0" marB="0"/>
                </a:tc>
                <a:tc>
                  <a:txBody>
                    <a:bodyPr/>
                    <a:lstStyle/>
                    <a:p>
                      <a:pPr marL="0" marR="0" algn="ctr">
                        <a:lnSpc>
                          <a:spcPct val="107000"/>
                        </a:lnSpc>
                        <a:spcBef>
                          <a:spcPts val="300"/>
                        </a:spcBef>
                        <a:spcAft>
                          <a:spcPts val="300"/>
                        </a:spcAft>
                      </a:pPr>
                      <a:r>
                        <a:rPr lang="en-US" sz="1400" kern="1200" dirty="0">
                          <a:solidFill>
                            <a:schemeClr val="tx1"/>
                          </a:solidFill>
                          <a:effectLst/>
                        </a:rPr>
                        <a:t>0.002</a:t>
                      </a:r>
                      <a:endParaRPr lang="en-US" sz="1400" kern="1200" dirty="0">
                        <a:solidFill>
                          <a:schemeClr val="tx1"/>
                        </a:solidFill>
                        <a:effectLst/>
                        <a:latin typeface="+mn-lt"/>
                        <a:ea typeface="+mn-ea"/>
                        <a:cs typeface="+mn-cs"/>
                      </a:endParaRPr>
                    </a:p>
                  </a:txBody>
                  <a:tcPr marL="50800" marR="50800" marT="0" marB="0"/>
                </a:tc>
                <a:extLst>
                  <a:ext uri="{0D108BD9-81ED-4DB2-BD59-A6C34878D82A}">
                    <a16:rowId xmlns:a16="http://schemas.microsoft.com/office/drawing/2014/main" val="2353135689"/>
                  </a:ext>
                </a:extLst>
              </a:tr>
              <a:tr h="230971">
                <a:tc>
                  <a:txBody>
                    <a:bodyPr/>
                    <a:lstStyle/>
                    <a:p>
                      <a:pPr>
                        <a:lnSpc>
                          <a:spcPct val="115000"/>
                        </a:lnSpc>
                        <a:spcBef>
                          <a:spcPts val="85"/>
                        </a:spcBef>
                        <a:spcAft>
                          <a:spcPts val="85"/>
                        </a:spcAft>
                      </a:pPr>
                      <a:r>
                        <a:rPr lang="en-CA" sz="1400" kern="1200" dirty="0">
                          <a:solidFill>
                            <a:schemeClr val="tx1"/>
                          </a:solidFill>
                          <a:effectLst/>
                        </a:rPr>
                        <a:t>Change &lt;20%</a:t>
                      </a:r>
                      <a:endParaRPr lang="en-CA" sz="1400" kern="1200" dirty="0">
                        <a:solidFill>
                          <a:schemeClr val="tx1"/>
                        </a:solidFill>
                        <a:effectLst/>
                        <a:latin typeface="+mn-lt"/>
                        <a:ea typeface="+mn-ea"/>
                        <a:cs typeface="+mn-cs"/>
                      </a:endParaRPr>
                    </a:p>
                  </a:txBody>
                  <a:tcPr marL="14393" marR="14393" marT="0" marB="0" anchor="ctr"/>
                </a:tc>
                <a:tc>
                  <a:txBody>
                    <a:bodyPr/>
                    <a:lstStyle/>
                    <a:p>
                      <a:pPr algn="ctr">
                        <a:lnSpc>
                          <a:spcPct val="115000"/>
                        </a:lnSpc>
                        <a:spcBef>
                          <a:spcPts val="85"/>
                        </a:spcBef>
                        <a:spcAft>
                          <a:spcPts val="85"/>
                        </a:spcAft>
                      </a:pPr>
                      <a:r>
                        <a:rPr lang="en-CA" sz="1400" kern="1200" dirty="0">
                          <a:solidFill>
                            <a:schemeClr val="tx1"/>
                          </a:solidFill>
                          <a:effectLst/>
                        </a:rPr>
                        <a:t>24.0%</a:t>
                      </a:r>
                      <a:endParaRPr lang="en-CA" sz="1400" kern="1200" dirty="0">
                        <a:solidFill>
                          <a:schemeClr val="tx1"/>
                        </a:solidFill>
                        <a:effectLst/>
                        <a:latin typeface="+mn-lt"/>
                        <a:ea typeface="+mn-ea"/>
                        <a:cs typeface="+mn-cs"/>
                      </a:endParaRPr>
                    </a:p>
                  </a:txBody>
                  <a:tcPr marL="14393" marR="14393" marT="0" marB="0" anchor="ctr"/>
                </a:tc>
                <a:tc>
                  <a:txBody>
                    <a:bodyPr/>
                    <a:lstStyle/>
                    <a:p>
                      <a:pPr algn="ctr">
                        <a:lnSpc>
                          <a:spcPct val="115000"/>
                        </a:lnSpc>
                        <a:spcBef>
                          <a:spcPts val="85"/>
                        </a:spcBef>
                        <a:spcAft>
                          <a:spcPts val="85"/>
                        </a:spcAft>
                      </a:pPr>
                      <a:r>
                        <a:rPr lang="en-CA" sz="1400" kern="1200" dirty="0">
                          <a:solidFill>
                            <a:schemeClr val="tx1"/>
                          </a:solidFill>
                          <a:effectLst/>
                        </a:rPr>
                        <a:t>24.9%</a:t>
                      </a:r>
                      <a:endParaRPr lang="en-CA" sz="1400" kern="1200" dirty="0">
                        <a:solidFill>
                          <a:schemeClr val="tx1"/>
                        </a:solidFill>
                        <a:effectLst/>
                        <a:latin typeface="+mn-lt"/>
                        <a:ea typeface="+mn-ea"/>
                        <a:cs typeface="+mn-cs"/>
                      </a:endParaRPr>
                    </a:p>
                  </a:txBody>
                  <a:tcPr marL="14393" marR="14393" marT="0" marB="0" anchor="ctr"/>
                </a:tc>
                <a:tc>
                  <a:txBody>
                    <a:bodyPr/>
                    <a:lstStyle/>
                    <a:p>
                      <a:pPr marL="0" marR="0" algn="ctr">
                        <a:lnSpc>
                          <a:spcPct val="107000"/>
                        </a:lnSpc>
                        <a:spcBef>
                          <a:spcPts val="300"/>
                        </a:spcBef>
                        <a:spcAft>
                          <a:spcPts val="300"/>
                        </a:spcAft>
                      </a:pPr>
                      <a:r>
                        <a:rPr lang="en-US" sz="1400" kern="1200" dirty="0">
                          <a:solidFill>
                            <a:schemeClr val="tx1"/>
                          </a:solidFill>
                          <a:effectLst/>
                        </a:rPr>
                        <a:t>0.95 (0.82-1.10)</a:t>
                      </a:r>
                      <a:endParaRPr lang="en-US" sz="1400" kern="1200" dirty="0">
                        <a:solidFill>
                          <a:schemeClr val="tx1"/>
                        </a:solidFill>
                        <a:effectLst/>
                        <a:latin typeface="+mn-lt"/>
                        <a:ea typeface="+mn-ea"/>
                        <a:cs typeface="+mn-cs"/>
                      </a:endParaRPr>
                    </a:p>
                  </a:txBody>
                  <a:tcPr marL="50800" marR="50800" marT="0" marB="0"/>
                </a:tc>
                <a:tc>
                  <a:txBody>
                    <a:bodyPr/>
                    <a:lstStyle/>
                    <a:p>
                      <a:pPr marL="0" marR="0" algn="ctr">
                        <a:lnSpc>
                          <a:spcPct val="107000"/>
                        </a:lnSpc>
                        <a:spcBef>
                          <a:spcPts val="300"/>
                        </a:spcBef>
                        <a:spcAft>
                          <a:spcPts val="300"/>
                        </a:spcAft>
                      </a:pPr>
                      <a:r>
                        <a:rPr lang="en-US" sz="1400" kern="1200" dirty="0">
                          <a:solidFill>
                            <a:schemeClr val="tx1"/>
                          </a:solidFill>
                          <a:effectLst/>
                        </a:rPr>
                        <a:t>0.478</a:t>
                      </a:r>
                      <a:endParaRPr lang="en-US" sz="1400" kern="1200" dirty="0">
                        <a:solidFill>
                          <a:schemeClr val="tx1"/>
                        </a:solidFill>
                        <a:effectLst/>
                        <a:latin typeface="+mn-lt"/>
                        <a:ea typeface="+mn-ea"/>
                        <a:cs typeface="+mn-cs"/>
                      </a:endParaRPr>
                    </a:p>
                  </a:txBody>
                  <a:tcPr marL="50800" marR="50800" marT="0" marB="0"/>
                </a:tc>
                <a:extLst>
                  <a:ext uri="{0D108BD9-81ED-4DB2-BD59-A6C34878D82A}">
                    <a16:rowId xmlns:a16="http://schemas.microsoft.com/office/drawing/2014/main" val="18076357"/>
                  </a:ext>
                </a:extLst>
              </a:tr>
              <a:tr h="230971">
                <a:tc>
                  <a:txBody>
                    <a:bodyPr/>
                    <a:lstStyle/>
                    <a:p>
                      <a:pPr>
                        <a:lnSpc>
                          <a:spcPct val="115000"/>
                        </a:lnSpc>
                        <a:spcBef>
                          <a:spcPts val="85"/>
                        </a:spcBef>
                        <a:spcAft>
                          <a:spcPts val="85"/>
                        </a:spcAft>
                      </a:pPr>
                      <a:r>
                        <a:rPr lang="en-CA" sz="1400" kern="1200" dirty="0">
                          <a:solidFill>
                            <a:schemeClr val="tx1"/>
                          </a:solidFill>
                          <a:effectLst/>
                        </a:rPr>
                        <a:t>Increase ≥20%</a:t>
                      </a:r>
                      <a:endParaRPr lang="en-CA" sz="1400" kern="1200" dirty="0">
                        <a:solidFill>
                          <a:schemeClr val="tx1"/>
                        </a:solidFill>
                        <a:effectLst/>
                        <a:latin typeface="+mn-lt"/>
                        <a:ea typeface="+mn-ea"/>
                        <a:cs typeface="+mn-cs"/>
                      </a:endParaRPr>
                    </a:p>
                  </a:txBody>
                  <a:tcPr marL="14393" marR="14393" marT="0" marB="0" anchor="ctr"/>
                </a:tc>
                <a:tc>
                  <a:txBody>
                    <a:bodyPr/>
                    <a:lstStyle/>
                    <a:p>
                      <a:pPr algn="ctr">
                        <a:lnSpc>
                          <a:spcPct val="115000"/>
                        </a:lnSpc>
                        <a:spcBef>
                          <a:spcPts val="85"/>
                        </a:spcBef>
                        <a:spcAft>
                          <a:spcPts val="85"/>
                        </a:spcAft>
                      </a:pPr>
                      <a:r>
                        <a:rPr lang="en-CA" sz="1400" kern="1200" dirty="0">
                          <a:solidFill>
                            <a:schemeClr val="tx1"/>
                          </a:solidFill>
                          <a:effectLst/>
                        </a:rPr>
                        <a:t>23.4%</a:t>
                      </a:r>
                      <a:endParaRPr lang="en-CA" sz="1400" kern="1200" dirty="0">
                        <a:solidFill>
                          <a:schemeClr val="tx1"/>
                        </a:solidFill>
                        <a:effectLst/>
                        <a:latin typeface="+mn-lt"/>
                        <a:ea typeface="+mn-ea"/>
                        <a:cs typeface="+mn-cs"/>
                      </a:endParaRPr>
                    </a:p>
                  </a:txBody>
                  <a:tcPr marL="14393" marR="14393" marT="0" marB="0" anchor="ctr"/>
                </a:tc>
                <a:tc>
                  <a:txBody>
                    <a:bodyPr/>
                    <a:lstStyle/>
                    <a:p>
                      <a:pPr algn="ctr">
                        <a:lnSpc>
                          <a:spcPct val="115000"/>
                        </a:lnSpc>
                        <a:spcBef>
                          <a:spcPts val="85"/>
                        </a:spcBef>
                        <a:spcAft>
                          <a:spcPts val="85"/>
                        </a:spcAft>
                      </a:pPr>
                      <a:r>
                        <a:rPr lang="en-CA" sz="1400" kern="1200" dirty="0">
                          <a:solidFill>
                            <a:schemeClr val="tx1"/>
                          </a:solidFill>
                          <a:effectLst/>
                        </a:rPr>
                        <a:t>31.1%</a:t>
                      </a:r>
                      <a:endParaRPr lang="en-CA" sz="1400" kern="1200" dirty="0">
                        <a:solidFill>
                          <a:schemeClr val="tx1"/>
                        </a:solidFill>
                        <a:effectLst/>
                        <a:latin typeface="+mn-lt"/>
                        <a:ea typeface="+mn-ea"/>
                        <a:cs typeface="+mn-cs"/>
                      </a:endParaRPr>
                    </a:p>
                  </a:txBody>
                  <a:tcPr marL="14393" marR="14393" marT="0" marB="0" anchor="ctr"/>
                </a:tc>
                <a:tc>
                  <a:txBody>
                    <a:bodyPr/>
                    <a:lstStyle/>
                    <a:p>
                      <a:pPr marL="0" marR="0" algn="ctr">
                        <a:lnSpc>
                          <a:spcPct val="107000"/>
                        </a:lnSpc>
                        <a:spcBef>
                          <a:spcPts val="300"/>
                        </a:spcBef>
                        <a:spcAft>
                          <a:spcPts val="300"/>
                        </a:spcAft>
                      </a:pPr>
                      <a:r>
                        <a:rPr lang="en-US" sz="1400" kern="1200" dirty="0">
                          <a:solidFill>
                            <a:schemeClr val="tx1"/>
                          </a:solidFill>
                          <a:effectLst/>
                        </a:rPr>
                        <a:t>0.68 (0.59-0.78)</a:t>
                      </a:r>
                      <a:endParaRPr lang="en-US" sz="1400" kern="1200" dirty="0">
                        <a:solidFill>
                          <a:schemeClr val="tx1"/>
                        </a:solidFill>
                        <a:effectLst/>
                        <a:latin typeface="+mn-lt"/>
                        <a:ea typeface="+mn-ea"/>
                        <a:cs typeface="+mn-cs"/>
                      </a:endParaRPr>
                    </a:p>
                  </a:txBody>
                  <a:tcPr marL="50800" marR="50800" marT="0" marB="0"/>
                </a:tc>
                <a:tc>
                  <a:txBody>
                    <a:bodyPr/>
                    <a:lstStyle/>
                    <a:p>
                      <a:pPr marL="0" marR="0" algn="ctr">
                        <a:lnSpc>
                          <a:spcPct val="107000"/>
                        </a:lnSpc>
                        <a:spcBef>
                          <a:spcPts val="300"/>
                        </a:spcBef>
                        <a:spcAft>
                          <a:spcPts val="300"/>
                        </a:spcAft>
                      </a:pPr>
                      <a:r>
                        <a:rPr lang="en-US" sz="1400" kern="1200" dirty="0">
                          <a:solidFill>
                            <a:schemeClr val="tx1"/>
                          </a:solidFill>
                          <a:effectLst/>
                        </a:rPr>
                        <a:t>&lt;0.001</a:t>
                      </a:r>
                      <a:endParaRPr lang="en-US" sz="1400" kern="1200" dirty="0">
                        <a:solidFill>
                          <a:schemeClr val="tx1"/>
                        </a:solidFill>
                        <a:effectLst/>
                        <a:latin typeface="+mn-lt"/>
                        <a:ea typeface="+mn-ea"/>
                        <a:cs typeface="+mn-cs"/>
                      </a:endParaRPr>
                    </a:p>
                  </a:txBody>
                  <a:tcPr marL="50800" marR="50800" marT="0" marB="0"/>
                </a:tc>
                <a:extLst>
                  <a:ext uri="{0D108BD9-81ED-4DB2-BD59-A6C34878D82A}">
                    <a16:rowId xmlns:a16="http://schemas.microsoft.com/office/drawing/2014/main" val="4272752245"/>
                  </a:ext>
                </a:extLst>
              </a:tr>
              <a:tr h="267896">
                <a:tc>
                  <a:txBody>
                    <a:bodyPr/>
                    <a:lstStyle/>
                    <a:p>
                      <a:pPr>
                        <a:lnSpc>
                          <a:spcPct val="115000"/>
                        </a:lnSpc>
                        <a:spcBef>
                          <a:spcPts val="85"/>
                        </a:spcBef>
                        <a:spcAft>
                          <a:spcPts val="85"/>
                        </a:spcAft>
                      </a:pPr>
                      <a:r>
                        <a:rPr lang="en-CA" sz="1400" dirty="0">
                          <a:solidFill>
                            <a:schemeClr val="tx1"/>
                          </a:solidFill>
                          <a:effectLst/>
                        </a:rPr>
                        <a:t>Increase &gt;50%</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13.8%</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18.7%</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0.70 (0.59-0.82)</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tc>
                  <a:txBody>
                    <a:bodyPr/>
                    <a:lstStyle/>
                    <a:p>
                      <a:pPr algn="ctr">
                        <a:lnSpc>
                          <a:spcPct val="115000"/>
                        </a:lnSpc>
                        <a:spcBef>
                          <a:spcPts val="85"/>
                        </a:spcBef>
                        <a:spcAft>
                          <a:spcPts val="85"/>
                        </a:spcAft>
                      </a:pPr>
                      <a:r>
                        <a:rPr lang="en-CA" sz="1400" dirty="0">
                          <a:solidFill>
                            <a:schemeClr val="tx1"/>
                          </a:solidFill>
                          <a:effectLst/>
                        </a:rPr>
                        <a:t>&lt;0.001</a:t>
                      </a:r>
                      <a:endParaRPr lang="en-CA" sz="14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393" marR="14393" marT="0" marB="0" anchor="ctr"/>
                </a:tc>
                <a:extLst>
                  <a:ext uri="{0D108BD9-81ED-4DB2-BD59-A6C34878D82A}">
                    <a16:rowId xmlns:a16="http://schemas.microsoft.com/office/drawing/2014/main" val="1744905882"/>
                  </a:ext>
                </a:extLst>
              </a:tr>
            </a:tbl>
          </a:graphicData>
        </a:graphic>
      </p:graphicFrame>
      <p:sp>
        <p:nvSpPr>
          <p:cNvPr id="8" name="Rectangle 1">
            <a:extLst>
              <a:ext uri="{FF2B5EF4-FFF2-40B4-BE49-F238E27FC236}">
                <a16:creationId xmlns:a16="http://schemas.microsoft.com/office/drawing/2014/main" id="{8D23D704-0E78-5440-9BD5-B35A49BB7CC3}"/>
              </a:ext>
            </a:extLst>
          </p:cNvPr>
          <p:cNvSpPr>
            <a:spLocks noChangeArrowheads="1"/>
          </p:cNvSpPr>
          <p:nvPr/>
        </p:nvSpPr>
        <p:spPr bwMode="auto">
          <a:xfrm>
            <a:off x="6756485" y="3732292"/>
            <a:ext cx="5435515"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t>Extent of Changes in NT-proBNP from randomization to Week 16 by treatment.</a:t>
            </a:r>
            <a:endParaRPr kumimoji="0" lang="en-US" altLang="en-US" sz="533"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a:extLst>
              <a:ext uri="{FF2B5EF4-FFF2-40B4-BE49-F238E27FC236}">
                <a16:creationId xmlns:a16="http://schemas.microsoft.com/office/drawing/2014/main" id="{FF5D32C3-14D8-214D-B514-8AEB913653CB}"/>
              </a:ext>
            </a:extLst>
          </p:cNvPr>
          <p:cNvSpPr txBox="1"/>
          <p:nvPr/>
        </p:nvSpPr>
        <p:spPr>
          <a:xfrm>
            <a:off x="2959914" y="2314458"/>
            <a:ext cx="3379451" cy="31810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a:ea typeface="+mn-ea"/>
                <a:cs typeface="+mn-cs"/>
              </a:rPr>
              <a:t>Geometric mean (coefficient of variance)</a:t>
            </a:r>
          </a:p>
        </p:txBody>
      </p:sp>
      <p:sp>
        <p:nvSpPr>
          <p:cNvPr id="10" name="TextBox 9">
            <a:extLst>
              <a:ext uri="{FF2B5EF4-FFF2-40B4-BE49-F238E27FC236}">
                <a16:creationId xmlns:a16="http://schemas.microsoft.com/office/drawing/2014/main" id="{29FA52F4-C4C6-5C4D-9842-0FCDF708E755}"/>
              </a:ext>
            </a:extLst>
          </p:cNvPr>
          <p:cNvSpPr txBox="1"/>
          <p:nvPr/>
        </p:nvSpPr>
        <p:spPr>
          <a:xfrm>
            <a:off x="7110918" y="1627090"/>
            <a:ext cx="4512501" cy="83099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Vericiguat produces a 14% reduction in NT-proBNP over time</a:t>
            </a:r>
          </a:p>
        </p:txBody>
      </p:sp>
      <p:sp>
        <p:nvSpPr>
          <p:cNvPr id="11" name="Text Placeholder 1">
            <a:extLst>
              <a:ext uri="{FF2B5EF4-FFF2-40B4-BE49-F238E27FC236}">
                <a16:creationId xmlns:a16="http://schemas.microsoft.com/office/drawing/2014/main" id="{F6A757D6-09CF-473E-B088-78F8E667BC44}"/>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199665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27A730D-E85F-44FF-9126-0F4EB6687374}"/>
              </a:ext>
            </a:extLst>
          </p:cNvPr>
          <p:cNvSpPr>
            <a:spLocks noGrp="1"/>
          </p:cNvSpPr>
          <p:nvPr>
            <p:ph type="sldNum" sz="quarter" idx="12"/>
          </p:nvPr>
        </p:nvSpPr>
        <p:spPr/>
        <p:txBody>
          <a:bodyPr/>
          <a:lstStyle/>
          <a:p>
            <a:fld id="{EEAD9179-7A6B-4268-BEB2-F3B8EB06115B}" type="slidenum">
              <a:rPr lang="en-US" smtClean="0"/>
              <a:t>3</a:t>
            </a:fld>
            <a:endParaRPr lang="en-US" dirty="0"/>
          </a:p>
        </p:txBody>
      </p:sp>
      <p:sp>
        <p:nvSpPr>
          <p:cNvPr id="6" name="Title 2">
            <a:extLst>
              <a:ext uri="{FF2B5EF4-FFF2-40B4-BE49-F238E27FC236}">
                <a16:creationId xmlns:a16="http://schemas.microsoft.com/office/drawing/2014/main" id="{C5012006-5953-49A9-8B83-3EC00B282A00}"/>
              </a:ext>
            </a:extLst>
          </p:cNvPr>
          <p:cNvSpPr>
            <a:spLocks noGrp="1"/>
          </p:cNvSpPr>
          <p:nvPr>
            <p:ph type="title"/>
          </p:nvPr>
        </p:nvSpPr>
        <p:spPr>
          <a:xfrm>
            <a:off x="982663" y="182563"/>
            <a:ext cx="10799762" cy="863600"/>
          </a:xfrm>
        </p:spPr>
        <p:txBody>
          <a:bodyPr>
            <a:normAutofit/>
          </a:bodyPr>
          <a:lstStyle/>
          <a:p>
            <a:r>
              <a:rPr lang="en-US" sz="2800" dirty="0"/>
              <a:t>Worsening heart failure: Why should we care?</a:t>
            </a:r>
            <a:endParaRPr lang="en-GB" sz="2800" dirty="0">
              <a:latin typeface="+mn-lt"/>
            </a:endParaRPr>
          </a:p>
        </p:txBody>
      </p:sp>
      <p:sp>
        <p:nvSpPr>
          <p:cNvPr id="7" name="Subtitle 1">
            <a:extLst>
              <a:ext uri="{FF2B5EF4-FFF2-40B4-BE49-F238E27FC236}">
                <a16:creationId xmlns:a16="http://schemas.microsoft.com/office/drawing/2014/main" id="{6FE13710-32B5-4CFD-B0C0-EA3DD2495E09}"/>
              </a:ext>
            </a:extLst>
          </p:cNvPr>
          <p:cNvSpPr>
            <a:spLocks noGrp="1"/>
          </p:cNvSpPr>
          <p:nvPr>
            <p:ph type="subTitle" idx="13"/>
          </p:nvPr>
        </p:nvSpPr>
        <p:spPr>
          <a:xfrm>
            <a:off x="1029681" y="875873"/>
            <a:ext cx="10799762" cy="252412"/>
          </a:xfrm>
        </p:spPr>
        <p:txBody>
          <a:bodyPr>
            <a:normAutofit fontScale="70000" lnSpcReduction="20000"/>
          </a:bodyPr>
          <a:lstStyle/>
          <a:p>
            <a:r>
              <a:rPr lang="en-US" b="1" dirty="0"/>
              <a:t>Worsening heart failure represents an area of high unmet need </a:t>
            </a:r>
          </a:p>
        </p:txBody>
      </p:sp>
      <p:sp>
        <p:nvSpPr>
          <p:cNvPr id="9" name="Content Placeholder 3">
            <a:extLst>
              <a:ext uri="{FF2B5EF4-FFF2-40B4-BE49-F238E27FC236}">
                <a16:creationId xmlns:a16="http://schemas.microsoft.com/office/drawing/2014/main" id="{D2FC18D6-EAB2-41DC-807D-F74C4917EB60}"/>
              </a:ext>
            </a:extLst>
          </p:cNvPr>
          <p:cNvSpPr txBox="1">
            <a:spLocks/>
          </p:cNvSpPr>
          <p:nvPr/>
        </p:nvSpPr>
        <p:spPr>
          <a:xfrm>
            <a:off x="1074414" y="4110992"/>
            <a:ext cx="3052741" cy="923330"/>
          </a:xfrm>
          <a:prstGeom prst="rect">
            <a:avLst/>
          </a:prstGeom>
        </p:spPr>
        <p:txBody>
          <a:bodyPr wrap="square" anchor="b">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600" kern="1200" smtClean="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smtClean="0">
                <a:solidFill>
                  <a:schemeClr val="bg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600" kern="1200" smtClean="0">
                <a:solidFill>
                  <a:schemeClr val="bg1">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smtClean="0">
                <a:solidFill>
                  <a:schemeClr val="bg1">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chemeClr val="accent4"/>
                </a:solidFill>
                <a:effectLst/>
                <a:uLnTx/>
                <a:uFillTx/>
                <a:latin typeface="Arial"/>
                <a:ea typeface="+mn-ea"/>
                <a:cs typeface="+mn-cs"/>
              </a:rPr>
              <a:t>Chronic worsening HF accounts for </a:t>
            </a:r>
            <a:r>
              <a:rPr kumimoji="0" lang="en-GB" sz="1800" b="1" i="0" u="none" strike="noStrike" kern="1200" cap="none" spc="0" normalizeH="0" baseline="0" noProof="0" dirty="0">
                <a:ln>
                  <a:noFill/>
                </a:ln>
                <a:solidFill>
                  <a:schemeClr val="accent1"/>
                </a:solidFill>
                <a:effectLst/>
                <a:uLnTx/>
                <a:uFillTx/>
                <a:latin typeface="Arial"/>
                <a:ea typeface="+mn-ea"/>
                <a:cs typeface="+mn-cs"/>
              </a:rPr>
              <a:t>~80% </a:t>
            </a:r>
            <a:r>
              <a:rPr kumimoji="0" lang="en-GB" sz="1800" b="1" i="0" u="none" strike="noStrike" kern="1200" cap="none" spc="0" normalizeH="0" baseline="0" noProof="0" dirty="0">
                <a:ln>
                  <a:noFill/>
                </a:ln>
                <a:solidFill>
                  <a:schemeClr val="accent4"/>
                </a:solidFill>
                <a:effectLst/>
                <a:uLnTx/>
                <a:uFillTx/>
                <a:latin typeface="Arial"/>
                <a:ea typeface="+mn-ea"/>
                <a:cs typeface="+mn-cs"/>
              </a:rPr>
              <a:t>of HFH cases</a:t>
            </a:r>
            <a:r>
              <a:rPr kumimoji="0" lang="en-GB" sz="1800" b="1" i="0" u="none" strike="noStrike" kern="1200" cap="none" spc="0" normalizeH="0" baseline="30000" noProof="0" dirty="0">
                <a:ln>
                  <a:noFill/>
                </a:ln>
                <a:solidFill>
                  <a:schemeClr val="accent4"/>
                </a:solidFill>
                <a:effectLst/>
                <a:uLnTx/>
                <a:uFillTx/>
                <a:latin typeface="Arial"/>
                <a:ea typeface="+mn-ea"/>
                <a:cs typeface="+mn-cs"/>
              </a:rPr>
              <a:t>6</a:t>
            </a:r>
          </a:p>
        </p:txBody>
      </p:sp>
      <p:pic>
        <p:nvPicPr>
          <p:cNvPr id="10" name="Graphic 9" descr="Hospital">
            <a:extLst>
              <a:ext uri="{FF2B5EF4-FFF2-40B4-BE49-F238E27FC236}">
                <a16:creationId xmlns:a16="http://schemas.microsoft.com/office/drawing/2014/main" id="{7550BB42-C993-46D4-BAA3-63DE43A987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65876" y="1804683"/>
            <a:ext cx="2669818" cy="2503235"/>
          </a:xfrm>
          <a:prstGeom prst="rect">
            <a:avLst/>
          </a:prstGeom>
        </p:spPr>
      </p:pic>
      <p:sp>
        <p:nvSpPr>
          <p:cNvPr id="52" name="Rectangle 51">
            <a:extLst>
              <a:ext uri="{FF2B5EF4-FFF2-40B4-BE49-F238E27FC236}">
                <a16:creationId xmlns:a16="http://schemas.microsoft.com/office/drawing/2014/main" id="{2F99D024-4EF7-4D89-8C50-E3D7C2BAB04B}"/>
              </a:ext>
            </a:extLst>
          </p:cNvPr>
          <p:cNvSpPr/>
          <p:nvPr/>
        </p:nvSpPr>
        <p:spPr bwMode="gray">
          <a:xfrm>
            <a:off x="982661" y="1728483"/>
            <a:ext cx="3236245" cy="3764398"/>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7848B90B-3C99-4BE9-9553-BF8766FEE350}"/>
              </a:ext>
            </a:extLst>
          </p:cNvPr>
          <p:cNvSpPr/>
          <p:nvPr/>
        </p:nvSpPr>
        <p:spPr bwMode="gray">
          <a:xfrm>
            <a:off x="4502124" y="1728483"/>
            <a:ext cx="3236245" cy="3764398"/>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DD3E3504-E75C-43D9-8916-493774D27BA3}"/>
              </a:ext>
            </a:extLst>
          </p:cNvPr>
          <p:cNvSpPr/>
          <p:nvPr/>
        </p:nvSpPr>
        <p:spPr bwMode="gray">
          <a:xfrm>
            <a:off x="8021581" y="1728483"/>
            <a:ext cx="3236245" cy="3764398"/>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E323467B-7A07-4772-94A6-AB2465B03F0B}"/>
              </a:ext>
            </a:extLst>
          </p:cNvPr>
          <p:cNvSpPr/>
          <p:nvPr/>
        </p:nvSpPr>
        <p:spPr bwMode="gray">
          <a:xfrm>
            <a:off x="970347" y="5631462"/>
            <a:ext cx="10701700" cy="54373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latin typeface="+mj-lt"/>
              </a:rPr>
              <a:t>Despite </a:t>
            </a:r>
            <a:r>
              <a:rPr lang="en-GB" sz="2800" dirty="0">
                <a:solidFill>
                  <a:schemeClr val="bg1"/>
                </a:solidFill>
                <a:latin typeface="+mj-lt"/>
              </a:rPr>
              <a:t>GDMT</a:t>
            </a:r>
            <a:r>
              <a:rPr lang="en-GB" sz="2800" dirty="0">
                <a:latin typeface="+mj-lt"/>
              </a:rPr>
              <a:t>, patients remain at risk of CV death and HFH</a:t>
            </a:r>
            <a:r>
              <a:rPr lang="en-GB" sz="2800" baseline="30000" dirty="0">
                <a:latin typeface="+mj-lt"/>
              </a:rPr>
              <a:t>1</a:t>
            </a:r>
            <a:r>
              <a:rPr lang="en-GB" sz="2800" baseline="30000" dirty="0">
                <a:latin typeface="+mj-lt"/>
                <a:cs typeface="Arial" panose="020B0604020202020204" pitchFamily="34" charset="0"/>
              </a:rPr>
              <a:t>–4</a:t>
            </a:r>
            <a:endParaRPr lang="en-US" sz="2800" dirty="0">
              <a:latin typeface="+mj-lt"/>
            </a:endParaRPr>
          </a:p>
        </p:txBody>
      </p:sp>
      <p:sp>
        <p:nvSpPr>
          <p:cNvPr id="58" name="TextBox 57">
            <a:extLst>
              <a:ext uri="{FF2B5EF4-FFF2-40B4-BE49-F238E27FC236}">
                <a16:creationId xmlns:a16="http://schemas.microsoft.com/office/drawing/2014/main" id="{D73BA9FF-D804-4D75-8D7C-1E866D18F105}"/>
              </a:ext>
            </a:extLst>
          </p:cNvPr>
          <p:cNvSpPr txBox="1"/>
          <p:nvPr/>
        </p:nvSpPr>
        <p:spPr bwMode="gray">
          <a:xfrm>
            <a:off x="8021581" y="4110992"/>
            <a:ext cx="3096005" cy="923330"/>
          </a:xfrm>
          <a:prstGeom prst="rect">
            <a:avLst/>
          </a:prstGeom>
          <a:noFill/>
        </p:spPr>
        <p:txBody>
          <a:bodyPr wrap="square">
            <a:spAutoFit/>
          </a:bodyPr>
          <a:lstStyle/>
          <a:p>
            <a:pPr algn="ctr"/>
            <a:r>
              <a:rPr lang="en-US" sz="1800" b="1" i="0" u="none" strike="noStrike" baseline="0" dirty="0">
                <a:solidFill>
                  <a:schemeClr val="accent1"/>
                </a:solidFill>
              </a:rPr>
              <a:t>1 in 5 </a:t>
            </a:r>
            <a:r>
              <a:rPr lang="en-US" sz="1800" b="1" i="0" u="none" strike="noStrike" baseline="0" dirty="0">
                <a:solidFill>
                  <a:schemeClr val="accent4"/>
                </a:solidFill>
              </a:rPr>
              <a:t>patients will die within </a:t>
            </a:r>
            <a:r>
              <a:rPr lang="en-US" sz="1800" b="1" i="0" u="none" strike="noStrike" baseline="0" dirty="0">
                <a:solidFill>
                  <a:schemeClr val="accent1"/>
                </a:solidFill>
              </a:rPr>
              <a:t>2 years </a:t>
            </a:r>
            <a:r>
              <a:rPr lang="en-US" sz="1800" b="1" i="0" u="none" strike="noStrike" baseline="0" dirty="0">
                <a:solidFill>
                  <a:schemeClr val="accent4"/>
                </a:solidFill>
              </a:rPr>
              <a:t>of their worsening HF event</a:t>
            </a:r>
            <a:r>
              <a:rPr lang="en-US" sz="1800" b="1" i="0" u="none" strike="noStrike" baseline="30000" dirty="0">
                <a:solidFill>
                  <a:schemeClr val="accent4"/>
                </a:solidFill>
              </a:rPr>
              <a:t>5</a:t>
            </a:r>
            <a:endParaRPr lang="en-US" b="1" baseline="30000" dirty="0">
              <a:solidFill>
                <a:schemeClr val="accent4"/>
              </a:solidFill>
            </a:endParaRPr>
          </a:p>
        </p:txBody>
      </p:sp>
      <p:pic>
        <p:nvPicPr>
          <p:cNvPr id="59" name="Picture 58" descr="Icon&#10;&#10;Description automatically generated">
            <a:extLst>
              <a:ext uri="{FF2B5EF4-FFF2-40B4-BE49-F238E27FC236}">
                <a16:creationId xmlns:a16="http://schemas.microsoft.com/office/drawing/2014/main" id="{AD01551A-97A7-429C-846C-2DF8296D8C6E}"/>
              </a:ext>
            </a:extLst>
          </p:cNvPr>
          <p:cNvPicPr>
            <a:picLocks noChangeAspect="1"/>
          </p:cNvPicPr>
          <p:nvPr/>
        </p:nvPicPr>
        <p:blipFill>
          <a:blip r:embed="rId4">
            <a:alphaModFix/>
            <a:duotone>
              <a:schemeClr val="accent4">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saturation sat="33000"/>
                    </a14:imgEffect>
                  </a14:imgLayer>
                </a14:imgProps>
              </a:ext>
              <a:ext uri="{28A0092B-C50C-407E-A947-70E740481C1C}">
                <a14:useLocalDpi xmlns:a14="http://schemas.microsoft.com/office/drawing/2010/main" val="0"/>
              </a:ext>
            </a:extLst>
          </a:blip>
          <a:stretch>
            <a:fillRect/>
          </a:stretch>
        </p:blipFill>
        <p:spPr>
          <a:xfrm>
            <a:off x="8853238" y="2577899"/>
            <a:ext cx="1432689" cy="1236325"/>
          </a:xfrm>
          <a:prstGeom prst="rect">
            <a:avLst/>
          </a:prstGeom>
        </p:spPr>
      </p:pic>
      <p:sp>
        <p:nvSpPr>
          <p:cNvPr id="61" name="TextBox 60">
            <a:extLst>
              <a:ext uri="{FF2B5EF4-FFF2-40B4-BE49-F238E27FC236}">
                <a16:creationId xmlns:a16="http://schemas.microsoft.com/office/drawing/2014/main" id="{06520053-89A0-47DE-A40E-5A54D2BEFED5}"/>
              </a:ext>
            </a:extLst>
          </p:cNvPr>
          <p:cNvSpPr txBox="1"/>
          <p:nvPr/>
        </p:nvSpPr>
        <p:spPr bwMode="gray">
          <a:xfrm>
            <a:off x="4502124" y="4089974"/>
            <a:ext cx="3236245" cy="1200329"/>
          </a:xfrm>
          <a:prstGeom prst="rect">
            <a:avLst/>
          </a:prstGeom>
          <a:noFill/>
        </p:spPr>
        <p:txBody>
          <a:bodyPr wrap="square">
            <a:spAutoFit/>
          </a:bodyPr>
          <a:lstStyle/>
          <a:p>
            <a:pPr algn="ctr"/>
            <a:r>
              <a:rPr lang="en-US" sz="1800" b="1" i="0" u="none" strike="noStrike" baseline="0" dirty="0">
                <a:solidFill>
                  <a:schemeClr val="accent1"/>
                </a:solidFill>
              </a:rPr>
              <a:t>1 in 2 patients </a:t>
            </a:r>
            <a:r>
              <a:rPr lang="en-US" sz="1800" b="1" i="0" u="none" strike="noStrike" baseline="0" dirty="0">
                <a:solidFill>
                  <a:schemeClr val="accent4"/>
                </a:solidFill>
              </a:rPr>
              <a:t>will be </a:t>
            </a:r>
            <a:r>
              <a:rPr lang="en-US" sz="1800" b="1" i="0" u="none" strike="noStrike" baseline="0" dirty="0">
                <a:solidFill>
                  <a:schemeClr val="accent1"/>
                </a:solidFill>
              </a:rPr>
              <a:t>hospitalized again within</a:t>
            </a:r>
          </a:p>
          <a:p>
            <a:pPr algn="ctr"/>
            <a:r>
              <a:rPr lang="en-US" sz="1800" b="1" i="0" u="none" strike="noStrike" baseline="0" dirty="0">
                <a:solidFill>
                  <a:schemeClr val="accent1"/>
                </a:solidFill>
              </a:rPr>
              <a:t>30 days </a:t>
            </a:r>
            <a:r>
              <a:rPr lang="en-US" sz="1800" b="1" i="0" u="none" strike="noStrike" baseline="0" dirty="0">
                <a:solidFill>
                  <a:schemeClr val="accent4"/>
                </a:solidFill>
              </a:rPr>
              <a:t>of their worsening HF event</a:t>
            </a:r>
            <a:r>
              <a:rPr lang="en-US" sz="1800" b="1" i="0" u="none" strike="noStrike" baseline="30000" dirty="0">
                <a:solidFill>
                  <a:schemeClr val="accent4"/>
                </a:solidFill>
              </a:rPr>
              <a:t>5</a:t>
            </a:r>
            <a:endParaRPr lang="en-US" b="1" baseline="30000" dirty="0">
              <a:solidFill>
                <a:schemeClr val="accent4"/>
              </a:solidFill>
            </a:endParaRPr>
          </a:p>
        </p:txBody>
      </p:sp>
      <p:pic>
        <p:nvPicPr>
          <p:cNvPr id="63" name="Graphic 62" descr="Inpatient with solid fill">
            <a:extLst>
              <a:ext uri="{FF2B5EF4-FFF2-40B4-BE49-F238E27FC236}">
                <a16:creationId xmlns:a16="http://schemas.microsoft.com/office/drawing/2014/main" id="{F99B1B58-0092-478B-B499-7BA37EF1D1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27609" y="2250994"/>
            <a:ext cx="1822073" cy="1636402"/>
          </a:xfrm>
          <a:prstGeom prst="rect">
            <a:avLst/>
          </a:prstGeom>
        </p:spPr>
      </p:pic>
      <p:sp>
        <p:nvSpPr>
          <p:cNvPr id="64" name="TextBox 63">
            <a:extLst>
              <a:ext uri="{FF2B5EF4-FFF2-40B4-BE49-F238E27FC236}">
                <a16:creationId xmlns:a16="http://schemas.microsoft.com/office/drawing/2014/main" id="{A010C3E7-DB3B-4ECE-9EA6-065B368634AA}"/>
              </a:ext>
            </a:extLst>
          </p:cNvPr>
          <p:cNvSpPr txBox="1"/>
          <p:nvPr/>
        </p:nvSpPr>
        <p:spPr>
          <a:xfrm>
            <a:off x="588247" y="6196733"/>
            <a:ext cx="11232899" cy="543739"/>
          </a:xfrm>
          <a:prstGeom prst="rect">
            <a:avLst/>
          </a:prstGeom>
          <a:noFill/>
        </p:spPr>
        <p:txBody>
          <a:bodyPr wrap="square" lIns="0" tIns="0" rIns="0" bIns="0" anchor="b">
            <a:spAutoFit/>
          </a:bodyPr>
          <a:lstStyle/>
          <a:p>
            <a:pPr marL="0" marR="0" lvl="0" indent="0" algn="l" defTabSz="914309" rtl="0" eaLnBrk="1" fontAlgn="auto" latinLnBrk="0" hangingPunct="1">
              <a:lnSpc>
                <a:spcPct val="80000"/>
              </a:lnSpc>
              <a:spcBef>
                <a:spcPts val="2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309" rtl="0" eaLnBrk="1" fontAlgn="auto" latinLnBrk="0" hangingPunct="1">
              <a:lnSpc>
                <a:spcPct val="80000"/>
              </a:lnSpc>
              <a:spcBef>
                <a:spcPts val="20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V, cardiovascular; HF, heart failure; HFH, heart failure hospitalisation; HFrEF, heart failure with reduced ejection fraction.</a:t>
            </a:r>
          </a:p>
          <a:p>
            <a:pPr marL="0" marR="0" lvl="0" indent="0" algn="l" defTabSz="914309" rtl="0" eaLnBrk="1" fontAlgn="auto" latinLnBrk="0" hangingPunct="1">
              <a:lnSpc>
                <a:spcPct val="80000"/>
              </a:lnSpc>
              <a:spcBef>
                <a:spcPts val="20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mn-cs"/>
              </a:rPr>
              <a:t>1. </a:t>
            </a:r>
            <a:r>
              <a:rPr kumimoji="0" lang="da-DK" sz="1000" b="0" i="0" u="none" strike="noStrike" kern="1200" cap="none" spc="0" normalizeH="0" baseline="0" noProof="0" dirty="0">
                <a:ln>
                  <a:noFill/>
                </a:ln>
                <a:solidFill>
                  <a:srgbClr val="000000"/>
                </a:solidFill>
                <a:effectLst/>
                <a:uLnTx/>
                <a:uFillTx/>
                <a:latin typeface="Arial"/>
                <a:ea typeface="+mn-ea"/>
                <a:cs typeface="+mn-cs"/>
              </a:rPr>
              <a:t>McMurray JJV et al. </a:t>
            </a:r>
            <a:r>
              <a:rPr kumimoji="0" lang="da-DK" sz="1000" b="0" i="1" u="none" strike="noStrike" kern="1200" cap="none" spc="0" normalizeH="0" baseline="0" noProof="0" dirty="0">
                <a:ln>
                  <a:noFill/>
                </a:ln>
                <a:solidFill>
                  <a:srgbClr val="000000"/>
                </a:solidFill>
                <a:effectLst/>
                <a:uLnTx/>
                <a:uFillTx/>
                <a:latin typeface="Arial"/>
                <a:ea typeface="+mn-ea"/>
                <a:cs typeface="+mn-cs"/>
              </a:rPr>
              <a:t>N Engl J Med</a:t>
            </a:r>
            <a:r>
              <a:rPr kumimoji="0" lang="da-DK" sz="1000" b="0" i="0" u="none" strike="noStrike" kern="1200" cap="none" spc="0" normalizeH="0" baseline="0" noProof="0" dirty="0">
                <a:ln>
                  <a:noFill/>
                </a:ln>
                <a:solidFill>
                  <a:srgbClr val="000000"/>
                </a:solidFill>
                <a:effectLst/>
                <a:uLnTx/>
                <a:uFillTx/>
                <a:latin typeface="Arial"/>
                <a:ea typeface="+mn-ea"/>
                <a:cs typeface="+mn-cs"/>
              </a:rPr>
              <a:t>. 2014;371:993–1004; 2. McMurray JJV et al. </a:t>
            </a:r>
            <a:r>
              <a:rPr kumimoji="0" lang="da-DK" sz="1000" b="0" i="1" u="none" strike="noStrike" kern="1200" cap="none" spc="0" normalizeH="0" baseline="0" noProof="0" dirty="0">
                <a:ln>
                  <a:noFill/>
                </a:ln>
                <a:solidFill>
                  <a:srgbClr val="000000"/>
                </a:solidFill>
                <a:effectLst/>
                <a:uLnTx/>
                <a:uFillTx/>
                <a:latin typeface="Arial"/>
                <a:ea typeface="+mn-ea"/>
                <a:cs typeface="+mn-cs"/>
              </a:rPr>
              <a:t>N Engl J Med</a:t>
            </a:r>
            <a:r>
              <a:rPr kumimoji="0" lang="da-DK" sz="1000" b="0" i="0" u="none" strike="noStrike" kern="1200" cap="none" spc="0" normalizeH="0" baseline="0" noProof="0" dirty="0">
                <a:ln>
                  <a:noFill/>
                </a:ln>
                <a:solidFill>
                  <a:srgbClr val="000000"/>
                </a:solidFill>
                <a:effectLst/>
                <a:uLnTx/>
                <a:uFillTx/>
                <a:latin typeface="Arial"/>
                <a:ea typeface="+mn-ea"/>
                <a:cs typeface="+mn-cs"/>
              </a:rPr>
              <a:t>. 2019;381:1995–2008; 3. </a:t>
            </a:r>
            <a:r>
              <a:rPr kumimoji="0" lang="en-GB" sz="1000" b="0" i="0" u="none" strike="noStrike" kern="1200" cap="none" spc="0" normalizeH="0" baseline="0" noProof="0" dirty="0">
                <a:ln>
                  <a:noFill/>
                </a:ln>
                <a:solidFill>
                  <a:srgbClr val="000000"/>
                </a:solidFill>
                <a:effectLst/>
                <a:uLnTx/>
                <a:uFillTx/>
                <a:latin typeface="Arial"/>
                <a:ea typeface="+mn-ea"/>
                <a:cs typeface="+mn-cs"/>
              </a:rPr>
              <a:t>Packer M et al. </a:t>
            </a:r>
            <a:r>
              <a:rPr kumimoji="0" lang="en-GB" sz="1000" b="0" i="1" u="none" strike="noStrike" kern="1200" cap="none" spc="0" normalizeH="0" baseline="0" noProof="0" dirty="0">
                <a:ln>
                  <a:noFill/>
                </a:ln>
                <a:solidFill>
                  <a:srgbClr val="000000"/>
                </a:solidFill>
                <a:effectLst/>
                <a:uLnTx/>
                <a:uFillTx/>
                <a:latin typeface="Arial"/>
                <a:ea typeface="+mn-ea"/>
                <a:cs typeface="+mn-cs"/>
              </a:rPr>
              <a:t>N Engl J Med</a:t>
            </a:r>
            <a:r>
              <a:rPr kumimoji="0" lang="en-GB" sz="1000" b="0" i="0" u="none" strike="noStrike" kern="1200" cap="none" spc="0" normalizeH="0" baseline="0" noProof="0" dirty="0">
                <a:ln>
                  <a:noFill/>
                </a:ln>
                <a:solidFill>
                  <a:srgbClr val="000000"/>
                </a:solidFill>
                <a:effectLst/>
                <a:uLnTx/>
                <a:uFillTx/>
                <a:latin typeface="Arial"/>
                <a:ea typeface="+mn-ea"/>
                <a:cs typeface="+mn-cs"/>
              </a:rPr>
              <a:t>. 2020;383:1413–1424; </a:t>
            </a:r>
            <a:br>
              <a:rPr kumimoji="0" lang="en-GB" sz="1000" b="0" i="0" u="none" strike="noStrike" kern="1200" cap="none" spc="0" normalizeH="0" baseline="0" noProof="0" dirty="0">
                <a:ln>
                  <a:noFill/>
                </a:ln>
                <a:solidFill>
                  <a:srgbClr val="000000"/>
                </a:solidFill>
                <a:effectLst/>
                <a:uLnTx/>
                <a:uFillTx/>
                <a:latin typeface="Arial"/>
                <a:ea typeface="+mn-ea"/>
                <a:cs typeface="+mn-cs"/>
              </a:rPr>
            </a:br>
            <a:r>
              <a:rPr kumimoji="0" lang="en-GB" sz="1000" b="0" i="0" u="none" strike="noStrike" kern="1200" cap="none" spc="0" normalizeH="0" baseline="0" noProof="0" dirty="0">
                <a:ln>
                  <a:noFill/>
                </a:ln>
                <a:solidFill>
                  <a:srgbClr val="000000"/>
                </a:solidFill>
                <a:effectLst/>
                <a:uLnTx/>
                <a:uFillTx/>
                <a:latin typeface="Arial"/>
                <a:ea typeface="+mn-ea"/>
                <a:cs typeface="+mn-cs"/>
              </a:rPr>
              <a:t>4. Teerlink JR et al. </a:t>
            </a:r>
            <a:r>
              <a:rPr kumimoji="0" lang="en-GB" sz="1000" b="0" i="1" u="none" strike="noStrike" kern="1200" cap="none" spc="0" normalizeH="0" baseline="0" noProof="0" dirty="0">
                <a:ln>
                  <a:noFill/>
                </a:ln>
                <a:solidFill>
                  <a:srgbClr val="000000"/>
                </a:solidFill>
                <a:effectLst/>
                <a:uLnTx/>
                <a:uFillTx/>
                <a:latin typeface="Arial"/>
                <a:ea typeface="+mn-ea"/>
                <a:cs typeface="+mn-cs"/>
              </a:rPr>
              <a:t>N Engl J Med</a:t>
            </a:r>
            <a:r>
              <a:rPr kumimoji="0" lang="en-GB" sz="1000" b="0" i="0" u="none" strike="noStrike" kern="1200" cap="none" spc="0" normalizeH="0" baseline="0" noProof="0" dirty="0">
                <a:ln>
                  <a:noFill/>
                </a:ln>
                <a:solidFill>
                  <a:srgbClr val="000000"/>
                </a:solidFill>
                <a:effectLst/>
                <a:uLnTx/>
                <a:uFillTx/>
                <a:latin typeface="Arial"/>
                <a:ea typeface="+mn-ea"/>
                <a:cs typeface="+mn-cs"/>
              </a:rPr>
              <a:t>. 2021;384:105–116; 5. Butler J et al. </a:t>
            </a:r>
            <a:r>
              <a:rPr kumimoji="0" lang="en-GB" sz="1000" b="0" i="1" u="none" strike="noStrike" kern="1200" cap="none" spc="0" normalizeH="0" baseline="0" noProof="0" dirty="0">
                <a:ln>
                  <a:noFill/>
                </a:ln>
                <a:solidFill>
                  <a:srgbClr val="000000"/>
                </a:solidFill>
                <a:effectLst/>
                <a:uLnTx/>
                <a:uFillTx/>
                <a:latin typeface="Arial"/>
                <a:ea typeface="+mn-ea"/>
                <a:cs typeface="+mn-cs"/>
              </a:rPr>
              <a:t>J Am Coll Cardiol</a:t>
            </a:r>
            <a:r>
              <a:rPr kumimoji="0" lang="en-GB" sz="1000" b="0" i="0" u="none" strike="noStrike" kern="1200" cap="none" spc="0" normalizeH="0" baseline="0" noProof="0" dirty="0">
                <a:ln>
                  <a:noFill/>
                </a:ln>
                <a:solidFill>
                  <a:srgbClr val="000000"/>
                </a:solidFill>
                <a:effectLst/>
                <a:uLnTx/>
                <a:uFillTx/>
                <a:latin typeface="Arial"/>
                <a:ea typeface="+mn-ea"/>
                <a:cs typeface="+mn-cs"/>
              </a:rPr>
              <a:t>. 2019;73:935–944; 6. </a:t>
            </a:r>
            <a:r>
              <a:rPr kumimoji="0" lang="en-US" sz="1000" b="0" i="0" u="none" strike="noStrike" kern="1200" cap="none" spc="0" normalizeH="0" baseline="0" noProof="0" dirty="0">
                <a:ln>
                  <a:noFill/>
                </a:ln>
                <a:solidFill>
                  <a:srgbClr val="000000"/>
                </a:solidFill>
                <a:effectLst/>
                <a:uLnTx/>
                <a:uFillTx/>
                <a:latin typeface="Arial"/>
                <a:ea typeface="+mn-ea"/>
                <a:cs typeface="+mn-cs"/>
              </a:rPr>
              <a:t>Gheorghiade M et al. </a:t>
            </a:r>
            <a:r>
              <a:rPr kumimoji="0" lang="en-US" sz="1000" b="0" i="1" u="none" strike="noStrike" kern="1200" cap="none" spc="0" normalizeH="0" baseline="0" noProof="0" dirty="0">
                <a:ln>
                  <a:noFill/>
                </a:ln>
                <a:solidFill>
                  <a:srgbClr val="000000"/>
                </a:solidFill>
                <a:effectLst/>
                <a:uLnTx/>
                <a:uFillTx/>
                <a:latin typeface="Arial"/>
                <a:ea typeface="+mn-ea"/>
                <a:cs typeface="+mn-cs"/>
              </a:rPr>
              <a:t>J Am Coll Cardiol.</a:t>
            </a:r>
            <a:r>
              <a:rPr kumimoji="0" lang="en-US" sz="1000" b="0" i="0" u="none" strike="noStrike" kern="1200" cap="none" spc="0" normalizeH="0" baseline="0" noProof="0" dirty="0">
                <a:ln>
                  <a:noFill/>
                </a:ln>
                <a:solidFill>
                  <a:srgbClr val="000000"/>
                </a:solidFill>
                <a:effectLst/>
                <a:uLnTx/>
                <a:uFillTx/>
                <a:latin typeface="Arial"/>
                <a:ea typeface="+mn-ea"/>
                <a:cs typeface="+mn-cs"/>
              </a:rPr>
              <a:t> 2013;61:391–403. </a:t>
            </a:r>
          </a:p>
        </p:txBody>
      </p:sp>
    </p:spTree>
    <p:extLst>
      <p:ext uri="{BB962C8B-B14F-4D97-AF65-F5344CB8AC3E}">
        <p14:creationId xmlns:p14="http://schemas.microsoft.com/office/powerpoint/2010/main" val="3830008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1CBE39F-0753-412A-94D5-FD0E1E9AE90F}"/>
              </a:ext>
            </a:extLst>
          </p:cNvPr>
          <p:cNvSpPr>
            <a:spLocks noGrp="1"/>
          </p:cNvSpPr>
          <p:nvPr>
            <p:ph idx="1"/>
          </p:nvPr>
        </p:nvSpPr>
        <p:spPr/>
        <p:txBody>
          <a:bodyPr/>
          <a:lstStyle/>
          <a:p>
            <a:endParaRPr lang="en-US"/>
          </a:p>
        </p:txBody>
      </p:sp>
      <p:sp>
        <p:nvSpPr>
          <p:cNvPr id="2" name="Title 1">
            <a:extLst>
              <a:ext uri="{FF2B5EF4-FFF2-40B4-BE49-F238E27FC236}">
                <a16:creationId xmlns:a16="http://schemas.microsoft.com/office/drawing/2014/main" id="{EBAA7541-A736-4953-B7F5-22FD088C1963}"/>
              </a:ext>
            </a:extLst>
          </p:cNvPr>
          <p:cNvSpPr>
            <a:spLocks noGrp="1"/>
          </p:cNvSpPr>
          <p:nvPr>
            <p:ph type="title"/>
          </p:nvPr>
        </p:nvSpPr>
        <p:spPr/>
        <p:txBody>
          <a:bodyPr anchor="t">
            <a:noAutofit/>
          </a:bodyPr>
          <a:lstStyle/>
          <a:p>
            <a:r>
              <a:rPr lang="en-GB" dirty="0"/>
              <a:t>Annualised NNTs for primary endpoint outcomes</a:t>
            </a:r>
          </a:p>
        </p:txBody>
      </p:sp>
      <p:sp>
        <p:nvSpPr>
          <p:cNvPr id="11" name="Footer Placeholder 10">
            <a:extLst>
              <a:ext uri="{FF2B5EF4-FFF2-40B4-BE49-F238E27FC236}">
                <a16:creationId xmlns:a16="http://schemas.microsoft.com/office/drawing/2014/main" id="{A48B0367-481E-4F8D-8DE4-B57E913813E7}"/>
              </a:ext>
            </a:extLst>
          </p:cNvPr>
          <p:cNvSpPr>
            <a:spLocks noGrp="1"/>
          </p:cNvSpPr>
          <p:nvPr>
            <p:ph type="ftr" sz="quarter" idx="4294967295"/>
          </p:nvPr>
        </p:nvSpPr>
        <p:spPr>
          <a:xfrm>
            <a:off x="671513" y="6480175"/>
            <a:ext cx="11520487"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err="1">
                <a:ln>
                  <a:noFill/>
                </a:ln>
                <a:solidFill>
                  <a:prstClr val="black">
                    <a:tint val="75000"/>
                  </a:prstClr>
                </a:solidFill>
                <a:effectLst/>
                <a:uLnTx/>
                <a:uFillTx/>
                <a:latin typeface="Calibri"/>
                <a:ea typeface="+mn-ea"/>
                <a:cs typeface="+mn-cs"/>
              </a:rPr>
              <a:t>ARNi</a:t>
            </a:r>
            <a:r>
              <a:rPr kumimoji="0" lang="en-GB" sz="933" b="0" i="0" u="none" strike="noStrike" kern="1200" cap="none" spc="0" normalizeH="0" baseline="0" noProof="0" dirty="0">
                <a:ln>
                  <a:noFill/>
                </a:ln>
                <a:solidFill>
                  <a:prstClr val="black">
                    <a:tint val="75000"/>
                  </a:prstClr>
                </a:solidFill>
                <a:effectLst/>
                <a:uLnTx/>
                <a:uFillTx/>
                <a:latin typeface="Calibri"/>
                <a:ea typeface="+mn-ea"/>
                <a:cs typeface="+mn-cs"/>
              </a:rPr>
              <a:t>, angiotensin receptor neprilysin inhibitor; BB, beta blocker; CV, cardiovascular; MRA, mineralocorticoid receptor antagonist; NNT, number needed to treat; sGC, soluble guanylate cyclase; SGLT2i sodium–glucose cotransporter 2</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prstClr val="black">
                    <a:tint val="75000"/>
                  </a:prstClr>
                </a:solidFill>
                <a:effectLst/>
                <a:uLnTx/>
                <a:uFillTx/>
                <a:latin typeface="Calibri"/>
                <a:ea typeface="+mn-ea"/>
                <a:cs typeface="+mn-cs"/>
              </a:rPr>
              <a:t>1. MERIT-HF Study Group. Lancet. 1999;353:2001–2007; 2. Zannad F et al. N Engl J Med. 2011;364:11–21; 3. Butler J et al. Eur J Heart Fail. 2020; doi: 10.1002/ejhf.2009 [Epub ahead of print]; 4. </a:t>
            </a:r>
            <a:r>
              <a:rPr kumimoji="0" lang="en-US" sz="933" b="0" i="0" u="none" strike="noStrike" kern="1200" cap="none" spc="0" normalizeH="0" baseline="0" noProof="0" dirty="0">
                <a:ln>
                  <a:noFill/>
                </a:ln>
                <a:solidFill>
                  <a:prstClr val="black">
                    <a:tint val="75000"/>
                  </a:prstClr>
                </a:solidFill>
                <a:effectLst/>
                <a:uLnTx/>
                <a:uFillTx/>
                <a:latin typeface="Calibri"/>
                <a:ea typeface="+mn-ea"/>
                <a:cs typeface="+mn-cs"/>
              </a:rPr>
              <a:t>McMurray JJV et al. N Engl J Med. 2019;381:1995–2008; 5. Packer M et al. </a:t>
            </a:r>
            <a:r>
              <a:rPr kumimoji="0" lang="en-GB" sz="933" b="0" i="0" u="none" strike="noStrike" kern="1200" cap="none" spc="0" normalizeH="0" baseline="0" noProof="0" dirty="0">
                <a:ln>
                  <a:noFill/>
                </a:ln>
                <a:solidFill>
                  <a:prstClr val="black">
                    <a:tint val="75000"/>
                  </a:prstClr>
                </a:solidFill>
                <a:effectLst/>
                <a:uLnTx/>
                <a:uFillTx/>
                <a:latin typeface="Calibri"/>
                <a:ea typeface="+mn-ea"/>
                <a:cs typeface="+mn-cs"/>
              </a:rPr>
              <a:t>N Engl J Med. 2020;383:1413–1424; 6. Teerlink JR et al. N Engl J Med. 2020; doi 10.1056/NEJMoa2025797 [Epub ahead of print]; 7. </a:t>
            </a:r>
            <a:r>
              <a:rPr kumimoji="0" lang="en-US" sz="933" b="0" i="0" u="none" strike="noStrike" kern="1200" cap="none" spc="0" normalizeH="0" baseline="0" noProof="0" dirty="0">
                <a:ln>
                  <a:noFill/>
                </a:ln>
                <a:solidFill>
                  <a:prstClr val="black">
                    <a:tint val="75000"/>
                  </a:prstClr>
                </a:solidFill>
                <a:effectLst/>
                <a:uLnTx/>
                <a:uFillTx/>
                <a:latin typeface="Calibri"/>
                <a:ea typeface="+mn-ea"/>
                <a:cs typeface="+mn-cs"/>
              </a:rPr>
              <a:t>Armstrong PW et al. N Engl J Med. 2020;382:1883–1893</a:t>
            </a:r>
            <a:endParaRPr kumimoji="0" lang="en-GB" sz="933"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F7183B4A-AC6E-4943-ACC1-36B9FD1D38F3}"/>
              </a:ext>
            </a:extLst>
          </p:cNvPr>
          <p:cNvGrpSpPr/>
          <p:nvPr/>
        </p:nvGrpSpPr>
        <p:grpSpPr>
          <a:xfrm>
            <a:off x="383365" y="1836176"/>
            <a:ext cx="11425269" cy="3465032"/>
            <a:chOff x="686499" y="1444672"/>
            <a:chExt cx="10428051" cy="3465032"/>
          </a:xfrm>
        </p:grpSpPr>
        <p:graphicFrame>
          <p:nvGraphicFramePr>
            <p:cNvPr id="17" name="Chart 16">
              <a:extLst>
                <a:ext uri="{FF2B5EF4-FFF2-40B4-BE49-F238E27FC236}">
                  <a16:creationId xmlns:a16="http://schemas.microsoft.com/office/drawing/2014/main" id="{BFB6F36B-F83C-4C12-8C21-077E7968EB36}"/>
                </a:ext>
              </a:extLst>
            </p:cNvPr>
            <p:cNvGraphicFramePr>
              <a:graphicFrameLocks/>
            </p:cNvGraphicFramePr>
            <p:nvPr/>
          </p:nvGraphicFramePr>
          <p:xfrm>
            <a:off x="686499" y="1444672"/>
            <a:ext cx="10428051" cy="346503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23786144-56A3-429A-9E0D-53F4E0664361}"/>
                </a:ext>
              </a:extLst>
            </p:cNvPr>
            <p:cNvCxnSpPr>
              <a:cxnSpLocks/>
            </p:cNvCxnSpPr>
            <p:nvPr/>
          </p:nvCxnSpPr>
          <p:spPr>
            <a:xfrm flipH="1">
              <a:off x="1576412" y="3479048"/>
              <a:ext cx="9264413" cy="0"/>
            </a:xfrm>
            <a:prstGeom prst="line">
              <a:avLst/>
            </a:prstGeom>
            <a:ln w="635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8FAC0E7-6F5E-41C1-8CE0-062CA9FB6988}"/>
                </a:ext>
              </a:extLst>
            </p:cNvPr>
            <p:cNvSpPr txBox="1"/>
            <p:nvPr/>
          </p:nvSpPr>
          <p:spPr>
            <a:xfrm flipH="1">
              <a:off x="2458655" y="4506863"/>
              <a:ext cx="261257"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1</a:t>
              </a:r>
            </a:p>
          </p:txBody>
        </p:sp>
        <p:sp>
          <p:nvSpPr>
            <p:cNvPr id="9" name="TextBox 8">
              <a:extLst>
                <a:ext uri="{FF2B5EF4-FFF2-40B4-BE49-F238E27FC236}">
                  <a16:creationId xmlns:a16="http://schemas.microsoft.com/office/drawing/2014/main" id="{FF84FC72-37BE-468E-9283-138C39A591C6}"/>
                </a:ext>
              </a:extLst>
            </p:cNvPr>
            <p:cNvSpPr txBox="1"/>
            <p:nvPr/>
          </p:nvSpPr>
          <p:spPr>
            <a:xfrm flipH="1">
              <a:off x="3938915" y="4506863"/>
              <a:ext cx="261257"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2</a:t>
              </a:r>
            </a:p>
          </p:txBody>
        </p:sp>
        <p:sp>
          <p:nvSpPr>
            <p:cNvPr id="10" name="TextBox 9">
              <a:extLst>
                <a:ext uri="{FF2B5EF4-FFF2-40B4-BE49-F238E27FC236}">
                  <a16:creationId xmlns:a16="http://schemas.microsoft.com/office/drawing/2014/main" id="{2B531A40-66F9-45AF-99A5-DD682A971998}"/>
                </a:ext>
              </a:extLst>
            </p:cNvPr>
            <p:cNvSpPr txBox="1"/>
            <p:nvPr/>
          </p:nvSpPr>
          <p:spPr>
            <a:xfrm flipH="1">
              <a:off x="5296081" y="4499426"/>
              <a:ext cx="261257"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3</a:t>
              </a:r>
            </a:p>
          </p:txBody>
        </p:sp>
        <p:sp>
          <p:nvSpPr>
            <p:cNvPr id="13" name="TextBox 12">
              <a:extLst>
                <a:ext uri="{FF2B5EF4-FFF2-40B4-BE49-F238E27FC236}">
                  <a16:creationId xmlns:a16="http://schemas.microsoft.com/office/drawing/2014/main" id="{57187F7C-16F8-4EA9-ADDE-73F5A22A835D}"/>
                </a:ext>
              </a:extLst>
            </p:cNvPr>
            <p:cNvSpPr txBox="1"/>
            <p:nvPr/>
          </p:nvSpPr>
          <p:spPr>
            <a:xfrm flipH="1">
              <a:off x="6501413" y="4499426"/>
              <a:ext cx="532456"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4</a:t>
              </a:r>
            </a:p>
          </p:txBody>
        </p:sp>
        <p:sp>
          <p:nvSpPr>
            <p:cNvPr id="14" name="TextBox 13">
              <a:extLst>
                <a:ext uri="{FF2B5EF4-FFF2-40B4-BE49-F238E27FC236}">
                  <a16:creationId xmlns:a16="http://schemas.microsoft.com/office/drawing/2014/main" id="{98C36E7B-9A26-4E39-9C8C-7C62770AEB99}"/>
                </a:ext>
              </a:extLst>
            </p:cNvPr>
            <p:cNvSpPr txBox="1"/>
            <p:nvPr/>
          </p:nvSpPr>
          <p:spPr>
            <a:xfrm flipH="1">
              <a:off x="8128008" y="4499426"/>
              <a:ext cx="436899"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5</a:t>
              </a:r>
            </a:p>
          </p:txBody>
        </p:sp>
      </p:grpSp>
      <p:sp>
        <p:nvSpPr>
          <p:cNvPr id="21" name="TextBox 20">
            <a:extLst>
              <a:ext uri="{FF2B5EF4-FFF2-40B4-BE49-F238E27FC236}">
                <a16:creationId xmlns:a16="http://schemas.microsoft.com/office/drawing/2014/main" id="{EC9ED771-AA23-4A9D-82C4-410CA90939B9}"/>
              </a:ext>
            </a:extLst>
          </p:cNvPr>
          <p:cNvSpPr txBox="1"/>
          <p:nvPr/>
        </p:nvSpPr>
        <p:spPr>
          <a:xfrm flipH="1">
            <a:off x="9331509" y="4890262"/>
            <a:ext cx="436899"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6</a:t>
            </a:r>
          </a:p>
        </p:txBody>
      </p:sp>
      <p:sp>
        <p:nvSpPr>
          <p:cNvPr id="22" name="TextBox 21">
            <a:extLst>
              <a:ext uri="{FF2B5EF4-FFF2-40B4-BE49-F238E27FC236}">
                <a16:creationId xmlns:a16="http://schemas.microsoft.com/office/drawing/2014/main" id="{ED581839-B3A9-457F-AB80-163771943494}"/>
              </a:ext>
            </a:extLst>
          </p:cNvPr>
          <p:cNvSpPr txBox="1"/>
          <p:nvPr/>
        </p:nvSpPr>
        <p:spPr>
          <a:xfrm flipH="1">
            <a:off x="10560497" y="4906082"/>
            <a:ext cx="436899" cy="272212"/>
          </a:xfrm>
          <a:prstGeom prst="rect">
            <a:avLst/>
          </a:prstGeom>
        </p:spPr>
        <p:txBody>
          <a:bodyPr vert="horz" wrap="square" lIns="91440" tIns="45720" rIns="91440" bIns="45720" rtlCol="0">
            <a:no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GB" sz="900" b="0" i="0" u="none" strike="noStrike" kern="1200" cap="none" spc="0" normalizeH="0" baseline="30000" noProof="0" dirty="0">
                <a:ln>
                  <a:noFill/>
                </a:ln>
                <a:solidFill>
                  <a:srgbClr val="53585A"/>
                </a:solidFill>
                <a:effectLst/>
                <a:uLnTx/>
                <a:uFillTx/>
                <a:latin typeface="Arial" panose="020B0604020202020204"/>
                <a:ea typeface="+mn-ea"/>
                <a:cs typeface="+mn-cs"/>
              </a:rPr>
              <a:t>7</a:t>
            </a:r>
          </a:p>
        </p:txBody>
      </p:sp>
      <p:sp>
        <p:nvSpPr>
          <p:cNvPr id="5" name="Rectangle 4">
            <a:extLst>
              <a:ext uri="{FF2B5EF4-FFF2-40B4-BE49-F238E27FC236}">
                <a16:creationId xmlns:a16="http://schemas.microsoft.com/office/drawing/2014/main" id="{DFE47550-CD50-40C0-99B8-2CAC88A11F4B}"/>
              </a:ext>
            </a:extLst>
          </p:cNvPr>
          <p:cNvSpPr/>
          <p:nvPr/>
        </p:nvSpPr>
        <p:spPr>
          <a:xfrm>
            <a:off x="10432348" y="2842738"/>
            <a:ext cx="1109413" cy="24584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 Placeholder 1">
            <a:extLst>
              <a:ext uri="{FF2B5EF4-FFF2-40B4-BE49-F238E27FC236}">
                <a16:creationId xmlns:a16="http://schemas.microsoft.com/office/drawing/2014/main" id="{4442B7A4-918A-4F05-A95E-EEAFB2B727A1}"/>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6791544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A88031-542E-4E6E-975C-93B4925E4A01}"/>
              </a:ext>
            </a:extLst>
          </p:cNvPr>
          <p:cNvSpPr>
            <a:spLocks noGrp="1"/>
          </p:cNvSpPr>
          <p:nvPr>
            <p:ph type="sldNum" sz="quarter" idx="15"/>
          </p:nvPr>
        </p:nvSpPr>
        <p:spPr/>
        <p:txBody>
          <a:bodyPr/>
          <a:lstStyle/>
          <a:p>
            <a:fld id="{7F2E7A9C-228B-4998-AC5D-8ECFE8FBAA55}" type="slidenum">
              <a:rPr lang="en-US" smtClean="0"/>
              <a:pPr/>
              <a:t>31</a:t>
            </a:fld>
            <a:endParaRPr lang="en-US"/>
          </a:p>
        </p:txBody>
      </p:sp>
      <p:sp>
        <p:nvSpPr>
          <p:cNvPr id="6" name="Footer Placeholder 5">
            <a:extLst>
              <a:ext uri="{FF2B5EF4-FFF2-40B4-BE49-F238E27FC236}">
                <a16:creationId xmlns:a16="http://schemas.microsoft.com/office/drawing/2014/main" id="{801315EF-C2B4-48BE-8B03-B6E8DCC7E115}"/>
              </a:ext>
            </a:extLst>
          </p:cNvPr>
          <p:cNvSpPr>
            <a:spLocks noGrp="1"/>
          </p:cNvSpPr>
          <p:nvPr>
            <p:ph type="ftr" sz="quarter" idx="16"/>
          </p:nvPr>
        </p:nvSpPr>
        <p:spPr/>
        <p:txBody>
          <a:bodyPr/>
          <a:lstStyle/>
          <a:p>
            <a:pPr lvl="0"/>
            <a:r>
              <a:rPr lang="en-GB" noProof="0"/>
              <a:t>Each HF study was conducted independently, and no head-to-head HF studies have been completed that allow direct comparison of the efficacy and/or safety of one drug </a:t>
            </a:r>
            <a:r>
              <a:rPr lang="en-GB" i="1" noProof="0"/>
              <a:t>vs</a:t>
            </a:r>
            <a:r>
              <a:rPr lang="en-GB" noProof="0"/>
              <a:t> another. </a:t>
            </a:r>
          </a:p>
          <a:p>
            <a:pPr lvl="0"/>
            <a:r>
              <a:rPr lang="en-GB" noProof="0"/>
              <a:t>ARR, absolute rate reduction; CV, cardiovascular; HF, heart failure; HFH, heart failure hospitalization; HFrEF, heart failure with reduced ejection fraction; IV, intravenous;</a:t>
            </a:r>
            <a:br>
              <a:rPr lang="en-GB" noProof="0"/>
            </a:br>
            <a:r>
              <a:rPr lang="en-GB" noProof="0"/>
              <a:t>LVEF, left ventricular ejection fraction; NNT, number needed to treat; RRR, relative risk reduction.</a:t>
            </a:r>
          </a:p>
          <a:p>
            <a:pPr lvl="0"/>
            <a:r>
              <a:rPr lang="en-GB" b="1" noProof="0"/>
              <a:t>References: 1. </a:t>
            </a:r>
            <a:r>
              <a:rPr lang="en-GB" noProof="0"/>
              <a:t>McMurray JJV </a:t>
            </a:r>
            <a:r>
              <a:rPr lang="en-GB" i="1" noProof="0"/>
              <a:t>et al. N </a:t>
            </a:r>
            <a:r>
              <a:rPr lang="en-GB" i="1" noProof="0" err="1"/>
              <a:t>Engl</a:t>
            </a:r>
            <a:r>
              <a:rPr lang="en-GB" i="1" noProof="0"/>
              <a:t> J Med </a:t>
            </a:r>
            <a:r>
              <a:rPr lang="en-GB" noProof="0"/>
              <a:t>2014;371:993–1004; </a:t>
            </a:r>
            <a:r>
              <a:rPr lang="en-GB" b="1" noProof="0"/>
              <a:t>2. </a:t>
            </a:r>
            <a:r>
              <a:rPr lang="en-GB" noProof="0"/>
              <a:t>Chaudhary AG </a:t>
            </a:r>
            <a:r>
              <a:rPr lang="en-GB" i="1" noProof="0"/>
              <a:t>et al. CJC Open </a:t>
            </a:r>
            <a:r>
              <a:rPr lang="en-GB" noProof="0"/>
              <a:t>2021;3:646–657; </a:t>
            </a:r>
            <a:r>
              <a:rPr lang="en-GB" b="1" noProof="0"/>
              <a:t>3. </a:t>
            </a:r>
            <a:r>
              <a:rPr lang="en-GB" noProof="0"/>
              <a:t>McMurray JJV </a:t>
            </a:r>
            <a:r>
              <a:rPr lang="en-GB" i="1" noProof="0"/>
              <a:t>et al. N </a:t>
            </a:r>
            <a:r>
              <a:rPr lang="en-GB" i="1" noProof="0" err="1"/>
              <a:t>Engl</a:t>
            </a:r>
            <a:r>
              <a:rPr lang="en-GB" i="1" noProof="0"/>
              <a:t> J Med </a:t>
            </a:r>
            <a:r>
              <a:rPr lang="en-GB" noProof="0"/>
              <a:t>2019;381:1995–2008</a:t>
            </a:r>
            <a:r>
              <a:rPr lang="en-GB"/>
              <a:t>;</a:t>
            </a:r>
            <a:br>
              <a:rPr lang="en-GB" noProof="0"/>
            </a:br>
            <a:r>
              <a:rPr lang="en-GB" b="1" noProof="0"/>
              <a:t>4. </a:t>
            </a:r>
            <a:r>
              <a:rPr lang="en-GB" noProof="0"/>
              <a:t>Armstrong PW </a:t>
            </a:r>
            <a:r>
              <a:rPr lang="en-GB" i="1" noProof="0"/>
              <a:t>et al. N </a:t>
            </a:r>
            <a:r>
              <a:rPr lang="en-GB" i="1" noProof="0" err="1"/>
              <a:t>Engl</a:t>
            </a:r>
            <a:r>
              <a:rPr lang="en-GB" i="1" noProof="0"/>
              <a:t> J Med </a:t>
            </a:r>
            <a:r>
              <a:rPr lang="en-GB" noProof="0"/>
              <a:t>2020;382:1883–1893; </a:t>
            </a:r>
            <a:r>
              <a:rPr lang="en-GB" b="1" noProof="0"/>
              <a:t>5. </a:t>
            </a:r>
            <a:r>
              <a:rPr lang="en-GB" noProof="0"/>
              <a:t>Packer M </a:t>
            </a:r>
            <a:r>
              <a:rPr lang="en-GB" i="1" noProof="0"/>
              <a:t>et al. N </a:t>
            </a:r>
            <a:r>
              <a:rPr lang="en-GB" i="1" noProof="0" err="1"/>
              <a:t>Engl</a:t>
            </a:r>
            <a:r>
              <a:rPr lang="en-GB" i="1" noProof="0"/>
              <a:t> J Med </a:t>
            </a:r>
            <a:r>
              <a:rPr lang="en-GB" noProof="0"/>
              <a:t>2020;383:1413–1424; </a:t>
            </a:r>
            <a:r>
              <a:rPr lang="en-GB" b="1" noProof="0"/>
              <a:t>6. </a:t>
            </a:r>
            <a:r>
              <a:rPr lang="en-GB" noProof="0" err="1"/>
              <a:t>Teerlink</a:t>
            </a:r>
            <a:r>
              <a:rPr lang="en-GB" noProof="0"/>
              <a:t> JR </a:t>
            </a:r>
            <a:r>
              <a:rPr lang="en-GB" i="1" noProof="0"/>
              <a:t>et al. </a:t>
            </a:r>
            <a:r>
              <a:rPr lang="en-GB" i="1" noProof="0" err="1"/>
              <a:t>Eur</a:t>
            </a:r>
            <a:r>
              <a:rPr lang="en-GB" i="1" noProof="0"/>
              <a:t> J Heart Fail </a:t>
            </a:r>
            <a:r>
              <a:rPr lang="en-GB" noProof="0"/>
              <a:t>2021;384:105–116.</a:t>
            </a:r>
          </a:p>
        </p:txBody>
      </p:sp>
      <p:sp>
        <p:nvSpPr>
          <p:cNvPr id="9" name="Isosceles Triangle 8">
            <a:extLst>
              <a:ext uri="{FF2B5EF4-FFF2-40B4-BE49-F238E27FC236}">
                <a16:creationId xmlns:a16="http://schemas.microsoft.com/office/drawing/2014/main" id="{E3C5639B-322E-44F7-986F-37FC8F2F7CA7}"/>
              </a:ext>
            </a:extLst>
          </p:cNvPr>
          <p:cNvSpPr/>
          <p:nvPr/>
        </p:nvSpPr>
        <p:spPr>
          <a:xfrm rot="10800000">
            <a:off x="812059" y="4211191"/>
            <a:ext cx="1729381"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Isosceles Triangle 9">
            <a:extLst>
              <a:ext uri="{FF2B5EF4-FFF2-40B4-BE49-F238E27FC236}">
                <a16:creationId xmlns:a16="http://schemas.microsoft.com/office/drawing/2014/main" id="{C466C762-5FD2-42D4-B056-939EBA950C98}"/>
              </a:ext>
            </a:extLst>
          </p:cNvPr>
          <p:cNvSpPr/>
          <p:nvPr/>
        </p:nvSpPr>
        <p:spPr>
          <a:xfrm rot="10800000">
            <a:off x="2747293" y="4211191"/>
            <a:ext cx="1729381"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Isosceles Triangle 10">
            <a:extLst>
              <a:ext uri="{FF2B5EF4-FFF2-40B4-BE49-F238E27FC236}">
                <a16:creationId xmlns:a16="http://schemas.microsoft.com/office/drawing/2014/main" id="{28422D78-6CDB-4B83-B002-63E81EA93794}"/>
              </a:ext>
            </a:extLst>
          </p:cNvPr>
          <p:cNvSpPr/>
          <p:nvPr/>
        </p:nvSpPr>
        <p:spPr>
          <a:xfrm rot="10800000">
            <a:off x="4682527" y="4211190"/>
            <a:ext cx="1832437"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539E24B6-BED7-49B9-853E-34B52B912F3D}"/>
              </a:ext>
            </a:extLst>
          </p:cNvPr>
          <p:cNvSpPr/>
          <p:nvPr/>
        </p:nvSpPr>
        <p:spPr>
          <a:xfrm>
            <a:off x="800502" y="1931708"/>
            <a:ext cx="1780614"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4" name="Rectangle 13">
            <a:extLst>
              <a:ext uri="{FF2B5EF4-FFF2-40B4-BE49-F238E27FC236}">
                <a16:creationId xmlns:a16="http://schemas.microsoft.com/office/drawing/2014/main" id="{64335250-B369-4C0C-8968-6FA1B25EACAF}"/>
              </a:ext>
            </a:extLst>
          </p:cNvPr>
          <p:cNvSpPr/>
          <p:nvPr/>
        </p:nvSpPr>
        <p:spPr>
          <a:xfrm>
            <a:off x="4743172" y="1931708"/>
            <a:ext cx="1782000"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5" name="Rectangle 14">
            <a:extLst>
              <a:ext uri="{FF2B5EF4-FFF2-40B4-BE49-F238E27FC236}">
                <a16:creationId xmlns:a16="http://schemas.microsoft.com/office/drawing/2014/main" id="{CF9898C5-42A3-48E1-9B12-6564BA8959BD}"/>
              </a:ext>
            </a:extLst>
          </p:cNvPr>
          <p:cNvSpPr/>
          <p:nvPr/>
        </p:nvSpPr>
        <p:spPr>
          <a:xfrm>
            <a:off x="6715200" y="1931708"/>
            <a:ext cx="1757245" cy="2171791"/>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7" name="Rectangle 16">
            <a:extLst>
              <a:ext uri="{FF2B5EF4-FFF2-40B4-BE49-F238E27FC236}">
                <a16:creationId xmlns:a16="http://schemas.microsoft.com/office/drawing/2014/main" id="{4DBDCA82-AB8E-475C-B9AE-0F5ADE8558EC}"/>
              </a:ext>
            </a:extLst>
          </p:cNvPr>
          <p:cNvSpPr/>
          <p:nvPr/>
        </p:nvSpPr>
        <p:spPr>
          <a:xfrm>
            <a:off x="2755196" y="1931708"/>
            <a:ext cx="1782000"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8" name="Arrow: Down 17">
            <a:extLst>
              <a:ext uri="{FF2B5EF4-FFF2-40B4-BE49-F238E27FC236}">
                <a16:creationId xmlns:a16="http://schemas.microsoft.com/office/drawing/2014/main" id="{3369EFD2-C77C-4342-BD29-32692F27CCA8}"/>
              </a:ext>
            </a:extLst>
          </p:cNvPr>
          <p:cNvSpPr/>
          <p:nvPr/>
        </p:nvSpPr>
        <p:spPr>
          <a:xfrm>
            <a:off x="647257" y="1942036"/>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19" name="Arrow: Down 18">
            <a:extLst>
              <a:ext uri="{FF2B5EF4-FFF2-40B4-BE49-F238E27FC236}">
                <a16:creationId xmlns:a16="http://schemas.microsoft.com/office/drawing/2014/main" id="{AFB7E859-B653-4AAD-A5E4-36E7A35509C2}"/>
              </a:ext>
            </a:extLst>
          </p:cNvPr>
          <p:cNvSpPr/>
          <p:nvPr/>
        </p:nvSpPr>
        <p:spPr>
          <a:xfrm>
            <a:off x="2599519" y="1931708"/>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20" name="Arrow: Down 19">
            <a:extLst>
              <a:ext uri="{FF2B5EF4-FFF2-40B4-BE49-F238E27FC236}">
                <a16:creationId xmlns:a16="http://schemas.microsoft.com/office/drawing/2014/main" id="{24A80EBC-17DE-4363-B678-01647EFA2739}"/>
              </a:ext>
            </a:extLst>
          </p:cNvPr>
          <p:cNvSpPr/>
          <p:nvPr/>
        </p:nvSpPr>
        <p:spPr>
          <a:xfrm>
            <a:off x="4575039" y="1931708"/>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21" name="Arrow: Down 20">
            <a:extLst>
              <a:ext uri="{FF2B5EF4-FFF2-40B4-BE49-F238E27FC236}">
                <a16:creationId xmlns:a16="http://schemas.microsoft.com/office/drawing/2014/main" id="{898BC39C-5F86-4531-A0E3-E1AEC786F271}"/>
              </a:ext>
            </a:extLst>
          </p:cNvPr>
          <p:cNvSpPr/>
          <p:nvPr/>
        </p:nvSpPr>
        <p:spPr>
          <a:xfrm>
            <a:off x="6541662" y="1931708"/>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S PGothic" charset="0"/>
              <a:cs typeface="+mn-cs"/>
            </a:endParaRPr>
          </a:p>
        </p:txBody>
      </p:sp>
      <p:sp>
        <p:nvSpPr>
          <p:cNvPr id="23" name="Isosceles Triangle 22">
            <a:extLst>
              <a:ext uri="{FF2B5EF4-FFF2-40B4-BE49-F238E27FC236}">
                <a16:creationId xmlns:a16="http://schemas.microsoft.com/office/drawing/2014/main" id="{7F26B618-060C-4CF1-AC11-56181DF4C32E}"/>
              </a:ext>
            </a:extLst>
          </p:cNvPr>
          <p:cNvSpPr/>
          <p:nvPr/>
        </p:nvSpPr>
        <p:spPr>
          <a:xfrm rot="10800000">
            <a:off x="6720817" y="4211191"/>
            <a:ext cx="1832437"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21512B4-E73D-4A56-8330-E6749A55FE4B}"/>
              </a:ext>
            </a:extLst>
          </p:cNvPr>
          <p:cNvSpPr txBox="1"/>
          <p:nvPr/>
        </p:nvSpPr>
        <p:spPr>
          <a:xfrm>
            <a:off x="2735014" y="1615177"/>
            <a:ext cx="1803266" cy="333184"/>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Arial" panose="020B0604020202020204"/>
                <a:ea typeface="MS PGothic" charset="0"/>
                <a:cs typeface="+mn-cs"/>
              </a:rPr>
              <a:t>DAPA-HF</a:t>
            </a:r>
            <a:r>
              <a:rPr kumimoji="0" lang="en-GB" sz="1600" b="1" i="0" u="none" strike="noStrike" kern="0" cap="none" spc="0" normalizeH="0" baseline="30000" noProof="0">
                <a:ln>
                  <a:noFill/>
                </a:ln>
                <a:solidFill>
                  <a:srgbClr val="FFFFFF"/>
                </a:solidFill>
                <a:effectLst/>
                <a:uLnTx/>
                <a:uFillTx/>
                <a:latin typeface="Arial" panose="020B0604020202020204"/>
                <a:ea typeface="MS PGothic" charset="0"/>
                <a:cs typeface="+mn-cs"/>
              </a:rPr>
              <a:t>2,3</a:t>
            </a:r>
          </a:p>
        </p:txBody>
      </p:sp>
      <p:sp>
        <p:nvSpPr>
          <p:cNvPr id="25" name="TextBox 24">
            <a:extLst>
              <a:ext uri="{FF2B5EF4-FFF2-40B4-BE49-F238E27FC236}">
                <a16:creationId xmlns:a16="http://schemas.microsoft.com/office/drawing/2014/main" id="{D48D363D-8830-46C0-BE90-825BE2FCDCF1}"/>
              </a:ext>
            </a:extLst>
          </p:cNvPr>
          <p:cNvSpPr txBox="1"/>
          <p:nvPr/>
        </p:nvSpPr>
        <p:spPr>
          <a:xfrm>
            <a:off x="4707044" y="1615177"/>
            <a:ext cx="1803266" cy="333184"/>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S PGothic" charset="0"/>
                <a:cs typeface="+mn-cs"/>
              </a:rPr>
              <a:t>VICTORIA</a:t>
            </a:r>
            <a:r>
              <a:rPr kumimoji="0" lang="en-GB" sz="1600" b="1" i="0" u="none" strike="noStrike" kern="1200" cap="none" spc="0" normalizeH="0" baseline="30000" noProof="0">
                <a:ln>
                  <a:noFill/>
                </a:ln>
                <a:solidFill>
                  <a:srgbClr val="FFFFFF"/>
                </a:solidFill>
                <a:effectLst/>
                <a:uLnTx/>
                <a:uFillTx/>
                <a:latin typeface="Arial" panose="020B0604020202020204"/>
                <a:ea typeface="MS PGothic" charset="0"/>
                <a:cs typeface="+mn-cs"/>
              </a:rPr>
              <a:t>2,4</a:t>
            </a:r>
          </a:p>
        </p:txBody>
      </p:sp>
      <p:sp>
        <p:nvSpPr>
          <p:cNvPr id="26" name="TextBox 25">
            <a:extLst>
              <a:ext uri="{FF2B5EF4-FFF2-40B4-BE49-F238E27FC236}">
                <a16:creationId xmlns:a16="http://schemas.microsoft.com/office/drawing/2014/main" id="{146B0781-43B4-4646-B800-0B6738B02408}"/>
              </a:ext>
            </a:extLst>
          </p:cNvPr>
          <p:cNvSpPr txBox="1"/>
          <p:nvPr/>
        </p:nvSpPr>
        <p:spPr>
          <a:xfrm>
            <a:off x="6673124" y="1615177"/>
            <a:ext cx="1803266" cy="333184"/>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S PGothic" charset="0"/>
                <a:cs typeface="+mn-cs"/>
              </a:rPr>
              <a:t>EMPEROR-Reduced</a:t>
            </a:r>
            <a:r>
              <a:rPr kumimoji="0" lang="en-GB" sz="1200" b="1" i="0" u="none" strike="noStrike" kern="1200" cap="none" spc="0" normalizeH="0" baseline="30000" noProof="0">
                <a:ln>
                  <a:noFill/>
                </a:ln>
                <a:solidFill>
                  <a:srgbClr val="FFFFFF"/>
                </a:solidFill>
                <a:effectLst/>
                <a:uLnTx/>
                <a:uFillTx/>
                <a:latin typeface="Arial" panose="020B0604020202020204"/>
                <a:ea typeface="MS PGothic" charset="0"/>
                <a:cs typeface="+mn-cs"/>
              </a:rPr>
              <a:t>2,5</a:t>
            </a:r>
          </a:p>
        </p:txBody>
      </p:sp>
      <p:sp>
        <p:nvSpPr>
          <p:cNvPr id="28" name="TextBox 27">
            <a:extLst>
              <a:ext uri="{FF2B5EF4-FFF2-40B4-BE49-F238E27FC236}">
                <a16:creationId xmlns:a16="http://schemas.microsoft.com/office/drawing/2014/main" id="{71702241-87D3-4913-B204-0FAD96353CB9}"/>
              </a:ext>
            </a:extLst>
          </p:cNvPr>
          <p:cNvSpPr txBox="1"/>
          <p:nvPr/>
        </p:nvSpPr>
        <p:spPr>
          <a:xfrm>
            <a:off x="783135" y="1615177"/>
            <a:ext cx="1803266" cy="333184"/>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500" b="1" i="0" u="none" strike="noStrike" kern="0" cap="none" spc="0" normalizeH="0" baseline="0" noProof="0">
                <a:ln>
                  <a:noFill/>
                </a:ln>
                <a:solidFill>
                  <a:srgbClr val="FFFFFF"/>
                </a:solidFill>
                <a:effectLst/>
                <a:uLnTx/>
                <a:uFillTx/>
                <a:latin typeface="Arial" panose="020B0604020202020204"/>
                <a:ea typeface="MS PGothic" charset="0"/>
                <a:cs typeface="+mn-cs"/>
              </a:rPr>
              <a:t>PARADIGM-HF</a:t>
            </a:r>
            <a:r>
              <a:rPr kumimoji="0" lang="en-GB" sz="1500" b="1" i="0" u="none" strike="noStrike" kern="0" cap="none" spc="0" normalizeH="0" baseline="30000" noProof="0">
                <a:ln>
                  <a:noFill/>
                </a:ln>
                <a:solidFill>
                  <a:srgbClr val="FFFFFF"/>
                </a:solidFill>
                <a:effectLst/>
                <a:uLnTx/>
                <a:uFillTx/>
                <a:latin typeface="Arial" panose="020B0604020202020204"/>
                <a:ea typeface="MS PGothic" charset="0"/>
                <a:cs typeface="+mn-cs"/>
              </a:rPr>
              <a:t>1,2</a:t>
            </a:r>
          </a:p>
        </p:txBody>
      </p:sp>
      <p:sp>
        <p:nvSpPr>
          <p:cNvPr id="30" name="TextBox 29">
            <a:extLst>
              <a:ext uri="{FF2B5EF4-FFF2-40B4-BE49-F238E27FC236}">
                <a16:creationId xmlns:a16="http://schemas.microsoft.com/office/drawing/2014/main" id="{CF31AC1A-78C0-4E07-986A-29A00F8FA38E}"/>
              </a:ext>
            </a:extLst>
          </p:cNvPr>
          <p:cNvSpPr txBox="1"/>
          <p:nvPr/>
        </p:nvSpPr>
        <p:spPr>
          <a:xfrm>
            <a:off x="6910647" y="1998719"/>
            <a:ext cx="1497872" cy="1816516"/>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t>Primary outcome:</a:t>
            </a:r>
            <a:b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br>
            <a:r>
              <a:rPr kumimoji="0" lang="en-GB" sz="1200" b="0" i="0" u="none" strike="noStrike" kern="1200" cap="none" spc="0" normalizeH="0" baseline="0" noProof="0">
                <a:ln>
                  <a:noFill/>
                </a:ln>
                <a:solidFill>
                  <a:srgbClr val="000000"/>
                </a:solidFill>
                <a:effectLst/>
                <a:uLnTx/>
                <a:uFillTx/>
                <a:latin typeface="Arial" panose="020B0604020202020204"/>
                <a:ea typeface="MS PGothic" charset="0"/>
                <a:cs typeface="+mn-cs"/>
              </a:rPr>
              <a:t>First HFH or CV death</a:t>
            </a:r>
          </a:p>
          <a:p>
            <a:pPr marL="0" marR="0" lvl="0" indent="0" algn="l" defTabSz="609585" rtl="0" eaLnBrk="0" fontAlgn="base" latinLnBrk="0" hangingPunct="0">
              <a:lnSpc>
                <a:spcPct val="100000"/>
              </a:lnSpc>
              <a:spcBef>
                <a:spcPts val="600"/>
              </a:spcBef>
              <a:spcAft>
                <a:spcPct val="0"/>
              </a:spcAft>
              <a:buClrTx/>
              <a:buSzTx/>
              <a:buFontTx/>
              <a:buNone/>
              <a:tabLst/>
              <a:defRPr/>
            </a:pPr>
            <a:endParaRPr kumimoji="0" lang="en-GB" sz="1350" b="0" i="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sp>
        <p:nvSpPr>
          <p:cNvPr id="31" name="TextBox 30">
            <a:extLst>
              <a:ext uri="{FF2B5EF4-FFF2-40B4-BE49-F238E27FC236}">
                <a16:creationId xmlns:a16="http://schemas.microsoft.com/office/drawing/2014/main" id="{2A3B9AB6-A825-49A9-8571-A2437C9D3FA7}"/>
              </a:ext>
            </a:extLst>
          </p:cNvPr>
          <p:cNvSpPr txBox="1"/>
          <p:nvPr/>
        </p:nvSpPr>
        <p:spPr>
          <a:xfrm>
            <a:off x="4945384" y="1998719"/>
            <a:ext cx="149787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t>Primary outcome:</a:t>
            </a:r>
            <a:b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br>
            <a:r>
              <a:rPr kumimoji="0" lang="en-GB" sz="1200" b="0" i="0" u="none" strike="noStrike" kern="1200" cap="none" spc="0" normalizeH="0" baseline="0" noProof="0">
                <a:ln>
                  <a:noFill/>
                </a:ln>
                <a:solidFill>
                  <a:srgbClr val="000000"/>
                </a:solidFill>
                <a:effectLst/>
                <a:uLnTx/>
                <a:uFillTx/>
                <a:latin typeface="Arial" panose="020B0604020202020204"/>
                <a:ea typeface="MS PGothic" charset="0"/>
                <a:cs typeface="+mn-cs"/>
              </a:rPr>
              <a:t>First HFH or CV death</a:t>
            </a:r>
            <a:endParaRPr kumimoji="0" lang="en-GB" sz="1350" b="0" i="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sp>
        <p:nvSpPr>
          <p:cNvPr id="32" name="TextBox 31">
            <a:extLst>
              <a:ext uri="{FF2B5EF4-FFF2-40B4-BE49-F238E27FC236}">
                <a16:creationId xmlns:a16="http://schemas.microsoft.com/office/drawing/2014/main" id="{34EAC68A-0342-44C3-B8DB-59F0F433E129}"/>
              </a:ext>
            </a:extLst>
          </p:cNvPr>
          <p:cNvSpPr txBox="1"/>
          <p:nvPr/>
        </p:nvSpPr>
        <p:spPr>
          <a:xfrm>
            <a:off x="2993938" y="1998719"/>
            <a:ext cx="149787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t>Primary outcome:</a:t>
            </a:r>
            <a:b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br>
            <a:r>
              <a:rPr kumimoji="0" lang="en-GB" sz="1200" b="0" i="0" u="none" strike="noStrike" kern="1200" cap="none" spc="0" normalizeH="0" baseline="0" noProof="0">
                <a:ln>
                  <a:noFill/>
                </a:ln>
                <a:solidFill>
                  <a:srgbClr val="000000"/>
                </a:solidFill>
                <a:effectLst/>
                <a:uLnTx/>
                <a:uFillTx/>
                <a:latin typeface="Arial" panose="020B0604020202020204"/>
                <a:ea typeface="MS PGothic" charset="0"/>
                <a:cs typeface="+mn-cs"/>
              </a:rPr>
              <a:t>Worsening HF (unplanned hospitalization/ urgent visit resulting in IV therapy for HF) or CV death</a:t>
            </a:r>
            <a:endParaRPr kumimoji="0" lang="en-GB" sz="1350" b="0" i="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sp>
        <p:nvSpPr>
          <p:cNvPr id="33" name="TextBox 32">
            <a:extLst>
              <a:ext uri="{FF2B5EF4-FFF2-40B4-BE49-F238E27FC236}">
                <a16:creationId xmlns:a16="http://schemas.microsoft.com/office/drawing/2014/main" id="{9D7B6A79-A91B-414E-AF71-27B6B0F16558}"/>
              </a:ext>
            </a:extLst>
          </p:cNvPr>
          <p:cNvSpPr txBox="1"/>
          <p:nvPr/>
        </p:nvSpPr>
        <p:spPr>
          <a:xfrm>
            <a:off x="1001956" y="1998719"/>
            <a:ext cx="149787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t>Primary outcome:</a:t>
            </a:r>
            <a:br>
              <a:rPr kumimoji="0" lang="en-GB" sz="1200" b="1" i="0" u="none" strike="noStrike" kern="1200" cap="none" spc="0" normalizeH="0" baseline="0" noProof="0">
                <a:ln>
                  <a:noFill/>
                </a:ln>
                <a:solidFill>
                  <a:schemeClr val="accent4"/>
                </a:solidFill>
                <a:effectLst/>
                <a:uLnTx/>
                <a:uFillTx/>
                <a:latin typeface="Arial" panose="020B0604020202020204"/>
                <a:ea typeface="MS PGothic" charset="0"/>
                <a:cs typeface="+mn-cs"/>
              </a:rPr>
            </a:br>
            <a:r>
              <a:rPr kumimoji="0" lang="en-GB" sz="1200" b="0" i="0" u="none" strike="noStrike" kern="1200" cap="none" spc="0" normalizeH="0" baseline="0" noProof="0">
                <a:ln>
                  <a:noFill/>
                </a:ln>
                <a:solidFill>
                  <a:srgbClr val="000000"/>
                </a:solidFill>
                <a:effectLst/>
                <a:uLnTx/>
                <a:uFillTx/>
                <a:latin typeface="Arial" panose="020B0604020202020204"/>
                <a:ea typeface="MS PGothic" charset="0"/>
                <a:cs typeface="+mn-cs"/>
              </a:rPr>
              <a:t>First HFH or CV death</a:t>
            </a:r>
            <a:endParaRPr kumimoji="0" lang="en-GB" sz="1350" b="0" i="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sp>
        <p:nvSpPr>
          <p:cNvPr id="34" name="Rectangle 33">
            <a:extLst>
              <a:ext uri="{FF2B5EF4-FFF2-40B4-BE49-F238E27FC236}">
                <a16:creationId xmlns:a16="http://schemas.microsoft.com/office/drawing/2014/main" id="{F5A1DAD3-9A68-4E5B-A5B7-86F25B592A48}"/>
              </a:ext>
            </a:extLst>
          </p:cNvPr>
          <p:cNvSpPr/>
          <p:nvPr/>
        </p:nvSpPr>
        <p:spPr>
          <a:xfrm>
            <a:off x="1260645" y="3812182"/>
            <a:ext cx="992387"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a:ln>
                  <a:noFill/>
                </a:ln>
                <a:solidFill>
                  <a:schemeClr val="accent4"/>
                </a:solidFill>
                <a:effectLst/>
                <a:uLnTx/>
                <a:uFillTx/>
                <a:latin typeface="Arial" panose="020B0604020202020204"/>
                <a:ea typeface="MS PGothic" charset="0"/>
                <a:cs typeface="+mn-cs"/>
              </a:rPr>
              <a:t>LVEF ≤35%</a:t>
            </a:r>
          </a:p>
        </p:txBody>
      </p:sp>
      <p:sp>
        <p:nvSpPr>
          <p:cNvPr id="36" name="Rectangle 35">
            <a:extLst>
              <a:ext uri="{FF2B5EF4-FFF2-40B4-BE49-F238E27FC236}">
                <a16:creationId xmlns:a16="http://schemas.microsoft.com/office/drawing/2014/main" id="{CD66C1B3-A6E5-4096-8A20-E5628951AA06}"/>
              </a:ext>
            </a:extLst>
          </p:cNvPr>
          <p:cNvSpPr/>
          <p:nvPr/>
        </p:nvSpPr>
        <p:spPr>
          <a:xfrm>
            <a:off x="7206073" y="3812182"/>
            <a:ext cx="992388"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a:ln>
                  <a:noFill/>
                </a:ln>
                <a:solidFill>
                  <a:schemeClr val="accent4"/>
                </a:solidFill>
                <a:effectLst/>
                <a:uLnTx/>
                <a:uFillTx/>
                <a:latin typeface="Arial" panose="020B0604020202020204"/>
                <a:ea typeface="MS PGothic" charset="0"/>
                <a:cs typeface="+mn-cs"/>
              </a:rPr>
              <a:t>LVEF ≤40%</a:t>
            </a:r>
          </a:p>
        </p:txBody>
      </p:sp>
      <p:sp>
        <p:nvSpPr>
          <p:cNvPr id="37" name="Rectangle 36">
            <a:extLst>
              <a:ext uri="{FF2B5EF4-FFF2-40B4-BE49-F238E27FC236}">
                <a16:creationId xmlns:a16="http://schemas.microsoft.com/office/drawing/2014/main" id="{788CC301-B911-458C-B116-CB9F82A49265}"/>
              </a:ext>
            </a:extLst>
          </p:cNvPr>
          <p:cNvSpPr/>
          <p:nvPr/>
        </p:nvSpPr>
        <p:spPr>
          <a:xfrm>
            <a:off x="5252229" y="3812182"/>
            <a:ext cx="997196"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a:ln>
                  <a:noFill/>
                </a:ln>
                <a:solidFill>
                  <a:schemeClr val="accent4"/>
                </a:solidFill>
                <a:effectLst/>
                <a:uLnTx/>
                <a:uFillTx/>
                <a:latin typeface="Arial" panose="020B0604020202020204"/>
                <a:ea typeface="MS PGothic" charset="0"/>
                <a:cs typeface="+mn-cs"/>
              </a:rPr>
              <a:t>LVEF &lt;45%</a:t>
            </a:r>
          </a:p>
        </p:txBody>
      </p:sp>
      <p:sp>
        <p:nvSpPr>
          <p:cNvPr id="38" name="Rectangle 37">
            <a:extLst>
              <a:ext uri="{FF2B5EF4-FFF2-40B4-BE49-F238E27FC236}">
                <a16:creationId xmlns:a16="http://schemas.microsoft.com/office/drawing/2014/main" id="{A3AFA2DC-9374-4378-8080-3CC462B58DC7}"/>
              </a:ext>
            </a:extLst>
          </p:cNvPr>
          <p:cNvSpPr/>
          <p:nvPr/>
        </p:nvSpPr>
        <p:spPr>
          <a:xfrm>
            <a:off x="3218493" y="3812182"/>
            <a:ext cx="992388"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a:ln>
                  <a:noFill/>
                </a:ln>
                <a:solidFill>
                  <a:schemeClr val="accent4"/>
                </a:solidFill>
                <a:effectLst/>
                <a:uLnTx/>
                <a:uFillTx/>
                <a:latin typeface="Arial" panose="020B0604020202020204"/>
                <a:ea typeface="MS PGothic" charset="0"/>
                <a:cs typeface="+mn-cs"/>
              </a:rPr>
              <a:t>LVEF ≤40%</a:t>
            </a:r>
          </a:p>
        </p:txBody>
      </p:sp>
      <p:grpSp>
        <p:nvGrpSpPr>
          <p:cNvPr id="96" name="Group 95">
            <a:extLst>
              <a:ext uri="{FF2B5EF4-FFF2-40B4-BE49-F238E27FC236}">
                <a16:creationId xmlns:a16="http://schemas.microsoft.com/office/drawing/2014/main" id="{3E1D9396-19E5-459F-90F0-45418DD31BEA}"/>
              </a:ext>
            </a:extLst>
          </p:cNvPr>
          <p:cNvGrpSpPr/>
          <p:nvPr/>
        </p:nvGrpSpPr>
        <p:grpSpPr>
          <a:xfrm>
            <a:off x="696265" y="2685606"/>
            <a:ext cx="450000" cy="450000"/>
            <a:chOff x="696265" y="2685606"/>
            <a:chExt cx="450000" cy="450000"/>
          </a:xfrm>
        </p:grpSpPr>
        <p:sp>
          <p:nvSpPr>
            <p:cNvPr id="40" name="Rounded Rectangle 2">
              <a:extLst>
                <a:ext uri="{FF2B5EF4-FFF2-40B4-BE49-F238E27FC236}">
                  <a16:creationId xmlns:a16="http://schemas.microsoft.com/office/drawing/2014/main" id="{FCD3A275-3592-443C-8B3C-64049F9DF9D4}"/>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a:ln>
                  <a:noFill/>
                </a:ln>
                <a:solidFill>
                  <a:srgbClr val="FFFFFF"/>
                </a:solidFill>
                <a:effectLst/>
                <a:uLnTx/>
                <a:uFillTx/>
                <a:latin typeface="Arial" panose="020B0604020202020204"/>
                <a:ea typeface="MS PGothic" charset="0"/>
                <a:cs typeface="Arial"/>
              </a:endParaRPr>
            </a:p>
          </p:txBody>
        </p:sp>
        <p:grpSp>
          <p:nvGrpSpPr>
            <p:cNvPr id="41" name="Group 40">
              <a:extLst>
                <a:ext uri="{FF2B5EF4-FFF2-40B4-BE49-F238E27FC236}">
                  <a16:creationId xmlns:a16="http://schemas.microsoft.com/office/drawing/2014/main" id="{7F438A12-F9E0-41A2-BD84-F2791DC0D206}"/>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42" name="Freeform 51">
                <a:extLst>
                  <a:ext uri="{FF2B5EF4-FFF2-40B4-BE49-F238E27FC236}">
                    <a16:creationId xmlns:a16="http://schemas.microsoft.com/office/drawing/2014/main" id="{802C5CA7-5976-41BA-94FF-E113314A1780}"/>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43" name="Freeform 52">
                <a:extLst>
                  <a:ext uri="{FF2B5EF4-FFF2-40B4-BE49-F238E27FC236}">
                    <a16:creationId xmlns:a16="http://schemas.microsoft.com/office/drawing/2014/main" id="{7D49BD22-1431-44FD-82D9-6C96C9A80548}"/>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44" name="Freeform 53">
                <a:extLst>
                  <a:ext uri="{FF2B5EF4-FFF2-40B4-BE49-F238E27FC236}">
                    <a16:creationId xmlns:a16="http://schemas.microsoft.com/office/drawing/2014/main" id="{64D0B2D0-43DE-4014-AD6A-7C0CB735ED20}"/>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45" name="Freeform 54">
                <a:extLst>
                  <a:ext uri="{FF2B5EF4-FFF2-40B4-BE49-F238E27FC236}">
                    <a16:creationId xmlns:a16="http://schemas.microsoft.com/office/drawing/2014/main" id="{50D9819A-F979-4F64-BBB5-5C1E71BC5D1C}"/>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46" name="Freeform 55">
                <a:extLst>
                  <a:ext uri="{FF2B5EF4-FFF2-40B4-BE49-F238E27FC236}">
                    <a16:creationId xmlns:a16="http://schemas.microsoft.com/office/drawing/2014/main" id="{87F73A0F-C14A-4694-B997-86C780FF04D8}"/>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47" name="Freeform 56">
                <a:extLst>
                  <a:ext uri="{FF2B5EF4-FFF2-40B4-BE49-F238E27FC236}">
                    <a16:creationId xmlns:a16="http://schemas.microsoft.com/office/drawing/2014/main" id="{1D333144-565C-455D-8675-847F99BA3FC7}"/>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grpSp>
      </p:grpSp>
      <p:sp>
        <p:nvSpPr>
          <p:cNvPr id="48" name="TextBox 47">
            <a:extLst>
              <a:ext uri="{FF2B5EF4-FFF2-40B4-BE49-F238E27FC236}">
                <a16:creationId xmlns:a16="http://schemas.microsoft.com/office/drawing/2014/main" id="{B80CDC88-BA7E-4996-86E8-DD1583FF7045}"/>
              </a:ext>
            </a:extLst>
          </p:cNvPr>
          <p:cNvSpPr txBox="1"/>
          <p:nvPr/>
        </p:nvSpPr>
        <p:spPr>
          <a:xfrm>
            <a:off x="1233609" y="4726873"/>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ARR 2.7</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NNT=39</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RRR 20%</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p&lt;0.001</a:t>
            </a:r>
          </a:p>
        </p:txBody>
      </p:sp>
      <p:sp>
        <p:nvSpPr>
          <p:cNvPr id="49" name="TextBox 48">
            <a:extLst>
              <a:ext uri="{FF2B5EF4-FFF2-40B4-BE49-F238E27FC236}">
                <a16:creationId xmlns:a16="http://schemas.microsoft.com/office/drawing/2014/main" id="{457784C9-E831-45E2-96B2-69272BB3143C}"/>
              </a:ext>
            </a:extLst>
          </p:cNvPr>
          <p:cNvSpPr txBox="1"/>
          <p:nvPr/>
        </p:nvSpPr>
        <p:spPr>
          <a:xfrm>
            <a:off x="3188996" y="4726873"/>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ARR 4.0</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NNT=25</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RRR 26%</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p&lt;0.001</a:t>
            </a:r>
          </a:p>
          <a:p>
            <a:pPr marL="0" marR="0" lvl="0" indent="0" algn="ctr" defTabSz="609585" rtl="0" eaLnBrk="0" fontAlgn="base" latinLnBrk="0" hangingPunct="0">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endParaRPr>
          </a:p>
        </p:txBody>
      </p:sp>
      <p:sp>
        <p:nvSpPr>
          <p:cNvPr id="50" name="TextBox 49">
            <a:extLst>
              <a:ext uri="{FF2B5EF4-FFF2-40B4-BE49-F238E27FC236}">
                <a16:creationId xmlns:a16="http://schemas.microsoft.com/office/drawing/2014/main" id="{6BFAA8D9-E935-4E14-92D5-EFFF415D281F}"/>
              </a:ext>
            </a:extLst>
          </p:cNvPr>
          <p:cNvSpPr txBox="1"/>
          <p:nvPr/>
        </p:nvSpPr>
        <p:spPr>
          <a:xfrm>
            <a:off x="5176972" y="4726873"/>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ARR 4.2</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NNT=24</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RRR 10%</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p=0.02</a:t>
            </a:r>
          </a:p>
        </p:txBody>
      </p:sp>
      <p:sp>
        <p:nvSpPr>
          <p:cNvPr id="51" name="TextBox 50">
            <a:extLst>
              <a:ext uri="{FF2B5EF4-FFF2-40B4-BE49-F238E27FC236}">
                <a16:creationId xmlns:a16="http://schemas.microsoft.com/office/drawing/2014/main" id="{CC954E9E-6F62-4FB2-AC90-ECFE05C81E11}"/>
              </a:ext>
            </a:extLst>
          </p:cNvPr>
          <p:cNvSpPr txBox="1"/>
          <p:nvPr/>
        </p:nvSpPr>
        <p:spPr>
          <a:xfrm>
            <a:off x="7136622" y="4726873"/>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ARR 5.2</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a:ln>
                  <a:noFill/>
                </a:ln>
                <a:solidFill>
                  <a:schemeClr val="accent4"/>
                </a:solidFill>
                <a:effectLst/>
                <a:uLnTx/>
                <a:uFillTx/>
                <a:latin typeface="Arial" panose="020B0604020202020204"/>
                <a:ea typeface="MS PGothic" charset="0"/>
                <a:cs typeface="+mn-cs"/>
              </a:rPr>
              <a:t>NNT=19</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RRR 25%</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rPr>
              <a:t>p&lt;0.001</a:t>
            </a:r>
          </a:p>
          <a:p>
            <a:pPr marL="0" marR="0" lvl="0" indent="0" algn="ctr" defTabSz="609585" rtl="0" eaLnBrk="0" fontAlgn="base" latinLnBrk="0" hangingPunct="0">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chemeClr val="accent4"/>
              </a:solidFill>
              <a:effectLst/>
              <a:uLnTx/>
              <a:uFillTx/>
              <a:latin typeface="Arial" panose="020B0604020202020204"/>
              <a:ea typeface="MS PGothic" charset="0"/>
              <a:cs typeface="+mn-cs"/>
            </a:endParaRPr>
          </a:p>
        </p:txBody>
      </p:sp>
      <p:sp>
        <p:nvSpPr>
          <p:cNvPr id="53" name="Rectangle 52">
            <a:extLst>
              <a:ext uri="{FF2B5EF4-FFF2-40B4-BE49-F238E27FC236}">
                <a16:creationId xmlns:a16="http://schemas.microsoft.com/office/drawing/2014/main" id="{DB89223D-7553-4A5A-B3E1-721D05A43EE8}"/>
              </a:ext>
            </a:extLst>
          </p:cNvPr>
          <p:cNvSpPr/>
          <p:nvPr/>
        </p:nvSpPr>
        <p:spPr>
          <a:xfrm>
            <a:off x="4570884" y="1286536"/>
            <a:ext cx="1980000" cy="466274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0" name="TextBox 89">
            <a:extLst>
              <a:ext uri="{FF2B5EF4-FFF2-40B4-BE49-F238E27FC236}">
                <a16:creationId xmlns:a16="http://schemas.microsoft.com/office/drawing/2014/main" id="{7741F614-82BD-4A5A-B883-35537AC836BE}"/>
              </a:ext>
            </a:extLst>
          </p:cNvPr>
          <p:cNvSpPr txBox="1"/>
          <p:nvPr/>
        </p:nvSpPr>
        <p:spPr>
          <a:xfrm>
            <a:off x="1389613" y="128653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5"/>
                </a:solidFill>
                <a:effectLst/>
                <a:uLnTx/>
                <a:uFillTx/>
                <a:latin typeface="Arial"/>
                <a:ea typeface="+mn-ea"/>
                <a:cs typeface="+mn-cs"/>
              </a:rPr>
              <a:t>2014</a:t>
            </a:r>
          </a:p>
        </p:txBody>
      </p:sp>
      <p:sp>
        <p:nvSpPr>
          <p:cNvPr id="91" name="TextBox 90">
            <a:extLst>
              <a:ext uri="{FF2B5EF4-FFF2-40B4-BE49-F238E27FC236}">
                <a16:creationId xmlns:a16="http://schemas.microsoft.com/office/drawing/2014/main" id="{914C9BB8-94E2-46DB-878E-07BE922E1731}"/>
              </a:ext>
            </a:extLst>
          </p:cNvPr>
          <p:cNvSpPr txBox="1"/>
          <p:nvPr/>
        </p:nvSpPr>
        <p:spPr>
          <a:xfrm>
            <a:off x="3350243" y="128653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5"/>
                </a:solidFill>
                <a:effectLst/>
                <a:uLnTx/>
                <a:uFillTx/>
                <a:latin typeface="Arial"/>
                <a:ea typeface="+mn-ea"/>
                <a:cs typeface="+mn-cs"/>
              </a:rPr>
              <a:t>2019</a:t>
            </a:r>
          </a:p>
        </p:txBody>
      </p:sp>
      <p:sp>
        <p:nvSpPr>
          <p:cNvPr id="92" name="TextBox 91">
            <a:extLst>
              <a:ext uri="{FF2B5EF4-FFF2-40B4-BE49-F238E27FC236}">
                <a16:creationId xmlns:a16="http://schemas.microsoft.com/office/drawing/2014/main" id="{4BD392CA-9AB0-4028-8CA2-4676068DDF27}"/>
              </a:ext>
            </a:extLst>
          </p:cNvPr>
          <p:cNvSpPr txBox="1"/>
          <p:nvPr/>
        </p:nvSpPr>
        <p:spPr>
          <a:xfrm>
            <a:off x="5275314" y="128653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5"/>
                </a:solidFill>
                <a:effectLst/>
                <a:uLnTx/>
                <a:uFillTx/>
                <a:latin typeface="Arial"/>
                <a:ea typeface="+mn-ea"/>
                <a:cs typeface="+mn-cs"/>
              </a:rPr>
              <a:t>2020</a:t>
            </a:r>
          </a:p>
        </p:txBody>
      </p:sp>
      <p:sp>
        <p:nvSpPr>
          <p:cNvPr id="93" name="TextBox 92">
            <a:extLst>
              <a:ext uri="{FF2B5EF4-FFF2-40B4-BE49-F238E27FC236}">
                <a16:creationId xmlns:a16="http://schemas.microsoft.com/office/drawing/2014/main" id="{1EA4E11E-DC28-4C02-95D7-D0824915A8EF}"/>
              </a:ext>
            </a:extLst>
          </p:cNvPr>
          <p:cNvSpPr txBox="1"/>
          <p:nvPr/>
        </p:nvSpPr>
        <p:spPr>
          <a:xfrm>
            <a:off x="7286745" y="128653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5"/>
                </a:solidFill>
                <a:effectLst/>
                <a:uLnTx/>
                <a:uFillTx/>
                <a:latin typeface="Arial"/>
                <a:ea typeface="+mn-ea"/>
                <a:cs typeface="+mn-cs"/>
              </a:rPr>
              <a:t>2020</a:t>
            </a:r>
          </a:p>
        </p:txBody>
      </p:sp>
      <p:grpSp>
        <p:nvGrpSpPr>
          <p:cNvPr id="97" name="Group 96">
            <a:extLst>
              <a:ext uri="{FF2B5EF4-FFF2-40B4-BE49-F238E27FC236}">
                <a16:creationId xmlns:a16="http://schemas.microsoft.com/office/drawing/2014/main" id="{5F5C9D71-E99B-4C06-96B3-5F02AEECFE8D}"/>
              </a:ext>
            </a:extLst>
          </p:cNvPr>
          <p:cNvGrpSpPr/>
          <p:nvPr/>
        </p:nvGrpSpPr>
        <p:grpSpPr>
          <a:xfrm>
            <a:off x="2659172" y="2685606"/>
            <a:ext cx="450000" cy="450000"/>
            <a:chOff x="696265" y="2685606"/>
            <a:chExt cx="450000" cy="450000"/>
          </a:xfrm>
        </p:grpSpPr>
        <p:sp>
          <p:nvSpPr>
            <p:cNvPr id="98" name="Rounded Rectangle 2">
              <a:extLst>
                <a:ext uri="{FF2B5EF4-FFF2-40B4-BE49-F238E27FC236}">
                  <a16:creationId xmlns:a16="http://schemas.microsoft.com/office/drawing/2014/main" id="{9A7D0CDC-D610-4DC6-B9FE-BB010019A100}"/>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a:ln>
                  <a:noFill/>
                </a:ln>
                <a:solidFill>
                  <a:srgbClr val="FFFFFF"/>
                </a:solidFill>
                <a:effectLst/>
                <a:uLnTx/>
                <a:uFillTx/>
                <a:latin typeface="Arial" panose="020B0604020202020204"/>
                <a:ea typeface="MS PGothic" charset="0"/>
                <a:cs typeface="Arial"/>
              </a:endParaRPr>
            </a:p>
          </p:txBody>
        </p:sp>
        <p:grpSp>
          <p:nvGrpSpPr>
            <p:cNvPr id="99" name="Group 98">
              <a:extLst>
                <a:ext uri="{FF2B5EF4-FFF2-40B4-BE49-F238E27FC236}">
                  <a16:creationId xmlns:a16="http://schemas.microsoft.com/office/drawing/2014/main" id="{3CB34A9D-EDB8-4018-B320-EFBD29F026BD}"/>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00" name="Freeform 51">
                <a:extLst>
                  <a:ext uri="{FF2B5EF4-FFF2-40B4-BE49-F238E27FC236}">
                    <a16:creationId xmlns:a16="http://schemas.microsoft.com/office/drawing/2014/main" id="{C7DB5A4F-846E-4878-A764-8C3E6F1D9710}"/>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01" name="Freeform 52">
                <a:extLst>
                  <a:ext uri="{FF2B5EF4-FFF2-40B4-BE49-F238E27FC236}">
                    <a16:creationId xmlns:a16="http://schemas.microsoft.com/office/drawing/2014/main" id="{3BDEDF16-F444-4CF5-9985-6F726D42E2D5}"/>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02" name="Freeform 53">
                <a:extLst>
                  <a:ext uri="{FF2B5EF4-FFF2-40B4-BE49-F238E27FC236}">
                    <a16:creationId xmlns:a16="http://schemas.microsoft.com/office/drawing/2014/main" id="{C86F01D3-621F-46F1-8C9E-BA62AA496459}"/>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03" name="Freeform 54">
                <a:extLst>
                  <a:ext uri="{FF2B5EF4-FFF2-40B4-BE49-F238E27FC236}">
                    <a16:creationId xmlns:a16="http://schemas.microsoft.com/office/drawing/2014/main" id="{EA995DDC-A0B4-487D-A9D6-9D9E3256116D}"/>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04" name="Freeform 55">
                <a:extLst>
                  <a:ext uri="{FF2B5EF4-FFF2-40B4-BE49-F238E27FC236}">
                    <a16:creationId xmlns:a16="http://schemas.microsoft.com/office/drawing/2014/main" id="{9D50D008-9A59-4C38-ADF4-0C438D77CEF7}"/>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05" name="Freeform 56">
                <a:extLst>
                  <a:ext uri="{FF2B5EF4-FFF2-40B4-BE49-F238E27FC236}">
                    <a16:creationId xmlns:a16="http://schemas.microsoft.com/office/drawing/2014/main" id="{7DBAC783-5EE3-428A-8D14-61FCD9A32503}"/>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grpSp>
      </p:grpSp>
      <p:grpSp>
        <p:nvGrpSpPr>
          <p:cNvPr id="106" name="Group 105">
            <a:extLst>
              <a:ext uri="{FF2B5EF4-FFF2-40B4-BE49-F238E27FC236}">
                <a16:creationId xmlns:a16="http://schemas.microsoft.com/office/drawing/2014/main" id="{4F5E8739-6797-4781-80C5-2F47DE33AF36}"/>
              </a:ext>
            </a:extLst>
          </p:cNvPr>
          <p:cNvGrpSpPr/>
          <p:nvPr/>
        </p:nvGrpSpPr>
        <p:grpSpPr>
          <a:xfrm>
            <a:off x="4622079" y="2685606"/>
            <a:ext cx="450000" cy="450000"/>
            <a:chOff x="696265" y="2685606"/>
            <a:chExt cx="450000" cy="450000"/>
          </a:xfrm>
        </p:grpSpPr>
        <p:sp>
          <p:nvSpPr>
            <p:cNvPr id="107" name="Rounded Rectangle 2">
              <a:extLst>
                <a:ext uri="{FF2B5EF4-FFF2-40B4-BE49-F238E27FC236}">
                  <a16:creationId xmlns:a16="http://schemas.microsoft.com/office/drawing/2014/main" id="{59F6615A-ACC4-4742-8B83-F211B0F25DF2}"/>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a:ln>
                  <a:noFill/>
                </a:ln>
                <a:solidFill>
                  <a:srgbClr val="FFFFFF"/>
                </a:solidFill>
                <a:effectLst/>
                <a:uLnTx/>
                <a:uFillTx/>
                <a:latin typeface="Arial" panose="020B0604020202020204"/>
                <a:ea typeface="MS PGothic" charset="0"/>
                <a:cs typeface="Arial"/>
              </a:endParaRPr>
            </a:p>
          </p:txBody>
        </p:sp>
        <p:grpSp>
          <p:nvGrpSpPr>
            <p:cNvPr id="108" name="Group 107">
              <a:extLst>
                <a:ext uri="{FF2B5EF4-FFF2-40B4-BE49-F238E27FC236}">
                  <a16:creationId xmlns:a16="http://schemas.microsoft.com/office/drawing/2014/main" id="{99D99E05-D352-4081-9F93-DA07D2826C79}"/>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09" name="Freeform 51">
                <a:extLst>
                  <a:ext uri="{FF2B5EF4-FFF2-40B4-BE49-F238E27FC236}">
                    <a16:creationId xmlns:a16="http://schemas.microsoft.com/office/drawing/2014/main" id="{6D4F0904-4418-413D-9B19-115C02B19DE2}"/>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0" name="Freeform 52">
                <a:extLst>
                  <a:ext uri="{FF2B5EF4-FFF2-40B4-BE49-F238E27FC236}">
                    <a16:creationId xmlns:a16="http://schemas.microsoft.com/office/drawing/2014/main" id="{D54927CC-D862-47C5-ADAC-292B59184CB7}"/>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1" name="Freeform 53">
                <a:extLst>
                  <a:ext uri="{FF2B5EF4-FFF2-40B4-BE49-F238E27FC236}">
                    <a16:creationId xmlns:a16="http://schemas.microsoft.com/office/drawing/2014/main" id="{3F99DD8D-8976-445D-B46D-EFFBA3005738}"/>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2" name="Freeform 54">
                <a:extLst>
                  <a:ext uri="{FF2B5EF4-FFF2-40B4-BE49-F238E27FC236}">
                    <a16:creationId xmlns:a16="http://schemas.microsoft.com/office/drawing/2014/main" id="{E21B0039-4079-488E-AB30-175E117C9581}"/>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3" name="Freeform 55">
                <a:extLst>
                  <a:ext uri="{FF2B5EF4-FFF2-40B4-BE49-F238E27FC236}">
                    <a16:creationId xmlns:a16="http://schemas.microsoft.com/office/drawing/2014/main" id="{751FBC01-7669-4F48-A538-4DCA0DF9D37F}"/>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4" name="Freeform 56">
                <a:extLst>
                  <a:ext uri="{FF2B5EF4-FFF2-40B4-BE49-F238E27FC236}">
                    <a16:creationId xmlns:a16="http://schemas.microsoft.com/office/drawing/2014/main" id="{C9441B18-679B-47C7-B128-ECC4182935C7}"/>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grpSp>
      </p:grpSp>
      <p:grpSp>
        <p:nvGrpSpPr>
          <p:cNvPr id="115" name="Group 114">
            <a:extLst>
              <a:ext uri="{FF2B5EF4-FFF2-40B4-BE49-F238E27FC236}">
                <a16:creationId xmlns:a16="http://schemas.microsoft.com/office/drawing/2014/main" id="{A46EDF6F-8E8E-48DA-AE48-E1C8F34573FC}"/>
              </a:ext>
            </a:extLst>
          </p:cNvPr>
          <p:cNvGrpSpPr/>
          <p:nvPr/>
        </p:nvGrpSpPr>
        <p:grpSpPr>
          <a:xfrm>
            <a:off x="6584986" y="2685606"/>
            <a:ext cx="450000" cy="450000"/>
            <a:chOff x="696265" y="2685606"/>
            <a:chExt cx="450000" cy="450000"/>
          </a:xfrm>
        </p:grpSpPr>
        <p:sp>
          <p:nvSpPr>
            <p:cNvPr id="116" name="Rounded Rectangle 2">
              <a:extLst>
                <a:ext uri="{FF2B5EF4-FFF2-40B4-BE49-F238E27FC236}">
                  <a16:creationId xmlns:a16="http://schemas.microsoft.com/office/drawing/2014/main" id="{44C6B45D-A7BA-4FA0-AB48-9E1408BB994D}"/>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a:ln>
                  <a:noFill/>
                </a:ln>
                <a:solidFill>
                  <a:srgbClr val="FFFFFF"/>
                </a:solidFill>
                <a:effectLst/>
                <a:uLnTx/>
                <a:uFillTx/>
                <a:latin typeface="Arial" panose="020B0604020202020204"/>
                <a:ea typeface="MS PGothic" charset="0"/>
                <a:cs typeface="Arial"/>
              </a:endParaRPr>
            </a:p>
          </p:txBody>
        </p:sp>
        <p:grpSp>
          <p:nvGrpSpPr>
            <p:cNvPr id="117" name="Group 116">
              <a:extLst>
                <a:ext uri="{FF2B5EF4-FFF2-40B4-BE49-F238E27FC236}">
                  <a16:creationId xmlns:a16="http://schemas.microsoft.com/office/drawing/2014/main" id="{B3AEE1FB-E036-4AFB-BD79-0EF61D8D380B}"/>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18" name="Freeform 51">
                <a:extLst>
                  <a:ext uri="{FF2B5EF4-FFF2-40B4-BE49-F238E27FC236}">
                    <a16:creationId xmlns:a16="http://schemas.microsoft.com/office/drawing/2014/main" id="{06AFC331-61BA-403E-A3CC-D158595832A7}"/>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9" name="Freeform 52">
                <a:extLst>
                  <a:ext uri="{FF2B5EF4-FFF2-40B4-BE49-F238E27FC236}">
                    <a16:creationId xmlns:a16="http://schemas.microsoft.com/office/drawing/2014/main" id="{AABDF24F-3807-4E0F-8497-0405742EB850}"/>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20" name="Freeform 53">
                <a:extLst>
                  <a:ext uri="{FF2B5EF4-FFF2-40B4-BE49-F238E27FC236}">
                    <a16:creationId xmlns:a16="http://schemas.microsoft.com/office/drawing/2014/main" id="{0CE8A940-AB12-4006-924A-806338B26E91}"/>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21" name="Freeform 54">
                <a:extLst>
                  <a:ext uri="{FF2B5EF4-FFF2-40B4-BE49-F238E27FC236}">
                    <a16:creationId xmlns:a16="http://schemas.microsoft.com/office/drawing/2014/main" id="{F3E57D4A-AE71-4DD6-87BE-4A3783F6259E}"/>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22" name="Freeform 55">
                <a:extLst>
                  <a:ext uri="{FF2B5EF4-FFF2-40B4-BE49-F238E27FC236}">
                    <a16:creationId xmlns:a16="http://schemas.microsoft.com/office/drawing/2014/main" id="{16BF46B0-8560-4A37-8DCB-EF7DBFD552D3}"/>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23" name="Freeform 56">
                <a:extLst>
                  <a:ext uri="{FF2B5EF4-FFF2-40B4-BE49-F238E27FC236}">
                    <a16:creationId xmlns:a16="http://schemas.microsoft.com/office/drawing/2014/main" id="{E2CDFBB6-8460-41CC-B005-7BBE934CC203}"/>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grpSp>
      </p:grpSp>
      <p:sp>
        <p:nvSpPr>
          <p:cNvPr id="3" name="Title 2">
            <a:extLst>
              <a:ext uri="{FF2B5EF4-FFF2-40B4-BE49-F238E27FC236}">
                <a16:creationId xmlns:a16="http://schemas.microsoft.com/office/drawing/2014/main" id="{B585E9DD-0169-4146-8001-6CA180CCECFC}"/>
              </a:ext>
            </a:extLst>
          </p:cNvPr>
          <p:cNvSpPr>
            <a:spLocks noGrp="1"/>
          </p:cNvSpPr>
          <p:nvPr>
            <p:ph type="title"/>
          </p:nvPr>
        </p:nvSpPr>
        <p:spPr>
          <a:xfrm>
            <a:off x="600074" y="426187"/>
            <a:ext cx="9925050" cy="929127"/>
          </a:xfrm>
        </p:spPr>
        <p:txBody>
          <a:bodyPr/>
          <a:lstStyle/>
          <a:p>
            <a:r>
              <a:rPr lang="en-US" dirty="0"/>
              <a:t>In patients with a recent worsening HF event, vericiguat reduced time to HFH or CV death with an ARR of 4.2%</a:t>
            </a:r>
            <a:r>
              <a:rPr lang="en-US" baseline="30000" dirty="0"/>
              <a:t>1–6</a:t>
            </a:r>
            <a:br>
              <a:rPr lang="en-US" dirty="0"/>
            </a:br>
            <a:endParaRPr lang="en-US" dirty="0"/>
          </a:p>
        </p:txBody>
      </p:sp>
      <p:sp>
        <p:nvSpPr>
          <p:cNvPr id="74" name="Text Placeholder 1">
            <a:extLst>
              <a:ext uri="{FF2B5EF4-FFF2-40B4-BE49-F238E27FC236}">
                <a16:creationId xmlns:a16="http://schemas.microsoft.com/office/drawing/2014/main" id="{7105C756-260B-4DDD-BACC-6CF9F00CBCCA}"/>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0645495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8C656F32-3ED5-46D1-8EF7-90BDE5E073A0}"/>
              </a:ext>
            </a:extLst>
          </p:cNvPr>
          <p:cNvGraphicFramePr>
            <a:graphicFrameLocks noGrp="1"/>
          </p:cNvGraphicFramePr>
          <p:nvPr>
            <p:ph sz="quarter" idx="13"/>
            <p:extLst>
              <p:ext uri="{D42A27DB-BD31-4B8C-83A1-F6EECF244321}">
                <p14:modId xmlns:p14="http://schemas.microsoft.com/office/powerpoint/2010/main" val="1094923822"/>
              </p:ext>
            </p:extLst>
          </p:nvPr>
        </p:nvGraphicFramePr>
        <p:xfrm>
          <a:off x="596900" y="1808163"/>
          <a:ext cx="9928225" cy="4033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 Placeholder 6">
            <a:extLst>
              <a:ext uri="{FF2B5EF4-FFF2-40B4-BE49-F238E27FC236}">
                <a16:creationId xmlns:a16="http://schemas.microsoft.com/office/drawing/2014/main" id="{AF127CA3-59AD-4CB6-BB24-DA552E5E36BF}"/>
              </a:ext>
            </a:extLst>
          </p:cNvPr>
          <p:cNvSpPr>
            <a:spLocks noGrp="1"/>
          </p:cNvSpPr>
          <p:nvPr>
            <p:ph type="body" sz="quarter" idx="14"/>
          </p:nvPr>
        </p:nvSpPr>
        <p:spPr/>
        <p:txBody>
          <a:bodyPr/>
          <a:lstStyle/>
          <a:p>
            <a:r>
              <a:rPr lang="en-GB"/>
              <a:t>Vericiguat has a favourable safety profile suitable for patients with multiple comorbidities requiring polypharmacy</a:t>
            </a:r>
          </a:p>
        </p:txBody>
      </p:sp>
      <p:sp>
        <p:nvSpPr>
          <p:cNvPr id="3" name="Slide Number Placeholder 2">
            <a:extLst>
              <a:ext uri="{FF2B5EF4-FFF2-40B4-BE49-F238E27FC236}">
                <a16:creationId xmlns:a16="http://schemas.microsoft.com/office/drawing/2014/main" id="{F400AB04-A19D-45A5-B7FD-01AEA7285AC6}"/>
              </a:ext>
            </a:extLst>
          </p:cNvPr>
          <p:cNvSpPr>
            <a:spLocks noGrp="1"/>
          </p:cNvSpPr>
          <p:nvPr>
            <p:ph type="sldNum" sz="quarter" idx="16"/>
          </p:nvPr>
        </p:nvSpPr>
        <p:spPr/>
        <p:txBody>
          <a:bodyPr/>
          <a:lstStyle/>
          <a:p>
            <a:pPr marL="0" marR="0" lvl="0" indent="0" algn="ctr"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53585A"/>
                </a:solidFill>
                <a:effectLst/>
                <a:uLnTx/>
                <a:uFillTx/>
                <a:latin typeface="Arial" panose="020B0604020202020204"/>
                <a:ea typeface="MS PGothic" charset="0"/>
                <a:cs typeface="+mn-cs"/>
              </a:rPr>
              <a:pPr marL="0" marR="0" lvl="0" indent="0" algn="ctr" defTabSz="609585" rtl="0" eaLnBrk="0" fontAlgn="base" latinLnBrk="0" hangingPunct="0">
                <a:lnSpc>
                  <a:spcPct val="100000"/>
                </a:lnSpc>
                <a:spcBef>
                  <a:spcPct val="0"/>
                </a:spcBef>
                <a:spcAft>
                  <a:spcPct val="0"/>
                </a:spcAft>
                <a:buClrTx/>
                <a:buSzTx/>
                <a:buFontTx/>
                <a:buNone/>
                <a:tabLst/>
                <a:defRPr/>
              </a:pPr>
              <a:t>32</a:t>
            </a:fld>
            <a:endParaRPr kumimoji="0" lang="en-US" sz="900" b="0" i="0" u="none" strike="noStrike" kern="1200" cap="none" spc="0" normalizeH="0" baseline="0" noProof="0">
              <a:ln>
                <a:noFill/>
              </a:ln>
              <a:solidFill>
                <a:srgbClr val="53585A"/>
              </a:solidFill>
              <a:effectLst/>
              <a:uLnTx/>
              <a:uFillTx/>
              <a:latin typeface="Arial" panose="020B0604020202020204"/>
              <a:ea typeface="MS PGothic" charset="0"/>
              <a:cs typeface="+mn-cs"/>
            </a:endParaRPr>
          </a:p>
        </p:txBody>
      </p:sp>
      <p:sp>
        <p:nvSpPr>
          <p:cNvPr id="2" name="Title 1">
            <a:extLst>
              <a:ext uri="{FF2B5EF4-FFF2-40B4-BE49-F238E27FC236}">
                <a16:creationId xmlns:a16="http://schemas.microsoft.com/office/drawing/2014/main" id="{D7ECFBAB-0893-4585-AB8D-32374FEE43B2}"/>
              </a:ext>
            </a:extLst>
          </p:cNvPr>
          <p:cNvSpPr>
            <a:spLocks noGrp="1"/>
          </p:cNvSpPr>
          <p:nvPr>
            <p:ph type="title"/>
          </p:nvPr>
        </p:nvSpPr>
        <p:spPr>
          <a:xfrm>
            <a:off x="600073" y="164567"/>
            <a:ext cx="10991853" cy="929127"/>
          </a:xfrm>
        </p:spPr>
        <p:txBody>
          <a:bodyPr anchor="t">
            <a:noAutofit/>
          </a:bodyPr>
          <a:lstStyle/>
          <a:p>
            <a:r>
              <a:rPr lang="en-US" sz="2800" dirty="0"/>
              <a:t>Vericiguat added to GDMT is well tolerated in patients with HFrEF following a worsening HF event</a:t>
            </a:r>
          </a:p>
        </p:txBody>
      </p:sp>
      <p:sp>
        <p:nvSpPr>
          <p:cNvPr id="18" name="Footer Placeholder 3">
            <a:extLst>
              <a:ext uri="{FF2B5EF4-FFF2-40B4-BE49-F238E27FC236}">
                <a16:creationId xmlns:a16="http://schemas.microsoft.com/office/drawing/2014/main" id="{7E841049-793F-49E9-8D7C-4892FB52D7A4}"/>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Worsening symptoms requiring hospitalisation or IV diuretic use in the outpatient set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AE, adverse event; GDMT, guideline-directed medical therapy; HF, heart failure; </a:t>
            </a:r>
            <a:r>
              <a:rPr kumimoji="0" lang="en-GB" sz="900" b="0" i="0" u="none" strike="noStrike" kern="1200" cap="none" spc="0" normalizeH="0" baseline="0" noProof="0" dirty="0" err="1">
                <a:ln>
                  <a:noFill/>
                </a:ln>
                <a:solidFill>
                  <a:srgbClr val="53585A"/>
                </a:solidFill>
                <a:effectLst/>
                <a:uLnTx/>
                <a:uFillTx/>
                <a:latin typeface="Arial" panose="020B0604020202020204"/>
                <a:ea typeface="MS PGothic" charset="0"/>
                <a:cs typeface="+mn-cs"/>
              </a:rPr>
              <a:t>HFrEF</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heart failure with reduced ejection fraction; IV, intravenous; SAE, serious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Armstrong PW et al.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N </a:t>
            </a:r>
            <a:r>
              <a:rPr kumimoji="0" lang="en-GB" sz="900" b="0" i="1" u="none" strike="noStrike" kern="1200" cap="none" spc="0" normalizeH="0" baseline="0" noProof="0" dirty="0" err="1">
                <a:ln>
                  <a:noFill/>
                </a:ln>
                <a:solidFill>
                  <a:srgbClr val="53585A"/>
                </a:solidFill>
                <a:effectLst/>
                <a:uLnTx/>
                <a:uFillTx/>
                <a:latin typeface="Arial" panose="020B0604020202020204"/>
                <a:ea typeface="MS PGothic" charset="0"/>
                <a:cs typeface="+mn-cs"/>
              </a:rPr>
              <a:t>Engl</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 J Med.</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2020;382:1883–1893.</a:t>
            </a:r>
          </a:p>
        </p:txBody>
      </p:sp>
      <p:graphicFrame>
        <p:nvGraphicFramePr>
          <p:cNvPr id="13" name="Chart 12">
            <a:extLst>
              <a:ext uri="{FF2B5EF4-FFF2-40B4-BE49-F238E27FC236}">
                <a16:creationId xmlns:a16="http://schemas.microsoft.com/office/drawing/2014/main" id="{D4035D72-3AD2-4CE3-B50A-ED4A7EFA9BD4}"/>
              </a:ext>
            </a:extLst>
          </p:cNvPr>
          <p:cNvGraphicFramePr/>
          <p:nvPr>
            <p:extLst>
              <p:ext uri="{D42A27DB-BD31-4B8C-83A1-F6EECF244321}">
                <p14:modId xmlns:p14="http://schemas.microsoft.com/office/powerpoint/2010/main" val="814485514"/>
              </p:ext>
            </p:extLst>
          </p:nvPr>
        </p:nvGraphicFramePr>
        <p:xfrm>
          <a:off x="-798444" y="4401864"/>
          <a:ext cx="3957851" cy="1285298"/>
        </p:xfrm>
        <a:graphic>
          <a:graphicData uri="http://schemas.openxmlformats.org/drawingml/2006/chart">
            <c:chart xmlns:c="http://schemas.openxmlformats.org/drawingml/2006/chart" xmlns:r="http://schemas.openxmlformats.org/officeDocument/2006/relationships" r:id="rId8"/>
          </a:graphicData>
        </a:graphic>
      </p:graphicFrame>
      <p:pic>
        <p:nvPicPr>
          <p:cNvPr id="14" name="Picture 13">
            <a:extLst>
              <a:ext uri="{FF2B5EF4-FFF2-40B4-BE49-F238E27FC236}">
                <a16:creationId xmlns:a16="http://schemas.microsoft.com/office/drawing/2014/main" id="{1DFA7A56-B289-4876-A4A2-D065ECF20577}"/>
              </a:ext>
            </a:extLst>
          </p:cNvPr>
          <p:cNvPicPr>
            <a:picLocks noChangeAspect="1"/>
          </p:cNvPicPr>
          <p:nvPr/>
        </p:nvPicPr>
        <p:blipFill>
          <a:blip r:embed="rId9">
            <a:duotone>
              <a:schemeClr val="accent4">
                <a:shade val="45000"/>
                <a:satMod val="135000"/>
              </a:schemeClr>
              <a:prstClr val="white"/>
            </a:duotone>
            <a:extLst>
              <a:ext uri="{BEBA8EAE-BF5A-486C-A8C5-ECC9F3942E4B}">
                <a14:imgProps xmlns:a14="http://schemas.microsoft.com/office/drawing/2010/main">
                  <a14:imgLayer r:embed="rId10">
                    <a14:imgEffect>
                      <a14:backgroundRemoval t="9901" b="89851" l="9976" r="91727">
                        <a14:foregroundMark x1="56934" y1="43317" x2="56934" y2="43317"/>
                        <a14:foregroundMark x1="82238" y1="32921" x2="82238" y2="32921"/>
                        <a14:foregroundMark x1="91727" y1="71040" x2="91727" y2="71040"/>
                        <a14:foregroundMark x1="21898" y1="56683" x2="21898" y2="56683"/>
                      </a14:backgroundRemoval>
                    </a14:imgEffect>
                  </a14:imgLayer>
                </a14:imgProps>
              </a:ext>
            </a:extLst>
          </a:blip>
          <a:stretch>
            <a:fillRect/>
          </a:stretch>
        </p:blipFill>
        <p:spPr>
          <a:xfrm>
            <a:off x="705268" y="4600765"/>
            <a:ext cx="861248" cy="693095"/>
          </a:xfrm>
          <a:prstGeom prst="rect">
            <a:avLst/>
          </a:prstGeom>
        </p:spPr>
      </p:pic>
      <p:pic>
        <p:nvPicPr>
          <p:cNvPr id="17" name="Picture 16">
            <a:extLst>
              <a:ext uri="{FF2B5EF4-FFF2-40B4-BE49-F238E27FC236}">
                <a16:creationId xmlns:a16="http://schemas.microsoft.com/office/drawing/2014/main" id="{9F2B81CE-3B94-4102-AC4B-5E0E174C96A0}"/>
              </a:ext>
            </a:extLst>
          </p:cNvPr>
          <p:cNvPicPr>
            <a:picLocks noChangeAspect="1"/>
          </p:cNvPicPr>
          <p:nvPr/>
        </p:nvPicPr>
        <p:blipFill>
          <a:blip r:embed="rId11">
            <a:duotone>
              <a:schemeClr val="accent4">
                <a:shade val="45000"/>
                <a:satMod val="135000"/>
              </a:schemeClr>
              <a:prstClr val="white"/>
            </a:duotone>
            <a:extLst>
              <a:ext uri="{BEBA8EAE-BF5A-486C-A8C5-ECC9F3942E4B}">
                <a14:imgProps xmlns:a14="http://schemas.microsoft.com/office/drawing/2010/main">
                  <a14:imgLayer r:embed="rId12">
                    <a14:imgEffect>
                      <a14:backgroundRemoval t="9804" b="92593" l="9670" r="90110">
                        <a14:foregroundMark x1="36703" y1="38562" x2="36703" y2="38562"/>
                        <a14:foregroundMark x1="44396" y1="92810" x2="44396" y2="92810"/>
                        <a14:foregroundMark x1="57802" y1="86928" x2="57802" y2="86928"/>
                        <a14:foregroundMark x1="90110" y1="30501" x2="90110" y2="30501"/>
                        <a14:foregroundMark x1="78901" y1="30065" x2="78901" y2="30065"/>
                        <a14:foregroundMark x1="84176" y1="28105" x2="84176" y2="28105"/>
                        <a14:foregroundMark x1="86593" y1="35076" x2="86593" y2="35076"/>
                        <a14:foregroundMark x1="85934" y1="39216" x2="85934" y2="39216"/>
                        <a14:foregroundMark x1="78901" y1="43355" x2="78901" y2="43355"/>
                        <a14:foregroundMark x1="72967" y1="39869" x2="72967" y2="39869"/>
                        <a14:foregroundMark x1="70330" y1="34641" x2="70330" y2="34641"/>
                        <a14:foregroundMark x1="72967" y1="29847" x2="72967" y2="29847"/>
                      </a14:backgroundRemoval>
                    </a14:imgEffect>
                  </a14:imgLayer>
                </a14:imgProps>
              </a:ext>
            </a:extLst>
          </a:blip>
          <a:stretch>
            <a:fillRect/>
          </a:stretch>
        </p:blipFill>
        <p:spPr>
          <a:xfrm>
            <a:off x="1038801" y="3348259"/>
            <a:ext cx="918425" cy="926499"/>
          </a:xfrm>
          <a:prstGeom prst="rect">
            <a:avLst/>
          </a:prstGeom>
          <a:ln>
            <a:noFill/>
          </a:ln>
        </p:spPr>
      </p:pic>
      <p:pic>
        <p:nvPicPr>
          <p:cNvPr id="4" name="Picture 3">
            <a:extLst>
              <a:ext uri="{FF2B5EF4-FFF2-40B4-BE49-F238E27FC236}">
                <a16:creationId xmlns:a16="http://schemas.microsoft.com/office/drawing/2014/main" id="{D4CB25F4-9C6C-4805-BE9C-609A726C454D}"/>
              </a:ext>
            </a:extLst>
          </p:cNvPr>
          <p:cNvPicPr>
            <a:picLocks noChangeAspect="1"/>
          </p:cNvPicPr>
          <p:nvPr/>
        </p:nvPicPr>
        <p:blipFill rotWithShape="1">
          <a:blip r:embed="rId13">
            <a:duotone>
              <a:schemeClr val="accent4">
                <a:shade val="45000"/>
                <a:satMod val="135000"/>
              </a:schemeClr>
              <a:prstClr val="white"/>
            </a:duotone>
            <a:extLst>
              <a:ext uri="{BEBA8EAE-BF5A-486C-A8C5-ECC9F3942E4B}">
                <a14:imgProps xmlns:a14="http://schemas.microsoft.com/office/drawing/2010/main">
                  <a14:imgLayer r:embed="rId14">
                    <a14:imgEffect>
                      <a14:backgroundRemoval t="8455" b="91837" l="9697" r="92121">
                        <a14:foregroundMark x1="51515" y1="23615" x2="51515" y2="23615"/>
                        <a14:foregroundMark x1="15152" y1="50729" x2="15152" y2="50729"/>
                        <a14:foregroundMark x1="29697" y1="91254" x2="29697" y2="91254"/>
                        <a14:foregroundMark x1="69697" y1="92128" x2="69697" y2="92128"/>
                        <a14:foregroundMark x1="55152" y1="17201" x2="55152" y2="17201"/>
                        <a14:foregroundMark x1="27273" y1="11079" x2="27273" y2="11079"/>
                        <a14:foregroundMark x1="41212" y1="8746" x2="41212" y2="8746"/>
                        <a14:foregroundMark x1="56970" y1="10496" x2="56970" y2="10496"/>
                        <a14:foregroundMark x1="75152" y1="12828" x2="75152" y2="12828"/>
                        <a14:foregroundMark x1="80606" y1="20117" x2="80606" y2="20117"/>
                        <a14:foregroundMark x1="40606" y1="8746" x2="40606" y2="8746"/>
                        <a14:foregroundMark x1="75758" y1="13994" x2="75758" y2="13994"/>
                        <a14:foregroundMark x1="75758" y1="13120" x2="75758" y2="13120"/>
                        <a14:foregroundMark x1="75152" y1="11953" x2="75152" y2="11953"/>
                        <a14:foregroundMark x1="27273" y1="13120" x2="27273" y2="13120"/>
                        <a14:foregroundMark x1="27879" y1="9038" x2="27879" y2="9038"/>
                        <a14:foregroundMark x1="53333" y1="18076" x2="53333" y2="18076"/>
                        <a14:foregroundMark x1="70303" y1="19534" x2="70303" y2="19534"/>
                        <a14:foregroundMark x1="75758" y1="12245" x2="75758" y2="12245"/>
                        <a14:foregroundMark x1="58788" y1="9913" x2="58788" y2="9913"/>
                        <a14:foregroundMark x1="86061" y1="15452" x2="86061" y2="15452"/>
                        <a14:foregroundMark x1="64848" y1="11079" x2="64848" y2="11079"/>
                        <a14:foregroundMark x1="52727" y1="11079" x2="52727" y2="11079"/>
                        <a14:foregroundMark x1="34545" y1="15160" x2="34545" y2="15160"/>
                        <a14:foregroundMark x1="61212" y1="18950" x2="61212" y2="18950"/>
                        <a14:foregroundMark x1="92121" y1="18659" x2="92121" y2="18659"/>
                        <a14:foregroundMark x1="27273" y1="17201" x2="27273" y2="17201"/>
                        <a14:foregroundMark x1="87273" y1="16035" x2="87273" y2="16035"/>
                        <a14:foregroundMark x1="44848" y1="9038" x2="47879" y2="9038"/>
                        <a14:foregroundMark x1="27273" y1="12245" x2="41212" y2="15452"/>
                        <a14:foregroundMark x1="38182" y1="15160" x2="67273" y2="20117"/>
                        <a14:foregroundMark x1="67273" y1="20117" x2="80606" y2="19534"/>
                      </a14:backgroundRemoval>
                    </a14:imgEffect>
                  </a14:imgLayer>
                </a14:imgProps>
              </a:ext>
            </a:extLst>
          </a:blip>
          <a:srcRect l="5999" t="1323" r="-5999" b="50573"/>
          <a:stretch/>
        </p:blipFill>
        <p:spPr>
          <a:xfrm>
            <a:off x="749720" y="2198858"/>
            <a:ext cx="926499" cy="926499"/>
          </a:xfrm>
          <a:prstGeom prst="ellipse">
            <a:avLst/>
          </a:prstGeom>
        </p:spPr>
      </p:pic>
      <p:sp>
        <p:nvSpPr>
          <p:cNvPr id="11" name="Text Placeholder 1">
            <a:extLst>
              <a:ext uri="{FF2B5EF4-FFF2-40B4-BE49-F238E27FC236}">
                <a16:creationId xmlns:a16="http://schemas.microsoft.com/office/drawing/2014/main" id="{71F2459E-38B0-4CA5-848A-5B23C39FA14F}"/>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186513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21D8BD-4DC7-43EC-B9A4-030BBBAC46A1}"/>
              </a:ext>
            </a:extLst>
          </p:cNvPr>
          <p:cNvSpPr>
            <a:spLocks noGrp="1"/>
          </p:cNvSpPr>
          <p:nvPr>
            <p:ph type="title"/>
          </p:nvPr>
        </p:nvSpPr>
        <p:spPr/>
        <p:txBody>
          <a:bodyPr/>
          <a:lstStyle/>
          <a:p>
            <a:r>
              <a:rPr lang="en-GB" dirty="0"/>
              <a:t>Typical patient scenarios for vericiguat initiation</a:t>
            </a:r>
          </a:p>
        </p:txBody>
      </p:sp>
      <p:sp>
        <p:nvSpPr>
          <p:cNvPr id="4" name="Slide Number Placeholder 3">
            <a:extLst>
              <a:ext uri="{FF2B5EF4-FFF2-40B4-BE49-F238E27FC236}">
                <a16:creationId xmlns:a16="http://schemas.microsoft.com/office/drawing/2014/main" id="{66BE6691-FEF8-4F48-8251-A9CAB18BBA45}"/>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21" name="Text Placeholder 20">
            <a:extLst>
              <a:ext uri="{FF2B5EF4-FFF2-40B4-BE49-F238E27FC236}">
                <a16:creationId xmlns:a16="http://schemas.microsoft.com/office/drawing/2014/main" id="{F790B5F3-0104-4F5B-A4B3-AD1A655BBB93}"/>
              </a:ext>
            </a:extLst>
          </p:cNvPr>
          <p:cNvSpPr>
            <a:spLocks noGrp="1"/>
          </p:cNvSpPr>
          <p:nvPr>
            <p:ph type="body" sz="quarter" idx="14"/>
          </p:nvPr>
        </p:nvSpPr>
        <p:spPr>
          <a:xfrm>
            <a:off x="596710" y="1419177"/>
            <a:ext cx="9925050" cy="317635"/>
          </a:xfrm>
        </p:spPr>
        <p:txBody>
          <a:bodyPr/>
          <a:lstStyle/>
          <a:p>
            <a:r>
              <a:rPr lang="en-US" dirty="0"/>
              <a:t>You have chosen to use vericiguat for treating a patient with </a:t>
            </a:r>
            <a:r>
              <a:rPr lang="en-US" u="sng" dirty="0" err="1">
                <a:solidFill>
                  <a:schemeClr val="accent1"/>
                </a:solidFill>
              </a:rPr>
              <a:t>HFrEF</a:t>
            </a:r>
            <a:r>
              <a:rPr lang="en-US" u="sng" dirty="0">
                <a:solidFill>
                  <a:schemeClr val="accent1"/>
                </a:solidFill>
              </a:rPr>
              <a:t> who has had a worsening event</a:t>
            </a:r>
            <a:endParaRPr lang="en-GB" u="sng" dirty="0">
              <a:solidFill>
                <a:schemeClr val="accent1"/>
              </a:solidFill>
            </a:endParaRPr>
          </a:p>
        </p:txBody>
      </p:sp>
      <p:sp>
        <p:nvSpPr>
          <p:cNvPr id="5" name="Footer Placeholder 4">
            <a:extLst>
              <a:ext uri="{FF2B5EF4-FFF2-40B4-BE49-F238E27FC236}">
                <a16:creationId xmlns:a16="http://schemas.microsoft.com/office/drawing/2014/main" id="{B6BCB5F8-C302-4FA6-82C9-1BF5C312BFC7}"/>
              </a:ext>
            </a:extLst>
          </p:cNvPr>
          <p:cNvSpPr>
            <a:spLocks noGrp="1"/>
          </p:cNvSpPr>
          <p:nvPr>
            <p:ph type="ftr" sz="quarter" idx="22"/>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Disclaimer: These cases are fictitious and are presented for educational purposes only. </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Images shown are stock images.</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HFH, heart failure hospitalization; HFrEF, heart failure with reduced ejection fraction; IV, intravenous.</a:t>
            </a:r>
          </a:p>
        </p:txBody>
      </p:sp>
      <p:sp>
        <p:nvSpPr>
          <p:cNvPr id="9" name="Callout: Down Arrow 8">
            <a:extLst>
              <a:ext uri="{FF2B5EF4-FFF2-40B4-BE49-F238E27FC236}">
                <a16:creationId xmlns:a16="http://schemas.microsoft.com/office/drawing/2014/main" id="{267C761E-8F62-42A0-A0EE-CDDEF5024133}"/>
              </a:ext>
            </a:extLst>
          </p:cNvPr>
          <p:cNvSpPr/>
          <p:nvPr/>
        </p:nvSpPr>
        <p:spPr>
          <a:xfrm>
            <a:off x="705481" y="3516225"/>
            <a:ext cx="2993326" cy="1299602"/>
          </a:xfrm>
          <a:prstGeom prst="downArrowCallou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In-hospital, prior to/</a:t>
            </a:r>
            <a:br>
              <a:rPr kumimoji="0" lang="en-GB" sz="1800" b="1" i="0" u="none" strike="noStrike" kern="1200" cap="none" spc="0" normalizeH="0" baseline="0" noProof="0">
                <a:ln>
                  <a:noFill/>
                </a:ln>
                <a:solidFill>
                  <a:srgbClr val="FFFFFF"/>
                </a:solidFill>
                <a:effectLst/>
                <a:uLnTx/>
                <a:uFillTx/>
                <a:latin typeface="Arial"/>
                <a:ea typeface="+mn-ea"/>
                <a:cs typeface="+mn-cs"/>
              </a:rPr>
            </a:br>
            <a:r>
              <a:rPr kumimoji="0" lang="en-GB" sz="1800" b="1" i="0" u="none" strike="noStrike" kern="1200" cap="none" spc="0" normalizeH="0" baseline="0" noProof="0">
                <a:ln>
                  <a:noFill/>
                </a:ln>
                <a:solidFill>
                  <a:srgbClr val="FFFFFF"/>
                </a:solidFill>
                <a:effectLst/>
                <a:uLnTx/>
                <a:uFillTx/>
                <a:latin typeface="Arial"/>
                <a:ea typeface="+mn-ea"/>
                <a:cs typeface="+mn-cs"/>
              </a:rPr>
              <a:t>at discharge</a:t>
            </a:r>
          </a:p>
        </p:txBody>
      </p:sp>
      <p:pic>
        <p:nvPicPr>
          <p:cNvPr id="10" name="Picture 9" descr="A picture containing person, person, hat, wearing&#10;&#10;Description automatically generated">
            <a:extLst>
              <a:ext uri="{FF2B5EF4-FFF2-40B4-BE49-F238E27FC236}">
                <a16:creationId xmlns:a16="http://schemas.microsoft.com/office/drawing/2014/main" id="{C8DC4326-103D-404D-BFB3-8E2F4B734589}"/>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flipH="1">
            <a:off x="1514769" y="2276872"/>
            <a:ext cx="1353714" cy="1353714"/>
          </a:xfrm>
          <a:prstGeom prst="ellipse">
            <a:avLst/>
          </a:prstGeom>
          <a:ln w="28575">
            <a:solidFill>
              <a:schemeClr val="accent1"/>
            </a:solidFill>
          </a:ln>
        </p:spPr>
      </p:pic>
      <p:sp>
        <p:nvSpPr>
          <p:cNvPr id="11" name="TextBox 10">
            <a:extLst>
              <a:ext uri="{FF2B5EF4-FFF2-40B4-BE49-F238E27FC236}">
                <a16:creationId xmlns:a16="http://schemas.microsoft.com/office/drawing/2014/main" id="{F176A8E8-A5F7-414C-8D4C-63009A63CD61}"/>
              </a:ext>
            </a:extLst>
          </p:cNvPr>
          <p:cNvSpPr txBox="1"/>
          <p:nvPr/>
        </p:nvSpPr>
        <p:spPr>
          <a:xfrm>
            <a:off x="705481" y="4864985"/>
            <a:ext cx="2993325"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panose="020B0604020202020204"/>
              </a:rPr>
              <a:t>Patient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has been in hospital on IV diuretics and is now stabilized on oral diuretics and ready for discharge</a:t>
            </a:r>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Callout: Down Arrow 12">
            <a:extLst>
              <a:ext uri="{FF2B5EF4-FFF2-40B4-BE49-F238E27FC236}">
                <a16:creationId xmlns:a16="http://schemas.microsoft.com/office/drawing/2014/main" id="{178A1495-59D8-4CDF-AA6A-D4F45D871C72}"/>
              </a:ext>
            </a:extLst>
          </p:cNvPr>
          <p:cNvSpPr/>
          <p:nvPr/>
        </p:nvSpPr>
        <p:spPr>
          <a:xfrm>
            <a:off x="4079778" y="3520761"/>
            <a:ext cx="2993326" cy="1292051"/>
          </a:xfrm>
          <a:prstGeom prst="downArrowCallou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First follow-up appointment after HFH</a:t>
            </a:r>
          </a:p>
        </p:txBody>
      </p:sp>
      <p:sp>
        <p:nvSpPr>
          <p:cNvPr id="14" name="TextBox 13">
            <a:extLst>
              <a:ext uri="{FF2B5EF4-FFF2-40B4-BE49-F238E27FC236}">
                <a16:creationId xmlns:a16="http://schemas.microsoft.com/office/drawing/2014/main" id="{844757FA-0DC8-4370-B66C-3CF1EBF39300}"/>
              </a:ext>
            </a:extLst>
          </p:cNvPr>
          <p:cNvSpPr txBox="1"/>
          <p:nvPr/>
        </p:nvSpPr>
        <p:spPr>
          <a:xfrm>
            <a:off x="4079776" y="4864985"/>
            <a:ext cx="2993325"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panose="020B0604020202020204"/>
              </a:rPr>
              <a:t>A patient who</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had a hospitalization within the past month, and you are seeing them in clinic to optimize treatment</a:t>
            </a:r>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5" name="Picture 14" descr="A picture containing smiling, boy, posing, shirt&#10;&#10;Description automatically generated">
            <a:extLst>
              <a:ext uri="{FF2B5EF4-FFF2-40B4-BE49-F238E27FC236}">
                <a16:creationId xmlns:a16="http://schemas.microsoft.com/office/drawing/2014/main" id="{72131FDF-3E0D-4CDF-B3BE-0432F62BD55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899581" y="2276872"/>
            <a:ext cx="1353714" cy="1353714"/>
          </a:xfrm>
          <a:prstGeom prst="flowChartConnector">
            <a:avLst/>
          </a:prstGeom>
          <a:ln w="28575">
            <a:solidFill>
              <a:schemeClr val="tx2"/>
            </a:solidFill>
          </a:ln>
        </p:spPr>
      </p:pic>
      <p:sp>
        <p:nvSpPr>
          <p:cNvPr id="17" name="Callout: Down Arrow 16">
            <a:extLst>
              <a:ext uri="{FF2B5EF4-FFF2-40B4-BE49-F238E27FC236}">
                <a16:creationId xmlns:a16="http://schemas.microsoft.com/office/drawing/2014/main" id="{3651B3D5-4599-40B6-8DFA-0C7D2B043E46}"/>
              </a:ext>
            </a:extLst>
          </p:cNvPr>
          <p:cNvSpPr/>
          <p:nvPr/>
        </p:nvSpPr>
        <p:spPr>
          <a:xfrm>
            <a:off x="7459797" y="3502365"/>
            <a:ext cx="2993325" cy="1299602"/>
          </a:xfrm>
          <a:prstGeom prst="downArrowCallou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Outpatient who has received IV diuretics</a:t>
            </a:r>
          </a:p>
        </p:txBody>
      </p:sp>
      <p:sp>
        <p:nvSpPr>
          <p:cNvPr id="18" name="TextBox 17">
            <a:extLst>
              <a:ext uri="{FF2B5EF4-FFF2-40B4-BE49-F238E27FC236}">
                <a16:creationId xmlns:a16="http://schemas.microsoft.com/office/drawing/2014/main" id="{B359A1FD-5F65-4D73-8AD5-DEF2935B2DCE}"/>
              </a:ext>
            </a:extLst>
          </p:cNvPr>
          <p:cNvSpPr txBox="1"/>
          <p:nvPr/>
        </p:nvSpPr>
        <p:spPr>
          <a:xfrm>
            <a:off x="7392144" y="4864985"/>
            <a:ext cx="3113623"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panose="020B0604020202020204"/>
              </a:rPr>
              <a:t>A patient who</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needed IV diuretics in a clinic setting without hospital admission and is now stabilized on oral diuretics</a:t>
            </a:r>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9" name="Picture 18" descr="A person smiling for the camera&#10;&#10;Description automatically generated">
            <a:extLst>
              <a:ext uri="{FF2B5EF4-FFF2-40B4-BE49-F238E27FC236}">
                <a16:creationId xmlns:a16="http://schemas.microsoft.com/office/drawing/2014/main" id="{33EF0131-908E-421F-A7F1-9E183AFC6EA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79953" y="2276872"/>
            <a:ext cx="1353714" cy="1353714"/>
          </a:xfrm>
          <a:prstGeom prst="flowChartConnector">
            <a:avLst/>
          </a:prstGeom>
          <a:ln w="28575">
            <a:solidFill>
              <a:schemeClr val="accent4"/>
            </a:solidFill>
          </a:ln>
        </p:spPr>
      </p:pic>
      <p:sp>
        <p:nvSpPr>
          <p:cNvPr id="27" name="TextBox 26">
            <a:extLst>
              <a:ext uri="{FF2B5EF4-FFF2-40B4-BE49-F238E27FC236}">
                <a16:creationId xmlns:a16="http://schemas.microsoft.com/office/drawing/2014/main" id="{8C087BE7-A7D5-467D-A7E4-2F3048239D76}"/>
              </a:ext>
            </a:extLst>
          </p:cNvPr>
          <p:cNvSpPr txBox="1"/>
          <p:nvPr/>
        </p:nvSpPr>
        <p:spPr>
          <a:xfrm>
            <a:off x="596710" y="1797991"/>
            <a:ext cx="610308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Typical patient scenarios include:</a:t>
            </a:r>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Text Placeholder 1">
            <a:extLst>
              <a:ext uri="{FF2B5EF4-FFF2-40B4-BE49-F238E27FC236}">
                <a16:creationId xmlns:a16="http://schemas.microsoft.com/office/drawing/2014/main" id="{E968835D-5BE8-443A-B0BF-8DB5E12BCE56}"/>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1544031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8306C9-2831-48FE-9406-1E7D04DEB6DA}"/>
              </a:ext>
            </a:extLst>
          </p:cNvPr>
          <p:cNvSpPr>
            <a:spLocks noGrp="1"/>
          </p:cNvSpPr>
          <p:nvPr>
            <p:ph sz="quarter" idx="13"/>
          </p:nvPr>
        </p:nvSpPr>
        <p:spPr>
          <a:xfrm>
            <a:off x="596709" y="2102611"/>
            <a:ext cx="9928415" cy="2838557"/>
          </a:xfrm>
          <a:solidFill>
            <a:schemeClr val="bg1">
              <a:lumMod val="95000"/>
            </a:schemeClr>
          </a:solidFill>
        </p:spPr>
        <p:txBody>
          <a:bodyPr tIns="144000"/>
          <a:lstStyle/>
          <a:p>
            <a:pPr marL="895350" indent="0">
              <a:buNone/>
            </a:pPr>
            <a:r>
              <a:rPr lang="en-US" sz="1900" b="1" dirty="0"/>
              <a:t>You can start vericiguat for the patient at any time following a decompensation event</a:t>
            </a:r>
            <a:r>
              <a:rPr lang="en-US" sz="1900" b="1" baseline="30000" dirty="0"/>
              <a:t>1,2</a:t>
            </a:r>
          </a:p>
          <a:p>
            <a:pPr marL="1431925"/>
            <a:r>
              <a:rPr lang="en-US" dirty="0"/>
              <a:t>Your patient should have stopped IV diuretics at least 24 hours prior</a:t>
            </a:r>
            <a:r>
              <a:rPr lang="en-US" baseline="30000" dirty="0"/>
              <a:t>3</a:t>
            </a:r>
          </a:p>
          <a:p>
            <a:pPr marL="1431925"/>
            <a:r>
              <a:rPr lang="en-US" b="1" dirty="0">
                <a:solidFill>
                  <a:schemeClr val="accent1"/>
                </a:solidFill>
              </a:rPr>
              <a:t>Volume status and diuretic therapy should be optimized prior to initiation</a:t>
            </a:r>
            <a:r>
              <a:rPr lang="en-US" b="1" baseline="30000" dirty="0">
                <a:solidFill>
                  <a:schemeClr val="accent1"/>
                </a:solidFill>
              </a:rPr>
              <a:t>1</a:t>
            </a:r>
          </a:p>
          <a:p>
            <a:pPr marL="1431925"/>
            <a:r>
              <a:rPr lang="en-US" dirty="0"/>
              <a:t>NT-</a:t>
            </a:r>
            <a:r>
              <a:rPr lang="en-US" dirty="0" err="1"/>
              <a:t>proBNP</a:t>
            </a:r>
            <a:r>
              <a:rPr lang="en-US" dirty="0"/>
              <a:t> level not required. Patients with very high NT-</a:t>
            </a:r>
            <a:r>
              <a:rPr lang="en-US" dirty="0" err="1"/>
              <a:t>proBNP</a:t>
            </a:r>
            <a:r>
              <a:rPr lang="en-US" dirty="0"/>
              <a:t> may not be fully stabilized and require further optimization of volume status and diuretic therapy</a:t>
            </a:r>
            <a:r>
              <a:rPr lang="en-US" baseline="30000" dirty="0"/>
              <a:t>1</a:t>
            </a:r>
          </a:p>
          <a:p>
            <a:pPr marL="1431925"/>
            <a:r>
              <a:rPr lang="en-US" dirty="0"/>
              <a:t>Check eGFR is ≥15 ml/min/1.73 m</a:t>
            </a:r>
            <a:r>
              <a:rPr lang="en-US" baseline="30000" dirty="0"/>
              <a:t>2</a:t>
            </a:r>
            <a:r>
              <a:rPr lang="en-US" dirty="0"/>
              <a:t> and SBP is ≥100 mmHg</a:t>
            </a:r>
            <a:r>
              <a:rPr lang="en-US" baseline="30000" dirty="0"/>
              <a:t>1–3</a:t>
            </a:r>
          </a:p>
          <a:p>
            <a:pPr marL="1431925"/>
            <a:r>
              <a:rPr lang="en-US" dirty="0"/>
              <a:t>Other heart failure therapies can continue </a:t>
            </a:r>
            <a:r>
              <a:rPr lang="en-US" baseline="30000" dirty="0"/>
              <a:t>1−3</a:t>
            </a:r>
          </a:p>
        </p:txBody>
      </p:sp>
      <p:sp>
        <p:nvSpPr>
          <p:cNvPr id="15" name="Title 14">
            <a:extLst>
              <a:ext uri="{FF2B5EF4-FFF2-40B4-BE49-F238E27FC236}">
                <a16:creationId xmlns:a16="http://schemas.microsoft.com/office/drawing/2014/main" id="{BC74727F-0628-4F07-8E46-BBDD09449BF0}"/>
              </a:ext>
            </a:extLst>
          </p:cNvPr>
          <p:cNvSpPr>
            <a:spLocks noGrp="1"/>
          </p:cNvSpPr>
          <p:nvPr>
            <p:ph type="title"/>
          </p:nvPr>
        </p:nvSpPr>
        <p:spPr/>
        <p:txBody>
          <a:bodyPr/>
          <a:lstStyle/>
          <a:p>
            <a:r>
              <a:rPr lang="en-GB"/>
              <a:t>When starting vericiguat…</a:t>
            </a:r>
          </a:p>
        </p:txBody>
      </p:sp>
      <p:sp>
        <p:nvSpPr>
          <p:cNvPr id="4" name="Slide Number Placeholder 3">
            <a:extLst>
              <a:ext uri="{FF2B5EF4-FFF2-40B4-BE49-F238E27FC236}">
                <a16:creationId xmlns:a16="http://schemas.microsoft.com/office/drawing/2014/main" id="{8A7C2791-83F6-43F8-B951-ECD1A3C9F8C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CC090FB6-EA25-49BA-AF6C-D1551713AC74}"/>
              </a:ext>
            </a:extLst>
          </p:cNvPr>
          <p:cNvSpPr>
            <a:spLocks noGrp="1"/>
          </p:cNvSpPr>
          <p:nvPr>
            <p:ph type="ftr" sz="quarter" idx="16"/>
          </p:nvPr>
        </p:nvSpPr>
        <p:spPr>
          <a:xfrm>
            <a:off x="600073" y="6340239"/>
            <a:ext cx="10032431" cy="365125"/>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29292"/>
                </a:solidFill>
                <a:effectLst/>
                <a:uLnTx/>
                <a:uFillTx/>
                <a:latin typeface="Arial" panose="020B0604020202020204"/>
                <a:ea typeface="+mn-ea"/>
                <a:cs typeface="Calibri" panose="020F0502020204030204" pitchFamily="34" charset="0"/>
              </a:rPr>
              <a:t>eGFR, estimated glomerular filtration rate; IV, intravenous; NT-</a:t>
            </a:r>
            <a:r>
              <a:rPr kumimoji="0" lang="en-US" sz="800" b="0" i="0" u="none" strike="noStrike" kern="1200" cap="none" spc="0" normalizeH="0" baseline="0" noProof="0" err="1">
                <a:ln>
                  <a:noFill/>
                </a:ln>
                <a:solidFill>
                  <a:srgbClr val="929292"/>
                </a:solidFill>
                <a:effectLst/>
                <a:uLnTx/>
                <a:uFillTx/>
                <a:latin typeface="Arial" panose="020B0604020202020204"/>
                <a:ea typeface="+mn-ea"/>
                <a:cs typeface="Calibri" panose="020F0502020204030204" pitchFamily="34" charset="0"/>
              </a:rPr>
              <a:t>proBNP</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Calibri" panose="020F0502020204030204" pitchFamily="34" charset="0"/>
              </a:rPr>
              <a:t>, </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N-terminal pro-brain natriuretic peptide</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Calibri" panose="020F0502020204030204" pitchFamily="34" charset="0"/>
              </a:rPr>
              <a:t>; SBP, systolic blood pressure.</a:t>
            </a:r>
            <a:endParaRPr kumimoji="0" lang="en-GB" sz="800" b="0" i="0" u="none" strike="noStrike" kern="1200" cap="none" spc="0" normalizeH="0" baseline="0" noProof="0">
              <a:ln>
                <a:noFill/>
              </a:ln>
              <a:solidFill>
                <a:srgbClr val="929292"/>
              </a:solidFill>
              <a:effectLst/>
              <a:uLnTx/>
              <a:uFillTx/>
              <a:latin typeface="Arial" panose="020B0604020202020204"/>
              <a:ea typeface="+mn-ea"/>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929292"/>
                </a:solidFill>
                <a:effectLst/>
                <a:uLnTx/>
                <a:uFillTx/>
                <a:latin typeface="Arial" panose="020B0604020202020204"/>
                <a:ea typeface="+mn-ea"/>
                <a:cs typeface="+mn-cs"/>
              </a:rPr>
              <a:t>References: 1. </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Bayer AG. </a:t>
            </a:r>
            <a:r>
              <a:rPr kumimoji="0" lang="en-GB" sz="800" b="0" i="0" u="none" strike="noStrike" kern="1200" cap="none" spc="0" normalizeH="0" baseline="0" noProof="0" err="1">
                <a:ln>
                  <a:noFill/>
                </a:ln>
                <a:solidFill>
                  <a:srgbClr val="929292"/>
                </a:solidFill>
                <a:effectLst/>
                <a:uLnTx/>
                <a:uFillTx/>
                <a:latin typeface="Arial" panose="020B0604020202020204"/>
                <a:ea typeface="+mn-ea"/>
                <a:cs typeface="+mn-cs"/>
              </a:rPr>
              <a:t>Verquvo</a:t>
            </a:r>
            <a:r>
              <a:rPr kumimoji="0" lang="en-GB" sz="800" b="0" i="0" u="none" strike="noStrike" kern="1200" cap="none" spc="0" normalizeH="0" baseline="30000" noProof="0">
                <a:ln>
                  <a:noFill/>
                </a:ln>
                <a:solidFill>
                  <a:srgbClr val="929292"/>
                </a:solidFill>
                <a:effectLst/>
                <a:uLnTx/>
                <a:uFillTx/>
                <a:latin typeface="Arial" panose="020B0604020202020204"/>
                <a:ea typeface="+mn-ea"/>
                <a:cs typeface="+mn-cs"/>
              </a:rPr>
              <a:t>®</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 (vericiguat) SmPC. 2021.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hlinkClick r:id="rId3"/>
              </a:rPr>
              <a:t>Link</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a:t>
            </a:r>
            <a:r>
              <a:rPr kumimoji="0" lang="en-GB" sz="800" b="1" i="0" u="none" strike="noStrike" kern="1200" cap="none" spc="0" normalizeH="0" baseline="0" noProof="0">
                <a:ln>
                  <a:noFill/>
                </a:ln>
                <a:solidFill>
                  <a:srgbClr val="929292"/>
                </a:solidFill>
                <a:effectLst/>
                <a:uLnTx/>
                <a:uFillTx/>
                <a:latin typeface="Arial" panose="020B0604020202020204"/>
                <a:ea typeface="+mn-ea"/>
                <a:cs typeface="+mn-cs"/>
              </a:rPr>
              <a:t> 2. </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Merck Sharp &amp; Dohme Corp</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 VERQUVO™ (vericiguat) Highlights of PI. 2021.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hlinkClick r:id="rId4"/>
              </a:rPr>
              <a:t>Link</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 </a:t>
            </a:r>
            <a:r>
              <a:rPr kumimoji="0" lang="en-US" sz="800" b="1" i="0" u="none" strike="noStrike" kern="1200" cap="none" spc="0" normalizeH="0" baseline="0" noProof="0">
                <a:ln>
                  <a:noFill/>
                </a:ln>
                <a:solidFill>
                  <a:srgbClr val="929292"/>
                </a:solidFill>
                <a:effectLst/>
                <a:uLnTx/>
                <a:uFillTx/>
                <a:latin typeface="Arial" panose="020B0604020202020204"/>
                <a:ea typeface="+mn-ea"/>
                <a:cs typeface="+mn-cs"/>
              </a:rPr>
              <a:t>3. </a:t>
            </a:r>
            <a:r>
              <a:rPr kumimoji="0" lang="da-DK" sz="800" b="0" i="0" u="none" strike="noStrike" kern="1200" cap="none" spc="0" normalizeH="0" baseline="0" noProof="0">
                <a:ln>
                  <a:noFill/>
                </a:ln>
                <a:solidFill>
                  <a:srgbClr val="929292"/>
                </a:solidFill>
                <a:effectLst/>
                <a:uLnTx/>
                <a:uFillTx/>
                <a:latin typeface="Arial" panose="020B0604020202020204"/>
                <a:ea typeface="+mn-ea"/>
                <a:cs typeface="+mn-cs"/>
              </a:rPr>
              <a:t>Armstrong PW </a:t>
            </a:r>
            <a:r>
              <a:rPr kumimoji="0" lang="da-DK" sz="800" b="0" i="1" u="none" strike="noStrike" kern="1200" cap="none" spc="0" normalizeH="0" baseline="0" noProof="0">
                <a:ln>
                  <a:noFill/>
                </a:ln>
                <a:solidFill>
                  <a:srgbClr val="929292"/>
                </a:solidFill>
                <a:effectLst/>
                <a:uLnTx/>
                <a:uFillTx/>
                <a:latin typeface="Arial" panose="020B0604020202020204"/>
                <a:ea typeface="+mn-ea"/>
                <a:cs typeface="+mn-cs"/>
              </a:rPr>
              <a:t>et al. N Engl J Med </a:t>
            </a:r>
            <a:r>
              <a:rPr kumimoji="0" lang="da-DK" sz="800" b="0" i="0" u="none" strike="noStrike" kern="1200" cap="none" spc="0" normalizeH="0" baseline="0" noProof="0">
                <a:ln>
                  <a:noFill/>
                </a:ln>
                <a:solidFill>
                  <a:srgbClr val="929292"/>
                </a:solidFill>
                <a:effectLst/>
                <a:uLnTx/>
                <a:uFillTx/>
                <a:latin typeface="Arial" panose="020B0604020202020204"/>
                <a:ea typeface="+mn-ea"/>
                <a:cs typeface="+mn-cs"/>
              </a:rPr>
              <a:t>2020;382:1883–1893.</a:t>
            </a:r>
            <a:endParaRPr kumimoji="0" lang="en-GB" sz="800" b="0" i="0" u="none" strike="noStrike" kern="1200" cap="none" spc="0" normalizeH="0" baseline="0" noProof="0">
              <a:ln>
                <a:noFill/>
              </a:ln>
              <a:solidFill>
                <a:srgbClr val="929292"/>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3E54BF3E-6B4C-4CAB-8386-B19DC10A14C6}"/>
              </a:ext>
            </a:extLst>
          </p:cNvPr>
          <p:cNvGrpSpPr/>
          <p:nvPr/>
        </p:nvGrpSpPr>
        <p:grpSpPr>
          <a:xfrm>
            <a:off x="335178" y="1678048"/>
            <a:ext cx="1008294" cy="1030872"/>
            <a:chOff x="335178" y="1678048"/>
            <a:chExt cx="1008294" cy="1030872"/>
          </a:xfrm>
        </p:grpSpPr>
        <p:sp>
          <p:nvSpPr>
            <p:cNvPr id="7" name="Oval 6">
              <a:extLst>
                <a:ext uri="{FF2B5EF4-FFF2-40B4-BE49-F238E27FC236}">
                  <a16:creationId xmlns:a16="http://schemas.microsoft.com/office/drawing/2014/main" id="{3B7C92D6-572D-4301-A236-798A567FAD56}"/>
                </a:ext>
              </a:extLst>
            </p:cNvPr>
            <p:cNvSpPr/>
            <p:nvPr/>
          </p:nvSpPr>
          <p:spPr>
            <a:xfrm>
              <a:off x="335178" y="1678048"/>
              <a:ext cx="1008294" cy="1030872"/>
            </a:xfrm>
            <a:prstGeom prst="ellipse">
              <a:avLst/>
            </a:prstGeom>
            <a:solidFill>
              <a:schemeClr val="accent1"/>
            </a:solidFill>
            <a:ln w="9525" cap="flat" cmpd="sng" algn="ctr">
              <a:solidFill>
                <a:schemeClr val="accent1"/>
              </a:solidFill>
              <a:prstDash val="solid"/>
            </a:ln>
            <a:effectLst>
              <a:outerShdw blurRad="40000" dist="23000" dir="5400000" rotWithShape="0">
                <a:srgbClr val="000000">
                  <a:alpha val="35000"/>
                </a:srgbClr>
              </a:outerShdw>
            </a:effectLst>
          </p:spPr>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a:ln>
                  <a:noFill/>
                </a:ln>
                <a:solidFill>
                  <a:srgbClr val="FFFFFF"/>
                </a:solidFill>
                <a:effectLst/>
                <a:uLnTx/>
                <a:uFillTx/>
                <a:latin typeface="Arial"/>
                <a:ea typeface="MS PGothic" charset="0"/>
                <a:cs typeface="+mn-cs"/>
              </a:endParaRPr>
            </a:p>
          </p:txBody>
        </p:sp>
        <p:grpSp>
          <p:nvGrpSpPr>
            <p:cNvPr id="8" name="Group 7">
              <a:extLst>
                <a:ext uri="{FF2B5EF4-FFF2-40B4-BE49-F238E27FC236}">
                  <a16:creationId xmlns:a16="http://schemas.microsoft.com/office/drawing/2014/main" id="{20F367CF-3DC5-45C2-B4EB-CEA409DC99E2}"/>
                </a:ext>
              </a:extLst>
            </p:cNvPr>
            <p:cNvGrpSpPr>
              <a:grpSpLocks noChangeAspect="1"/>
            </p:cNvGrpSpPr>
            <p:nvPr/>
          </p:nvGrpSpPr>
          <p:grpSpPr bwMode="gray">
            <a:xfrm>
              <a:off x="567448" y="1834267"/>
              <a:ext cx="543753" cy="730180"/>
              <a:chOff x="8699747" y="1861133"/>
              <a:chExt cx="380690" cy="511210"/>
            </a:xfrm>
            <a:solidFill>
              <a:schemeClr val="bg1"/>
            </a:solidFill>
          </p:grpSpPr>
          <p:sp>
            <p:nvSpPr>
              <p:cNvPr id="9" name="Freeform 51">
                <a:extLst>
                  <a:ext uri="{FF2B5EF4-FFF2-40B4-BE49-F238E27FC236}">
                    <a16:creationId xmlns:a16="http://schemas.microsoft.com/office/drawing/2014/main" id="{66AEE59E-D56E-4B2A-9827-3E34370E23A9}"/>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0" name="Freeform 52">
                <a:extLst>
                  <a:ext uri="{FF2B5EF4-FFF2-40B4-BE49-F238E27FC236}">
                    <a16:creationId xmlns:a16="http://schemas.microsoft.com/office/drawing/2014/main" id="{FDAC8952-76CF-41AF-BEBC-EE71C5FAB7F8}"/>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1" name="Freeform 53">
                <a:extLst>
                  <a:ext uri="{FF2B5EF4-FFF2-40B4-BE49-F238E27FC236}">
                    <a16:creationId xmlns:a16="http://schemas.microsoft.com/office/drawing/2014/main" id="{15D9CEF2-0CD5-4BB3-A3AD-948959E519FF}"/>
                  </a:ext>
                </a:extLst>
              </p:cNvPr>
              <p:cNvSpPr>
                <a:spLocks/>
              </p:cNvSpPr>
              <p:nvPr/>
            </p:nvSpPr>
            <p:spPr bwMode="gray">
              <a:xfrm>
                <a:off x="8734355" y="2020330"/>
                <a:ext cx="153265"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2" name="Freeform 54">
                <a:extLst>
                  <a:ext uri="{FF2B5EF4-FFF2-40B4-BE49-F238E27FC236}">
                    <a16:creationId xmlns:a16="http://schemas.microsoft.com/office/drawing/2014/main" id="{DF4E5CDE-1131-435A-99AC-154B46402E3A}"/>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3" name="Freeform 55">
                <a:extLst>
                  <a:ext uri="{FF2B5EF4-FFF2-40B4-BE49-F238E27FC236}">
                    <a16:creationId xmlns:a16="http://schemas.microsoft.com/office/drawing/2014/main" id="{F8F2A405-F962-4119-AEF4-56C60CE9C69D}"/>
                  </a:ext>
                </a:extLst>
              </p:cNvPr>
              <p:cNvSpPr>
                <a:spLocks noEditPoints="1"/>
              </p:cNvSpPr>
              <p:nvPr/>
            </p:nvSpPr>
            <p:spPr bwMode="gray">
              <a:xfrm>
                <a:off x="8906407"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sp>
            <p:nvSpPr>
              <p:cNvPr id="14" name="Freeform 56">
                <a:extLst>
                  <a:ext uri="{FF2B5EF4-FFF2-40B4-BE49-F238E27FC236}">
                    <a16:creationId xmlns:a16="http://schemas.microsoft.com/office/drawing/2014/main" id="{272F66B0-9A93-44AC-954C-B758D49E383A}"/>
                  </a:ext>
                </a:extLst>
              </p:cNvPr>
              <p:cNvSpPr>
                <a:spLocks/>
              </p:cNvSpPr>
              <p:nvPr/>
            </p:nvSpPr>
            <p:spPr bwMode="gray">
              <a:xfrm>
                <a:off x="8765997"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a:ln>
                    <a:noFill/>
                  </a:ln>
                  <a:solidFill>
                    <a:srgbClr val="4C5053"/>
                  </a:solidFill>
                  <a:effectLst/>
                  <a:uLnTx/>
                  <a:uFillTx/>
                  <a:latin typeface="Arial" panose="020B0604020202020204"/>
                  <a:ea typeface="MS PGothic" charset="0"/>
                  <a:cs typeface="+mn-cs"/>
                </a:endParaRPr>
              </a:p>
            </p:txBody>
          </p:sp>
        </p:grpSp>
      </p:grpSp>
      <p:sp>
        <p:nvSpPr>
          <p:cNvPr id="16" name="Text Placeholder 1">
            <a:extLst>
              <a:ext uri="{FF2B5EF4-FFF2-40B4-BE49-F238E27FC236}">
                <a16:creationId xmlns:a16="http://schemas.microsoft.com/office/drawing/2014/main" id="{C21DF4EA-EA4F-4F20-BE17-E04C9FAB0CF8}"/>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2606862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5343F-8089-4D66-83F9-E09C13D7AAB7}"/>
              </a:ext>
            </a:extLst>
          </p:cNvPr>
          <p:cNvSpPr>
            <a:spLocks noGrp="1"/>
          </p:cNvSpPr>
          <p:nvPr>
            <p:ph type="body" sz="quarter" idx="14"/>
          </p:nvPr>
        </p:nvSpPr>
        <p:spPr>
          <a:xfrm>
            <a:off x="596709" y="1419177"/>
            <a:ext cx="9387723" cy="317635"/>
          </a:xfrm>
        </p:spPr>
        <p:txBody>
          <a:bodyPr/>
          <a:lstStyle/>
          <a:p>
            <a:r>
              <a:rPr lang="en-US" sz="1600"/>
              <a:t>Vericiguat is initiated at a dose of 2.5 mg od* and doubled approximately every 2 weeks to a target dose of 10 mg od*</a:t>
            </a:r>
            <a:r>
              <a:rPr lang="en-US" sz="1600" baseline="30000"/>
              <a:t>1–3</a:t>
            </a:r>
          </a:p>
          <a:p>
            <a:endParaRPr lang="en-GB"/>
          </a:p>
        </p:txBody>
      </p:sp>
      <p:sp>
        <p:nvSpPr>
          <p:cNvPr id="4" name="Slide Number Placeholder 3">
            <a:extLst>
              <a:ext uri="{FF2B5EF4-FFF2-40B4-BE49-F238E27FC236}">
                <a16:creationId xmlns:a16="http://schemas.microsoft.com/office/drawing/2014/main" id="{1CCDC901-F628-4B81-9932-5E16C2D561B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9C8ABDB7-292B-4C51-AA55-69540FB30DE3}"/>
              </a:ext>
            </a:extLst>
          </p:cNvPr>
          <p:cNvSpPr>
            <a:spLocks noGrp="1"/>
          </p:cNvSpPr>
          <p:nvPr>
            <p:ph type="title"/>
          </p:nvPr>
        </p:nvSpPr>
        <p:spPr/>
        <p:txBody>
          <a:bodyPr/>
          <a:lstStyle/>
          <a:p>
            <a:r>
              <a:rPr lang="en-US" dirty="0"/>
              <a:t>Vericiguat has a straightforward dosing schedule</a:t>
            </a:r>
            <a:endParaRPr lang="en-GB" dirty="0"/>
          </a:p>
        </p:txBody>
      </p:sp>
      <p:sp>
        <p:nvSpPr>
          <p:cNvPr id="6" name="Footer Placeholder 5">
            <a:extLst>
              <a:ext uri="{FF2B5EF4-FFF2-40B4-BE49-F238E27FC236}">
                <a16:creationId xmlns:a16="http://schemas.microsoft.com/office/drawing/2014/main" id="{58468760-9782-444D-8AB2-6699C097723F}"/>
              </a:ext>
            </a:extLst>
          </p:cNvPr>
          <p:cNvSpPr>
            <a:spLocks noGrp="1"/>
          </p:cNvSpPr>
          <p:nvPr>
            <p:ph type="ftr" sz="quarter" idx="17"/>
          </p:nvPr>
        </p:nvSpPr>
        <p:spPr>
          <a:xfrm>
            <a:off x="600073" y="6340239"/>
            <a:ext cx="999642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 To be taken with food.</a:t>
            </a:r>
            <a:r>
              <a:rPr kumimoji="0" lang="en-GB" sz="800" b="0" i="0" u="none" strike="noStrike" kern="1200" cap="none" spc="0" normalizeH="0" baseline="30000" noProof="0">
                <a:ln>
                  <a:noFill/>
                </a:ln>
                <a:solidFill>
                  <a:srgbClr val="929292"/>
                </a:solidFill>
                <a:effectLst/>
                <a:uLnTx/>
                <a:uFillTx/>
                <a:latin typeface="Arial" panose="020B0604020202020204"/>
                <a:ea typeface="+mn-ea"/>
                <a:cs typeface="+mn-cs"/>
              </a:rPr>
              <a:t>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 </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Concomitant use of short-acting nitrates is well tolerated, but there is limited experience with long-acting nitrates in patients with HF. For full information regarding contraindications and precautions related to vericiguat use, please refer to the relevant local Prescribing Information.</a:t>
            </a:r>
            <a:r>
              <a:rPr kumimoji="0" lang="en-US" sz="800" b="0" i="0" u="none" strike="noStrike" kern="1200" cap="none" spc="0" normalizeH="0" baseline="30000" noProof="0">
                <a:ln>
                  <a:noFill/>
                </a:ln>
                <a:solidFill>
                  <a:srgbClr val="929292"/>
                </a:solidFill>
                <a:effectLst/>
                <a:uLnTx/>
                <a:uFillTx/>
                <a:latin typeface="Arial" panose="020B0604020202020204"/>
                <a:ea typeface="+mn-ea"/>
                <a:cs typeface="+mn-cs"/>
              </a:rPr>
              <a:t>1,2</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 </a:t>
            </a:r>
            <a:b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b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HF, heart failure; od, once daily; </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PDE-5, </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phosphodiesterase type 5; SBP, systolic blood pressure; sGC, soluble guanylate cyclase.</a:t>
            </a:r>
            <a:b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br>
            <a:r>
              <a:rPr kumimoji="0" lang="en-GB" sz="800" b="1" i="0" u="none" strike="noStrike" kern="1200" cap="none" spc="0" normalizeH="0" baseline="0" noProof="0">
                <a:ln>
                  <a:noFill/>
                </a:ln>
                <a:solidFill>
                  <a:srgbClr val="929292"/>
                </a:solidFill>
                <a:effectLst/>
                <a:uLnTx/>
                <a:uFillTx/>
                <a:latin typeface="Arial" panose="020B0604020202020204"/>
                <a:ea typeface="+mn-ea"/>
                <a:cs typeface="+mn-cs"/>
              </a:rPr>
              <a:t>References: 1. </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Bayer AG. </a:t>
            </a:r>
            <a:r>
              <a:rPr kumimoji="0" lang="en-GB" sz="800" b="0" i="0" u="none" strike="noStrike" kern="1200" cap="none" spc="0" normalizeH="0" baseline="0" noProof="0" err="1">
                <a:ln>
                  <a:noFill/>
                </a:ln>
                <a:solidFill>
                  <a:srgbClr val="929292"/>
                </a:solidFill>
                <a:effectLst/>
                <a:uLnTx/>
                <a:uFillTx/>
                <a:latin typeface="Arial" panose="020B0604020202020204"/>
                <a:ea typeface="+mn-ea"/>
                <a:cs typeface="+mn-cs"/>
              </a:rPr>
              <a:t>Verquvo</a:t>
            </a:r>
            <a:r>
              <a:rPr kumimoji="0" lang="en-GB" sz="800" b="0" i="0" u="none" strike="noStrike" kern="1200" cap="none" spc="0" normalizeH="0" baseline="30000" noProof="0">
                <a:ln>
                  <a:noFill/>
                </a:ln>
                <a:solidFill>
                  <a:srgbClr val="929292"/>
                </a:solidFill>
                <a:effectLst/>
                <a:uLnTx/>
                <a:uFillTx/>
                <a:latin typeface="Arial" panose="020B0604020202020204"/>
                <a:ea typeface="+mn-ea"/>
                <a:cs typeface="+mn-cs"/>
              </a:rPr>
              <a:t>®</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 (vericiguat) SmPC. 2021.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hlinkClick r:id="rId3"/>
              </a:rPr>
              <a:t>Link</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 </a:t>
            </a:r>
            <a:r>
              <a:rPr kumimoji="0" lang="en-GB" sz="800" b="1" i="0" u="none" strike="noStrike" kern="1200" cap="none" spc="0" normalizeH="0" baseline="0" noProof="0">
                <a:ln>
                  <a:noFill/>
                </a:ln>
                <a:solidFill>
                  <a:srgbClr val="929292"/>
                </a:solidFill>
                <a:effectLst/>
                <a:uLnTx/>
                <a:uFillTx/>
                <a:latin typeface="Arial" panose="020B0604020202020204"/>
                <a:ea typeface="+mn-ea"/>
                <a:cs typeface="+mn-cs"/>
              </a:rPr>
              <a:t>2. </a:t>
            </a:r>
            <a:r>
              <a:rPr kumimoji="0" lang="en-GB" sz="800" b="0" i="0" u="none" strike="noStrike" kern="1200" cap="none" spc="0" normalizeH="0" baseline="0" noProof="0">
                <a:ln>
                  <a:noFill/>
                </a:ln>
                <a:solidFill>
                  <a:srgbClr val="929292"/>
                </a:solidFill>
                <a:effectLst/>
                <a:uLnTx/>
                <a:uFillTx/>
                <a:latin typeface="Arial" panose="020B0604020202020204"/>
                <a:ea typeface="+mn-ea"/>
                <a:cs typeface="+mn-cs"/>
              </a:rPr>
              <a:t>Merck Sharp &amp; Dohme Corp</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 VERQUVO™ (vericiguat) Highlights of PI. 2021.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hlinkClick r:id="rId4"/>
              </a:rPr>
              <a:t>Link</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t>
            </a:r>
            <a:r>
              <a:rPr kumimoji="0" lang="en-US" sz="800" b="0" i="0" u="none" strike="noStrike" kern="1200" cap="none" spc="0" normalizeH="0" baseline="0" noProof="0">
                <a:ln>
                  <a:noFill/>
                </a:ln>
                <a:solidFill>
                  <a:srgbClr val="929292"/>
                </a:solidFill>
                <a:effectLst/>
                <a:uLnTx/>
                <a:uFillTx/>
                <a:latin typeface="Arial" panose="020B0604020202020204"/>
                <a:ea typeface="+mn-ea"/>
                <a:cs typeface="+mn-cs"/>
              </a:rPr>
              <a:t>; </a:t>
            </a:r>
            <a:r>
              <a:rPr kumimoji="0" lang="en-US" sz="800" b="1" i="0" u="none" strike="noStrike" kern="1200" cap="none" spc="0" normalizeH="0" baseline="0" noProof="0">
                <a:ln>
                  <a:noFill/>
                </a:ln>
                <a:solidFill>
                  <a:srgbClr val="929292"/>
                </a:solidFill>
                <a:effectLst/>
                <a:uLnTx/>
                <a:uFillTx/>
                <a:latin typeface="Arial" panose="020B0604020202020204"/>
                <a:ea typeface="+mn-ea"/>
                <a:cs typeface="+mn-cs"/>
              </a:rPr>
              <a:t>3. </a:t>
            </a:r>
            <a:r>
              <a:rPr kumimoji="0" lang="da-DK" sz="800" b="0" i="0" u="none" strike="noStrike" kern="1200" cap="none" spc="0" normalizeH="0" baseline="0" noProof="0">
                <a:ln>
                  <a:noFill/>
                </a:ln>
                <a:solidFill>
                  <a:srgbClr val="929292"/>
                </a:solidFill>
                <a:effectLst/>
                <a:uLnTx/>
                <a:uFillTx/>
                <a:latin typeface="Arial" panose="020B0604020202020204"/>
                <a:ea typeface="+mn-ea"/>
                <a:cs typeface="+mn-cs"/>
              </a:rPr>
              <a:t>Armstrong PW </a:t>
            </a:r>
            <a:r>
              <a:rPr kumimoji="0" lang="da-DK" sz="800" b="0" i="1" u="none" strike="noStrike" kern="1200" cap="none" spc="0" normalizeH="0" baseline="0" noProof="0">
                <a:ln>
                  <a:noFill/>
                </a:ln>
                <a:solidFill>
                  <a:srgbClr val="929292"/>
                </a:solidFill>
                <a:effectLst/>
                <a:uLnTx/>
                <a:uFillTx/>
                <a:latin typeface="Arial" panose="020B0604020202020204"/>
                <a:ea typeface="+mn-ea"/>
                <a:cs typeface="+mn-cs"/>
              </a:rPr>
              <a:t>et al. N Engl J Med</a:t>
            </a:r>
            <a:r>
              <a:rPr kumimoji="0" lang="da-DK" sz="800" b="0" i="0" u="none" strike="noStrike" kern="1200" cap="none" spc="0" normalizeH="0" baseline="0" noProof="0">
                <a:ln>
                  <a:noFill/>
                </a:ln>
                <a:solidFill>
                  <a:srgbClr val="929292"/>
                </a:solidFill>
                <a:effectLst/>
                <a:uLnTx/>
                <a:uFillTx/>
                <a:latin typeface="Arial" panose="020B0604020202020204"/>
                <a:ea typeface="+mn-ea"/>
                <a:cs typeface="+mn-cs"/>
              </a:rPr>
              <a:t> 2020;382:1883–1893.</a:t>
            </a:r>
            <a:endParaRPr kumimoji="0" lang="en-GB" sz="800" b="0" i="0" u="none" strike="noStrike" kern="1200" cap="none" spc="0" normalizeH="0" baseline="0" noProof="0">
              <a:ln>
                <a:noFill/>
              </a:ln>
              <a:solidFill>
                <a:srgbClr val="929292"/>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296C62E-00BA-415F-9349-8F8225FBC787}"/>
              </a:ext>
            </a:extLst>
          </p:cNvPr>
          <p:cNvSpPr txBox="1"/>
          <p:nvPr/>
        </p:nvSpPr>
        <p:spPr>
          <a:xfrm>
            <a:off x="5052648" y="4937611"/>
            <a:ext cx="4427728" cy="934478"/>
          </a:xfrm>
          <a:prstGeom prst="rect">
            <a:avLst/>
          </a:prstGeom>
          <a:solidFill>
            <a:schemeClr val="accent5">
              <a:lumMod val="20000"/>
              <a:lumOff val="80000"/>
            </a:schemeClr>
          </a:solidFill>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ue to the potential increased risk for symptomatic hypotension, </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use is not recommended in conjunction with PDE-5 inhibitors (e.g. sildenafil)</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 Use of other sGC stimulators is contraindicated</a:t>
            </a:r>
            <a:r>
              <a:rPr kumimoji="0" lang="en-GB" sz="1400" b="1" i="0" u="none" strike="noStrike" kern="1200" cap="none" spc="0" normalizeH="0" baseline="30000" noProof="0">
                <a:ln>
                  <a:noFill/>
                </a:ln>
                <a:solidFill>
                  <a:srgbClr val="000000"/>
                </a:solidFill>
                <a:effectLst/>
                <a:uLnTx/>
                <a:uFillTx/>
                <a:latin typeface="Arial" panose="020B0604020202020204"/>
                <a:ea typeface="+mn-ea"/>
                <a:cs typeface="+mn-cs"/>
              </a:rPr>
              <a:t>#,</a:t>
            </a:r>
            <a:r>
              <a:rPr kumimoji="0" lang="en-US" sz="1400" b="1" i="0" u="none" strike="noStrike" kern="1200" cap="none" spc="0" normalizeH="0" baseline="30000" noProof="0">
                <a:ln>
                  <a:noFill/>
                </a:ln>
                <a:solidFill>
                  <a:srgbClr val="000000"/>
                </a:solidFill>
                <a:effectLst/>
                <a:uLnTx/>
                <a:uFillTx/>
                <a:latin typeface="Arial" panose="020B0604020202020204"/>
                <a:ea typeface="+mn-ea"/>
                <a:cs typeface="+mn-cs"/>
              </a:rPr>
              <a:t>1,2</a:t>
            </a:r>
          </a:p>
        </p:txBody>
      </p:sp>
      <p:sp>
        <p:nvSpPr>
          <p:cNvPr id="9" name="Rectangle: Rounded Corners 8">
            <a:extLst>
              <a:ext uri="{FF2B5EF4-FFF2-40B4-BE49-F238E27FC236}">
                <a16:creationId xmlns:a16="http://schemas.microsoft.com/office/drawing/2014/main" id="{C0F057CD-EE97-4A3A-9101-8A6EC06EB253}"/>
              </a:ext>
            </a:extLst>
          </p:cNvPr>
          <p:cNvSpPr/>
          <p:nvPr/>
        </p:nvSpPr>
        <p:spPr>
          <a:xfrm>
            <a:off x="596710" y="2255718"/>
            <a:ext cx="8883666" cy="2629746"/>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11">
            <a:extLst>
              <a:ext uri="{FF2B5EF4-FFF2-40B4-BE49-F238E27FC236}">
                <a16:creationId xmlns:a16="http://schemas.microsoft.com/office/drawing/2014/main" id="{C4049883-660C-41FC-A3B6-FB5A0ED64B67}"/>
              </a:ext>
            </a:extLst>
          </p:cNvPr>
          <p:cNvSpPr/>
          <p:nvPr/>
        </p:nvSpPr>
        <p:spPr>
          <a:xfrm>
            <a:off x="4363394" y="3211140"/>
            <a:ext cx="4561363" cy="561551"/>
          </a:xfrm>
          <a:prstGeom prst="rect">
            <a:avLst/>
          </a:prstGeom>
        </p:spPr>
        <p:txBody>
          <a:bodyPr wrap="square" lIns="68441" tIns="34220" rIns="68441" bIns="34220">
            <a:spAutoFit/>
          </a:bodyPr>
          <a:lstStyle/>
          <a:p>
            <a:pPr marL="0" marR="0" lvl="0" indent="0" algn="ctr" defTabSz="457189" rtl="0" eaLnBrk="0" fontAlgn="base" latinLnBrk="0" hangingPunct="0">
              <a:lnSpc>
                <a:spcPct val="100000"/>
              </a:lnSpc>
              <a:spcBef>
                <a:spcPct val="50000"/>
              </a:spcBef>
              <a:spcAft>
                <a:spcPct val="0"/>
              </a:spcAft>
              <a:buClr>
                <a:srgbClr val="9E001B"/>
              </a:buClr>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Vericiguat</a:t>
            </a: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 10 mg target dose od + </a:t>
            </a:r>
            <a:br>
              <a:rPr kumimoji="0" lang="en-US" sz="16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br>
            <a:r>
              <a:rPr kumimoji="0" lang="en-US" sz="16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background HF therapies</a:t>
            </a:r>
          </a:p>
        </p:txBody>
      </p:sp>
      <p:sp>
        <p:nvSpPr>
          <p:cNvPr id="11" name="Rectangle 17">
            <a:extLst>
              <a:ext uri="{FF2B5EF4-FFF2-40B4-BE49-F238E27FC236}">
                <a16:creationId xmlns:a16="http://schemas.microsoft.com/office/drawing/2014/main" id="{D588FDA1-66C4-438F-A9F7-39A11E66CE53}"/>
              </a:ext>
            </a:extLst>
          </p:cNvPr>
          <p:cNvSpPr/>
          <p:nvPr/>
        </p:nvSpPr>
        <p:spPr>
          <a:xfrm>
            <a:off x="1664656" y="3739014"/>
            <a:ext cx="779920" cy="315330"/>
          </a:xfrm>
          <a:prstGeom prst="rect">
            <a:avLst/>
          </a:prstGeom>
        </p:spPr>
        <p:txBody>
          <a:bodyPr wrap="square" lIns="0" tIns="34220" rIns="0" bIns="34220">
            <a:spAutoFit/>
          </a:bodyPr>
          <a:lstStyle/>
          <a:p>
            <a:pPr marL="0" marR="0" lvl="0" indent="0" algn="ctr" defTabSz="457189" rtl="0" eaLnBrk="0" fontAlgn="base" latinLnBrk="0" hangingPunct="0">
              <a:lnSpc>
                <a:spcPct val="100000"/>
              </a:lnSpc>
              <a:spcBef>
                <a:spcPct val="0"/>
              </a:spcBef>
              <a:spcAft>
                <a:spcPct val="0"/>
              </a:spcAft>
              <a:buClr>
                <a:srgbClr val="9E001B"/>
              </a:buClr>
              <a:buSzTx/>
              <a:buFontTx/>
              <a:buNone/>
              <a:tabLst/>
              <a:defRPr/>
            </a:pPr>
            <a:r>
              <a:rPr kumimoji="0" lang="en-US" sz="1600" b="0"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S PGothic" charset="0"/>
                <a:cs typeface="Arial" panose="020B0604020202020204" pitchFamily="34" charset="0"/>
              </a:rPr>
              <a:t>2.5 mg</a:t>
            </a:r>
            <a:endParaRPr kumimoji="0" lang="en-US" sz="1600" b="0" i="0" u="none" strike="noStrike" kern="0" cap="none" spc="0" normalizeH="0" baseline="0" noProof="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12" name="Rectangle 18">
            <a:extLst>
              <a:ext uri="{FF2B5EF4-FFF2-40B4-BE49-F238E27FC236}">
                <a16:creationId xmlns:a16="http://schemas.microsoft.com/office/drawing/2014/main" id="{6C294E90-B27E-4109-A80C-218ACD9CF326}"/>
              </a:ext>
            </a:extLst>
          </p:cNvPr>
          <p:cNvSpPr/>
          <p:nvPr/>
        </p:nvSpPr>
        <p:spPr>
          <a:xfrm>
            <a:off x="3243327" y="3233875"/>
            <a:ext cx="688818" cy="315330"/>
          </a:xfrm>
          <a:prstGeom prst="rect">
            <a:avLst/>
          </a:prstGeom>
        </p:spPr>
        <p:txBody>
          <a:bodyPr wrap="square" lIns="0" tIns="34220" rIns="0" bIns="34220">
            <a:spAutoFit/>
          </a:bodyPr>
          <a:lstStyle/>
          <a:p>
            <a:pPr marL="0" marR="0" lvl="0" indent="0" algn="ctr" defTabSz="457189" rtl="0" eaLnBrk="0" fontAlgn="base" latinLnBrk="0" hangingPunct="0">
              <a:lnSpc>
                <a:spcPct val="100000"/>
              </a:lnSpc>
              <a:spcBef>
                <a:spcPct val="0"/>
              </a:spcBef>
              <a:spcAft>
                <a:spcPct val="0"/>
              </a:spcAft>
              <a:buClr>
                <a:srgbClr val="9E001B"/>
              </a:buClr>
              <a:buSzTx/>
              <a:buFontTx/>
              <a:buNone/>
              <a:tabLst/>
              <a:defRPr/>
            </a:pPr>
            <a:r>
              <a:rPr kumimoji="0" lang="en-US" sz="1600" b="0"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S PGothic" charset="0"/>
                <a:cs typeface="Arial" panose="020B0604020202020204" pitchFamily="34" charset="0"/>
              </a:rPr>
              <a:t>5 mg</a:t>
            </a:r>
            <a:endParaRPr kumimoji="0" lang="en-US" sz="1600" b="0" i="0" u="none" strike="noStrike" kern="0" cap="none" spc="0" normalizeH="0" baseline="0" noProof="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13" name="Rectangle 19">
            <a:extLst>
              <a:ext uri="{FF2B5EF4-FFF2-40B4-BE49-F238E27FC236}">
                <a16:creationId xmlns:a16="http://schemas.microsoft.com/office/drawing/2014/main" id="{1648ECEF-6027-4E8C-8847-1746A65312FA}"/>
              </a:ext>
            </a:extLst>
          </p:cNvPr>
          <p:cNvSpPr/>
          <p:nvPr/>
        </p:nvSpPr>
        <p:spPr>
          <a:xfrm>
            <a:off x="6316475" y="2776967"/>
            <a:ext cx="655200" cy="315330"/>
          </a:xfrm>
          <a:prstGeom prst="rect">
            <a:avLst/>
          </a:prstGeom>
        </p:spPr>
        <p:txBody>
          <a:bodyPr wrap="square" lIns="0" tIns="34220" rIns="0" bIns="34220">
            <a:spAutoFit/>
          </a:bodyPr>
          <a:lstStyle/>
          <a:p>
            <a:pPr marL="0" marR="0" lvl="0" indent="0" algn="l" defTabSz="457189" rtl="0" eaLnBrk="0" fontAlgn="base" latinLnBrk="0" hangingPunct="0">
              <a:lnSpc>
                <a:spcPct val="100000"/>
              </a:lnSpc>
              <a:spcBef>
                <a:spcPct val="0"/>
              </a:spcBef>
              <a:spcAft>
                <a:spcPct val="0"/>
              </a:spcAft>
              <a:buClr>
                <a:srgbClr val="9E001B"/>
              </a:buClr>
              <a:buSzTx/>
              <a:buFontTx/>
              <a:buNone/>
              <a:tabLst/>
              <a:defRPr/>
            </a:pPr>
            <a:r>
              <a:rPr kumimoji="0" lang="en-US" sz="1600" b="0" i="0" u="none" strike="noStrike" kern="0" cap="none" spc="0" normalizeH="0" baseline="0" noProof="0">
                <a:ln>
                  <a:noFill/>
                </a:ln>
                <a:solidFill>
                  <a:prstClr val="black">
                    <a:lumMod val="75000"/>
                    <a:lumOff val="25000"/>
                  </a:prstClr>
                </a:solidFill>
                <a:effectLst/>
                <a:uLnTx/>
                <a:uFillTx/>
                <a:latin typeface="Arial" panose="020B0604020202020204" pitchFamily="34" charset="0"/>
                <a:ea typeface="MS PGothic" charset="0"/>
                <a:cs typeface="Arial" panose="020B0604020202020204" pitchFamily="34" charset="0"/>
              </a:rPr>
              <a:t>10 mg</a:t>
            </a:r>
            <a:endParaRPr kumimoji="0" lang="en-US" sz="1600" b="0" i="0" u="none" strike="noStrike" kern="0" cap="none" spc="0" normalizeH="0" baseline="0" noProof="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14" name="Rectangle 11">
            <a:extLst>
              <a:ext uri="{FF2B5EF4-FFF2-40B4-BE49-F238E27FC236}">
                <a16:creationId xmlns:a16="http://schemas.microsoft.com/office/drawing/2014/main" id="{D62D1089-BD5B-445B-A4F5-F5C68786229D}"/>
              </a:ext>
            </a:extLst>
          </p:cNvPr>
          <p:cNvSpPr/>
          <p:nvPr/>
        </p:nvSpPr>
        <p:spPr>
          <a:xfrm>
            <a:off x="1495998" y="4224501"/>
            <a:ext cx="1117237" cy="315330"/>
          </a:xfrm>
          <a:prstGeom prst="rect">
            <a:avLst/>
          </a:prstGeom>
        </p:spPr>
        <p:txBody>
          <a:bodyPr wrap="square" lIns="68441" tIns="34220" rIns="68441" bIns="34220">
            <a:spAutoFit/>
          </a:bodyPr>
          <a:lstStyle/>
          <a:p>
            <a:pPr marL="0" marR="0" lvl="0" indent="0" algn="ctr" defTabSz="457189" rtl="0" eaLnBrk="0" fontAlgn="base" latinLnBrk="0" hangingPunct="0">
              <a:lnSpc>
                <a:spcPct val="100000"/>
              </a:lnSpc>
              <a:spcBef>
                <a:spcPct val="50000"/>
              </a:spcBef>
              <a:spcAft>
                <a:spcPct val="0"/>
              </a:spcAft>
              <a:buClr>
                <a:srgbClr val="9E001B"/>
              </a:buClr>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2 weeks</a:t>
            </a: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endParaRPr>
          </a:p>
        </p:txBody>
      </p:sp>
      <p:sp>
        <p:nvSpPr>
          <p:cNvPr id="15" name="Rectangle 11">
            <a:extLst>
              <a:ext uri="{FF2B5EF4-FFF2-40B4-BE49-F238E27FC236}">
                <a16:creationId xmlns:a16="http://schemas.microsoft.com/office/drawing/2014/main" id="{9DEC3168-EA87-4916-8499-45A6064D5972}"/>
              </a:ext>
            </a:extLst>
          </p:cNvPr>
          <p:cNvSpPr/>
          <p:nvPr/>
        </p:nvSpPr>
        <p:spPr>
          <a:xfrm>
            <a:off x="3029118" y="3724209"/>
            <a:ext cx="1117237" cy="315330"/>
          </a:xfrm>
          <a:prstGeom prst="rect">
            <a:avLst/>
          </a:prstGeom>
        </p:spPr>
        <p:txBody>
          <a:bodyPr wrap="square" lIns="68441" tIns="34220" rIns="68441" bIns="34220">
            <a:spAutoFit/>
          </a:bodyPr>
          <a:lstStyle/>
          <a:p>
            <a:pPr marL="0" marR="0" lvl="0" indent="0" algn="ctr" defTabSz="457189" rtl="0" eaLnBrk="0" fontAlgn="base" latinLnBrk="0" hangingPunct="0">
              <a:lnSpc>
                <a:spcPct val="100000"/>
              </a:lnSpc>
              <a:spcBef>
                <a:spcPct val="50000"/>
              </a:spcBef>
              <a:spcAft>
                <a:spcPct val="0"/>
              </a:spcAft>
              <a:buClr>
                <a:srgbClr val="9E001B"/>
              </a:buClr>
              <a:buSzTx/>
              <a:buFontTx/>
              <a:buNone/>
              <a:tabLst/>
              <a:defRPr/>
            </a:pPr>
            <a:r>
              <a:rPr kumimoji="0" lang="en-US" sz="1600" b="1"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rPr>
              <a:t>2 weeks</a:t>
            </a:r>
            <a:endParaRPr kumimoji="0" lang="en-US" sz="1600" b="0" i="0" u="none" strike="noStrike" kern="0" cap="none" spc="0" normalizeH="0" baseline="0" noProof="0">
              <a:ln>
                <a:noFill/>
              </a:ln>
              <a:solidFill>
                <a:srgbClr val="000000"/>
              </a:solidFill>
              <a:effectLst/>
              <a:uLnTx/>
              <a:uFillTx/>
              <a:latin typeface="Arial" panose="020B0604020202020204" pitchFamily="34" charset="0"/>
              <a:ea typeface="MS PGothic" charset="0"/>
              <a:cs typeface="Arial" panose="020B0604020202020204" pitchFamily="34" charset="0"/>
            </a:endParaRPr>
          </a:p>
        </p:txBody>
      </p:sp>
      <p:sp>
        <p:nvSpPr>
          <p:cNvPr id="16" name="Freeform 44">
            <a:extLst>
              <a:ext uri="{FF2B5EF4-FFF2-40B4-BE49-F238E27FC236}">
                <a16:creationId xmlns:a16="http://schemas.microsoft.com/office/drawing/2014/main" id="{D4548767-F00F-47E8-B819-3FD19AF427AF}"/>
              </a:ext>
            </a:extLst>
          </p:cNvPr>
          <p:cNvSpPr/>
          <p:nvPr/>
        </p:nvSpPr>
        <p:spPr>
          <a:xfrm>
            <a:off x="1240416" y="3153107"/>
            <a:ext cx="7722503" cy="1618070"/>
          </a:xfrm>
          <a:custGeom>
            <a:avLst/>
            <a:gdLst>
              <a:gd name="connsiteX0" fmla="*/ 0 w 6579476"/>
              <a:gd name="connsiteY0" fmla="*/ 840828 h 840828"/>
              <a:gd name="connsiteX1" fmla="*/ 0 w 6579476"/>
              <a:gd name="connsiteY1" fmla="*/ 451945 h 840828"/>
              <a:gd name="connsiteX2" fmla="*/ 809297 w 6579476"/>
              <a:gd name="connsiteY2" fmla="*/ 451945 h 840828"/>
              <a:gd name="connsiteX3" fmla="*/ 809297 w 6579476"/>
              <a:gd name="connsiteY3" fmla="*/ 241738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809297 w 6579476"/>
              <a:gd name="connsiteY2" fmla="*/ 451945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595023 w 6579476"/>
              <a:gd name="connsiteY2" fmla="*/ 467113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623216 w 6579476"/>
              <a:gd name="connsiteY2" fmla="*/ 451945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606301 w 6579476"/>
              <a:gd name="connsiteY2" fmla="*/ 451945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606301 w 6579476"/>
              <a:gd name="connsiteY2" fmla="*/ 451945 h 840828"/>
              <a:gd name="connsiteX3" fmla="*/ 606301 w 6579476"/>
              <a:gd name="connsiteY3" fmla="*/ 244266 h 840828"/>
              <a:gd name="connsiteX4" fmla="*/ 1681655 w 6579476"/>
              <a:gd name="connsiteY4" fmla="*/ 241738 h 840828"/>
              <a:gd name="connsiteX5" fmla="*/ 1681655 w 6579476"/>
              <a:gd name="connsiteY5" fmla="*/ 0 h 840828"/>
              <a:gd name="connsiteX6" fmla="*/ 6579476 w 6579476"/>
              <a:gd name="connsiteY6" fmla="*/ 0 h 840828"/>
              <a:gd name="connsiteX0" fmla="*/ 242467 w 6821943"/>
              <a:gd name="connsiteY0" fmla="*/ 840828 h 840828"/>
              <a:gd name="connsiteX1" fmla="*/ 0 w 6821943"/>
              <a:gd name="connsiteY1" fmla="*/ 451945 h 840828"/>
              <a:gd name="connsiteX2" fmla="*/ 848768 w 6821943"/>
              <a:gd name="connsiteY2" fmla="*/ 451945 h 840828"/>
              <a:gd name="connsiteX3" fmla="*/ 848768 w 6821943"/>
              <a:gd name="connsiteY3" fmla="*/ 244266 h 840828"/>
              <a:gd name="connsiteX4" fmla="*/ 1924122 w 6821943"/>
              <a:gd name="connsiteY4" fmla="*/ 241738 h 840828"/>
              <a:gd name="connsiteX5" fmla="*/ 1924122 w 6821943"/>
              <a:gd name="connsiteY5" fmla="*/ 0 h 840828"/>
              <a:gd name="connsiteX6" fmla="*/ 6821943 w 6821943"/>
              <a:gd name="connsiteY6" fmla="*/ 0 h 840828"/>
              <a:gd name="connsiteX0" fmla="*/ 0 w 6833222"/>
              <a:gd name="connsiteY0" fmla="*/ 833244 h 833244"/>
              <a:gd name="connsiteX1" fmla="*/ 11279 w 6833222"/>
              <a:gd name="connsiteY1" fmla="*/ 451945 h 833244"/>
              <a:gd name="connsiteX2" fmla="*/ 860047 w 6833222"/>
              <a:gd name="connsiteY2" fmla="*/ 451945 h 833244"/>
              <a:gd name="connsiteX3" fmla="*/ 860047 w 6833222"/>
              <a:gd name="connsiteY3" fmla="*/ 244266 h 833244"/>
              <a:gd name="connsiteX4" fmla="*/ 1935401 w 6833222"/>
              <a:gd name="connsiteY4" fmla="*/ 241738 h 833244"/>
              <a:gd name="connsiteX5" fmla="*/ 1935401 w 6833222"/>
              <a:gd name="connsiteY5" fmla="*/ 0 h 833244"/>
              <a:gd name="connsiteX6" fmla="*/ 6833222 w 6833222"/>
              <a:gd name="connsiteY6" fmla="*/ 0 h 833244"/>
              <a:gd name="connsiteX0" fmla="*/ 8457 w 6821943"/>
              <a:gd name="connsiteY0" fmla="*/ 833244 h 833244"/>
              <a:gd name="connsiteX1" fmla="*/ 0 w 6821943"/>
              <a:gd name="connsiteY1" fmla="*/ 451945 h 833244"/>
              <a:gd name="connsiteX2" fmla="*/ 848768 w 6821943"/>
              <a:gd name="connsiteY2" fmla="*/ 451945 h 833244"/>
              <a:gd name="connsiteX3" fmla="*/ 848768 w 6821943"/>
              <a:gd name="connsiteY3" fmla="*/ 244266 h 833244"/>
              <a:gd name="connsiteX4" fmla="*/ 1924122 w 6821943"/>
              <a:gd name="connsiteY4" fmla="*/ 241738 h 833244"/>
              <a:gd name="connsiteX5" fmla="*/ 1924122 w 6821943"/>
              <a:gd name="connsiteY5" fmla="*/ 0 h 833244"/>
              <a:gd name="connsiteX6" fmla="*/ 6821943 w 6821943"/>
              <a:gd name="connsiteY6" fmla="*/ 0 h 833244"/>
              <a:gd name="connsiteX0" fmla="*/ 8457 w 6821943"/>
              <a:gd name="connsiteY0" fmla="*/ 834508 h 834508"/>
              <a:gd name="connsiteX1" fmla="*/ 0 w 6821943"/>
              <a:gd name="connsiteY1" fmla="*/ 451945 h 834508"/>
              <a:gd name="connsiteX2" fmla="*/ 848768 w 6821943"/>
              <a:gd name="connsiteY2" fmla="*/ 451945 h 834508"/>
              <a:gd name="connsiteX3" fmla="*/ 848768 w 6821943"/>
              <a:gd name="connsiteY3" fmla="*/ 244266 h 834508"/>
              <a:gd name="connsiteX4" fmla="*/ 1924122 w 6821943"/>
              <a:gd name="connsiteY4" fmla="*/ 241738 h 834508"/>
              <a:gd name="connsiteX5" fmla="*/ 1924122 w 6821943"/>
              <a:gd name="connsiteY5" fmla="*/ 0 h 834508"/>
              <a:gd name="connsiteX6" fmla="*/ 6821943 w 6821943"/>
              <a:gd name="connsiteY6" fmla="*/ 0 h 834508"/>
              <a:gd name="connsiteX0" fmla="*/ 0 w 6821944"/>
              <a:gd name="connsiteY0" fmla="*/ 834508 h 834508"/>
              <a:gd name="connsiteX1" fmla="*/ 1 w 6821944"/>
              <a:gd name="connsiteY1" fmla="*/ 451945 h 834508"/>
              <a:gd name="connsiteX2" fmla="*/ 848769 w 6821944"/>
              <a:gd name="connsiteY2" fmla="*/ 451945 h 834508"/>
              <a:gd name="connsiteX3" fmla="*/ 848769 w 6821944"/>
              <a:gd name="connsiteY3" fmla="*/ 244266 h 834508"/>
              <a:gd name="connsiteX4" fmla="*/ 1924123 w 6821944"/>
              <a:gd name="connsiteY4" fmla="*/ 241738 h 834508"/>
              <a:gd name="connsiteX5" fmla="*/ 1924123 w 6821944"/>
              <a:gd name="connsiteY5" fmla="*/ 0 h 834508"/>
              <a:gd name="connsiteX6" fmla="*/ 6821944 w 6821944"/>
              <a:gd name="connsiteY6" fmla="*/ 0 h 834508"/>
              <a:gd name="connsiteX0" fmla="*/ 127811 w 6949755"/>
              <a:gd name="connsiteY0" fmla="*/ 834508 h 834508"/>
              <a:gd name="connsiteX1" fmla="*/ 0 w 6949755"/>
              <a:gd name="connsiteY1" fmla="*/ 448574 h 834508"/>
              <a:gd name="connsiteX2" fmla="*/ 976580 w 6949755"/>
              <a:gd name="connsiteY2" fmla="*/ 451945 h 834508"/>
              <a:gd name="connsiteX3" fmla="*/ 976580 w 6949755"/>
              <a:gd name="connsiteY3" fmla="*/ 244266 h 834508"/>
              <a:gd name="connsiteX4" fmla="*/ 2051934 w 6949755"/>
              <a:gd name="connsiteY4" fmla="*/ 241738 h 834508"/>
              <a:gd name="connsiteX5" fmla="*/ 2051934 w 6949755"/>
              <a:gd name="connsiteY5" fmla="*/ 0 h 834508"/>
              <a:gd name="connsiteX6" fmla="*/ 6949755 w 6949755"/>
              <a:gd name="connsiteY6" fmla="*/ 0 h 834508"/>
              <a:gd name="connsiteX0" fmla="*/ 11276 w 6949755"/>
              <a:gd name="connsiteY0" fmla="*/ 829452 h 829452"/>
              <a:gd name="connsiteX1" fmla="*/ 0 w 6949755"/>
              <a:gd name="connsiteY1" fmla="*/ 448574 h 829452"/>
              <a:gd name="connsiteX2" fmla="*/ 976580 w 6949755"/>
              <a:gd name="connsiteY2" fmla="*/ 451945 h 829452"/>
              <a:gd name="connsiteX3" fmla="*/ 976580 w 6949755"/>
              <a:gd name="connsiteY3" fmla="*/ 244266 h 829452"/>
              <a:gd name="connsiteX4" fmla="*/ 2051934 w 6949755"/>
              <a:gd name="connsiteY4" fmla="*/ 241738 h 829452"/>
              <a:gd name="connsiteX5" fmla="*/ 2051934 w 6949755"/>
              <a:gd name="connsiteY5" fmla="*/ 0 h 829452"/>
              <a:gd name="connsiteX6" fmla="*/ 6949755 w 6949755"/>
              <a:gd name="connsiteY6" fmla="*/ 0 h 829452"/>
              <a:gd name="connsiteX0" fmla="*/ 0 w 6953515"/>
              <a:gd name="connsiteY0" fmla="*/ 829452 h 829452"/>
              <a:gd name="connsiteX1" fmla="*/ 3760 w 6953515"/>
              <a:gd name="connsiteY1" fmla="*/ 448574 h 829452"/>
              <a:gd name="connsiteX2" fmla="*/ 980340 w 6953515"/>
              <a:gd name="connsiteY2" fmla="*/ 451945 h 829452"/>
              <a:gd name="connsiteX3" fmla="*/ 980340 w 6953515"/>
              <a:gd name="connsiteY3" fmla="*/ 244266 h 829452"/>
              <a:gd name="connsiteX4" fmla="*/ 2055694 w 6953515"/>
              <a:gd name="connsiteY4" fmla="*/ 241738 h 829452"/>
              <a:gd name="connsiteX5" fmla="*/ 2055694 w 6953515"/>
              <a:gd name="connsiteY5" fmla="*/ 0 h 829452"/>
              <a:gd name="connsiteX6" fmla="*/ 6953515 w 6953515"/>
              <a:gd name="connsiteY6" fmla="*/ 0 h 829452"/>
              <a:gd name="connsiteX0" fmla="*/ 0 w 6953515"/>
              <a:gd name="connsiteY0" fmla="*/ 829452 h 829452"/>
              <a:gd name="connsiteX1" fmla="*/ 3760 w 6953515"/>
              <a:gd name="connsiteY1" fmla="*/ 448574 h 829452"/>
              <a:gd name="connsiteX2" fmla="*/ 1002895 w 6953515"/>
              <a:gd name="connsiteY2" fmla="*/ 492394 h 829452"/>
              <a:gd name="connsiteX3" fmla="*/ 980340 w 6953515"/>
              <a:gd name="connsiteY3" fmla="*/ 244266 h 829452"/>
              <a:gd name="connsiteX4" fmla="*/ 2055694 w 6953515"/>
              <a:gd name="connsiteY4" fmla="*/ 241738 h 829452"/>
              <a:gd name="connsiteX5" fmla="*/ 2055694 w 6953515"/>
              <a:gd name="connsiteY5" fmla="*/ 0 h 829452"/>
              <a:gd name="connsiteX6" fmla="*/ 6953515 w 6953515"/>
              <a:gd name="connsiteY6" fmla="*/ 0 h 829452"/>
              <a:gd name="connsiteX0" fmla="*/ 7517 w 6961032"/>
              <a:gd name="connsiteY0" fmla="*/ 829452 h 829452"/>
              <a:gd name="connsiteX1" fmla="*/ 0 w 6961032"/>
              <a:gd name="connsiteY1" fmla="*/ 496607 h 829452"/>
              <a:gd name="connsiteX2" fmla="*/ 1010412 w 6961032"/>
              <a:gd name="connsiteY2" fmla="*/ 492394 h 829452"/>
              <a:gd name="connsiteX3" fmla="*/ 987857 w 6961032"/>
              <a:gd name="connsiteY3" fmla="*/ 244266 h 829452"/>
              <a:gd name="connsiteX4" fmla="*/ 2063211 w 6961032"/>
              <a:gd name="connsiteY4" fmla="*/ 241738 h 829452"/>
              <a:gd name="connsiteX5" fmla="*/ 2063211 w 6961032"/>
              <a:gd name="connsiteY5" fmla="*/ 0 h 829452"/>
              <a:gd name="connsiteX6" fmla="*/ 6961032 w 6961032"/>
              <a:gd name="connsiteY6" fmla="*/ 0 h 829452"/>
              <a:gd name="connsiteX0" fmla="*/ 7517 w 6961032"/>
              <a:gd name="connsiteY0" fmla="*/ 829452 h 829452"/>
              <a:gd name="connsiteX1" fmla="*/ 0 w 6961032"/>
              <a:gd name="connsiteY1" fmla="*/ 496607 h 829452"/>
              <a:gd name="connsiteX2" fmla="*/ 993495 w 6961032"/>
              <a:gd name="connsiteY2" fmla="*/ 494922 h 829452"/>
              <a:gd name="connsiteX3" fmla="*/ 987857 w 6961032"/>
              <a:gd name="connsiteY3" fmla="*/ 244266 h 829452"/>
              <a:gd name="connsiteX4" fmla="*/ 2063211 w 6961032"/>
              <a:gd name="connsiteY4" fmla="*/ 241738 h 829452"/>
              <a:gd name="connsiteX5" fmla="*/ 2063211 w 6961032"/>
              <a:gd name="connsiteY5" fmla="*/ 0 h 829452"/>
              <a:gd name="connsiteX6" fmla="*/ 6961032 w 6961032"/>
              <a:gd name="connsiteY6" fmla="*/ 0 h 829452"/>
              <a:gd name="connsiteX0" fmla="*/ 0 w 6961973"/>
              <a:gd name="connsiteY0" fmla="*/ 829452 h 829452"/>
              <a:gd name="connsiteX1" fmla="*/ 941 w 6961973"/>
              <a:gd name="connsiteY1" fmla="*/ 496607 h 829452"/>
              <a:gd name="connsiteX2" fmla="*/ 994436 w 6961973"/>
              <a:gd name="connsiteY2" fmla="*/ 494922 h 829452"/>
              <a:gd name="connsiteX3" fmla="*/ 988798 w 6961973"/>
              <a:gd name="connsiteY3" fmla="*/ 244266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994436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57949 w 6961973"/>
              <a:gd name="connsiteY2" fmla="*/ 508467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78067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68008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55434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650388 w 7612361"/>
              <a:gd name="connsiteY0" fmla="*/ 829452 h 829452"/>
              <a:gd name="connsiteX1" fmla="*/ 0 w 7612361"/>
              <a:gd name="connsiteY1" fmla="*/ 492543 h 829452"/>
              <a:gd name="connsiteX2" fmla="*/ 1105822 w 7612361"/>
              <a:gd name="connsiteY2" fmla="*/ 494922 h 829452"/>
              <a:gd name="connsiteX3" fmla="*/ 1095993 w 7612361"/>
              <a:gd name="connsiteY3" fmla="*/ 241557 h 829452"/>
              <a:gd name="connsiteX4" fmla="*/ 2714540 w 7612361"/>
              <a:gd name="connsiteY4" fmla="*/ 241738 h 829452"/>
              <a:gd name="connsiteX5" fmla="*/ 2714540 w 7612361"/>
              <a:gd name="connsiteY5" fmla="*/ 0 h 829452"/>
              <a:gd name="connsiteX6" fmla="*/ 7612361 w 7612361"/>
              <a:gd name="connsiteY6" fmla="*/ 0 h 829452"/>
              <a:gd name="connsiteX0" fmla="*/ 0 w 7618332"/>
              <a:gd name="connsiteY0" fmla="*/ 814213 h 814213"/>
              <a:gd name="connsiteX1" fmla="*/ 5971 w 7618332"/>
              <a:gd name="connsiteY1" fmla="*/ 492543 h 814213"/>
              <a:gd name="connsiteX2" fmla="*/ 1111793 w 7618332"/>
              <a:gd name="connsiteY2" fmla="*/ 494922 h 814213"/>
              <a:gd name="connsiteX3" fmla="*/ 1101964 w 7618332"/>
              <a:gd name="connsiteY3" fmla="*/ 241557 h 814213"/>
              <a:gd name="connsiteX4" fmla="*/ 2720511 w 7618332"/>
              <a:gd name="connsiteY4" fmla="*/ 241738 h 814213"/>
              <a:gd name="connsiteX5" fmla="*/ 2720511 w 7618332"/>
              <a:gd name="connsiteY5" fmla="*/ 0 h 814213"/>
              <a:gd name="connsiteX6" fmla="*/ 7618332 w 7618332"/>
              <a:gd name="connsiteY6" fmla="*/ 0 h 814213"/>
              <a:gd name="connsiteX0" fmla="*/ 0 w 7618332"/>
              <a:gd name="connsiteY0" fmla="*/ 814213 h 814213"/>
              <a:gd name="connsiteX1" fmla="*/ 5971 w 7618332"/>
              <a:gd name="connsiteY1" fmla="*/ 492543 h 814213"/>
              <a:gd name="connsiteX2" fmla="*/ 1111793 w 7618332"/>
              <a:gd name="connsiteY2" fmla="*/ 494922 h 814213"/>
              <a:gd name="connsiteX3" fmla="*/ 1101964 w 7618332"/>
              <a:gd name="connsiteY3" fmla="*/ 241557 h 814213"/>
              <a:gd name="connsiteX4" fmla="*/ 2720511 w 7618332"/>
              <a:gd name="connsiteY4" fmla="*/ 241738 h 814213"/>
              <a:gd name="connsiteX5" fmla="*/ 2720511 w 7618332"/>
              <a:gd name="connsiteY5" fmla="*/ 0 h 814213"/>
              <a:gd name="connsiteX6" fmla="*/ 7618332 w 7618332"/>
              <a:gd name="connsiteY6" fmla="*/ 0 h 814213"/>
              <a:gd name="connsiteX0" fmla="*/ 1573 w 7612361"/>
              <a:gd name="connsiteY0" fmla="*/ 815229 h 815229"/>
              <a:gd name="connsiteX1" fmla="*/ 0 w 7612361"/>
              <a:gd name="connsiteY1" fmla="*/ 492543 h 815229"/>
              <a:gd name="connsiteX2" fmla="*/ 1105822 w 7612361"/>
              <a:gd name="connsiteY2" fmla="*/ 494922 h 815229"/>
              <a:gd name="connsiteX3" fmla="*/ 1095993 w 7612361"/>
              <a:gd name="connsiteY3" fmla="*/ 241557 h 815229"/>
              <a:gd name="connsiteX4" fmla="*/ 2714540 w 7612361"/>
              <a:gd name="connsiteY4" fmla="*/ 241738 h 815229"/>
              <a:gd name="connsiteX5" fmla="*/ 2714540 w 7612361"/>
              <a:gd name="connsiteY5" fmla="*/ 0 h 815229"/>
              <a:gd name="connsiteX6" fmla="*/ 7612361 w 7612361"/>
              <a:gd name="connsiteY6" fmla="*/ 0 h 815229"/>
              <a:gd name="connsiteX0" fmla="*/ 1573 w 7612361"/>
              <a:gd name="connsiteY0" fmla="*/ 815229 h 815229"/>
              <a:gd name="connsiteX1" fmla="*/ 0 w 7612361"/>
              <a:gd name="connsiteY1" fmla="*/ 492543 h 815229"/>
              <a:gd name="connsiteX2" fmla="*/ 1098277 w 7612361"/>
              <a:gd name="connsiteY2" fmla="*/ 494922 h 815229"/>
              <a:gd name="connsiteX3" fmla="*/ 1095993 w 7612361"/>
              <a:gd name="connsiteY3" fmla="*/ 241557 h 815229"/>
              <a:gd name="connsiteX4" fmla="*/ 2714540 w 7612361"/>
              <a:gd name="connsiteY4" fmla="*/ 241738 h 815229"/>
              <a:gd name="connsiteX5" fmla="*/ 2714540 w 7612361"/>
              <a:gd name="connsiteY5" fmla="*/ 0 h 815229"/>
              <a:gd name="connsiteX6" fmla="*/ 7612361 w 7612361"/>
              <a:gd name="connsiteY6" fmla="*/ 0 h 815229"/>
              <a:gd name="connsiteX0" fmla="*/ 92105 w 7702893"/>
              <a:gd name="connsiteY0" fmla="*/ 815229 h 815229"/>
              <a:gd name="connsiteX1" fmla="*/ 0 w 7702893"/>
              <a:gd name="connsiteY1" fmla="*/ 492543 h 815229"/>
              <a:gd name="connsiteX2" fmla="*/ 1188809 w 7702893"/>
              <a:gd name="connsiteY2" fmla="*/ 494922 h 815229"/>
              <a:gd name="connsiteX3" fmla="*/ 1186525 w 7702893"/>
              <a:gd name="connsiteY3" fmla="*/ 241557 h 815229"/>
              <a:gd name="connsiteX4" fmla="*/ 2805072 w 7702893"/>
              <a:gd name="connsiteY4" fmla="*/ 241738 h 815229"/>
              <a:gd name="connsiteX5" fmla="*/ 2805072 w 7702893"/>
              <a:gd name="connsiteY5" fmla="*/ 0 h 815229"/>
              <a:gd name="connsiteX6" fmla="*/ 7702893 w 7702893"/>
              <a:gd name="connsiteY6" fmla="*/ 0 h 815229"/>
              <a:gd name="connsiteX0" fmla="*/ 162519 w 7773307"/>
              <a:gd name="connsiteY0" fmla="*/ 815229 h 815229"/>
              <a:gd name="connsiteX1" fmla="*/ 0 w 7773307"/>
              <a:gd name="connsiteY1" fmla="*/ 492543 h 815229"/>
              <a:gd name="connsiteX2" fmla="*/ 1259223 w 7773307"/>
              <a:gd name="connsiteY2" fmla="*/ 494922 h 815229"/>
              <a:gd name="connsiteX3" fmla="*/ 1256939 w 7773307"/>
              <a:gd name="connsiteY3" fmla="*/ 241557 h 815229"/>
              <a:gd name="connsiteX4" fmla="*/ 2875486 w 7773307"/>
              <a:gd name="connsiteY4" fmla="*/ 241738 h 815229"/>
              <a:gd name="connsiteX5" fmla="*/ 2875486 w 7773307"/>
              <a:gd name="connsiteY5" fmla="*/ 0 h 815229"/>
              <a:gd name="connsiteX6" fmla="*/ 7773307 w 7773307"/>
              <a:gd name="connsiteY6" fmla="*/ 0 h 815229"/>
              <a:gd name="connsiteX0" fmla="*/ 1572 w 7773307"/>
              <a:gd name="connsiteY0" fmla="*/ 816245 h 816245"/>
              <a:gd name="connsiteX1" fmla="*/ 0 w 7773307"/>
              <a:gd name="connsiteY1" fmla="*/ 492543 h 816245"/>
              <a:gd name="connsiteX2" fmla="*/ 1259223 w 7773307"/>
              <a:gd name="connsiteY2" fmla="*/ 494922 h 816245"/>
              <a:gd name="connsiteX3" fmla="*/ 1256939 w 7773307"/>
              <a:gd name="connsiteY3" fmla="*/ 241557 h 816245"/>
              <a:gd name="connsiteX4" fmla="*/ 2875486 w 7773307"/>
              <a:gd name="connsiteY4" fmla="*/ 241738 h 816245"/>
              <a:gd name="connsiteX5" fmla="*/ 2875486 w 7773307"/>
              <a:gd name="connsiteY5" fmla="*/ 0 h 816245"/>
              <a:gd name="connsiteX6" fmla="*/ 7773307 w 7773307"/>
              <a:gd name="connsiteY6" fmla="*/ 0 h 816245"/>
              <a:gd name="connsiteX0" fmla="*/ 182636 w 7954371"/>
              <a:gd name="connsiteY0" fmla="*/ 816245 h 816245"/>
              <a:gd name="connsiteX1" fmla="*/ 0 w 7954371"/>
              <a:gd name="connsiteY1" fmla="*/ 492543 h 816245"/>
              <a:gd name="connsiteX2" fmla="*/ 1440287 w 7954371"/>
              <a:gd name="connsiteY2" fmla="*/ 494922 h 816245"/>
              <a:gd name="connsiteX3" fmla="*/ 1438003 w 7954371"/>
              <a:gd name="connsiteY3" fmla="*/ 241557 h 816245"/>
              <a:gd name="connsiteX4" fmla="*/ 3056550 w 7954371"/>
              <a:gd name="connsiteY4" fmla="*/ 241738 h 816245"/>
              <a:gd name="connsiteX5" fmla="*/ 3056550 w 7954371"/>
              <a:gd name="connsiteY5" fmla="*/ 0 h 816245"/>
              <a:gd name="connsiteX6" fmla="*/ 7954371 w 7954371"/>
              <a:gd name="connsiteY6" fmla="*/ 0 h 816245"/>
              <a:gd name="connsiteX0" fmla="*/ 8278 w 7954371"/>
              <a:gd name="connsiteY0" fmla="*/ 840627 h 840627"/>
              <a:gd name="connsiteX1" fmla="*/ 0 w 7954371"/>
              <a:gd name="connsiteY1" fmla="*/ 492543 h 840627"/>
              <a:gd name="connsiteX2" fmla="*/ 1440287 w 7954371"/>
              <a:gd name="connsiteY2" fmla="*/ 494922 h 840627"/>
              <a:gd name="connsiteX3" fmla="*/ 1438003 w 7954371"/>
              <a:gd name="connsiteY3" fmla="*/ 241557 h 840627"/>
              <a:gd name="connsiteX4" fmla="*/ 3056550 w 7954371"/>
              <a:gd name="connsiteY4" fmla="*/ 241738 h 840627"/>
              <a:gd name="connsiteX5" fmla="*/ 3056550 w 7954371"/>
              <a:gd name="connsiteY5" fmla="*/ 0 h 840627"/>
              <a:gd name="connsiteX6" fmla="*/ 7954371 w 7954371"/>
              <a:gd name="connsiteY6" fmla="*/ 0 h 840627"/>
              <a:gd name="connsiteX0" fmla="*/ 8278 w 7954371"/>
              <a:gd name="connsiteY0" fmla="*/ 832500 h 832500"/>
              <a:gd name="connsiteX1" fmla="*/ 0 w 7954371"/>
              <a:gd name="connsiteY1" fmla="*/ 492543 h 832500"/>
              <a:gd name="connsiteX2" fmla="*/ 1440287 w 7954371"/>
              <a:gd name="connsiteY2" fmla="*/ 494922 h 832500"/>
              <a:gd name="connsiteX3" fmla="*/ 1438003 w 7954371"/>
              <a:gd name="connsiteY3" fmla="*/ 241557 h 832500"/>
              <a:gd name="connsiteX4" fmla="*/ 3056550 w 7954371"/>
              <a:gd name="connsiteY4" fmla="*/ 241738 h 832500"/>
              <a:gd name="connsiteX5" fmla="*/ 3056550 w 7954371"/>
              <a:gd name="connsiteY5" fmla="*/ 0 h 832500"/>
              <a:gd name="connsiteX6" fmla="*/ 7954371 w 7954371"/>
              <a:gd name="connsiteY6" fmla="*/ 0 h 832500"/>
              <a:gd name="connsiteX0" fmla="*/ 1571 w 7954371"/>
              <a:gd name="connsiteY0" fmla="*/ 832500 h 832500"/>
              <a:gd name="connsiteX1" fmla="*/ 0 w 7954371"/>
              <a:gd name="connsiteY1" fmla="*/ 492543 h 832500"/>
              <a:gd name="connsiteX2" fmla="*/ 1440287 w 7954371"/>
              <a:gd name="connsiteY2" fmla="*/ 494922 h 832500"/>
              <a:gd name="connsiteX3" fmla="*/ 1438003 w 7954371"/>
              <a:gd name="connsiteY3" fmla="*/ 241557 h 832500"/>
              <a:gd name="connsiteX4" fmla="*/ 3056550 w 7954371"/>
              <a:gd name="connsiteY4" fmla="*/ 241738 h 832500"/>
              <a:gd name="connsiteX5" fmla="*/ 3056550 w 7954371"/>
              <a:gd name="connsiteY5" fmla="*/ 0 h 832500"/>
              <a:gd name="connsiteX6" fmla="*/ 7954371 w 7954371"/>
              <a:gd name="connsiteY6" fmla="*/ 0 h 832500"/>
              <a:gd name="connsiteX0" fmla="*/ 226225 w 8179025"/>
              <a:gd name="connsiteY0" fmla="*/ 832500 h 832500"/>
              <a:gd name="connsiteX1" fmla="*/ 0 w 8179025"/>
              <a:gd name="connsiteY1" fmla="*/ 491189 h 832500"/>
              <a:gd name="connsiteX2" fmla="*/ 1664941 w 8179025"/>
              <a:gd name="connsiteY2" fmla="*/ 494922 h 832500"/>
              <a:gd name="connsiteX3" fmla="*/ 1662657 w 8179025"/>
              <a:gd name="connsiteY3" fmla="*/ 241557 h 832500"/>
              <a:gd name="connsiteX4" fmla="*/ 3281204 w 8179025"/>
              <a:gd name="connsiteY4" fmla="*/ 241738 h 832500"/>
              <a:gd name="connsiteX5" fmla="*/ 3281204 w 8179025"/>
              <a:gd name="connsiteY5" fmla="*/ 0 h 832500"/>
              <a:gd name="connsiteX6" fmla="*/ 8179025 w 8179025"/>
              <a:gd name="connsiteY6" fmla="*/ 0 h 832500"/>
              <a:gd name="connsiteX0" fmla="*/ 8278 w 8179025"/>
              <a:gd name="connsiteY0" fmla="*/ 829791 h 829791"/>
              <a:gd name="connsiteX1" fmla="*/ 0 w 8179025"/>
              <a:gd name="connsiteY1" fmla="*/ 491189 h 829791"/>
              <a:gd name="connsiteX2" fmla="*/ 1664941 w 8179025"/>
              <a:gd name="connsiteY2" fmla="*/ 494922 h 829791"/>
              <a:gd name="connsiteX3" fmla="*/ 1662657 w 8179025"/>
              <a:gd name="connsiteY3" fmla="*/ 241557 h 829791"/>
              <a:gd name="connsiteX4" fmla="*/ 3281204 w 8179025"/>
              <a:gd name="connsiteY4" fmla="*/ 241738 h 829791"/>
              <a:gd name="connsiteX5" fmla="*/ 3281204 w 8179025"/>
              <a:gd name="connsiteY5" fmla="*/ 0 h 829791"/>
              <a:gd name="connsiteX6" fmla="*/ 8179025 w 8179025"/>
              <a:gd name="connsiteY6" fmla="*/ 0 h 829791"/>
              <a:gd name="connsiteX0" fmla="*/ 0 w 8170747"/>
              <a:gd name="connsiteY0" fmla="*/ 829791 h 829791"/>
              <a:gd name="connsiteX1" fmla="*/ 5134 w 8170747"/>
              <a:gd name="connsiteY1" fmla="*/ 493898 h 829791"/>
              <a:gd name="connsiteX2" fmla="*/ 1656663 w 8170747"/>
              <a:gd name="connsiteY2" fmla="*/ 494922 h 829791"/>
              <a:gd name="connsiteX3" fmla="*/ 1654379 w 8170747"/>
              <a:gd name="connsiteY3" fmla="*/ 241557 h 829791"/>
              <a:gd name="connsiteX4" fmla="*/ 3272926 w 8170747"/>
              <a:gd name="connsiteY4" fmla="*/ 241738 h 829791"/>
              <a:gd name="connsiteX5" fmla="*/ 3272926 w 8170747"/>
              <a:gd name="connsiteY5" fmla="*/ 0 h 829791"/>
              <a:gd name="connsiteX6" fmla="*/ 8170747 w 8170747"/>
              <a:gd name="connsiteY6" fmla="*/ 0 h 829791"/>
              <a:gd name="connsiteX0" fmla="*/ 0 w 8170747"/>
              <a:gd name="connsiteY0" fmla="*/ 829791 h 829791"/>
              <a:gd name="connsiteX1" fmla="*/ 15193 w 8170747"/>
              <a:gd name="connsiteY1" fmla="*/ 495253 h 829791"/>
              <a:gd name="connsiteX2" fmla="*/ 1656663 w 8170747"/>
              <a:gd name="connsiteY2" fmla="*/ 494922 h 829791"/>
              <a:gd name="connsiteX3" fmla="*/ 1654379 w 8170747"/>
              <a:gd name="connsiteY3" fmla="*/ 241557 h 829791"/>
              <a:gd name="connsiteX4" fmla="*/ 3272926 w 8170747"/>
              <a:gd name="connsiteY4" fmla="*/ 241738 h 829791"/>
              <a:gd name="connsiteX5" fmla="*/ 3272926 w 8170747"/>
              <a:gd name="connsiteY5" fmla="*/ 0 h 829791"/>
              <a:gd name="connsiteX6" fmla="*/ 8170747 w 8170747"/>
              <a:gd name="connsiteY6" fmla="*/ 0 h 829791"/>
              <a:gd name="connsiteX0" fmla="*/ 8278 w 8155554"/>
              <a:gd name="connsiteY0" fmla="*/ 829791 h 829791"/>
              <a:gd name="connsiteX1" fmla="*/ 0 w 8155554"/>
              <a:gd name="connsiteY1" fmla="*/ 495253 h 829791"/>
              <a:gd name="connsiteX2" fmla="*/ 1641470 w 8155554"/>
              <a:gd name="connsiteY2" fmla="*/ 494922 h 829791"/>
              <a:gd name="connsiteX3" fmla="*/ 1639186 w 8155554"/>
              <a:gd name="connsiteY3" fmla="*/ 241557 h 829791"/>
              <a:gd name="connsiteX4" fmla="*/ 3257733 w 8155554"/>
              <a:gd name="connsiteY4" fmla="*/ 241738 h 829791"/>
              <a:gd name="connsiteX5" fmla="*/ 3257733 w 8155554"/>
              <a:gd name="connsiteY5" fmla="*/ 0 h 829791"/>
              <a:gd name="connsiteX6" fmla="*/ 8155554 w 8155554"/>
              <a:gd name="connsiteY6" fmla="*/ 0 h 82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5554" h="829791">
                <a:moveTo>
                  <a:pt x="8278" y="829791"/>
                </a:moveTo>
                <a:cubicBezTo>
                  <a:pt x="8278" y="702270"/>
                  <a:pt x="0" y="622774"/>
                  <a:pt x="0" y="495253"/>
                </a:cubicBezTo>
                <a:lnTo>
                  <a:pt x="1641470" y="494922"/>
                </a:lnTo>
                <a:cubicBezTo>
                  <a:pt x="1640709" y="410467"/>
                  <a:pt x="1639947" y="326012"/>
                  <a:pt x="1639186" y="241557"/>
                </a:cubicBezTo>
                <a:lnTo>
                  <a:pt x="3257733" y="241738"/>
                </a:lnTo>
                <a:lnTo>
                  <a:pt x="3257733" y="0"/>
                </a:lnTo>
                <a:lnTo>
                  <a:pt x="8155554" y="0"/>
                </a:lnTo>
              </a:path>
            </a:pathLst>
          </a:custGeom>
          <a:noFill/>
          <a:ln w="76200" cap="flat" cmpd="sng" algn="ctr">
            <a:solidFill>
              <a:schemeClr val="accent1"/>
            </a:solidFill>
            <a:prstDash val="solid"/>
            <a:tailEnd type="arrow"/>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pic>
        <p:nvPicPr>
          <p:cNvPr id="17" name="Picture 16">
            <a:extLst>
              <a:ext uri="{FF2B5EF4-FFF2-40B4-BE49-F238E27FC236}">
                <a16:creationId xmlns:a16="http://schemas.microsoft.com/office/drawing/2014/main" id="{02E712DC-AA38-4F06-8BCB-A140FBDB5C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95325" y="3258348"/>
            <a:ext cx="521237" cy="505980"/>
          </a:xfrm>
          <a:prstGeom prst="rect">
            <a:avLst/>
          </a:prstGeom>
        </p:spPr>
      </p:pic>
      <p:pic>
        <p:nvPicPr>
          <p:cNvPr id="18" name="Picture 17" descr="Icon&#10;&#10;Description automatically generated">
            <a:extLst>
              <a:ext uri="{FF2B5EF4-FFF2-40B4-BE49-F238E27FC236}">
                <a16:creationId xmlns:a16="http://schemas.microsoft.com/office/drawing/2014/main" id="{EA5EF88B-78BF-4682-8223-67C16460AC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4784" y="2332203"/>
            <a:ext cx="521237" cy="505980"/>
          </a:xfrm>
          <a:prstGeom prst="rect">
            <a:avLst/>
          </a:prstGeom>
        </p:spPr>
      </p:pic>
      <p:pic>
        <p:nvPicPr>
          <p:cNvPr id="19" name="Picture 18">
            <a:extLst>
              <a:ext uri="{FF2B5EF4-FFF2-40B4-BE49-F238E27FC236}">
                <a16:creationId xmlns:a16="http://schemas.microsoft.com/office/drawing/2014/main" id="{E7690635-4350-483C-B3D7-9A1A7787174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28445" y="2778319"/>
            <a:ext cx="521237" cy="505980"/>
          </a:xfrm>
          <a:prstGeom prst="rect">
            <a:avLst/>
          </a:prstGeom>
        </p:spPr>
      </p:pic>
      <p:sp>
        <p:nvSpPr>
          <p:cNvPr id="20" name="TextBox 19">
            <a:extLst>
              <a:ext uri="{FF2B5EF4-FFF2-40B4-BE49-F238E27FC236}">
                <a16:creationId xmlns:a16="http://schemas.microsoft.com/office/drawing/2014/main" id="{7171C0BF-C47B-4D3E-8707-B72F402A6972}"/>
              </a:ext>
            </a:extLst>
          </p:cNvPr>
          <p:cNvSpPr txBox="1"/>
          <p:nvPr/>
        </p:nvSpPr>
        <p:spPr>
          <a:xfrm>
            <a:off x="575900" y="4942794"/>
            <a:ext cx="4427729" cy="934478"/>
          </a:xfrm>
          <a:prstGeom prst="rect">
            <a:avLst/>
          </a:prstGeom>
          <a:solidFill>
            <a:schemeClr val="accent5">
              <a:lumMod val="20000"/>
              <a:lumOff val="80000"/>
            </a:schemeClr>
          </a:solidFill>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Assess your patient’s tolerability</a:t>
            </a:r>
            <a:endParaRPr kumimoji="0" lang="en-US" sz="1400" b="1" i="0" u="none" strike="noStrike" kern="1200" cap="none" spc="0" normalizeH="0" baseline="30000" noProof="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Ensure absence of symptomatic hypotension </a:t>
            </a:r>
            <a:b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or SBP &lt;90 mmHg before proceeding </a:t>
            </a:r>
            <a:b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with the uptitration</a:t>
            </a:r>
            <a:r>
              <a:rPr kumimoji="0" lang="en-US" sz="1400" b="0" i="0" u="none" strike="noStrike" kern="1200" cap="none" spc="0" normalizeH="0" baseline="30000" noProof="0">
                <a:ln>
                  <a:noFill/>
                </a:ln>
                <a:solidFill>
                  <a:srgbClr val="000000"/>
                </a:solidFill>
                <a:effectLst/>
                <a:uLnTx/>
                <a:uFillTx/>
                <a:latin typeface="Arial" panose="020B0604020202020204"/>
                <a:ea typeface="+mn-ea"/>
                <a:cs typeface="+mn-cs"/>
              </a:rPr>
              <a:t>1,3</a:t>
            </a:r>
            <a:endParaRPr kumimoji="0" lang="en-GB" sz="1400" b="0" i="0" u="none" strike="noStrike" kern="1200" cap="none" spc="0" normalizeH="0" baseline="30000" noProof="0">
              <a:ln>
                <a:noFill/>
              </a:ln>
              <a:solidFill>
                <a:srgbClr val="000000"/>
              </a:solidFill>
              <a:effectLst/>
              <a:uLnTx/>
              <a:uFillTx/>
              <a:latin typeface="Arial" panose="020B0604020202020204"/>
              <a:ea typeface="+mn-ea"/>
              <a:cs typeface="+mn-cs"/>
            </a:endParaRPr>
          </a:p>
        </p:txBody>
      </p:sp>
      <p:sp>
        <p:nvSpPr>
          <p:cNvPr id="21" name="Text Placeholder 1">
            <a:extLst>
              <a:ext uri="{FF2B5EF4-FFF2-40B4-BE49-F238E27FC236}">
                <a16:creationId xmlns:a16="http://schemas.microsoft.com/office/drawing/2014/main" id="{7127CD97-49A9-4995-BE64-1DBE9940B9CB}"/>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4719871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E63BD5A-05DC-924D-BF38-9C38CC7EAA39}"/>
              </a:ext>
            </a:extLst>
          </p:cNvPr>
          <p:cNvSpPr/>
          <p:nvPr/>
        </p:nvSpPr>
        <p:spPr>
          <a:xfrm>
            <a:off x="710837" y="1700809"/>
            <a:ext cx="4536504" cy="422920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Content Placeholder 14">
            <a:extLst>
              <a:ext uri="{FF2B5EF4-FFF2-40B4-BE49-F238E27FC236}">
                <a16:creationId xmlns:a16="http://schemas.microsoft.com/office/drawing/2014/main" id="{D1BB2E5A-AEA3-4435-A697-E240695BC5DF}"/>
              </a:ext>
            </a:extLst>
          </p:cNvPr>
          <p:cNvSpPr txBox="1">
            <a:spLocks/>
          </p:cNvSpPr>
          <p:nvPr/>
        </p:nvSpPr>
        <p:spPr bwMode="auto">
          <a:xfrm>
            <a:off x="4853" y="3834"/>
            <a:ext cx="10520271" cy="1081617"/>
          </a:xfrm>
          <a:prstGeom prst="rect">
            <a:avLst/>
          </a:prstGeom>
          <a:noFill/>
          <a:ln w="19050" algn="ctr">
            <a:noFill/>
            <a:miter lim="800000"/>
            <a:headEnd/>
            <a:tailEnd/>
          </a:ln>
          <a:effectLst/>
        </p:spPr>
        <p:txBody>
          <a:bodyPr vert="horz" wrap="square" lIns="0" tIns="0" rIns="0" bIns="0" rtlCol="0" anchor="t">
            <a:noAutofit/>
          </a:bodyPr>
          <a:lstStyle>
            <a:lvl1pPr marL="285750" indent="-285750" algn="l" defTabSz="914400" rtl="0" eaLnBrk="1" latinLnBrk="0" hangingPunct="1">
              <a:lnSpc>
                <a:spcPct val="100000"/>
              </a:lnSpc>
              <a:spcBef>
                <a:spcPts val="1000"/>
              </a:spcBef>
              <a:buFont typeface="Wingdings" panose="05000000000000000000" pitchFamily="2" charset="2"/>
              <a:buChar char="§"/>
              <a:defRPr lang="en-US" sz="1600" kern="1200">
                <a:solidFill>
                  <a:schemeClr val="tx1"/>
                </a:solidFill>
                <a:latin typeface="+mn-lt"/>
                <a:ea typeface="+mn-ea"/>
                <a:cs typeface="+mn-cs"/>
              </a:defRPr>
            </a:lvl1pPr>
            <a:lvl2pPr marL="5688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2pPr>
            <a:lvl3pPr marL="8532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3pPr>
            <a:lvl4pPr marL="11376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4pPr>
            <a:lvl5pPr marL="1423350" indent="-285750" algn="l" defTabSz="914400" rtl="0" eaLnBrk="1" latinLnBrk="0" hangingPunct="1">
              <a:lnSpc>
                <a:spcPct val="100000"/>
              </a:lnSpc>
              <a:spcBef>
                <a:spcPts val="600"/>
              </a:spcBef>
              <a:buFont typeface="Wingdings" panose="05000000000000000000" pitchFamily="2" charset="2"/>
              <a:buChar char="§"/>
              <a:defRPr lang="en-US" sz="1600" kern="1200">
                <a:solidFill>
                  <a:schemeClr val="tx1"/>
                </a:solidFill>
                <a:latin typeface="+mn-lt"/>
                <a:ea typeface="+mn-ea"/>
                <a:cs typeface="+mn-cs"/>
              </a:defRPr>
            </a:lvl5pPr>
            <a:lvl6pPr marL="1422000" indent="-2844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70675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dirty="0">
              <a:ln>
                <a:noFill/>
              </a:ln>
              <a:solidFill>
                <a:srgbClr val="000000"/>
              </a:solidFill>
              <a:effectLst/>
              <a:uLnTx/>
              <a:uFillTx/>
              <a:latin typeface="Arial" charset="0"/>
              <a:ea typeface="MS PGothic" charset="0"/>
              <a:cs typeface="+mn-cs"/>
            </a:endParaRPr>
          </a:p>
        </p:txBody>
      </p:sp>
      <p:sp>
        <p:nvSpPr>
          <p:cNvPr id="18" name="Title 1">
            <a:extLst>
              <a:ext uri="{FF2B5EF4-FFF2-40B4-BE49-F238E27FC236}">
                <a16:creationId xmlns:a16="http://schemas.microsoft.com/office/drawing/2014/main" id="{7A02D263-ED3F-472B-B375-3867E7968486}"/>
              </a:ext>
            </a:extLst>
          </p:cNvPr>
          <p:cNvSpPr>
            <a:spLocks noGrp="1"/>
          </p:cNvSpPr>
          <p:nvPr>
            <p:ph type="title"/>
          </p:nvPr>
        </p:nvSpPr>
        <p:spPr>
          <a:xfrm>
            <a:off x="600073" y="164567"/>
            <a:ext cx="10991853" cy="929127"/>
          </a:xfrm>
        </p:spPr>
        <p:txBody>
          <a:bodyPr/>
          <a:lstStyle/>
          <a:p>
            <a:r>
              <a:rPr lang="en-GB" dirty="0"/>
              <a:t>Vericiguat may be suitable for vulnerable patients </a:t>
            </a:r>
            <a:br>
              <a:rPr lang="en-GB" dirty="0"/>
            </a:br>
            <a:r>
              <a:rPr lang="en-GB" dirty="0"/>
              <a:t>due to its favorable safety profile</a:t>
            </a:r>
            <a:r>
              <a:rPr lang="en-GB" baseline="30000" dirty="0"/>
              <a:t>1,2</a:t>
            </a:r>
            <a:endParaRPr lang="en-US" dirty="0"/>
          </a:p>
        </p:txBody>
      </p:sp>
      <p:sp>
        <p:nvSpPr>
          <p:cNvPr id="61" name="Rectangle 60">
            <a:extLst>
              <a:ext uri="{FF2B5EF4-FFF2-40B4-BE49-F238E27FC236}">
                <a16:creationId xmlns:a16="http://schemas.microsoft.com/office/drawing/2014/main" id="{7BC9B505-F500-FC41-ADA1-0F6A0B320754}"/>
              </a:ext>
            </a:extLst>
          </p:cNvPr>
          <p:cNvSpPr/>
          <p:nvPr/>
        </p:nvSpPr>
        <p:spPr>
          <a:xfrm>
            <a:off x="695400" y="1400492"/>
            <a:ext cx="4551941" cy="5828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Dosing and adherence</a:t>
            </a:r>
          </a:p>
        </p:txBody>
      </p:sp>
      <p:sp>
        <p:nvSpPr>
          <p:cNvPr id="62" name="Slide Number Placeholder 9">
            <a:extLst>
              <a:ext uri="{FF2B5EF4-FFF2-40B4-BE49-F238E27FC236}">
                <a16:creationId xmlns:a16="http://schemas.microsoft.com/office/drawing/2014/main" id="{E2A7C076-571D-0E41-A576-B888D30116CB}"/>
              </a:ext>
            </a:extLst>
          </p:cNvPr>
          <p:cNvSpPr txBox="1">
            <a:spLocks/>
          </p:cNvSpPr>
          <p:nvPr/>
        </p:nvSpPr>
        <p:spPr>
          <a:xfrm>
            <a:off x="11591927" y="6340239"/>
            <a:ext cx="480737" cy="365125"/>
          </a:xfrm>
          <a:prstGeom prst="rect">
            <a:avLst/>
          </a:prstGeom>
        </p:spPr>
        <p:txBody>
          <a:bodyPr vert="horz" lIns="91440" tIns="45720" rIns="91440" bIns="45720" rtlCol="0" anchor="b">
            <a:noAutofit/>
          </a:bodyPr>
          <a:lstStyle>
            <a:lvl1pPr marL="0" indent="0" algn="l" defTabSz="914400" rtl="0" eaLnBrk="1" latinLnBrk="0" hangingPunct="1">
              <a:lnSpc>
                <a:spcPct val="100000"/>
              </a:lnSpc>
              <a:spcBef>
                <a:spcPts val="600"/>
              </a:spcBef>
              <a:buClr>
                <a:schemeClr val="accent4"/>
              </a:buClr>
              <a:buFont typeface="Arial" panose="020B0604020202020204" pitchFamily="34" charset="0"/>
              <a:buNone/>
              <a:defRPr sz="1600" b="1" kern="1200">
                <a:solidFill>
                  <a:schemeClr val="accent5"/>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600"/>
              </a:spcBef>
              <a:spcAft>
                <a:spcPts val="0"/>
              </a:spcAft>
              <a:buClr>
                <a:srgbClr val="4F256F"/>
              </a:buClr>
              <a:buSzTx/>
              <a:buFont typeface="Arial" panose="020B0604020202020204" pitchFamily="34" charset="0"/>
              <a:buNone/>
              <a:tabLst/>
              <a:defRPr/>
            </a:pPr>
            <a:fld id="{7F2E7A9C-228B-4998-AC5D-8ECFE8FBAA55}" type="slidenum">
              <a:rPr kumimoji="0" lang="en-US" sz="800" b="0" i="0" u="none" strike="noStrike" kern="1200" cap="none" spc="0" normalizeH="0" baseline="0" noProof="0" smtClean="0">
                <a:ln>
                  <a:noFill/>
                </a:ln>
                <a:solidFill>
                  <a:srgbClr val="704F8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600"/>
                </a:spcBef>
                <a:spcAft>
                  <a:spcPts val="0"/>
                </a:spcAft>
                <a:buClr>
                  <a:srgbClr val="4F256F"/>
                </a:buClr>
                <a:buSzTx/>
                <a:buFont typeface="Arial" panose="020B0604020202020204" pitchFamily="34" charset="0"/>
                <a:buNone/>
                <a:tabLst/>
                <a:defRPr/>
              </a:pPr>
              <a:t>36</a:t>
            </a:fld>
            <a:endParaRPr kumimoji="0" lang="en-US" sz="800" b="0" i="0" u="none" strike="noStrike" kern="1200" cap="none" spc="0" normalizeH="0" baseline="0" noProof="0" dirty="0">
              <a:ln>
                <a:noFill/>
              </a:ln>
              <a:solidFill>
                <a:srgbClr val="704F8A"/>
              </a:solidFill>
              <a:effectLst/>
              <a:uLnTx/>
              <a:uFillTx/>
              <a:latin typeface="Arial" panose="020B0604020202020204"/>
              <a:ea typeface="+mn-ea"/>
              <a:cs typeface="+mn-cs"/>
            </a:endParaRPr>
          </a:p>
        </p:txBody>
      </p:sp>
      <p:sp>
        <p:nvSpPr>
          <p:cNvPr id="8" name="Content Placeholder 7">
            <a:extLst>
              <a:ext uri="{FF2B5EF4-FFF2-40B4-BE49-F238E27FC236}">
                <a16:creationId xmlns:a16="http://schemas.microsoft.com/office/drawing/2014/main" id="{234EC13E-90D3-DB4D-B64A-AFDB40B8D720}"/>
              </a:ext>
            </a:extLst>
          </p:cNvPr>
          <p:cNvSpPr>
            <a:spLocks noGrp="1"/>
          </p:cNvSpPr>
          <p:nvPr>
            <p:ph sz="quarter" idx="13"/>
          </p:nvPr>
        </p:nvSpPr>
        <p:spPr>
          <a:xfrm>
            <a:off x="839416" y="2204864"/>
            <a:ext cx="4536504" cy="3672408"/>
          </a:xfrm>
        </p:spPr>
        <p:txBody>
          <a:bodyPr/>
          <a:lstStyle/>
          <a:p>
            <a:pPr marL="0" indent="0">
              <a:buClr>
                <a:schemeClr val="accent5"/>
              </a:buClr>
              <a:buNone/>
            </a:pPr>
            <a:r>
              <a:rPr lang="en-GB" dirty="0"/>
              <a:t>The beneficial effects of vericiguat on the primary composite outcome of VICTORIA (CV death or HFH):</a:t>
            </a:r>
          </a:p>
          <a:p>
            <a:pPr marL="285750" indent="-285750">
              <a:buClr>
                <a:schemeClr val="accent5"/>
              </a:buClr>
            </a:pPr>
            <a:r>
              <a:rPr lang="en-US" dirty="0"/>
              <a:t>Persisted regardless of </a:t>
            </a:r>
            <a:r>
              <a:rPr lang="en-US" b="1" dirty="0"/>
              <a:t>baseline SBP</a:t>
            </a:r>
          </a:p>
          <a:p>
            <a:pPr marL="285750" indent="-285750">
              <a:spcAft>
                <a:spcPts val="600"/>
              </a:spcAft>
              <a:buClr>
                <a:schemeClr val="accent5"/>
              </a:buClr>
            </a:pPr>
            <a:r>
              <a:rPr lang="en-US" dirty="0"/>
              <a:t>Were consistent across the </a:t>
            </a:r>
            <a:r>
              <a:rPr lang="en-US" b="1" dirty="0"/>
              <a:t>full range of eGFR</a:t>
            </a:r>
            <a:endParaRPr lang="en-US" dirty="0"/>
          </a:p>
          <a:p>
            <a:pPr marL="0" indent="0">
              <a:buClr>
                <a:schemeClr val="accent5"/>
              </a:buClr>
              <a:buNone/>
            </a:pPr>
            <a:r>
              <a:rPr lang="en-US" dirty="0"/>
              <a:t>Vericiguat had no clinically relevant impact on:</a:t>
            </a:r>
          </a:p>
          <a:p>
            <a:pPr marL="285750" indent="-285750">
              <a:buClr>
                <a:schemeClr val="accent5"/>
              </a:buClr>
            </a:pPr>
            <a:r>
              <a:rPr lang="en-US" b="1" dirty="0"/>
              <a:t>SBP</a:t>
            </a:r>
          </a:p>
          <a:p>
            <a:pPr marL="285750" indent="-285750">
              <a:buClr>
                <a:schemeClr val="accent5"/>
              </a:buClr>
            </a:pPr>
            <a:r>
              <a:rPr lang="en-US" b="1" dirty="0"/>
              <a:t>Renal function </a:t>
            </a:r>
          </a:p>
          <a:p>
            <a:pPr marL="285750" indent="-285750">
              <a:buClr>
                <a:schemeClr val="accent5"/>
              </a:buClr>
            </a:pPr>
            <a:r>
              <a:rPr lang="en-US" b="1" dirty="0"/>
              <a:t>Electrolytes</a:t>
            </a:r>
            <a:r>
              <a:rPr lang="en-US" dirty="0"/>
              <a:t> (potassium and sodium levels)</a:t>
            </a:r>
          </a:p>
          <a:p>
            <a:endParaRPr lang="en-US" dirty="0"/>
          </a:p>
        </p:txBody>
      </p:sp>
      <p:sp>
        <p:nvSpPr>
          <p:cNvPr id="45" name="Rectangle 44">
            <a:extLst>
              <a:ext uri="{FF2B5EF4-FFF2-40B4-BE49-F238E27FC236}">
                <a16:creationId xmlns:a16="http://schemas.microsoft.com/office/drawing/2014/main" id="{B2F3FFDD-AE84-CB43-8FDC-8AA2D13CD332}"/>
              </a:ext>
            </a:extLst>
          </p:cNvPr>
          <p:cNvSpPr/>
          <p:nvPr/>
        </p:nvSpPr>
        <p:spPr>
          <a:xfrm>
            <a:off x="6763441" y="3228711"/>
            <a:ext cx="4039200" cy="8100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7" name="Content Placeholder 8">
            <a:extLst>
              <a:ext uri="{FF2B5EF4-FFF2-40B4-BE49-F238E27FC236}">
                <a16:creationId xmlns:a16="http://schemas.microsoft.com/office/drawing/2014/main" id="{A0B3ABBA-1B7C-E943-A4AE-C2C3B908C79C}"/>
              </a:ext>
            </a:extLst>
          </p:cNvPr>
          <p:cNvSpPr txBox="1">
            <a:spLocks/>
          </p:cNvSpPr>
          <p:nvPr/>
        </p:nvSpPr>
        <p:spPr>
          <a:xfrm>
            <a:off x="7580412" y="3464454"/>
            <a:ext cx="3222915" cy="338554"/>
          </a:xfrm>
          <a:prstGeom prst="rect">
            <a:avLst/>
          </a:prstGeom>
        </p:spPr>
        <p:txBody>
          <a:bodyPr vert="horz" wrap="square" lIns="91440" tIns="45720" rIns="91440" bIns="45720" rtlCol="0">
            <a:sp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F256F"/>
              </a:buClr>
              <a:buSzTx/>
              <a:buFont typeface="Arial" panose="020B0604020202020204" pitchFamily="34" charset="0"/>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Patients with renal impairment</a:t>
            </a:r>
            <a:r>
              <a:rPr kumimoji="0" lang="en-GB" sz="16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48" name="Oval 66">
            <a:extLst>
              <a:ext uri="{FF2B5EF4-FFF2-40B4-BE49-F238E27FC236}">
                <a16:creationId xmlns:a16="http://schemas.microsoft.com/office/drawing/2014/main" id="{E027C2D2-A54F-A845-9D31-58A243F89C88}"/>
              </a:ext>
            </a:extLst>
          </p:cNvPr>
          <p:cNvSpPr>
            <a:spLocks noChangeAspect="1" noChangeArrowheads="1"/>
          </p:cNvSpPr>
          <p:nvPr/>
        </p:nvSpPr>
        <p:spPr bwMode="auto">
          <a:xfrm>
            <a:off x="6477143" y="3019132"/>
            <a:ext cx="1229201" cy="1229200"/>
          </a:xfrm>
          <a:prstGeom prst="ellipse">
            <a:avLst/>
          </a:prstGeom>
          <a:solidFill>
            <a:schemeClr val="bg1">
              <a:lumMod val="95000"/>
            </a:schemeClr>
          </a:solidFill>
          <a:ln>
            <a:solidFill>
              <a:schemeClr val="accent5"/>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4" name="Content Placeholder 18" descr="Kidneys">
            <a:extLst>
              <a:ext uri="{FF2B5EF4-FFF2-40B4-BE49-F238E27FC236}">
                <a16:creationId xmlns:a16="http://schemas.microsoft.com/office/drawing/2014/main" id="{49D3E8ED-65F2-8349-9749-4DD0EBEA79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85290" y="3167594"/>
            <a:ext cx="1012906" cy="900000"/>
          </a:xfrm>
          <a:prstGeom prst="rect">
            <a:avLst/>
          </a:prstGeom>
        </p:spPr>
      </p:pic>
      <p:sp>
        <p:nvSpPr>
          <p:cNvPr id="55" name="Rectangle 54">
            <a:extLst>
              <a:ext uri="{FF2B5EF4-FFF2-40B4-BE49-F238E27FC236}">
                <a16:creationId xmlns:a16="http://schemas.microsoft.com/office/drawing/2014/main" id="{3248C286-39A4-A847-AA2F-51C12E5A7E05}"/>
              </a:ext>
            </a:extLst>
          </p:cNvPr>
          <p:cNvSpPr/>
          <p:nvPr/>
        </p:nvSpPr>
        <p:spPr>
          <a:xfrm>
            <a:off x="6763441" y="4651670"/>
            <a:ext cx="4039886" cy="8100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Content Placeholder 8">
            <a:extLst>
              <a:ext uri="{FF2B5EF4-FFF2-40B4-BE49-F238E27FC236}">
                <a16:creationId xmlns:a16="http://schemas.microsoft.com/office/drawing/2014/main" id="{0A9B6735-9412-E947-A9D9-D07E2FEFF5C8}"/>
              </a:ext>
            </a:extLst>
          </p:cNvPr>
          <p:cNvSpPr txBox="1">
            <a:spLocks/>
          </p:cNvSpPr>
          <p:nvPr/>
        </p:nvSpPr>
        <p:spPr>
          <a:xfrm>
            <a:off x="7610712" y="4887413"/>
            <a:ext cx="3222915" cy="338554"/>
          </a:xfrm>
          <a:prstGeom prst="rect">
            <a:avLst/>
          </a:prstGeom>
        </p:spPr>
        <p:txBody>
          <a:bodyPr vert="horz" wrap="square" lIns="91440" tIns="45720" rIns="91440" bIns="45720" rtlCol="0">
            <a:sp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F256F"/>
              </a:buClr>
              <a:buSzTx/>
              <a:buFont typeface="Arial" panose="020B0604020202020204" pitchFamily="34" charset="0"/>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Patients at risk of hyperkalemia</a:t>
            </a:r>
            <a:r>
              <a:rPr kumimoji="0" lang="en-GB" sz="16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57" name="Oval 66">
            <a:extLst>
              <a:ext uri="{FF2B5EF4-FFF2-40B4-BE49-F238E27FC236}">
                <a16:creationId xmlns:a16="http://schemas.microsoft.com/office/drawing/2014/main" id="{CF3B0F03-1928-1541-92CB-A2B6860CCA37}"/>
              </a:ext>
            </a:extLst>
          </p:cNvPr>
          <p:cNvSpPr>
            <a:spLocks noChangeAspect="1" noChangeArrowheads="1"/>
          </p:cNvSpPr>
          <p:nvPr/>
        </p:nvSpPr>
        <p:spPr bwMode="auto">
          <a:xfrm>
            <a:off x="6477143" y="4442091"/>
            <a:ext cx="1229201" cy="1229200"/>
          </a:xfrm>
          <a:prstGeom prst="ellipse">
            <a:avLst/>
          </a:prstGeom>
          <a:solidFill>
            <a:schemeClr val="bg1">
              <a:lumMod val="95000"/>
            </a:schemeClr>
          </a:solidFill>
          <a:ln>
            <a:solidFill>
              <a:schemeClr val="accent5"/>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TextBox 58">
            <a:extLst>
              <a:ext uri="{FF2B5EF4-FFF2-40B4-BE49-F238E27FC236}">
                <a16:creationId xmlns:a16="http://schemas.microsoft.com/office/drawing/2014/main" id="{60ABD2A7-F738-5D45-B292-1F1867FB0A64}"/>
              </a:ext>
            </a:extLst>
          </p:cNvPr>
          <p:cNvSpPr txBox="1"/>
          <p:nvPr/>
        </p:nvSpPr>
        <p:spPr>
          <a:xfrm>
            <a:off x="6686927" y="4630714"/>
            <a:ext cx="101941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F256F"/>
                </a:solidFill>
                <a:effectLst/>
                <a:uLnTx/>
                <a:uFillTx/>
                <a:latin typeface="Arial" panose="020B0604020202020204"/>
                <a:ea typeface="+mn-ea"/>
                <a:cs typeface="+mn-cs"/>
              </a:rPr>
              <a:t>K</a:t>
            </a:r>
            <a:r>
              <a:rPr kumimoji="0" lang="en-US" sz="4800" b="1" i="0" u="none" strike="noStrike" kern="1200" cap="none" spc="0" normalizeH="0" baseline="30000" noProof="0" dirty="0">
                <a:ln>
                  <a:noFill/>
                </a:ln>
                <a:solidFill>
                  <a:srgbClr val="4F256F"/>
                </a:solidFill>
                <a:effectLst/>
                <a:uLnTx/>
                <a:uFillTx/>
                <a:latin typeface="Arial" panose="020B0604020202020204"/>
                <a:ea typeface="+mn-ea"/>
                <a:cs typeface="+mn-cs"/>
              </a:rPr>
              <a:t>+</a:t>
            </a:r>
          </a:p>
        </p:txBody>
      </p:sp>
      <p:sp>
        <p:nvSpPr>
          <p:cNvPr id="60" name="Rectangle 59">
            <a:extLst>
              <a:ext uri="{FF2B5EF4-FFF2-40B4-BE49-F238E27FC236}">
                <a16:creationId xmlns:a16="http://schemas.microsoft.com/office/drawing/2014/main" id="{92983C6F-48A8-E04C-918D-C39E6BD48D92}"/>
              </a:ext>
            </a:extLst>
          </p:cNvPr>
          <p:cNvSpPr/>
          <p:nvPr/>
        </p:nvSpPr>
        <p:spPr>
          <a:xfrm>
            <a:off x="6763441" y="1784730"/>
            <a:ext cx="4032000" cy="8100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4" name="Content Placeholder 8">
            <a:extLst>
              <a:ext uri="{FF2B5EF4-FFF2-40B4-BE49-F238E27FC236}">
                <a16:creationId xmlns:a16="http://schemas.microsoft.com/office/drawing/2014/main" id="{D523B8D5-AB5B-9E44-A3A0-580CCD57E2EB}"/>
              </a:ext>
            </a:extLst>
          </p:cNvPr>
          <p:cNvSpPr txBox="1">
            <a:spLocks/>
          </p:cNvSpPr>
          <p:nvPr/>
        </p:nvSpPr>
        <p:spPr>
          <a:xfrm>
            <a:off x="7593267" y="2020473"/>
            <a:ext cx="3210060" cy="338554"/>
          </a:xfrm>
          <a:prstGeom prst="rect">
            <a:avLst/>
          </a:prstGeom>
        </p:spPr>
        <p:txBody>
          <a:bodyPr vert="horz" wrap="square" lIns="91440" tIns="45720" rIns="91440" bIns="45720" rtlCol="0">
            <a:sp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F256F"/>
              </a:buClr>
              <a:buSzTx/>
              <a:buFont typeface="Arial" panose="020B0604020202020204" pitchFamily="34" charset="0"/>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Patients at risk of hypotension</a:t>
            </a:r>
            <a:r>
              <a:rPr kumimoji="0" lang="en-GB" sz="16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65" name="Oval 66">
            <a:extLst>
              <a:ext uri="{FF2B5EF4-FFF2-40B4-BE49-F238E27FC236}">
                <a16:creationId xmlns:a16="http://schemas.microsoft.com/office/drawing/2014/main" id="{9B1AC325-01F2-934C-9724-9596724F9D63}"/>
              </a:ext>
            </a:extLst>
          </p:cNvPr>
          <p:cNvSpPr>
            <a:spLocks noChangeAspect="1" noChangeArrowheads="1"/>
          </p:cNvSpPr>
          <p:nvPr/>
        </p:nvSpPr>
        <p:spPr bwMode="auto">
          <a:xfrm>
            <a:off x="6477143" y="1575151"/>
            <a:ext cx="1229201" cy="1229200"/>
          </a:xfrm>
          <a:prstGeom prst="ellipse">
            <a:avLst/>
          </a:prstGeom>
          <a:solidFill>
            <a:schemeClr val="bg1">
              <a:lumMod val="95000"/>
            </a:schemeClr>
          </a:solidFill>
          <a:ln>
            <a:solidFill>
              <a:schemeClr val="accent5"/>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Arrow: Down 37">
            <a:extLst>
              <a:ext uri="{FF2B5EF4-FFF2-40B4-BE49-F238E27FC236}">
                <a16:creationId xmlns:a16="http://schemas.microsoft.com/office/drawing/2014/main" id="{0674EFFC-0539-A949-AC38-70F362AC0CB1}"/>
              </a:ext>
            </a:extLst>
          </p:cNvPr>
          <p:cNvSpPr/>
          <p:nvPr/>
        </p:nvSpPr>
        <p:spPr>
          <a:xfrm rot="16200000">
            <a:off x="5667406" y="3211847"/>
            <a:ext cx="328944" cy="1199947"/>
          </a:xfrm>
          <a:prstGeom prst="downArrow">
            <a:avLst/>
          </a:prstGeom>
          <a:solidFill>
            <a:schemeClr val="accent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pic>
        <p:nvPicPr>
          <p:cNvPr id="29" name="Picture 28">
            <a:extLst>
              <a:ext uri="{FF2B5EF4-FFF2-40B4-BE49-F238E27FC236}">
                <a16:creationId xmlns:a16="http://schemas.microsoft.com/office/drawing/2014/main" id="{890E4415-5859-439F-975C-B00FF1A6CBF7}"/>
              </a:ext>
            </a:extLst>
          </p:cNvPr>
          <p:cNvPicPr>
            <a:picLocks noChangeAspect="1"/>
          </p:cNvPicPr>
          <p:nvPr/>
        </p:nvPicPr>
        <p:blipFill>
          <a:blip r:embed="rId5">
            <a:duotone>
              <a:schemeClr val="accent4">
                <a:shade val="45000"/>
                <a:satMod val="135000"/>
              </a:schemeClr>
              <a:prstClr val="white"/>
            </a:duotone>
            <a:extLst>
              <a:ext uri="{BEBA8EAE-BF5A-486C-A8C5-ECC9F3942E4B}">
                <a14:imgProps xmlns:a14="http://schemas.microsoft.com/office/drawing/2010/main">
                  <a14:imgLayer r:embed="rId6">
                    <a14:imgEffect>
                      <a14:backgroundRemoval t="9804" b="92593" l="9670" r="90110">
                        <a14:foregroundMark x1="36703" y1="38562" x2="36703" y2="38562"/>
                        <a14:foregroundMark x1="44396" y1="92810" x2="44396" y2="92810"/>
                        <a14:foregroundMark x1="57802" y1="86928" x2="57802" y2="86928"/>
                        <a14:foregroundMark x1="90110" y1="30501" x2="90110" y2="30501"/>
                        <a14:foregroundMark x1="78901" y1="30065" x2="78901" y2="30065"/>
                        <a14:foregroundMark x1="84176" y1="28105" x2="84176" y2="28105"/>
                        <a14:foregroundMark x1="86593" y1="35076" x2="86593" y2="35076"/>
                        <a14:foregroundMark x1="85934" y1="39216" x2="85934" y2="39216"/>
                        <a14:foregroundMark x1="78901" y1="43355" x2="78901" y2="43355"/>
                        <a14:foregroundMark x1="72967" y1="39869" x2="72967" y2="39869"/>
                        <a14:foregroundMark x1="70330" y1="34641" x2="70330" y2="34641"/>
                        <a14:foregroundMark x1="72967" y1="29847" x2="72967" y2="29847"/>
                      </a14:backgroundRemoval>
                    </a14:imgEffect>
                  </a14:imgLayer>
                </a14:imgProps>
              </a:ext>
            </a:extLst>
          </a:blip>
          <a:stretch>
            <a:fillRect/>
          </a:stretch>
        </p:blipFill>
        <p:spPr>
          <a:xfrm>
            <a:off x="6661987" y="1603992"/>
            <a:ext cx="918425" cy="926499"/>
          </a:xfrm>
          <a:prstGeom prst="rect">
            <a:avLst/>
          </a:prstGeom>
          <a:ln>
            <a:noFill/>
          </a:ln>
        </p:spPr>
      </p:pic>
      <p:sp>
        <p:nvSpPr>
          <p:cNvPr id="2" name="Slide Number Placeholder 1">
            <a:extLst>
              <a:ext uri="{FF2B5EF4-FFF2-40B4-BE49-F238E27FC236}">
                <a16:creationId xmlns:a16="http://schemas.microsoft.com/office/drawing/2014/main" id="{FC4E235E-8671-49A0-BA6B-567F08BD31E7}"/>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3ACF300C-1224-47DF-9D45-552AC8EB8BF3}"/>
              </a:ext>
            </a:extLst>
          </p:cNvPr>
          <p:cNvSpPr>
            <a:spLocks noGrp="1"/>
          </p:cNvSpPr>
          <p:nvPr>
            <p:ph type="ftr" sz="quarter" idx="20"/>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898989"/>
                </a:solidFill>
                <a:effectLst/>
                <a:uLnTx/>
                <a:uFillTx/>
                <a:latin typeface="Arial" panose="020B0604020202020204"/>
                <a:ea typeface="+mn-ea"/>
                <a:cs typeface="+mn-cs"/>
              </a:rPr>
              <a:t>CV, cardiovascular; eGFR, estimated glomerular filtration rate; HFH, heart failure hospitalization; SBP, systolic blood pressure.</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898989"/>
                </a:solidFill>
                <a:effectLst/>
                <a:uLnTx/>
                <a:uFillTx/>
                <a:latin typeface="Arial" panose="020B0604020202020204"/>
                <a:ea typeface="+mn-ea"/>
                <a:cs typeface="+mn-cs"/>
              </a:rPr>
              <a:t>References: 1. </a:t>
            </a:r>
            <a:r>
              <a:rPr kumimoji="0" lang="en-GB" sz="800" b="0" i="0" u="none" strike="noStrike" kern="1200" cap="none" spc="0" normalizeH="0" baseline="0" noProof="0" dirty="0">
                <a:ln>
                  <a:noFill/>
                </a:ln>
                <a:solidFill>
                  <a:srgbClr val="898989"/>
                </a:solidFill>
                <a:effectLst/>
                <a:uLnTx/>
                <a:uFillTx/>
                <a:latin typeface="Arial" panose="020B0604020202020204"/>
                <a:ea typeface="+mn-ea"/>
                <a:cs typeface="+mn-cs"/>
              </a:rPr>
              <a:t>Lam CSP </a:t>
            </a:r>
            <a:r>
              <a:rPr kumimoji="0" lang="en-GB" sz="800" b="0" i="1" u="none" strike="noStrike" kern="1200" cap="none" spc="0" normalizeH="0" baseline="0" noProof="0" dirty="0">
                <a:ln>
                  <a:noFill/>
                </a:ln>
                <a:solidFill>
                  <a:srgbClr val="898989"/>
                </a:solidFill>
                <a:effectLst/>
                <a:uLnTx/>
                <a:uFillTx/>
                <a:latin typeface="Arial" panose="020B0604020202020204"/>
                <a:ea typeface="+mn-ea"/>
                <a:cs typeface="+mn-cs"/>
              </a:rPr>
              <a:t>et al. J Am Heart Assoc </a:t>
            </a:r>
            <a:r>
              <a:rPr kumimoji="0" lang="en-GB" sz="800" b="0" i="0" u="none" strike="noStrike" kern="1200" cap="none" spc="0" normalizeH="0" baseline="0" noProof="0" dirty="0">
                <a:ln>
                  <a:noFill/>
                </a:ln>
                <a:solidFill>
                  <a:srgbClr val="898989"/>
                </a:solidFill>
                <a:effectLst/>
                <a:uLnTx/>
                <a:uFillTx/>
                <a:latin typeface="Arial" panose="020B0604020202020204"/>
                <a:ea typeface="+mn-ea"/>
                <a:cs typeface="+mn-cs"/>
              </a:rPr>
              <a:t>2021;10:e021094; </a:t>
            </a:r>
            <a:r>
              <a:rPr kumimoji="0" lang="en-GB" sz="800" b="1" i="0" u="none" strike="noStrike" kern="1200" cap="none" spc="0" normalizeH="0" baseline="0" noProof="0" dirty="0">
                <a:ln>
                  <a:noFill/>
                </a:ln>
                <a:solidFill>
                  <a:srgbClr val="898989"/>
                </a:solidFill>
                <a:effectLst/>
                <a:uLnTx/>
                <a:uFillTx/>
                <a:latin typeface="Arial" panose="020B0604020202020204"/>
                <a:ea typeface="+mn-ea"/>
                <a:cs typeface="+mn-cs"/>
              </a:rPr>
              <a:t>2. </a:t>
            </a:r>
            <a:r>
              <a:rPr kumimoji="0" lang="en-GB" sz="800" b="0" i="0" u="none" strike="noStrike" kern="1200" cap="none" spc="0" normalizeH="0" baseline="0" noProof="0" dirty="0">
                <a:ln>
                  <a:noFill/>
                </a:ln>
                <a:solidFill>
                  <a:srgbClr val="898989"/>
                </a:solidFill>
                <a:effectLst/>
                <a:uLnTx/>
                <a:uFillTx/>
                <a:latin typeface="Arial" panose="020B0604020202020204"/>
                <a:ea typeface="+mn-ea"/>
                <a:cs typeface="+mn-cs"/>
              </a:rPr>
              <a:t>Voors AA </a:t>
            </a:r>
            <a:r>
              <a:rPr kumimoji="0" lang="en-GB" sz="800" b="0" i="1" u="none" strike="noStrike" kern="1200" cap="none" spc="0" normalizeH="0" baseline="0" noProof="0" dirty="0">
                <a:ln>
                  <a:noFill/>
                </a:ln>
                <a:solidFill>
                  <a:srgbClr val="898989"/>
                </a:solidFill>
                <a:effectLst/>
                <a:uLnTx/>
                <a:uFillTx/>
                <a:latin typeface="Arial" panose="020B0604020202020204"/>
                <a:ea typeface="+mn-ea"/>
                <a:cs typeface="+mn-cs"/>
              </a:rPr>
              <a:t>et al. Eur J Heart Fail </a:t>
            </a:r>
            <a:r>
              <a:rPr kumimoji="0" lang="en-GB" sz="800" b="0" i="0" u="none" strike="noStrike" kern="1200" cap="none" spc="0" normalizeH="0" baseline="0" noProof="0" dirty="0">
                <a:ln>
                  <a:noFill/>
                </a:ln>
                <a:solidFill>
                  <a:srgbClr val="898989"/>
                </a:solidFill>
                <a:effectLst/>
                <a:uLnTx/>
                <a:uFillTx/>
                <a:latin typeface="Arial" panose="020B0604020202020204"/>
                <a:ea typeface="+mn-ea"/>
                <a:cs typeface="+mn-cs"/>
              </a:rPr>
              <a:t>2021;23:1313–1321.</a:t>
            </a:r>
          </a:p>
        </p:txBody>
      </p:sp>
      <p:sp>
        <p:nvSpPr>
          <p:cNvPr id="23" name="Text Placeholder 1">
            <a:extLst>
              <a:ext uri="{FF2B5EF4-FFF2-40B4-BE49-F238E27FC236}">
                <a16:creationId xmlns:a16="http://schemas.microsoft.com/office/drawing/2014/main" id="{DEFD40AC-AA4E-474B-B119-494B4CFA74A6}"/>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34993328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a:extLst>
              <a:ext uri="{FF2B5EF4-FFF2-40B4-BE49-F238E27FC236}">
                <a16:creationId xmlns:a16="http://schemas.microsoft.com/office/drawing/2014/main" id="{E1832D81-E892-43A0-BF74-0475746B4AAB}"/>
              </a:ext>
            </a:extLst>
          </p:cNvPr>
          <p:cNvSpPr/>
          <p:nvPr/>
        </p:nvSpPr>
        <p:spPr>
          <a:xfrm>
            <a:off x="3144678" y="4797152"/>
            <a:ext cx="4772041" cy="8036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Vericiguat</a:t>
            </a:r>
          </a:p>
        </p:txBody>
      </p:sp>
      <p:sp>
        <p:nvSpPr>
          <p:cNvPr id="2" name="Title 1">
            <a:extLst>
              <a:ext uri="{FF2B5EF4-FFF2-40B4-BE49-F238E27FC236}">
                <a16:creationId xmlns:a16="http://schemas.microsoft.com/office/drawing/2014/main" id="{FF3CD684-8D3C-40D6-A242-CCBA2E25F8F6}"/>
              </a:ext>
            </a:extLst>
          </p:cNvPr>
          <p:cNvSpPr>
            <a:spLocks noGrp="1"/>
          </p:cNvSpPr>
          <p:nvPr>
            <p:ph type="title"/>
          </p:nvPr>
        </p:nvSpPr>
        <p:spPr/>
        <p:txBody>
          <a:bodyPr/>
          <a:lstStyle/>
          <a:p>
            <a:r>
              <a:rPr lang="en-GB"/>
              <a:t>Vericiguat is recommended for the comprehensive medical treatment of patients with worsening HF</a:t>
            </a:r>
          </a:p>
        </p:txBody>
      </p:sp>
      <p:sp>
        <p:nvSpPr>
          <p:cNvPr id="27" name="Footer Placeholder 4">
            <a:extLst>
              <a:ext uri="{FF2B5EF4-FFF2-40B4-BE49-F238E27FC236}">
                <a16:creationId xmlns:a16="http://schemas.microsoft.com/office/drawing/2014/main" id="{CFEAE929-0F8E-4214-8205-6E20CA284D11}"/>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a</a:t>
            </a:r>
            <a:r>
              <a:rPr kumimoji="0" lang="en-GB"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ccording</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to physician’s clinical decision and patient toler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CEi, angiotensin-converting enzyme inhibitor; </a:t>
            </a:r>
            <a:r>
              <a:rPr kumimoji="0" lang="en-GB"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ARNi</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angiotensin receptor–</a:t>
            </a:r>
            <a:r>
              <a:rPr kumimoji="0" lang="en-GB"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neprilysin</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inhibitor; HF, heart failure; MRA, mineralocorticoid receptor antagonist;</a:t>
            </a:r>
            <a:r>
              <a:rPr kumimoji="0" lang="pt-BR"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SGLT2i, sodium–glucose cotransporter 2 inhibitor</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Reference: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McDonagh TA </a:t>
            </a:r>
            <a:r>
              <a:rPr kumimoji="0" lang="en-GB"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a:t>
            </a:r>
            <a:r>
              <a:rPr kumimoji="0" lang="en-GB"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Eur</a:t>
            </a:r>
            <a:r>
              <a:rPr kumimoji="0" lang="en-GB"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Heart J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2021;42:3599–3726.</a:t>
            </a:r>
          </a:p>
        </p:txBody>
      </p:sp>
      <p:sp>
        <p:nvSpPr>
          <p:cNvPr id="28" name="Rectangle 27">
            <a:extLst>
              <a:ext uri="{FF2B5EF4-FFF2-40B4-BE49-F238E27FC236}">
                <a16:creationId xmlns:a16="http://schemas.microsoft.com/office/drawing/2014/main" id="{36072355-DD2F-48F3-AFAB-71EE069E3EF8}"/>
              </a:ext>
            </a:extLst>
          </p:cNvPr>
          <p:cNvSpPr/>
          <p:nvPr/>
        </p:nvSpPr>
        <p:spPr>
          <a:xfrm>
            <a:off x="5876756" y="3239280"/>
            <a:ext cx="4772041" cy="8036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GLT2i</a:t>
            </a:r>
          </a:p>
        </p:txBody>
      </p:sp>
      <p:sp>
        <p:nvSpPr>
          <p:cNvPr id="29" name="Rectangle 28">
            <a:extLst>
              <a:ext uri="{FF2B5EF4-FFF2-40B4-BE49-F238E27FC236}">
                <a16:creationId xmlns:a16="http://schemas.microsoft.com/office/drawing/2014/main" id="{0D508127-D80B-4B3F-8664-1DBA153968B7}"/>
              </a:ext>
            </a:extLst>
          </p:cNvPr>
          <p:cNvSpPr/>
          <p:nvPr/>
        </p:nvSpPr>
        <p:spPr>
          <a:xfrm>
            <a:off x="5876756" y="1528632"/>
            <a:ext cx="4772041" cy="8036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MRA</a:t>
            </a:r>
          </a:p>
        </p:txBody>
      </p:sp>
      <p:sp>
        <p:nvSpPr>
          <p:cNvPr id="30" name="Rectangle 29">
            <a:extLst>
              <a:ext uri="{FF2B5EF4-FFF2-40B4-BE49-F238E27FC236}">
                <a16:creationId xmlns:a16="http://schemas.microsoft.com/office/drawing/2014/main" id="{B865747A-734B-4919-B2CB-58642037C3C8}"/>
              </a:ext>
            </a:extLst>
          </p:cNvPr>
          <p:cNvSpPr/>
          <p:nvPr/>
        </p:nvSpPr>
        <p:spPr>
          <a:xfrm>
            <a:off x="352296" y="3239280"/>
            <a:ext cx="4772041" cy="8036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0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eta blocker</a:t>
            </a:r>
          </a:p>
        </p:txBody>
      </p:sp>
      <p:sp>
        <p:nvSpPr>
          <p:cNvPr id="31" name="Rectangle 30">
            <a:extLst>
              <a:ext uri="{FF2B5EF4-FFF2-40B4-BE49-F238E27FC236}">
                <a16:creationId xmlns:a16="http://schemas.microsoft.com/office/drawing/2014/main" id="{735D6975-C929-474F-BBAB-EB2192DE6455}"/>
              </a:ext>
            </a:extLst>
          </p:cNvPr>
          <p:cNvSpPr/>
          <p:nvPr/>
        </p:nvSpPr>
        <p:spPr>
          <a:xfrm>
            <a:off x="339367" y="1509208"/>
            <a:ext cx="4772041" cy="8036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0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ACEi/ARNi</a:t>
            </a:r>
          </a:p>
        </p:txBody>
      </p:sp>
      <p:sp>
        <p:nvSpPr>
          <p:cNvPr id="32" name="Isosceles Triangle 2">
            <a:extLst>
              <a:ext uri="{FF2B5EF4-FFF2-40B4-BE49-F238E27FC236}">
                <a16:creationId xmlns:a16="http://schemas.microsoft.com/office/drawing/2014/main" id="{A6966C1B-5E5E-492F-A943-F9F620242551}"/>
              </a:ext>
            </a:extLst>
          </p:cNvPr>
          <p:cNvSpPr/>
          <p:nvPr/>
        </p:nvSpPr>
        <p:spPr>
          <a:xfrm flipV="1">
            <a:off x="4604462" y="4497170"/>
            <a:ext cx="1822948" cy="48320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extLst>
              <a:ext uri="{FF2B5EF4-FFF2-40B4-BE49-F238E27FC236}">
                <a16:creationId xmlns:a16="http://schemas.microsoft.com/office/drawing/2014/main" id="{10C4ADC7-178B-45DE-BEFA-10E43B48786E}"/>
              </a:ext>
            </a:extLst>
          </p:cNvPr>
          <p:cNvSpPr/>
          <p:nvPr/>
        </p:nvSpPr>
        <p:spPr>
          <a:xfrm>
            <a:off x="3935447" y="1480726"/>
            <a:ext cx="3136249" cy="3136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c 50">
            <a:extLst>
              <a:ext uri="{FF2B5EF4-FFF2-40B4-BE49-F238E27FC236}">
                <a16:creationId xmlns:a16="http://schemas.microsoft.com/office/drawing/2014/main" id="{D637064B-9F51-4DD5-85A6-2C176958B631}"/>
              </a:ext>
            </a:extLst>
          </p:cNvPr>
          <p:cNvSpPr/>
          <p:nvPr/>
        </p:nvSpPr>
        <p:spPr>
          <a:xfrm>
            <a:off x="3861753" y="1404461"/>
            <a:ext cx="3277587" cy="3277588"/>
          </a:xfrm>
          <a:prstGeom prst="arc">
            <a:avLst>
              <a:gd name="adj1" fmla="val 16200000"/>
              <a:gd name="adj2" fmla="val 20405217"/>
            </a:avLst>
          </a:prstGeom>
          <a:ln w="152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Arc 51">
            <a:extLst>
              <a:ext uri="{FF2B5EF4-FFF2-40B4-BE49-F238E27FC236}">
                <a16:creationId xmlns:a16="http://schemas.microsoft.com/office/drawing/2014/main" id="{4196BEA9-50DD-4625-8EF6-EF42ED13AF8E}"/>
              </a:ext>
            </a:extLst>
          </p:cNvPr>
          <p:cNvSpPr/>
          <p:nvPr/>
        </p:nvSpPr>
        <p:spPr>
          <a:xfrm rot="12969644">
            <a:off x="3861753" y="1404461"/>
            <a:ext cx="3277587" cy="3277588"/>
          </a:xfrm>
          <a:prstGeom prst="arc">
            <a:avLst>
              <a:gd name="adj1" fmla="val 16200000"/>
              <a:gd name="adj2" fmla="val 20405217"/>
            </a:avLst>
          </a:prstGeom>
          <a:ln w="152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Arc 52">
            <a:extLst>
              <a:ext uri="{FF2B5EF4-FFF2-40B4-BE49-F238E27FC236}">
                <a16:creationId xmlns:a16="http://schemas.microsoft.com/office/drawing/2014/main" id="{2D9DE82B-59FA-452B-AB81-38EE55A5E26C}"/>
              </a:ext>
            </a:extLst>
          </p:cNvPr>
          <p:cNvSpPr/>
          <p:nvPr/>
        </p:nvSpPr>
        <p:spPr>
          <a:xfrm rot="8609495">
            <a:off x="3861753" y="1404461"/>
            <a:ext cx="3277587" cy="3277588"/>
          </a:xfrm>
          <a:prstGeom prst="arc">
            <a:avLst>
              <a:gd name="adj1" fmla="val 16200000"/>
              <a:gd name="adj2" fmla="val 20405217"/>
            </a:avLst>
          </a:prstGeom>
          <a:ln w="152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Arc 60">
            <a:extLst>
              <a:ext uri="{FF2B5EF4-FFF2-40B4-BE49-F238E27FC236}">
                <a16:creationId xmlns:a16="http://schemas.microsoft.com/office/drawing/2014/main" id="{87E4317C-2483-4CB9-8486-6BC569936E48}"/>
              </a:ext>
            </a:extLst>
          </p:cNvPr>
          <p:cNvSpPr/>
          <p:nvPr/>
        </p:nvSpPr>
        <p:spPr>
          <a:xfrm rot="4312840">
            <a:off x="3861752" y="1404461"/>
            <a:ext cx="3277588" cy="3277587"/>
          </a:xfrm>
          <a:prstGeom prst="arc">
            <a:avLst>
              <a:gd name="adj1" fmla="val 16200000"/>
              <a:gd name="adj2" fmla="val 20405217"/>
            </a:avLst>
          </a:prstGeom>
          <a:ln w="152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Arc 61">
            <a:extLst>
              <a:ext uri="{FF2B5EF4-FFF2-40B4-BE49-F238E27FC236}">
                <a16:creationId xmlns:a16="http://schemas.microsoft.com/office/drawing/2014/main" id="{6905EB93-1556-491C-ACAE-EAFA0E309535}"/>
              </a:ext>
            </a:extLst>
          </p:cNvPr>
          <p:cNvSpPr/>
          <p:nvPr/>
        </p:nvSpPr>
        <p:spPr>
          <a:xfrm rot="17318864">
            <a:off x="3861752" y="1404460"/>
            <a:ext cx="3277588" cy="3277587"/>
          </a:xfrm>
          <a:prstGeom prst="arc">
            <a:avLst>
              <a:gd name="adj1" fmla="val 16200000"/>
              <a:gd name="adj2" fmla="val 20405217"/>
            </a:avLst>
          </a:prstGeom>
          <a:ln w="152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Oval 3">
            <a:extLst>
              <a:ext uri="{FF2B5EF4-FFF2-40B4-BE49-F238E27FC236}">
                <a16:creationId xmlns:a16="http://schemas.microsoft.com/office/drawing/2014/main" id="{0B316EB7-2489-40EB-919E-D18B90D2DBC8}"/>
              </a:ext>
            </a:extLst>
          </p:cNvPr>
          <p:cNvSpPr/>
          <p:nvPr/>
        </p:nvSpPr>
        <p:spPr>
          <a:xfrm>
            <a:off x="4025429" y="1567263"/>
            <a:ext cx="2928895" cy="2928896"/>
          </a:xfrm>
          <a:prstGeom prst="ellipse">
            <a:avLst/>
          </a:prstGeom>
          <a:solidFill>
            <a:schemeClr val="accent6">
              <a:alpha val="24000"/>
            </a:schemeClr>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B4008D"/>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F256F"/>
                </a:solidFill>
                <a:effectLst/>
                <a:uLnTx/>
                <a:uFillTx/>
                <a:latin typeface="Arial"/>
                <a:ea typeface="+mn-ea"/>
                <a:cs typeface="+mn-cs"/>
              </a:rPr>
              <a:t>Worsening HF event</a:t>
            </a:r>
          </a:p>
        </p:txBody>
      </p:sp>
      <p:pic>
        <p:nvPicPr>
          <p:cNvPr id="73" name="Content Placeholder 5" descr="Hospital">
            <a:extLst>
              <a:ext uri="{FF2B5EF4-FFF2-40B4-BE49-F238E27FC236}">
                <a16:creationId xmlns:a16="http://schemas.microsoft.com/office/drawing/2014/main" id="{943E00F1-F3C7-41F5-BDA4-32F00E33DA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67107" y="2156557"/>
            <a:ext cx="1253951" cy="1253952"/>
          </a:xfrm>
          <a:prstGeom prst="rect">
            <a:avLst/>
          </a:prstGeom>
        </p:spPr>
      </p:pic>
      <p:sp>
        <p:nvSpPr>
          <p:cNvPr id="3" name="Slide Number Placeholder 2">
            <a:extLst>
              <a:ext uri="{FF2B5EF4-FFF2-40B4-BE49-F238E27FC236}">
                <a16:creationId xmlns:a16="http://schemas.microsoft.com/office/drawing/2014/main" id="{77718EDE-8E71-4920-B160-39FF0CCBFD20}"/>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19" name="Text Placeholder 1">
            <a:extLst>
              <a:ext uri="{FF2B5EF4-FFF2-40B4-BE49-F238E27FC236}">
                <a16:creationId xmlns:a16="http://schemas.microsoft.com/office/drawing/2014/main" id="{E462DDE6-981D-432D-90DB-EFD1969D5CE9}"/>
              </a:ext>
            </a:extLst>
          </p:cNvPr>
          <p:cNvSpPr txBox="1">
            <a:spLocks/>
          </p:cNvSpPr>
          <p:nvPr/>
        </p:nvSpPr>
        <p:spPr>
          <a:xfrm>
            <a:off x="10058017" y="61180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10474782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AB5015-3196-42C5-BC0A-AF54A06C3008}"/>
              </a:ext>
            </a:extLst>
          </p:cNvPr>
          <p:cNvSpPr>
            <a:spLocks noGrp="1"/>
          </p:cNvSpPr>
          <p:nvPr>
            <p:ph type="title"/>
          </p:nvPr>
        </p:nvSpPr>
        <p:spPr/>
        <p:txBody>
          <a:bodyPr/>
          <a:lstStyle/>
          <a:p>
            <a:r>
              <a:rPr lang="en-US"/>
              <a:t>Vericiguat is consistently recommended for patients with HFrEF following a worsening HF event</a:t>
            </a:r>
            <a:r>
              <a:rPr lang="en-GB" baseline="30000"/>
              <a:t>1–3</a:t>
            </a:r>
            <a:endParaRPr lang="en-GB"/>
          </a:p>
        </p:txBody>
      </p:sp>
      <p:sp>
        <p:nvSpPr>
          <p:cNvPr id="4" name="Slide Number Placeholder 3">
            <a:extLst>
              <a:ext uri="{FF2B5EF4-FFF2-40B4-BE49-F238E27FC236}">
                <a16:creationId xmlns:a16="http://schemas.microsoft.com/office/drawing/2014/main" id="{5AA8E0BA-492A-4D2A-BDE9-F84C0775FC39}"/>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8605167A-6627-41F1-A488-493856EACA36}"/>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 Level of evidence B from a randomized tr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 A conditional recommendation is provided because vericiguat has not yet been approved for this indication in 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ACC, American College of Cardiology;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ACEi, angiotensin-converting enzyme inhibitor;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AHA, American Heart Association;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ARNi, angiotensin receptor–neprilysin inhibitor; </a:t>
            </a:r>
            <a:r>
              <a:rPr kumimoji="0" lang="en-GB" sz="800" b="0" i="0" u="none" strike="noStrike" kern="1200" cap="none" spc="0" normalizeH="0" baseline="0" noProof="0">
                <a:ln>
                  <a:noFill/>
                </a:ln>
                <a:solidFill>
                  <a:srgbClr val="878787"/>
                </a:solidFill>
                <a:effectLst/>
                <a:uLnTx/>
                <a:uFillTx/>
                <a:latin typeface="Arial" panose="020B0604020202020204" pitchFamily="34" charset="0"/>
                <a:ea typeface="MS PGothic" charset="0"/>
                <a:cs typeface="Arial" panose="020B0604020202020204" pitchFamily="34" charset="0"/>
              </a:rPr>
              <a:t>CCS, Canadian Cardiovascular Society; CHFS, Canadian Heart Failure Society;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CV, cardiovascular; ESC, European Society of Cardiology;</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GDMT, guideline-directed medical therapy;</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 HF, heart failure; HFH, heart failure hospitalization; HFrEF, heart failure with reduced ejection fraction; </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HFSA, Heart Failure Society of America;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MRA, mineralocorticoid receptor antagonist; NYHA, New York Heart Association; sGC, </a:t>
            </a:r>
            <a:r>
              <a:rPr kumimoji="0" lang="en-GB"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soluble guanylate cyclase.</a:t>
            </a:r>
            <a:endParaRPr kumimoji="0" lang="en-GB" sz="800" b="1" i="0" u="none" strike="noStrike" kern="1200" cap="none" spc="0" normalizeH="0" baseline="0" noProof="0">
              <a:ln>
                <a:noFill/>
              </a:ln>
              <a:solidFill>
                <a:srgbClr val="89898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898989"/>
                </a:solidFill>
                <a:effectLst/>
                <a:uLnTx/>
                <a:uFillTx/>
                <a:latin typeface="Arial" panose="020B0604020202020204"/>
                <a:ea typeface="+mn-ea"/>
                <a:cs typeface="+mn-cs"/>
              </a:rPr>
              <a:t>References: 1. </a:t>
            </a:r>
            <a:r>
              <a:rPr kumimoji="0" lang="en-GB" sz="800" b="0" i="0" u="none" strike="noStrike" kern="1200" cap="none" spc="0" normalizeH="0" baseline="0" noProof="0">
                <a:ln>
                  <a:noFill/>
                </a:ln>
                <a:solidFill>
                  <a:srgbClr val="878787"/>
                </a:solidFill>
                <a:effectLst/>
                <a:uLnTx/>
                <a:uFillTx/>
                <a:latin typeface="Arial" panose="020B0604020202020204" pitchFamily="34" charset="0"/>
                <a:ea typeface="MS PGothic" charset="0"/>
                <a:cs typeface="Arial" panose="020B0604020202020204" pitchFamily="34" charset="0"/>
              </a:rPr>
              <a:t>McDonald M</a:t>
            </a:r>
            <a:r>
              <a:rPr kumimoji="0" lang="en-GB" sz="800" b="0" i="1" u="none" strike="noStrike" kern="1200" cap="none" spc="0" normalizeH="0" baseline="0" noProof="0">
                <a:ln>
                  <a:noFill/>
                </a:ln>
                <a:solidFill>
                  <a:srgbClr val="878787"/>
                </a:solidFill>
                <a:effectLst/>
                <a:uLnTx/>
                <a:uFillTx/>
                <a:latin typeface="Arial" panose="020B0604020202020204" pitchFamily="34" charset="0"/>
                <a:ea typeface="MS PGothic" charset="0"/>
                <a:cs typeface="Arial" panose="020B0604020202020204" pitchFamily="34" charset="0"/>
              </a:rPr>
              <a:t> et al. Can J Cardiol</a:t>
            </a:r>
            <a:r>
              <a:rPr kumimoji="0" lang="en-GB" sz="800" b="0" i="0" u="none" strike="noStrike" kern="1200" cap="none" spc="0" normalizeH="0" baseline="0" noProof="0">
                <a:ln>
                  <a:noFill/>
                </a:ln>
                <a:solidFill>
                  <a:srgbClr val="878787"/>
                </a:solidFill>
                <a:effectLst/>
                <a:uLnTx/>
                <a:uFillTx/>
                <a:latin typeface="Arial" panose="020B0604020202020204" pitchFamily="34" charset="0"/>
                <a:ea typeface="MS PGothic" charset="0"/>
                <a:cs typeface="Arial" panose="020B0604020202020204" pitchFamily="34" charset="0"/>
              </a:rPr>
              <a:t> 2021;37:531–546</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 </a:t>
            </a:r>
            <a:r>
              <a:rPr kumimoji="0" lang="en-GB" sz="800" b="1" i="0" u="none" strike="noStrike" kern="1200" cap="none" spc="0" normalizeH="0" baseline="0" noProof="0">
                <a:ln>
                  <a:noFill/>
                </a:ln>
                <a:solidFill>
                  <a:srgbClr val="898989"/>
                </a:solidFill>
                <a:effectLst/>
                <a:uLnTx/>
                <a:uFillTx/>
                <a:latin typeface="Arial" panose="020B0604020202020204"/>
                <a:ea typeface="MS PGothic" charset="0"/>
                <a:cs typeface="+mn-cs"/>
              </a:rPr>
              <a:t>2.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Heidenreich PA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Circulation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2022;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https://doi.org/</a:t>
            </a:r>
            <a:r>
              <a:rPr kumimoji="0" lang="en-GB" sz="800" b="0" i="0" u="none" strike="noStrike" kern="1200" cap="none" spc="0" normalizeH="0" baseline="0" noProof="0">
                <a:ln>
                  <a:noFill/>
                </a:ln>
                <a:solidFill>
                  <a:srgbClr val="898989"/>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10.1016/j.jacc.2021.12.012</a:t>
            </a:r>
            <a:r>
              <a:rPr kumimoji="0" lang="en-GB" sz="800" b="0" i="0" u="none" strike="noStrike" kern="1200" cap="none" spc="0" normalizeH="0" baseline="0" noProof="0">
                <a:ln>
                  <a:noFill/>
                </a:ln>
                <a:solidFill>
                  <a:srgbClr val="898989"/>
                </a:solidFill>
                <a:effectLst/>
                <a:uLnTx/>
                <a:uFillTx/>
                <a:latin typeface="Arial" panose="020B0604020202020204"/>
                <a:ea typeface="+mn-ea"/>
                <a:cs typeface="+mn-cs"/>
              </a:rPr>
              <a:t>; </a:t>
            </a:r>
            <a:r>
              <a:rPr kumimoji="0" lang="en-GB" sz="800" b="1" i="0" u="none" strike="noStrike" kern="1200" cap="none" spc="0" normalizeH="0" baseline="0" noProof="0">
                <a:ln>
                  <a:noFill/>
                </a:ln>
                <a:solidFill>
                  <a:srgbClr val="898989"/>
                </a:solidFill>
                <a:effectLst/>
                <a:uLnTx/>
                <a:uFillTx/>
                <a:latin typeface="Arial" panose="020B0604020202020204"/>
                <a:ea typeface="+mn-ea"/>
                <a:cs typeface="+mn-cs"/>
              </a:rPr>
              <a:t>3.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McDonagh TA </a:t>
            </a:r>
            <a:r>
              <a:rPr kumimoji="0" lang="en-GB" sz="800" b="0" i="1" u="none" strike="noStrike" kern="1200" cap="none" spc="0" normalizeH="0" baseline="0" noProof="0">
                <a:ln>
                  <a:noFill/>
                </a:ln>
                <a:solidFill>
                  <a:srgbClr val="898989"/>
                </a:solidFill>
                <a:effectLst/>
                <a:uLnTx/>
                <a:uFillTx/>
                <a:latin typeface="Arial" panose="020B0604020202020204"/>
                <a:ea typeface="MS PGothic" charset="0"/>
                <a:cs typeface="+mn-cs"/>
              </a:rPr>
              <a:t>et al. Eur Heart J</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 2021;42:3599–3726.</a:t>
            </a:r>
            <a:endParaRPr kumimoji="0" lang="en-US" sz="800" b="0" i="0" u="none" strike="noStrike" kern="1200" cap="none" spc="0" normalizeH="0" baseline="0" noProof="0">
              <a:ln>
                <a:noFill/>
              </a:ln>
              <a:solidFill>
                <a:srgbClr val="898989"/>
              </a:solidFill>
              <a:effectLst/>
              <a:uLnTx/>
              <a:uFillTx/>
              <a:latin typeface="Arial" panose="020B0604020202020204"/>
              <a:ea typeface="+mn-ea"/>
              <a:cs typeface="+mn-cs"/>
            </a:endParaRPr>
          </a:p>
        </p:txBody>
      </p:sp>
      <p:graphicFrame>
        <p:nvGraphicFramePr>
          <p:cNvPr id="8" name="Content Placeholder 20">
            <a:extLst>
              <a:ext uri="{FF2B5EF4-FFF2-40B4-BE49-F238E27FC236}">
                <a16:creationId xmlns:a16="http://schemas.microsoft.com/office/drawing/2014/main" id="{02BE4A39-EB81-4BBE-8B91-82B200C57624}"/>
              </a:ext>
            </a:extLst>
          </p:cNvPr>
          <p:cNvGraphicFramePr>
            <a:graphicFrameLocks noGrp="1"/>
          </p:cNvGraphicFramePr>
          <p:nvPr>
            <p:ph sz="quarter" idx="13"/>
          </p:nvPr>
        </p:nvGraphicFramePr>
        <p:xfrm>
          <a:off x="596900" y="1412877"/>
          <a:ext cx="9928800" cy="4267032"/>
        </p:xfrm>
        <a:graphic>
          <a:graphicData uri="http://schemas.openxmlformats.org/drawingml/2006/table">
            <a:tbl>
              <a:tblPr firstRow="1" bandRow="1">
                <a:tableStyleId>{74C1A8A3-306A-4EB7-A6B1-4F7E0EB9C5D6}</a:tableStyleId>
              </a:tblPr>
              <a:tblGrid>
                <a:gridCol w="6652800">
                  <a:extLst>
                    <a:ext uri="{9D8B030D-6E8A-4147-A177-3AD203B41FA5}">
                      <a16:colId xmlns:a16="http://schemas.microsoft.com/office/drawing/2014/main" val="1541236114"/>
                    </a:ext>
                  </a:extLst>
                </a:gridCol>
                <a:gridCol w="1638000">
                  <a:extLst>
                    <a:ext uri="{9D8B030D-6E8A-4147-A177-3AD203B41FA5}">
                      <a16:colId xmlns:a16="http://schemas.microsoft.com/office/drawing/2014/main" val="734969722"/>
                    </a:ext>
                  </a:extLst>
                </a:gridCol>
                <a:gridCol w="1638000">
                  <a:extLst>
                    <a:ext uri="{9D8B030D-6E8A-4147-A177-3AD203B41FA5}">
                      <a16:colId xmlns:a16="http://schemas.microsoft.com/office/drawing/2014/main" val="2468693157"/>
                    </a:ext>
                  </a:extLst>
                </a:gridCol>
              </a:tblGrid>
              <a:tr h="265703">
                <a:tc>
                  <a:txBody>
                    <a:bodyPr/>
                    <a:lstStyle/>
                    <a:p>
                      <a:pPr algn="l" rtl="0" fontAlgn="ctr"/>
                      <a:r>
                        <a:rPr lang="en-US" sz="1400" u="none" strike="noStrike">
                          <a:effectLst/>
                        </a:rPr>
                        <a:t>Recommendation</a:t>
                      </a:r>
                      <a:endParaRPr lang="en-US" sz="1400" b="1" i="0" u="none" strike="noStrike">
                        <a:solidFill>
                          <a:schemeClr val="bg1"/>
                        </a:solidFill>
                        <a:effectLst/>
                        <a:latin typeface="Arial" panose="020B0604020202020204" pitchFamily="34" charset="0"/>
                        <a:cs typeface="Arial" panose="020B0604020202020204" pitchFamily="34" charset="0"/>
                      </a:endParaRPr>
                    </a:p>
                  </a:txBody>
                  <a:tcPr marL="91428" marR="91428" marT="91428" marB="91428" anchor="ctr"/>
                </a:tc>
                <a:tc>
                  <a:txBody>
                    <a:bodyPr/>
                    <a:lstStyle/>
                    <a:p>
                      <a:pPr algn="ctr" rtl="0" fontAlgn="ctr"/>
                      <a:r>
                        <a:rPr lang="en-US" sz="1400" u="none" strike="noStrike">
                          <a:effectLst/>
                        </a:rPr>
                        <a:t>Class </a:t>
                      </a:r>
                      <a:r>
                        <a:rPr lang="en-US" sz="1400" b="1" i="0" u="none" strike="noStrike">
                          <a:solidFill>
                            <a:schemeClr val="bg1"/>
                          </a:solidFill>
                          <a:effectLst/>
                          <a:latin typeface="Arial" panose="020B0604020202020204" pitchFamily="34" charset="0"/>
                          <a:cs typeface="Arial" panose="020B0604020202020204" pitchFamily="34" charset="0"/>
                        </a:rPr>
                        <a:t>of recommendation</a:t>
                      </a:r>
                    </a:p>
                  </a:txBody>
                  <a:tcPr marL="91428" marR="91428" marT="91428" marB="91428" anchor="ctr"/>
                </a:tc>
                <a:tc>
                  <a:txBody>
                    <a:bodyPr/>
                    <a:lstStyle/>
                    <a:p>
                      <a:pPr algn="ctr" rtl="0" fontAlgn="ctr"/>
                      <a:r>
                        <a:rPr lang="en-US" sz="1400" u="none" strike="noStrike">
                          <a:effectLst/>
                        </a:rPr>
                        <a:t>Level of evidence</a:t>
                      </a:r>
                      <a:endParaRPr lang="en-US" sz="1400" b="1" i="0" u="none" strike="noStrike">
                        <a:solidFill>
                          <a:schemeClr val="bg1"/>
                        </a:solidFill>
                        <a:effectLst/>
                        <a:latin typeface="Arial" panose="020B0604020202020204" pitchFamily="34" charset="0"/>
                        <a:cs typeface="Arial" panose="020B0604020202020204" pitchFamily="34" charset="0"/>
                      </a:endParaRPr>
                    </a:p>
                  </a:txBody>
                  <a:tcPr marL="91428" marR="91428" marT="91428" marB="91428" anchor="ctr"/>
                </a:tc>
                <a:extLst>
                  <a:ext uri="{0D108BD9-81ED-4DB2-BD59-A6C34878D82A}">
                    <a16:rowId xmlns:a16="http://schemas.microsoft.com/office/drawing/2014/main" val="3396163617"/>
                  </a:ext>
                </a:extLst>
              </a:tr>
              <a:tr h="0">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1"/>
                        <a:t>AHA/ACC/HFSA 2022 guidelines</a:t>
                      </a:r>
                      <a:r>
                        <a:rPr lang="en-GB" sz="1400" b="1" baseline="30000"/>
                        <a:t>2</a:t>
                      </a:r>
                      <a:r>
                        <a:rPr lang="en-GB" sz="1400" b="1"/>
                        <a:t> </a:t>
                      </a: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extLst>
                  <a:ext uri="{0D108BD9-81ED-4DB2-BD59-A6C34878D82A}">
                    <a16:rowId xmlns:a16="http://schemas.microsoft.com/office/drawing/2014/main" val="1999660898"/>
                  </a:ext>
                </a:extLst>
              </a:tr>
              <a:tr h="358703">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0" u="none" strike="noStrike" kern="1200">
                          <a:effectLst/>
                        </a:rPr>
                        <a:t>In selected high-risk patients with HFrEF and </a:t>
                      </a:r>
                      <a:r>
                        <a:rPr lang="en-GB" sz="1400" b="1" u="none" strike="noStrike" kern="1200">
                          <a:effectLst/>
                        </a:rPr>
                        <a:t>recent worsening of HF </a:t>
                      </a:r>
                      <a:r>
                        <a:rPr lang="en-GB" sz="1400" b="0" u="none" strike="noStrike" kern="1200">
                          <a:effectLst/>
                        </a:rPr>
                        <a:t>already on GDMT, an oral sGC stimulator (vericiguat) may be considered to reduce HFH and CV death</a:t>
                      </a:r>
                      <a:endParaRPr lang="en-GB" sz="1400" b="0"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a:effectLst/>
                        </a:rPr>
                        <a:t>2b</a:t>
                      </a:r>
                      <a:endParaRPr lang="en-GB" sz="1400" b="0"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F79426"/>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a:effectLst/>
                        </a:rPr>
                        <a:t>B</a:t>
                      </a:r>
                      <a:r>
                        <a:rPr lang="en-GB" sz="1400" u="none" strike="noStrike" kern="1200">
                          <a:effectLst/>
                          <a:latin typeface="Arial" panose="020B0604020202020204" pitchFamily="34" charset="0"/>
                          <a:cs typeface="Arial" panose="020B0604020202020204" pitchFamily="34" charset="0"/>
                        </a:rPr>
                        <a:t>–</a:t>
                      </a:r>
                      <a:r>
                        <a:rPr lang="en-GB" sz="1400" u="none" strike="noStrike" kern="1200">
                          <a:effectLst/>
                        </a:rPr>
                        <a:t>R</a:t>
                      </a:r>
                      <a:r>
                        <a:rPr lang="en-GB" sz="1400" u="none" strike="noStrike" kern="1200" baseline="0">
                          <a:effectLst/>
                        </a:rPr>
                        <a:t>*</a:t>
                      </a:r>
                      <a:endParaRPr lang="en-GB" sz="1400" b="0" i="0" u="none" strike="noStrike" kern="1200" baseline="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A5C9F0"/>
                    </a:solidFill>
                  </a:tcPr>
                </a:tc>
                <a:extLst>
                  <a:ext uri="{0D108BD9-81ED-4DB2-BD59-A6C34878D82A}">
                    <a16:rowId xmlns:a16="http://schemas.microsoft.com/office/drawing/2014/main" val="1813043875"/>
                  </a:ext>
                </a:extLst>
              </a:tr>
              <a:tr h="0">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1" i="0" u="none" strike="noStrike" kern="1200">
                          <a:solidFill>
                            <a:schemeClr val="tx1"/>
                          </a:solidFill>
                          <a:effectLst/>
                          <a:latin typeface="Arial" panose="020B0604020202020204" pitchFamily="34" charset="0"/>
                          <a:ea typeface="+mn-ea"/>
                          <a:cs typeface="Arial" panose="020B0604020202020204" pitchFamily="34" charset="0"/>
                        </a:rPr>
                        <a:t>ESC 2021 guidelines</a:t>
                      </a:r>
                      <a:r>
                        <a:rPr lang="en-GB" sz="1400" b="1" i="0" u="none" strike="noStrike" kern="1200" baseline="30000">
                          <a:solidFill>
                            <a:schemeClr val="tx1"/>
                          </a:solidFill>
                          <a:effectLst/>
                          <a:latin typeface="Arial" panose="020B0604020202020204" pitchFamily="34" charset="0"/>
                          <a:ea typeface="+mn-ea"/>
                          <a:cs typeface="Arial" panose="020B0604020202020204" pitchFamily="34" charset="0"/>
                        </a:rPr>
                        <a:t>3</a:t>
                      </a: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extLst>
                  <a:ext uri="{0D108BD9-81ED-4DB2-BD59-A6C34878D82A}">
                    <a16:rowId xmlns:a16="http://schemas.microsoft.com/office/drawing/2014/main" val="715667315"/>
                  </a:ext>
                </a:extLst>
              </a:tr>
              <a:tr h="358703">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mn-lt"/>
                          <a:ea typeface="+mn-ea"/>
                          <a:cs typeface="+mn-cs"/>
                        </a:rPr>
                        <a:t>Vericiguat</a:t>
                      </a:r>
                      <a:r>
                        <a:rPr kumimoji="0" lang="en-GB" sz="1400" b="1" i="0" u="none" strike="noStrike" kern="1200" cap="none" spc="0" normalizeH="0" baseline="0" noProof="0">
                          <a:ln>
                            <a:noFill/>
                          </a:ln>
                          <a:solidFill>
                            <a:srgbClr val="000000"/>
                          </a:solidFill>
                          <a:effectLst/>
                          <a:uLnTx/>
                          <a:uFillTx/>
                          <a:latin typeface="+mn-lt"/>
                          <a:ea typeface="+mn-ea"/>
                          <a:cs typeface="+mn-cs"/>
                        </a:rPr>
                        <a:t> </a:t>
                      </a:r>
                      <a:r>
                        <a:rPr kumimoji="0" lang="en-GB" sz="1400" b="0" i="0" u="none" strike="noStrike" kern="1200" cap="none" spc="0" normalizeH="0" baseline="0" noProof="0">
                          <a:ln>
                            <a:noFill/>
                          </a:ln>
                          <a:solidFill>
                            <a:srgbClr val="000000"/>
                          </a:solidFill>
                          <a:effectLst/>
                          <a:uLnTx/>
                          <a:uFillTx/>
                          <a:latin typeface="+mn-lt"/>
                          <a:ea typeface="+mn-ea"/>
                          <a:cs typeface="+mn-cs"/>
                        </a:rPr>
                        <a:t>may be considered in patients in NYHA class II–IV who have had </a:t>
                      </a:r>
                      <a:r>
                        <a:rPr kumimoji="0" lang="en-GB" sz="1400" b="1" i="0" u="none" strike="noStrike" kern="1200" cap="none" spc="0" normalizeH="0" baseline="0" noProof="0">
                          <a:ln>
                            <a:noFill/>
                          </a:ln>
                          <a:solidFill>
                            <a:srgbClr val="000000"/>
                          </a:solidFill>
                          <a:effectLst/>
                          <a:uLnTx/>
                          <a:uFillTx/>
                          <a:latin typeface="+mn-lt"/>
                          <a:ea typeface="+mn-ea"/>
                          <a:cs typeface="+mn-cs"/>
                        </a:rPr>
                        <a:t>worsening HF </a:t>
                      </a:r>
                      <a:r>
                        <a:rPr kumimoji="0" lang="en-GB" sz="1400" b="0" i="0" u="none" strike="noStrike" kern="1200" cap="none" spc="0" normalizeH="0" baseline="0" noProof="0">
                          <a:ln>
                            <a:noFill/>
                          </a:ln>
                          <a:solidFill>
                            <a:srgbClr val="000000"/>
                          </a:solidFill>
                          <a:effectLst/>
                          <a:uLnTx/>
                          <a:uFillTx/>
                          <a:latin typeface="+mn-lt"/>
                          <a:ea typeface="+mn-ea"/>
                          <a:cs typeface="+mn-cs"/>
                        </a:rPr>
                        <a:t>despite treatment with an ACEi (or ARNi), a beta blocker and an MRA to reduce the risk of CV mortality or HFH</a:t>
                      </a:r>
                      <a:endParaRPr kumimoji="0" lang="en-GB" sz="14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mn-lt"/>
                          <a:ea typeface="+mn-ea"/>
                          <a:cs typeface="+mn-cs"/>
                        </a:rPr>
                        <a:t>IIb</a:t>
                      </a: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91428" marR="91428" marT="91428" marB="91428" anchor="ctr">
                    <a:solidFill>
                      <a:srgbClr val="F79426"/>
                    </a:solidFill>
                  </a:tcPr>
                </a:tc>
                <a:tc>
                  <a:txBody>
                    <a:bodyPr/>
                    <a:lstStyle/>
                    <a:p>
                      <a:pPr algn="ctr"/>
                      <a:r>
                        <a:rPr kumimoji="0" lang="en-GB" sz="1400" b="0" i="0" u="none" strike="noStrike" kern="1200" cap="none" spc="0" normalizeH="0" baseline="0" noProof="0">
                          <a:ln>
                            <a:noFill/>
                          </a:ln>
                          <a:solidFill>
                            <a:srgbClr val="000000"/>
                          </a:solidFill>
                          <a:effectLst/>
                          <a:uLnTx/>
                          <a:uFillTx/>
                          <a:latin typeface="+mn-lt"/>
                          <a:ea typeface="+mn-ea"/>
                          <a:cs typeface="+mn-cs"/>
                        </a:rPr>
                        <a:t>B</a:t>
                      </a:r>
                      <a:endParaRPr lang="en-US" sz="1400"/>
                    </a:p>
                  </a:txBody>
                  <a:tcPr marL="91428" marR="91428" marT="91428" marB="91428" anchor="ctr">
                    <a:solidFill>
                      <a:srgbClr val="A5C9F0"/>
                    </a:solidFill>
                  </a:tcPr>
                </a:tc>
                <a:extLst>
                  <a:ext uri="{0D108BD9-81ED-4DB2-BD59-A6C34878D82A}">
                    <a16:rowId xmlns:a16="http://schemas.microsoft.com/office/drawing/2014/main" val="3330378368"/>
                  </a:ext>
                </a:extLst>
              </a:tr>
              <a:tr h="323147">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1" i="0" u="none" strike="noStrike" kern="1200">
                          <a:solidFill>
                            <a:schemeClr val="tx1"/>
                          </a:solidFill>
                          <a:effectLst/>
                          <a:latin typeface="Arial" panose="020B0604020202020204" pitchFamily="34" charset="0"/>
                          <a:ea typeface="+mn-ea"/>
                          <a:cs typeface="Arial" panose="020B0604020202020204" pitchFamily="34" charset="0"/>
                        </a:rPr>
                        <a:t>CCS/CHFS 2021 guidelines</a:t>
                      </a:r>
                      <a:r>
                        <a:rPr lang="en-GB" sz="1400" b="1" i="0" u="none" strike="noStrike" kern="1200" baseline="30000">
                          <a:solidFill>
                            <a:schemeClr val="tx1"/>
                          </a:solidFill>
                          <a:effectLst/>
                          <a:latin typeface="Arial" panose="020B0604020202020204" pitchFamily="34" charset="0"/>
                          <a:ea typeface="+mn-ea"/>
                          <a:cs typeface="Arial" panose="020B0604020202020204" pitchFamily="34" charset="0"/>
                        </a:rPr>
                        <a:t>1</a:t>
                      </a: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extLst>
                  <a:ext uri="{0D108BD9-81ED-4DB2-BD59-A6C34878D82A}">
                    <a16:rowId xmlns:a16="http://schemas.microsoft.com/office/drawing/2014/main" val="1397552326"/>
                  </a:ext>
                </a:extLst>
              </a:tr>
              <a:tr h="358703">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mn-lt"/>
                          <a:ea typeface="+mn-ea"/>
                          <a:cs typeface="+mn-cs"/>
                        </a:rPr>
                        <a:t>We recommend that vericiguat, an oral sGC stimulator, be considered in addition to optimal HF therapies for </a:t>
                      </a:r>
                      <a:r>
                        <a:rPr kumimoji="0" lang="en-GB" sz="1400" b="0" i="0" u="none" strike="noStrike" kern="1200" cap="none" spc="0" normalizeH="0" baseline="0" noProof="0" err="1">
                          <a:ln>
                            <a:noFill/>
                          </a:ln>
                          <a:solidFill>
                            <a:srgbClr val="000000"/>
                          </a:solidFill>
                          <a:effectLst/>
                          <a:uLnTx/>
                          <a:uFillTx/>
                          <a:latin typeface="+mn-lt"/>
                          <a:ea typeface="+mn-ea"/>
                          <a:cs typeface="+mn-cs"/>
                        </a:rPr>
                        <a:t>HFrEF</a:t>
                      </a:r>
                      <a:r>
                        <a:rPr kumimoji="0" lang="en-GB" sz="1400" b="0" i="0" u="none" strike="noStrike" kern="1200" cap="none" spc="0" normalizeH="0" baseline="0" noProof="0">
                          <a:ln>
                            <a:noFill/>
                          </a:ln>
                          <a:solidFill>
                            <a:srgbClr val="000000"/>
                          </a:solidFill>
                          <a:effectLst/>
                          <a:uLnTx/>
                          <a:uFillTx/>
                          <a:latin typeface="+mn-lt"/>
                          <a:ea typeface="+mn-ea"/>
                          <a:cs typeface="+mn-cs"/>
                        </a:rPr>
                        <a:t> patients with </a:t>
                      </a:r>
                      <a:r>
                        <a:rPr kumimoji="0" lang="en-GB" sz="1400" b="1" i="0" u="none" strike="noStrike" kern="1200" cap="none" spc="0" normalizeH="0" baseline="0" noProof="0">
                          <a:ln>
                            <a:noFill/>
                          </a:ln>
                          <a:solidFill>
                            <a:srgbClr val="000000"/>
                          </a:solidFill>
                          <a:effectLst/>
                          <a:uLnTx/>
                          <a:uFillTx/>
                          <a:latin typeface="+mn-lt"/>
                          <a:ea typeface="+mn-ea"/>
                          <a:cs typeface="+mn-cs"/>
                        </a:rPr>
                        <a:t>worsening symptoms </a:t>
                      </a:r>
                      <a:r>
                        <a:rPr kumimoji="0" lang="en-GB" sz="1400" b="0" i="0" u="none" strike="noStrike" kern="1200" cap="none" spc="0" normalizeH="0" baseline="0" noProof="0">
                          <a:ln>
                            <a:noFill/>
                          </a:ln>
                          <a:solidFill>
                            <a:srgbClr val="000000"/>
                          </a:solidFill>
                          <a:effectLst/>
                          <a:uLnTx/>
                          <a:uFillTx/>
                          <a:latin typeface="+mn-lt"/>
                          <a:ea typeface="+mn-ea"/>
                          <a:cs typeface="+mn-cs"/>
                        </a:rPr>
                        <a:t>and HFH in the past 6 months, to reduce the risk of subsequent HFH</a:t>
                      </a:r>
                      <a:endParaRPr kumimoji="0" lang="en-GB" sz="14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mn-lt"/>
                          <a:ea typeface="+mn-ea"/>
                          <a:cs typeface="+mn-cs"/>
                        </a:rPr>
                        <a:t>Conditional</a:t>
                      </a:r>
                      <a:r>
                        <a:rPr kumimoji="0" lang="en-GB" sz="1400" b="0" i="0" u="none" strike="noStrike" kern="1200" cap="none" spc="0" normalizeH="0" baseline="30000" noProof="0">
                          <a:ln>
                            <a:noFill/>
                          </a:ln>
                          <a:solidFill>
                            <a:srgbClr val="000000"/>
                          </a:solidFill>
                          <a:effectLst/>
                          <a:uLnTx/>
                          <a:uFillTx/>
                          <a:latin typeface="+mn-lt"/>
                          <a:ea typeface="+mn-ea"/>
                          <a:cs typeface="+mn-cs"/>
                        </a:rPr>
                        <a:t>#</a:t>
                      </a:r>
                      <a:endParaRPr kumimoji="0" lang="en-GB" sz="14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91428" marR="91428" marT="91428" marB="91428" anchor="ctr">
                    <a:solidFill>
                      <a:schemeClr val="bg1"/>
                    </a:solidFill>
                  </a:tcPr>
                </a:tc>
                <a:tc>
                  <a:txBody>
                    <a:bodyPr/>
                    <a:lstStyle/>
                    <a:p>
                      <a:pPr algn="ctr"/>
                      <a:r>
                        <a:rPr kumimoji="0" lang="en-GB" sz="1400" b="0" i="0" u="none" strike="noStrike" kern="1200" cap="none" spc="0" normalizeH="0" baseline="0" noProof="0">
                          <a:ln>
                            <a:noFill/>
                          </a:ln>
                          <a:solidFill>
                            <a:srgbClr val="000000"/>
                          </a:solidFill>
                          <a:effectLst/>
                          <a:uLnTx/>
                          <a:uFillTx/>
                          <a:latin typeface="+mn-lt"/>
                          <a:ea typeface="+mn-ea"/>
                          <a:cs typeface="+mn-cs"/>
                        </a:rPr>
                        <a:t>Moderate quality</a:t>
                      </a:r>
                      <a:endParaRPr lang="en-US" sz="1400"/>
                    </a:p>
                  </a:txBody>
                  <a:tcPr marL="91428" marR="91428" marT="91428" marB="91428" anchor="ctr">
                    <a:solidFill>
                      <a:schemeClr val="bg1"/>
                    </a:solidFill>
                  </a:tcPr>
                </a:tc>
                <a:extLst>
                  <a:ext uri="{0D108BD9-81ED-4DB2-BD59-A6C34878D82A}">
                    <a16:rowId xmlns:a16="http://schemas.microsoft.com/office/drawing/2014/main" val="3307893411"/>
                  </a:ext>
                </a:extLst>
              </a:tr>
            </a:tbl>
          </a:graphicData>
        </a:graphic>
      </p:graphicFrame>
      <p:sp>
        <p:nvSpPr>
          <p:cNvPr id="6" name="Text Placeholder 1">
            <a:extLst>
              <a:ext uri="{FF2B5EF4-FFF2-40B4-BE49-F238E27FC236}">
                <a16:creationId xmlns:a16="http://schemas.microsoft.com/office/drawing/2014/main" id="{EA5B63C8-3B7C-4E44-BDE3-33C3E48D4983}"/>
              </a:ext>
            </a:extLst>
          </p:cNvPr>
          <p:cNvSpPr txBox="1">
            <a:spLocks/>
          </p:cNvSpPr>
          <p:nvPr/>
        </p:nvSpPr>
        <p:spPr>
          <a:xfrm>
            <a:off x="10356122" y="6055839"/>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3499891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9CE1ED-2BFF-4084-AD70-60DD347FCEC8}"/>
              </a:ext>
            </a:extLst>
          </p:cNvPr>
          <p:cNvSpPr>
            <a:spLocks noGrp="1"/>
          </p:cNvSpPr>
          <p:nvPr>
            <p:ph type="title"/>
          </p:nvPr>
        </p:nvSpPr>
        <p:spPr/>
        <p:txBody>
          <a:bodyPr/>
          <a:lstStyle/>
          <a:p>
            <a:r>
              <a:rPr lang="en-GB"/>
              <a:t>Vericiguat is approved and recommended for patients with </a:t>
            </a:r>
            <a:r>
              <a:rPr lang="en-GB" err="1"/>
              <a:t>HFrEF</a:t>
            </a:r>
            <a:r>
              <a:rPr lang="en-GB"/>
              <a:t> following a worsening HF event</a:t>
            </a:r>
            <a:r>
              <a:rPr lang="en-GB" baseline="30000"/>
              <a:t>1,2</a:t>
            </a:r>
            <a:endParaRPr lang="en-GB"/>
          </a:p>
        </p:txBody>
      </p:sp>
      <p:sp>
        <p:nvSpPr>
          <p:cNvPr id="4" name="Slide Number Placeholder 3">
            <a:extLst>
              <a:ext uri="{FF2B5EF4-FFF2-40B4-BE49-F238E27FC236}">
                <a16:creationId xmlns:a16="http://schemas.microsoft.com/office/drawing/2014/main" id="{21383136-3253-457B-B67C-96CC1A374CAD}"/>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679B7952-AFC0-451F-8DA2-06070F8B4EEC}"/>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a:ea typeface="+mn-ea"/>
                <a:cs typeface="+mn-cs"/>
              </a:rPr>
              <a:t>* Reduced deterioration refers to reduced risk of primary endpoint events for vericiguat </a:t>
            </a:r>
            <a:r>
              <a:rPr kumimoji="0" lang="en-US" sz="800" b="0" i="1" u="none" strike="noStrike" kern="1200" cap="none" spc="0" normalizeH="0" baseline="0" noProof="0">
                <a:ln>
                  <a:noFill/>
                </a:ln>
                <a:solidFill>
                  <a:srgbClr val="898989"/>
                </a:solidFill>
                <a:effectLst/>
                <a:uLnTx/>
                <a:uFillTx/>
                <a:latin typeface="Arial"/>
                <a:ea typeface="+mn-ea"/>
                <a:cs typeface="+mn-cs"/>
              </a:rPr>
              <a:t>vs</a:t>
            </a:r>
            <a:r>
              <a:rPr kumimoji="0" lang="en-US" sz="800" b="0" i="0" u="none" strike="noStrike" kern="1200" cap="none" spc="0" normalizeH="0" baseline="0" noProof="0">
                <a:ln>
                  <a:noFill/>
                </a:ln>
                <a:solidFill>
                  <a:srgbClr val="898989"/>
                </a:solidFill>
                <a:effectLst/>
                <a:uLnTx/>
                <a:uFillTx/>
                <a:latin typeface="Arial"/>
                <a:ea typeface="+mn-ea"/>
                <a:cs typeface="+mn-cs"/>
              </a:rPr>
              <a:t> placebo in VICTORIA.</a:t>
            </a:r>
            <a:r>
              <a:rPr kumimoji="0" lang="en-US" sz="800" b="0" i="0" u="none" strike="noStrike" kern="1200" cap="none" spc="0" normalizeH="0" baseline="30000" noProof="0">
                <a:ln>
                  <a:noFill/>
                </a:ln>
                <a:solidFill>
                  <a:srgbClr val="898989"/>
                </a:solidFill>
                <a:effectLst/>
                <a:uLnTx/>
                <a:uFillTx/>
                <a:latin typeface="Arial"/>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a:ea typeface="+mn-ea"/>
                <a:cs typeface="+mn-cs"/>
              </a:rPr>
              <a:t>ARR, absolute rate reduction; CV, cardiovascular; cGMP, cyclic guanosine monophosphate; eGFR, estimated glomerular filtration rate; HF, heart failure; HFH, heart failure hospitalization; HFrEF, heart failure with reduced ejection fraction; </a:t>
            </a:r>
            <a:r>
              <a:rPr kumimoji="0" lang="en-US" sz="800" b="0" i="0" u="none" strike="noStrike" kern="1200" cap="none" spc="0" normalizeH="0" baseline="0" noProof="0" err="1">
                <a:ln>
                  <a:noFill/>
                </a:ln>
                <a:solidFill>
                  <a:srgbClr val="898989"/>
                </a:solidFill>
                <a:effectLst/>
                <a:uLnTx/>
                <a:uFillTx/>
                <a:latin typeface="Arial"/>
                <a:ea typeface="+mn-ea"/>
                <a:cs typeface="+mn-cs"/>
              </a:rPr>
              <a:t>MoA</a:t>
            </a:r>
            <a:r>
              <a:rPr kumimoji="0" lang="en-US" sz="800" b="0" i="0" u="none" strike="noStrike" kern="1200" cap="none" spc="0" normalizeH="0" baseline="0" noProof="0">
                <a:ln>
                  <a:noFill/>
                </a:ln>
                <a:solidFill>
                  <a:srgbClr val="898989"/>
                </a:solidFill>
                <a:effectLst/>
                <a:uLnTx/>
                <a:uFillTx/>
                <a:latin typeface="Arial"/>
                <a:ea typeface="+mn-ea"/>
                <a:cs typeface="+mn-cs"/>
              </a:rPr>
              <a:t>, mechanism of action; NNT, number needed to treat; NO, nitric oxide; SBP, systolic blood pressure; sGC, soluble guanylate cycl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98989"/>
                </a:solidFill>
                <a:effectLst/>
                <a:uLnTx/>
                <a:uFillTx/>
                <a:latin typeface="Arial"/>
                <a:ea typeface="+mn-ea"/>
                <a:cs typeface="+mn-cs"/>
              </a:rPr>
              <a:t>References: 1. </a:t>
            </a:r>
            <a:r>
              <a:rPr kumimoji="0" lang="en-US" sz="800" b="0" i="0" u="none" strike="noStrike" kern="1200" cap="none" spc="0" normalizeH="0" baseline="0" noProof="0">
                <a:ln>
                  <a:noFill/>
                </a:ln>
                <a:solidFill>
                  <a:srgbClr val="898989"/>
                </a:solidFill>
                <a:effectLst/>
                <a:uLnTx/>
                <a:uFillTx/>
                <a:latin typeface="Arial" panose="020B0604020202020204"/>
                <a:ea typeface="MS PGothic" charset="0"/>
                <a:cs typeface="+mn-cs"/>
              </a:rPr>
              <a:t>Bayer AG. </a:t>
            </a:r>
            <a:r>
              <a:rPr kumimoji="0" lang="en-US" sz="800" b="0" i="0" u="none" strike="noStrike" kern="1200" cap="none" spc="0" normalizeH="0" baseline="0" noProof="0" err="1">
                <a:ln>
                  <a:noFill/>
                </a:ln>
                <a:solidFill>
                  <a:srgbClr val="898989"/>
                </a:solidFill>
                <a:effectLst/>
                <a:uLnTx/>
                <a:uFillTx/>
                <a:latin typeface="Arial" panose="020B0604020202020204"/>
                <a:ea typeface="MS PGothic" charset="0"/>
                <a:cs typeface="+mn-cs"/>
              </a:rPr>
              <a:t>Verquvo</a:t>
            </a:r>
            <a:r>
              <a:rPr kumimoji="0" lang="en-US" sz="800" b="0" i="0" u="none" strike="noStrike" kern="1200" cap="none" spc="0" normalizeH="0" baseline="30000" noProof="0">
                <a:ln>
                  <a:noFill/>
                </a:ln>
                <a:solidFill>
                  <a:srgbClr val="898989"/>
                </a:solidFill>
                <a:effectLst/>
                <a:uLnTx/>
                <a:uFillTx/>
                <a:latin typeface="Arial" panose="020B0604020202020204"/>
                <a:ea typeface="MS PGothic" charset="0"/>
                <a:cs typeface="+mn-cs"/>
              </a:rPr>
              <a:t>® </a:t>
            </a:r>
            <a:r>
              <a:rPr kumimoji="0" lang="en-US" sz="800" b="0" i="0" u="none" strike="noStrike" kern="1200" cap="none" spc="0" normalizeH="0" baseline="0" noProof="0">
                <a:ln>
                  <a:noFill/>
                </a:ln>
                <a:solidFill>
                  <a:srgbClr val="898989"/>
                </a:solidFill>
                <a:effectLst/>
                <a:uLnTx/>
                <a:uFillTx/>
                <a:latin typeface="Arial" panose="020B0604020202020204"/>
                <a:ea typeface="MS PGothic" charset="0"/>
                <a:cs typeface="+mn-cs"/>
              </a:rPr>
              <a:t>(vericiguat) SmPC. 2021. </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rPr>
              <a:t>[</a:t>
            </a:r>
            <a:r>
              <a:rPr kumimoji="0" lang="en-GB" sz="800" b="0" i="0" u="none" strike="noStrike" kern="1200" cap="none" spc="0" normalizeH="0" baseline="0" noProof="0">
                <a:ln>
                  <a:noFill/>
                </a:ln>
                <a:solidFill>
                  <a:srgbClr val="898989"/>
                </a:solidFill>
                <a:effectLst/>
                <a:uLnTx/>
                <a:uFillTx/>
                <a:latin typeface="Arial" panose="020B0604020202020204"/>
                <a:ea typeface="MS PGothic" charset="0"/>
                <a:cs typeface="+mn-cs"/>
                <a:hlinkClick r:id="rId3">
                  <a:extLst>
                    <a:ext uri="{A12FA001-AC4F-418D-AE19-62706E023703}">
                      <ahyp:hlinkClr xmlns:ahyp="http://schemas.microsoft.com/office/drawing/2018/hyperlinkcolor" val="tx"/>
                    </a:ext>
                  </a:extLst>
                </a:hlinkClick>
              </a:rPr>
              <a:t>Link</a:t>
            </a:r>
            <a:r>
              <a:rPr kumimoji="0" lang="en-GB" sz="800" b="0" i="0" u="none" strike="noStrike" kern="1200" cap="none" spc="0" normalizeH="0" baseline="0" noProof="0">
                <a:ln>
                  <a:noFill/>
                </a:ln>
                <a:solidFill>
                  <a:srgbClr val="898989"/>
                </a:solidFill>
                <a:effectLst/>
                <a:uLnTx/>
                <a:uFillTx/>
                <a:latin typeface="Arial"/>
                <a:ea typeface="MS PGothic" charset="0"/>
                <a:cs typeface="+mn-cs"/>
              </a:rPr>
              <a:t>]; </a:t>
            </a:r>
            <a:r>
              <a:rPr kumimoji="0" lang="en-GB" sz="800" b="1" i="0" u="none" strike="noStrike" kern="1200" cap="none" spc="0" normalizeH="0" baseline="0" noProof="0">
                <a:ln>
                  <a:noFill/>
                </a:ln>
                <a:solidFill>
                  <a:srgbClr val="898989"/>
                </a:solidFill>
                <a:effectLst/>
                <a:uLnTx/>
                <a:uFillTx/>
                <a:latin typeface="Arial"/>
                <a:ea typeface="MS PGothic" charset="0"/>
                <a:cs typeface="+mn-cs"/>
              </a:rPr>
              <a:t>2. </a:t>
            </a:r>
            <a:r>
              <a:rPr kumimoji="0" lang="en-GB" sz="800" b="0" i="0" u="none" strike="noStrike" kern="1200" cap="none" spc="0" normalizeH="0" baseline="0" noProof="0">
                <a:ln>
                  <a:noFill/>
                </a:ln>
                <a:solidFill>
                  <a:srgbClr val="898989"/>
                </a:solidFill>
                <a:effectLst/>
                <a:uLnTx/>
                <a:uFillTx/>
                <a:latin typeface="Arial"/>
                <a:ea typeface="MS PGothic" charset="0"/>
                <a:cs typeface="+mn-cs"/>
              </a:rPr>
              <a:t>McDonagh TA </a:t>
            </a:r>
            <a:r>
              <a:rPr kumimoji="0" lang="en-GB" sz="800" b="0" i="1" u="none" strike="noStrike" kern="1200" cap="none" spc="0" normalizeH="0" baseline="0" noProof="0">
                <a:ln>
                  <a:noFill/>
                </a:ln>
                <a:solidFill>
                  <a:srgbClr val="898989"/>
                </a:solidFill>
                <a:effectLst/>
                <a:uLnTx/>
                <a:uFillTx/>
                <a:latin typeface="Arial"/>
                <a:ea typeface="MS PGothic" charset="0"/>
                <a:cs typeface="+mn-cs"/>
              </a:rPr>
              <a:t>et al. Eur Heart J</a:t>
            </a:r>
            <a:r>
              <a:rPr kumimoji="0" lang="en-GB" sz="800" b="0" i="0" u="none" strike="noStrike" kern="1200" cap="none" spc="0" normalizeH="0" baseline="0" noProof="0">
                <a:ln>
                  <a:noFill/>
                </a:ln>
                <a:solidFill>
                  <a:srgbClr val="898989"/>
                </a:solidFill>
                <a:effectLst/>
                <a:uLnTx/>
                <a:uFillTx/>
                <a:latin typeface="Arial"/>
                <a:ea typeface="MS PGothic" charset="0"/>
                <a:cs typeface="+mn-cs"/>
              </a:rPr>
              <a:t> 2021;42:3599–3726; </a:t>
            </a:r>
            <a:r>
              <a:rPr kumimoji="0" lang="en-US" sz="800" b="1" i="0" u="none" strike="noStrike" kern="1200" cap="none" spc="0" normalizeH="0" baseline="0" noProof="0">
                <a:ln>
                  <a:noFill/>
                </a:ln>
                <a:solidFill>
                  <a:srgbClr val="898989"/>
                </a:solidFill>
                <a:effectLst/>
                <a:uLnTx/>
                <a:uFillTx/>
                <a:latin typeface="Arial"/>
                <a:ea typeface="+mn-ea"/>
                <a:cs typeface="+mn-cs"/>
              </a:rPr>
              <a:t>3.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Armstrong PW </a:t>
            </a:r>
            <a:r>
              <a:rPr kumimoji="0" lang="en-US" sz="800" b="0" i="1" u="none" strike="noStrike" kern="1200" cap="none" spc="0" normalizeH="0" baseline="0" noProof="0">
                <a:ln>
                  <a:noFill/>
                </a:ln>
                <a:solidFill>
                  <a:srgbClr val="898989"/>
                </a:solidFill>
                <a:effectLst/>
                <a:uLnTx/>
                <a:uFillTx/>
                <a:latin typeface="Arial"/>
                <a:ea typeface="MS PGothic" charset="0"/>
                <a:cs typeface="+mn-cs"/>
              </a:rPr>
              <a:t>et al</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 </a:t>
            </a:r>
            <a:r>
              <a:rPr kumimoji="0" lang="en-US" sz="800" b="0" i="1" u="none" strike="noStrike" kern="1200" cap="none" spc="0" normalizeH="0" baseline="0" noProof="0">
                <a:ln>
                  <a:noFill/>
                </a:ln>
                <a:solidFill>
                  <a:srgbClr val="898989"/>
                </a:solidFill>
                <a:effectLst/>
                <a:uLnTx/>
                <a:uFillTx/>
                <a:latin typeface="Arial"/>
                <a:ea typeface="MS PGothic" charset="0"/>
                <a:cs typeface="+mn-cs"/>
              </a:rPr>
              <a:t>JACC Heart Fail </a:t>
            </a:r>
            <a:r>
              <a:rPr kumimoji="0" lang="en-US" sz="800" b="0" i="0" u="none" strike="noStrike" kern="1200" cap="none" spc="0" normalizeH="0" baseline="0" noProof="0">
                <a:ln>
                  <a:noFill/>
                </a:ln>
                <a:solidFill>
                  <a:srgbClr val="898989"/>
                </a:solidFill>
                <a:effectLst/>
                <a:uLnTx/>
                <a:uFillTx/>
                <a:latin typeface="Arial"/>
                <a:ea typeface="MS PGothic" charset="0"/>
                <a:cs typeface="+mn-cs"/>
              </a:rPr>
              <a:t>2018;6:96–104;</a:t>
            </a:r>
            <a:br>
              <a:rPr kumimoji="0" lang="en-US" sz="800" b="0" i="0" u="none" strike="noStrike" kern="1200" cap="none" spc="0" normalizeH="0" baseline="0" noProof="0">
                <a:ln>
                  <a:noFill/>
                </a:ln>
                <a:solidFill>
                  <a:srgbClr val="898989"/>
                </a:solidFill>
                <a:effectLst/>
                <a:uLnTx/>
                <a:uFillTx/>
                <a:latin typeface="Arial"/>
                <a:ea typeface="MS PGothic" charset="0"/>
                <a:cs typeface="+mn-cs"/>
              </a:rPr>
            </a:br>
            <a:r>
              <a:rPr kumimoji="0" lang="en-US" sz="800" b="1" i="0" u="none" strike="noStrike" kern="1200" cap="none" spc="0" normalizeH="0" baseline="0" noProof="0">
                <a:ln>
                  <a:noFill/>
                </a:ln>
                <a:solidFill>
                  <a:srgbClr val="898989"/>
                </a:solidFill>
                <a:effectLst/>
                <a:uLnTx/>
                <a:uFillTx/>
                <a:latin typeface="Arial"/>
                <a:ea typeface="MS PGothic" charset="0"/>
                <a:cs typeface="+mn-cs"/>
              </a:rPr>
              <a:t>4. </a:t>
            </a:r>
            <a:r>
              <a:rPr kumimoji="0" lang="da-DK" sz="800" b="0" i="0" u="none" strike="noStrike" kern="1200" cap="none" spc="0" normalizeH="0" baseline="0" noProof="0">
                <a:ln>
                  <a:noFill/>
                </a:ln>
                <a:solidFill>
                  <a:srgbClr val="898989"/>
                </a:solidFill>
                <a:effectLst/>
                <a:uLnTx/>
                <a:uFillTx/>
                <a:latin typeface="Arial"/>
                <a:ea typeface="MS PGothic" charset="0"/>
                <a:cs typeface="+mn-cs"/>
              </a:rPr>
              <a:t>Armstrong PW </a:t>
            </a:r>
            <a:r>
              <a:rPr kumimoji="0" lang="da-DK" sz="800" b="0" i="1" u="none" strike="noStrike" kern="1200" cap="none" spc="0" normalizeH="0" baseline="0" noProof="0">
                <a:ln>
                  <a:noFill/>
                </a:ln>
                <a:solidFill>
                  <a:srgbClr val="898989"/>
                </a:solidFill>
                <a:effectLst/>
                <a:uLnTx/>
                <a:uFillTx/>
                <a:latin typeface="Arial"/>
                <a:ea typeface="MS PGothic" charset="0"/>
                <a:cs typeface="+mn-cs"/>
              </a:rPr>
              <a:t>et al</a:t>
            </a:r>
            <a:r>
              <a:rPr kumimoji="0" lang="da-DK" sz="800" b="0" i="0" u="none" strike="noStrike" kern="1200" cap="none" spc="0" normalizeH="0" baseline="0" noProof="0">
                <a:ln>
                  <a:noFill/>
                </a:ln>
                <a:solidFill>
                  <a:srgbClr val="898989"/>
                </a:solidFill>
                <a:effectLst/>
                <a:uLnTx/>
                <a:uFillTx/>
                <a:latin typeface="Arial"/>
                <a:ea typeface="MS PGothic" charset="0"/>
                <a:cs typeface="+mn-cs"/>
              </a:rPr>
              <a:t>. </a:t>
            </a:r>
            <a:r>
              <a:rPr kumimoji="0" lang="da-DK" sz="800" b="0" i="1" u="none" strike="noStrike" kern="1200" cap="none" spc="0" normalizeH="0" baseline="0" noProof="0">
                <a:ln>
                  <a:noFill/>
                </a:ln>
                <a:solidFill>
                  <a:srgbClr val="898989"/>
                </a:solidFill>
                <a:effectLst/>
                <a:uLnTx/>
                <a:uFillTx/>
                <a:latin typeface="Arial"/>
                <a:ea typeface="MS PGothic" charset="0"/>
                <a:cs typeface="+mn-cs"/>
              </a:rPr>
              <a:t>N Engl J Med</a:t>
            </a:r>
            <a:r>
              <a:rPr kumimoji="0" lang="da-DK" sz="800" b="0" i="0" u="none" strike="noStrike" kern="1200" cap="none" spc="0" normalizeH="0" baseline="0" noProof="0">
                <a:ln>
                  <a:noFill/>
                </a:ln>
                <a:solidFill>
                  <a:srgbClr val="898989"/>
                </a:solidFill>
                <a:effectLst/>
                <a:uLnTx/>
                <a:uFillTx/>
                <a:latin typeface="Arial"/>
                <a:ea typeface="MS PGothic" charset="0"/>
                <a:cs typeface="+mn-cs"/>
              </a:rPr>
              <a:t> 2020;382:1883–1893; </a:t>
            </a:r>
            <a:r>
              <a:rPr kumimoji="0" lang="da-DK" sz="800" b="1" i="0" u="none" strike="noStrike" kern="1200" cap="none" spc="0" normalizeH="0" baseline="0" noProof="0">
                <a:ln>
                  <a:noFill/>
                </a:ln>
                <a:solidFill>
                  <a:srgbClr val="898989"/>
                </a:solidFill>
                <a:effectLst/>
                <a:uLnTx/>
                <a:uFillTx/>
                <a:latin typeface="Arial"/>
                <a:ea typeface="MS PGothic" charset="0"/>
                <a:cs typeface="+mn-cs"/>
              </a:rPr>
              <a:t>5.</a:t>
            </a:r>
            <a:r>
              <a:rPr kumimoji="0" lang="da-DK" sz="800" b="0" i="0" u="none" strike="noStrike" kern="1200" cap="none" spc="0" normalizeH="0" baseline="0" noProof="0">
                <a:ln>
                  <a:noFill/>
                </a:ln>
                <a:solidFill>
                  <a:srgbClr val="898989"/>
                </a:solidFill>
                <a:effectLst/>
                <a:uLnTx/>
                <a:uFillTx/>
                <a:latin typeface="Arial"/>
                <a:ea typeface="MS PGothic" charset="0"/>
                <a:cs typeface="+mn-cs"/>
              </a:rPr>
              <a:t> </a:t>
            </a:r>
            <a:r>
              <a:rPr kumimoji="0" lang="en-US" sz="800" b="0" i="0" u="none" strike="noStrike" kern="1200" cap="none" spc="0" normalizeH="0" baseline="0" noProof="0">
                <a:ln>
                  <a:noFill/>
                </a:ln>
                <a:solidFill>
                  <a:srgbClr val="898989"/>
                </a:solidFill>
                <a:effectLst/>
                <a:uLnTx/>
                <a:uFillTx/>
                <a:latin typeface="Arial"/>
                <a:ea typeface="+mn-ea"/>
                <a:cs typeface="+mn-cs"/>
              </a:rPr>
              <a:t>Lam CSP </a:t>
            </a:r>
            <a:r>
              <a:rPr kumimoji="0" lang="en-US" sz="800" b="0" i="1" u="none" strike="noStrike" kern="1200" cap="none" spc="0" normalizeH="0" baseline="0" noProof="0">
                <a:ln>
                  <a:noFill/>
                </a:ln>
                <a:solidFill>
                  <a:srgbClr val="898989"/>
                </a:solidFill>
                <a:effectLst/>
                <a:uLnTx/>
                <a:uFillTx/>
                <a:latin typeface="Arial"/>
                <a:ea typeface="+mn-ea"/>
                <a:cs typeface="+mn-cs"/>
              </a:rPr>
              <a:t>et al.</a:t>
            </a:r>
            <a:r>
              <a:rPr kumimoji="0" lang="en-US" sz="800" b="1" i="1" u="none" strike="noStrike" kern="1200" cap="none" spc="0" normalizeH="0" baseline="0" noProof="0">
                <a:ln>
                  <a:noFill/>
                </a:ln>
                <a:solidFill>
                  <a:srgbClr val="898989"/>
                </a:solidFill>
                <a:effectLst/>
                <a:uLnTx/>
                <a:uFillTx/>
                <a:latin typeface="Arial"/>
                <a:ea typeface="+mn-ea"/>
                <a:cs typeface="+mn-cs"/>
              </a:rPr>
              <a:t> </a:t>
            </a:r>
            <a:r>
              <a:rPr kumimoji="0" lang="en-GB" sz="800" b="0" i="1" u="none" strike="noStrike" kern="1200" cap="none" spc="0" normalizeH="0" baseline="0" noProof="0">
                <a:ln>
                  <a:noFill/>
                </a:ln>
                <a:solidFill>
                  <a:srgbClr val="898989"/>
                </a:solidFill>
                <a:effectLst/>
                <a:uLnTx/>
                <a:uFillTx/>
                <a:latin typeface="Arial"/>
                <a:ea typeface="+mn-ea"/>
                <a:cs typeface="+mn-cs"/>
              </a:rPr>
              <a:t>J Am Heart Assoc </a:t>
            </a:r>
            <a:r>
              <a:rPr kumimoji="0" lang="en-GB" sz="800" b="0" i="0" u="none" strike="noStrike" kern="1200" cap="none" spc="0" normalizeH="0" baseline="0" noProof="0">
                <a:ln>
                  <a:noFill/>
                </a:ln>
                <a:solidFill>
                  <a:srgbClr val="898989"/>
                </a:solidFill>
                <a:effectLst/>
                <a:uLnTx/>
                <a:uFillTx/>
                <a:latin typeface="Arial"/>
                <a:ea typeface="+mn-ea"/>
                <a:cs typeface="+mn-cs"/>
              </a:rPr>
              <a:t>2021;10:e021094</a:t>
            </a:r>
            <a:r>
              <a:rPr kumimoji="0" lang="en-US" sz="800" b="0" i="0" u="none" strike="noStrike" kern="1200" cap="none" spc="0" normalizeH="0" baseline="0" noProof="0">
                <a:ln>
                  <a:noFill/>
                </a:ln>
                <a:solidFill>
                  <a:srgbClr val="898989"/>
                </a:solidFill>
                <a:effectLst/>
                <a:uLnTx/>
                <a:uFillTx/>
                <a:latin typeface="Arial"/>
                <a:ea typeface="+mn-ea"/>
                <a:cs typeface="+mn-cs"/>
              </a:rPr>
              <a:t>; </a:t>
            </a:r>
            <a:r>
              <a:rPr kumimoji="0" lang="en-GB" sz="800" b="1" i="0" u="none" strike="noStrike" kern="1200" cap="none" spc="0" normalizeH="0" baseline="0" noProof="0">
                <a:ln>
                  <a:noFill/>
                </a:ln>
                <a:solidFill>
                  <a:srgbClr val="898989"/>
                </a:solidFill>
                <a:effectLst/>
                <a:uLnTx/>
                <a:uFillTx/>
                <a:latin typeface="Arial"/>
                <a:ea typeface="+mn-ea"/>
                <a:cs typeface="+mn-cs"/>
              </a:rPr>
              <a:t>6. </a:t>
            </a:r>
            <a:r>
              <a:rPr kumimoji="0" lang="en-GB" sz="800" b="0" i="0" u="none" strike="noStrike" kern="1200" cap="none" spc="0" normalizeH="0" baseline="0" noProof="0" err="1">
                <a:ln>
                  <a:noFill/>
                </a:ln>
                <a:solidFill>
                  <a:srgbClr val="898989"/>
                </a:solidFill>
                <a:effectLst/>
                <a:uLnTx/>
                <a:uFillTx/>
                <a:latin typeface="Arial"/>
                <a:ea typeface="+mn-ea"/>
                <a:cs typeface="+mn-cs"/>
              </a:rPr>
              <a:t>Voors</a:t>
            </a:r>
            <a:r>
              <a:rPr kumimoji="0" lang="en-GB" sz="800" b="0" i="0" u="none" strike="noStrike" kern="1200" cap="none" spc="0" normalizeH="0" baseline="0" noProof="0">
                <a:ln>
                  <a:noFill/>
                </a:ln>
                <a:solidFill>
                  <a:srgbClr val="898989"/>
                </a:solidFill>
                <a:effectLst/>
                <a:uLnTx/>
                <a:uFillTx/>
                <a:latin typeface="Arial"/>
                <a:ea typeface="+mn-ea"/>
                <a:cs typeface="+mn-cs"/>
              </a:rPr>
              <a:t> AA </a:t>
            </a:r>
            <a:r>
              <a:rPr kumimoji="0" lang="en-GB" sz="800" b="0" i="1" u="none" strike="noStrike" kern="1200" cap="none" spc="0" normalizeH="0" baseline="0" noProof="0">
                <a:ln>
                  <a:noFill/>
                </a:ln>
                <a:solidFill>
                  <a:srgbClr val="898989"/>
                </a:solidFill>
                <a:effectLst/>
                <a:uLnTx/>
                <a:uFillTx/>
                <a:latin typeface="Arial"/>
                <a:ea typeface="+mn-ea"/>
                <a:cs typeface="+mn-cs"/>
              </a:rPr>
              <a:t>et al</a:t>
            </a:r>
            <a:r>
              <a:rPr kumimoji="0" lang="en-GB" sz="800" b="0" i="0" u="none" strike="noStrike" kern="1200" cap="none" spc="0" normalizeH="0" baseline="0" noProof="0">
                <a:ln>
                  <a:noFill/>
                </a:ln>
                <a:solidFill>
                  <a:srgbClr val="898989"/>
                </a:solidFill>
                <a:effectLst/>
                <a:uLnTx/>
                <a:uFillTx/>
                <a:latin typeface="Arial"/>
                <a:ea typeface="+mn-ea"/>
                <a:cs typeface="+mn-cs"/>
              </a:rPr>
              <a:t>. </a:t>
            </a:r>
            <a:r>
              <a:rPr kumimoji="0" lang="en-GB" sz="800" b="0" i="1" u="none" strike="noStrike" kern="1200" cap="none" spc="0" normalizeH="0" baseline="0" noProof="0" err="1">
                <a:ln>
                  <a:noFill/>
                </a:ln>
                <a:solidFill>
                  <a:srgbClr val="898989"/>
                </a:solidFill>
                <a:effectLst/>
                <a:uLnTx/>
                <a:uFillTx/>
                <a:latin typeface="Arial"/>
                <a:ea typeface="+mn-ea"/>
                <a:cs typeface="+mn-cs"/>
              </a:rPr>
              <a:t>Eur</a:t>
            </a:r>
            <a:r>
              <a:rPr kumimoji="0" lang="en-GB" sz="800" b="0" i="1" u="none" strike="noStrike" kern="1200" cap="none" spc="0" normalizeH="0" baseline="0" noProof="0">
                <a:ln>
                  <a:noFill/>
                </a:ln>
                <a:solidFill>
                  <a:srgbClr val="898989"/>
                </a:solidFill>
                <a:effectLst/>
                <a:uLnTx/>
                <a:uFillTx/>
                <a:latin typeface="Arial"/>
                <a:ea typeface="+mn-ea"/>
                <a:cs typeface="+mn-cs"/>
              </a:rPr>
              <a:t> J Heart Fail </a:t>
            </a:r>
            <a:r>
              <a:rPr kumimoji="0" lang="en-GB" sz="800" b="0" i="0" u="none" strike="noStrike" kern="1200" cap="none" spc="0" normalizeH="0" baseline="0" noProof="0">
                <a:ln>
                  <a:noFill/>
                </a:ln>
                <a:solidFill>
                  <a:srgbClr val="898989"/>
                </a:solidFill>
                <a:effectLst/>
                <a:uLnTx/>
                <a:uFillTx/>
                <a:latin typeface="Arial"/>
                <a:ea typeface="+mn-ea"/>
                <a:cs typeface="+mn-cs"/>
              </a:rPr>
              <a:t>2021;23:1313–1321.</a:t>
            </a:r>
          </a:p>
        </p:txBody>
      </p:sp>
      <p:sp>
        <p:nvSpPr>
          <p:cNvPr id="9" name="TextBox 8">
            <a:extLst>
              <a:ext uri="{FF2B5EF4-FFF2-40B4-BE49-F238E27FC236}">
                <a16:creationId xmlns:a16="http://schemas.microsoft.com/office/drawing/2014/main" id="{BAD30839-0A7B-4953-8344-31DCCF3B69F5}"/>
              </a:ext>
            </a:extLst>
          </p:cNvPr>
          <p:cNvSpPr txBox="1"/>
          <p:nvPr/>
        </p:nvSpPr>
        <p:spPr>
          <a:xfrm>
            <a:off x="596710" y="2020098"/>
            <a:ext cx="3276000" cy="1396800"/>
          </a:xfrm>
          <a:prstGeom prst="rect">
            <a:avLst/>
          </a:prstGeom>
          <a:solidFill>
            <a:schemeClr val="accent1"/>
          </a:solidFill>
        </p:spPr>
        <p:txBody>
          <a:bodyPr wrap="square" numCol="1"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C3B2D"/>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1800"/>
              </a:spcBef>
              <a:spcAft>
                <a:spcPts val="12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Vericiguat has a distinct restorative MoA</a:t>
            </a:r>
            <a:r>
              <a:rPr kumimoji="0" lang="en-GB" sz="1800" b="1" i="0" u="none" strike="noStrike" kern="1200" cap="none" spc="0" normalizeH="0" baseline="30000" noProof="0">
                <a:ln>
                  <a:noFill/>
                </a:ln>
                <a:solidFill>
                  <a:srgbClr val="FFFFFF"/>
                </a:solidFill>
                <a:effectLst/>
                <a:uLnTx/>
                <a:uFillTx/>
                <a:latin typeface="Arial" panose="020B0604020202020204"/>
                <a:ea typeface="+mn-ea"/>
                <a:cs typeface="+mn-cs"/>
              </a:rPr>
              <a:t>3,4</a:t>
            </a:r>
          </a:p>
        </p:txBody>
      </p:sp>
      <p:sp>
        <p:nvSpPr>
          <p:cNvPr id="10" name="TextBox 9">
            <a:extLst>
              <a:ext uri="{FF2B5EF4-FFF2-40B4-BE49-F238E27FC236}">
                <a16:creationId xmlns:a16="http://schemas.microsoft.com/office/drawing/2014/main" id="{6FCD70A9-67FF-469B-8420-377F04F8AB80}"/>
              </a:ext>
            </a:extLst>
          </p:cNvPr>
          <p:cNvSpPr txBox="1"/>
          <p:nvPr/>
        </p:nvSpPr>
        <p:spPr>
          <a:xfrm>
            <a:off x="3922419" y="2020098"/>
            <a:ext cx="3276000" cy="1396800"/>
          </a:xfrm>
          <a:prstGeom prst="rect">
            <a:avLst/>
          </a:prstGeom>
          <a:solidFill>
            <a:schemeClr val="accent4"/>
          </a:solidFill>
        </p:spPr>
        <p:txBody>
          <a:bodyPr wrap="square" numCol="1"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1800"/>
              </a:spcBef>
              <a:spcAft>
                <a:spcPts val="12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Vericiguat reduces the </a:t>
            </a:r>
            <a:b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risk of HF events</a:t>
            </a:r>
            <a:r>
              <a:rPr kumimoji="0" lang="en-GB" sz="1800" b="1" i="0" u="none" strike="noStrike" kern="1200" cap="none" spc="0" normalizeH="0" baseline="30000" noProof="0">
                <a:ln>
                  <a:noFill/>
                </a:ln>
                <a:solidFill>
                  <a:srgbClr val="FFFFFF"/>
                </a:solidFill>
                <a:effectLst/>
                <a:uLnTx/>
                <a:uFillTx/>
                <a:latin typeface="Arial" panose="020B0604020202020204"/>
                <a:ea typeface="+mn-ea"/>
                <a:cs typeface="+mn-cs"/>
              </a:rPr>
              <a:t>4</a:t>
            </a:r>
          </a:p>
          <a:p>
            <a:pPr marL="0" marR="0" lvl="0" indent="0" algn="l" defTabSz="914400" rtl="0" eaLnBrk="1" fontAlgn="base" latinLnBrk="0" hangingPunct="1">
              <a:lnSpc>
                <a:spcPct val="100000"/>
              </a:lnSpc>
              <a:spcBef>
                <a:spcPts val="0"/>
              </a:spcBef>
              <a:spcAft>
                <a:spcPts val="12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935A2BD8-3958-4907-88B6-9892518D492A}"/>
              </a:ext>
            </a:extLst>
          </p:cNvPr>
          <p:cNvSpPr txBox="1"/>
          <p:nvPr/>
        </p:nvSpPr>
        <p:spPr>
          <a:xfrm>
            <a:off x="7248128" y="2020098"/>
            <a:ext cx="3276000" cy="1396800"/>
          </a:xfrm>
          <a:prstGeom prst="rect">
            <a:avLst/>
          </a:prstGeom>
          <a:solidFill>
            <a:schemeClr val="tx2"/>
          </a:solidFill>
        </p:spPr>
        <p:txBody>
          <a:bodyPr wrap="square" numCol="1"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1800"/>
              </a:spcBef>
              <a:spcAft>
                <a:spcPts val="120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Vericiguat has a favorable safety profile</a:t>
            </a:r>
            <a:r>
              <a:rPr kumimoji="0" lang="en-GB" sz="1800" b="1" i="0" u="none" strike="noStrike" kern="1200" cap="none" spc="0" normalizeH="0" baseline="30000" noProof="0">
                <a:ln>
                  <a:noFill/>
                </a:ln>
                <a:solidFill>
                  <a:srgbClr val="FFFFFF"/>
                </a:solidFill>
                <a:effectLst/>
                <a:uLnTx/>
                <a:uFillTx/>
                <a:latin typeface="Arial" panose="020B0604020202020204"/>
                <a:ea typeface="+mn-ea"/>
                <a:cs typeface="+mn-cs"/>
              </a:rPr>
              <a:t>4</a:t>
            </a:r>
            <a:r>
              <a:rPr kumimoji="0" lang="en-GB" sz="1800" b="1" i="0" u="none" strike="noStrike" kern="1200" cap="none" spc="0" normalizeH="0" baseline="30000" noProof="0">
                <a:ln>
                  <a:noFill/>
                </a:ln>
                <a:solidFill>
                  <a:srgbClr val="FFFFFF"/>
                </a:solidFill>
                <a:effectLst/>
                <a:uLnTx/>
                <a:uFillTx/>
                <a:latin typeface="Arial" panose="020B0604020202020204"/>
                <a:ea typeface="+mn-ea"/>
                <a:cs typeface="Arial" panose="020B0604020202020204" pitchFamily="34" charset="0"/>
              </a:rPr>
              <a:t>–</a:t>
            </a:r>
            <a:r>
              <a:rPr kumimoji="0" lang="en-GB" sz="1800" b="1" i="0" u="none" strike="noStrike" kern="1200" cap="none" spc="0" normalizeH="0" baseline="30000" noProof="0">
                <a:ln>
                  <a:noFill/>
                </a:ln>
                <a:solidFill>
                  <a:srgbClr val="FFFFFF"/>
                </a:solidFill>
                <a:effectLst/>
                <a:uLnTx/>
                <a:uFillTx/>
                <a:latin typeface="Arial" panose="020B0604020202020204"/>
                <a:ea typeface="+mn-ea"/>
                <a:cs typeface="+mn-cs"/>
              </a:rPr>
              <a:t>6</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09D0B0CB-6F65-4750-816B-2A5764FD5997}"/>
              </a:ext>
            </a:extLst>
          </p:cNvPr>
          <p:cNvGrpSpPr/>
          <p:nvPr/>
        </p:nvGrpSpPr>
        <p:grpSpPr>
          <a:xfrm>
            <a:off x="1767928" y="1412776"/>
            <a:ext cx="1015704" cy="1015702"/>
            <a:chOff x="1822955" y="1412776"/>
            <a:chExt cx="1015704" cy="1015702"/>
          </a:xfrm>
        </p:grpSpPr>
        <p:sp>
          <p:nvSpPr>
            <p:cNvPr id="12" name="Oval 11">
              <a:extLst>
                <a:ext uri="{FF2B5EF4-FFF2-40B4-BE49-F238E27FC236}">
                  <a16:creationId xmlns:a16="http://schemas.microsoft.com/office/drawing/2014/main" id="{2E7A7A84-CC08-4DF7-905E-35B9E98EF02C}"/>
                </a:ext>
              </a:extLst>
            </p:cNvPr>
            <p:cNvSpPr/>
            <p:nvPr/>
          </p:nvSpPr>
          <p:spPr>
            <a:xfrm>
              <a:off x="1822955" y="1412776"/>
              <a:ext cx="1015704" cy="1015702"/>
            </a:xfrm>
            <a:prstGeom prst="ellipse">
              <a:avLst/>
            </a:prstGeom>
            <a:ln>
              <a:solidFill>
                <a:schemeClr val="accent1"/>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15" name="Graphic 14" descr="Gears outline">
              <a:extLst>
                <a:ext uri="{FF2B5EF4-FFF2-40B4-BE49-F238E27FC236}">
                  <a16:creationId xmlns:a16="http://schemas.microsoft.com/office/drawing/2014/main" id="{B75F3A69-EB3C-4CD4-BBD1-737E36811C8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20677" y="1505237"/>
              <a:ext cx="820260" cy="820260"/>
            </a:xfrm>
            <a:prstGeom prst="rect">
              <a:avLst/>
            </a:prstGeom>
          </p:spPr>
        </p:pic>
      </p:grpSp>
      <p:grpSp>
        <p:nvGrpSpPr>
          <p:cNvPr id="23" name="Group 22">
            <a:extLst>
              <a:ext uri="{FF2B5EF4-FFF2-40B4-BE49-F238E27FC236}">
                <a16:creationId xmlns:a16="http://schemas.microsoft.com/office/drawing/2014/main" id="{7E84F61F-B18E-4416-A616-EDA6DAA43E34}"/>
              </a:ext>
            </a:extLst>
          </p:cNvPr>
          <p:cNvGrpSpPr/>
          <p:nvPr/>
        </p:nvGrpSpPr>
        <p:grpSpPr>
          <a:xfrm>
            <a:off x="8400256" y="1412776"/>
            <a:ext cx="1015704" cy="1015702"/>
            <a:chOff x="9462801" y="1412776"/>
            <a:chExt cx="1015704" cy="1015702"/>
          </a:xfrm>
        </p:grpSpPr>
        <p:sp>
          <p:nvSpPr>
            <p:cNvPr id="14" name="Oval 13">
              <a:extLst>
                <a:ext uri="{FF2B5EF4-FFF2-40B4-BE49-F238E27FC236}">
                  <a16:creationId xmlns:a16="http://schemas.microsoft.com/office/drawing/2014/main" id="{DEB2801E-D7AD-4FBC-9620-25AA9D837A64}"/>
                </a:ext>
              </a:extLst>
            </p:cNvPr>
            <p:cNvSpPr/>
            <p:nvPr/>
          </p:nvSpPr>
          <p:spPr>
            <a:xfrm>
              <a:off x="9462801" y="1412776"/>
              <a:ext cx="1015704" cy="1015702"/>
            </a:xfrm>
            <a:prstGeom prst="ellipse">
              <a:avLst/>
            </a:prstGeom>
            <a:ln>
              <a:solidFill>
                <a:schemeClr val="tx2"/>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16" name="Graphic 15" descr="Shield Tick outline">
              <a:extLst>
                <a:ext uri="{FF2B5EF4-FFF2-40B4-BE49-F238E27FC236}">
                  <a16:creationId xmlns:a16="http://schemas.microsoft.com/office/drawing/2014/main" id="{BD115B6C-92FA-4926-9795-063CD9C6AA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25839" y="1475684"/>
              <a:ext cx="879940" cy="879940"/>
            </a:xfrm>
            <a:prstGeom prst="rect">
              <a:avLst/>
            </a:prstGeom>
          </p:spPr>
        </p:pic>
      </p:grpSp>
      <p:grpSp>
        <p:nvGrpSpPr>
          <p:cNvPr id="22" name="Group 21">
            <a:extLst>
              <a:ext uri="{FF2B5EF4-FFF2-40B4-BE49-F238E27FC236}">
                <a16:creationId xmlns:a16="http://schemas.microsoft.com/office/drawing/2014/main" id="{378DDBE6-B69C-4CB5-9756-016B1147EBE6}"/>
              </a:ext>
            </a:extLst>
          </p:cNvPr>
          <p:cNvGrpSpPr/>
          <p:nvPr/>
        </p:nvGrpSpPr>
        <p:grpSpPr>
          <a:xfrm>
            <a:off x="5084092" y="1412776"/>
            <a:ext cx="1015704" cy="1015702"/>
            <a:chOff x="5563682" y="1412776"/>
            <a:chExt cx="1015704" cy="1015702"/>
          </a:xfrm>
        </p:grpSpPr>
        <p:sp>
          <p:nvSpPr>
            <p:cNvPr id="13" name="Oval 12">
              <a:extLst>
                <a:ext uri="{FF2B5EF4-FFF2-40B4-BE49-F238E27FC236}">
                  <a16:creationId xmlns:a16="http://schemas.microsoft.com/office/drawing/2014/main" id="{032A7F64-CBE3-42F6-B932-AA7AF58C73A4}"/>
                </a:ext>
              </a:extLst>
            </p:cNvPr>
            <p:cNvSpPr/>
            <p:nvPr/>
          </p:nvSpPr>
          <p:spPr>
            <a:xfrm>
              <a:off x="5563682" y="1412776"/>
              <a:ext cx="1015704" cy="1015702"/>
            </a:xfrm>
            <a:prstGeom prst="ellipse">
              <a:avLst/>
            </a:prstGeom>
            <a:ln>
              <a:solidFill>
                <a:schemeClr val="accent4"/>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17" name="Graphic 16" descr="Heart organ outline">
              <a:extLst>
                <a:ext uri="{FF2B5EF4-FFF2-40B4-BE49-F238E27FC236}">
                  <a16:creationId xmlns:a16="http://schemas.microsoft.com/office/drawing/2014/main" id="{EDC9F997-059F-4F13-A973-179029ED27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4528" y="1505237"/>
              <a:ext cx="805443" cy="805443"/>
            </a:xfrm>
            <a:prstGeom prst="rect">
              <a:avLst/>
            </a:prstGeom>
          </p:spPr>
        </p:pic>
      </p:grpSp>
      <p:sp>
        <p:nvSpPr>
          <p:cNvPr id="18" name="TextBox 17">
            <a:extLst>
              <a:ext uri="{FF2B5EF4-FFF2-40B4-BE49-F238E27FC236}">
                <a16:creationId xmlns:a16="http://schemas.microsoft.com/office/drawing/2014/main" id="{4DE86127-7E3C-4958-928C-879CE05A5E6A}"/>
              </a:ext>
            </a:extLst>
          </p:cNvPr>
          <p:cNvSpPr txBox="1"/>
          <p:nvPr/>
        </p:nvSpPr>
        <p:spPr>
          <a:xfrm>
            <a:off x="596710" y="3485946"/>
            <a:ext cx="3276000" cy="2031285"/>
          </a:xfrm>
          <a:prstGeom prst="rect">
            <a:avLst/>
          </a:prstGeom>
          <a:solidFill>
            <a:schemeClr val="bg1">
              <a:lumMod val="95000"/>
            </a:schemeClr>
          </a:solidFill>
        </p:spPr>
        <p:txBody>
          <a:bodyPr wrap="square" lIns="72000" tIns="36000" rIns="72000" bIns="36000" numCol="1" rtlCol="0" anchor="t">
            <a:noAutofit/>
          </a:bodyPr>
          <a:lstStyle/>
          <a:p>
            <a:pPr marL="180975" marR="0" lvl="0" indent="-180975" algn="l" defTabSz="914400" rtl="0" eaLnBrk="1" fontAlgn="base" latinLnBrk="0" hangingPunct="1">
              <a:lnSpc>
                <a:spcPct val="130000"/>
              </a:lnSpc>
              <a:spcBef>
                <a:spcPts val="600"/>
              </a:spcBef>
              <a:spcAft>
                <a:spcPts val="1200"/>
              </a:spcAft>
              <a:buClr>
                <a:srgbClr val="FC3B2D"/>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By restoring activity of the</a:t>
            </a:r>
            <a:b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NO–sGC–cGMP pathway</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 vericiguat counteracts the effects of low NO availability in HF to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reduce patient deterioration*</a:t>
            </a:r>
            <a:r>
              <a:rPr kumimoji="0" lang="en-GB" sz="1400" b="1" i="0" u="none" strike="noStrike" kern="1200" cap="none" spc="0" normalizeH="0" baseline="30000" noProof="0">
                <a:ln>
                  <a:noFill/>
                </a:ln>
                <a:solidFill>
                  <a:srgbClr val="000000"/>
                </a:solidFill>
                <a:effectLst/>
                <a:uLnTx/>
                <a:uFillTx/>
                <a:latin typeface="Arial" panose="020B0604020202020204"/>
                <a:ea typeface="+mn-ea"/>
                <a:cs typeface="+mn-cs"/>
              </a:rPr>
              <a:t>,</a:t>
            </a:r>
            <a:r>
              <a:rPr kumimoji="0" lang="en-GB" sz="1400" b="0" i="0" u="none" strike="noStrike" kern="1200" cap="none" spc="0" normalizeH="0" baseline="30000" noProof="0">
                <a:ln>
                  <a:noFill/>
                </a:ln>
                <a:solidFill>
                  <a:srgbClr val="000000"/>
                </a:solidFill>
                <a:effectLst/>
                <a:uLnTx/>
                <a:uFillTx/>
                <a:latin typeface="Arial" panose="020B0604020202020204"/>
                <a:ea typeface="+mn-ea"/>
                <a:cs typeface="+mn-cs"/>
              </a:rPr>
              <a:t>3,4</a:t>
            </a:r>
          </a:p>
        </p:txBody>
      </p:sp>
      <p:sp>
        <p:nvSpPr>
          <p:cNvPr id="19" name="TextBox 18">
            <a:extLst>
              <a:ext uri="{FF2B5EF4-FFF2-40B4-BE49-F238E27FC236}">
                <a16:creationId xmlns:a16="http://schemas.microsoft.com/office/drawing/2014/main" id="{772E33CF-A563-4998-B1DE-EF085727DD85}"/>
              </a:ext>
            </a:extLst>
          </p:cNvPr>
          <p:cNvSpPr txBox="1"/>
          <p:nvPr/>
        </p:nvSpPr>
        <p:spPr>
          <a:xfrm>
            <a:off x="3922419" y="3485946"/>
            <a:ext cx="3276000" cy="2031285"/>
          </a:xfrm>
          <a:prstGeom prst="rect">
            <a:avLst/>
          </a:prstGeom>
          <a:solidFill>
            <a:schemeClr val="bg1">
              <a:lumMod val="95000"/>
            </a:schemeClr>
          </a:solidFill>
        </p:spPr>
        <p:txBody>
          <a:bodyPr wrap="square" numCol="1" rtlCol="0" anchor="t">
            <a:noAutofit/>
          </a:bodyPr>
          <a:lstStyle/>
          <a:p>
            <a:pPr marL="180975" marR="0" lvl="0" indent="-180975" algn="l" defTabSz="914400" rtl="0" eaLnBrk="1" fontAlgn="base" latinLnBrk="0" hangingPunct="1">
              <a:lnSpc>
                <a:spcPct val="130000"/>
              </a:lnSpc>
              <a:spcBef>
                <a:spcPts val="600"/>
              </a:spcBef>
              <a:spcAft>
                <a:spcPts val="1200"/>
              </a:spcAft>
              <a:buClr>
                <a:srgbClr val="4F256F"/>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Vericiguat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significantly reduces time to HFH or CV death </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after a worsening HF event </a:t>
            </a:r>
            <a:r>
              <a:rPr kumimoji="0" lang="en-GB" sz="1400" b="0" i="1" u="none" strike="noStrike" kern="1200" cap="none" spc="0" normalizeH="0" baseline="0" noProof="0">
                <a:ln>
                  <a:noFill/>
                </a:ln>
                <a:solidFill>
                  <a:srgbClr val="000000"/>
                </a:solidFill>
                <a:effectLst/>
                <a:uLnTx/>
                <a:uFillTx/>
                <a:latin typeface="Arial" panose="020B0604020202020204"/>
                <a:ea typeface="+mn-ea"/>
                <a:cs typeface="+mn-cs"/>
              </a:rPr>
              <a:t>vs</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 placebo </a:t>
            </a:r>
            <a:b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ARR 4.2%; NNT=24)</a:t>
            </a:r>
            <a:r>
              <a:rPr kumimoji="0" lang="en-GB" sz="1400" b="0" i="0" u="none" strike="noStrike" kern="1200" cap="none" spc="0" normalizeH="0" baseline="30000" noProof="0">
                <a:ln>
                  <a:noFill/>
                </a:ln>
                <a:solidFill>
                  <a:srgbClr val="000000"/>
                </a:solidFill>
                <a:effectLst/>
                <a:uLnTx/>
                <a:uFillTx/>
                <a:latin typeface="Arial" panose="020B0604020202020204"/>
                <a:ea typeface="+mn-ea"/>
                <a:cs typeface="+mn-cs"/>
              </a:rPr>
              <a:t>4</a:t>
            </a:r>
          </a:p>
        </p:txBody>
      </p:sp>
      <p:sp>
        <p:nvSpPr>
          <p:cNvPr id="20" name="TextBox 19">
            <a:extLst>
              <a:ext uri="{FF2B5EF4-FFF2-40B4-BE49-F238E27FC236}">
                <a16:creationId xmlns:a16="http://schemas.microsoft.com/office/drawing/2014/main" id="{E019150C-17AE-4D68-9805-80DBC9E8586E}"/>
              </a:ext>
            </a:extLst>
          </p:cNvPr>
          <p:cNvSpPr txBox="1"/>
          <p:nvPr/>
        </p:nvSpPr>
        <p:spPr>
          <a:xfrm>
            <a:off x="7248128" y="3485946"/>
            <a:ext cx="3276000" cy="2031285"/>
          </a:xfrm>
          <a:prstGeom prst="rect">
            <a:avLst/>
          </a:prstGeom>
          <a:solidFill>
            <a:schemeClr val="bg1">
              <a:lumMod val="95000"/>
            </a:schemeClr>
          </a:solidFill>
        </p:spPr>
        <p:txBody>
          <a:bodyPr wrap="square" rIns="0" numCol="1" rtlCol="0" anchor="t">
            <a:noAutofit/>
          </a:bodyPr>
          <a:lstStyle/>
          <a:p>
            <a:pPr marL="180975" marR="0" lvl="0" indent="-180975" algn="l" defTabSz="914400" rtl="0" eaLnBrk="1" fontAlgn="base" latinLnBrk="0" hangingPunct="1">
              <a:lnSpc>
                <a:spcPct val="130000"/>
              </a:lnSpc>
              <a:spcBef>
                <a:spcPts val="600"/>
              </a:spcBef>
              <a:spcAft>
                <a:spcPts val="1200"/>
              </a:spcAft>
              <a:buClr>
                <a:srgbClr val="707070"/>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Vericiguat had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minimal impact </a:t>
            </a:r>
            <a:b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on SBP</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 (mean reduction: </a:t>
            </a:r>
            <a:b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1–2 mmHg), renal function or electrolytes</a:t>
            </a:r>
            <a:r>
              <a:rPr kumimoji="0" lang="en-GB" sz="1400" b="0" i="0" u="none" strike="noStrike" kern="1200" cap="none" spc="0" normalizeH="0" baseline="30000" noProof="0">
                <a:ln>
                  <a:noFill/>
                </a:ln>
                <a:solidFill>
                  <a:srgbClr val="000000"/>
                </a:solidFill>
                <a:effectLst/>
                <a:uLnTx/>
                <a:uFillTx/>
                <a:latin typeface="Arial" panose="020B0604020202020204"/>
                <a:ea typeface="+mn-ea"/>
                <a:cs typeface="+mn-cs"/>
              </a:rPr>
              <a:t>1,4,6</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 </a:t>
            </a:r>
          </a:p>
          <a:p>
            <a:pPr marL="180975" marR="0" lvl="0" indent="-180975" algn="l" defTabSz="914400" rtl="0" eaLnBrk="1" fontAlgn="base" latinLnBrk="0" hangingPunct="1">
              <a:lnSpc>
                <a:spcPct val="130000"/>
              </a:lnSpc>
              <a:spcBef>
                <a:spcPts val="600"/>
              </a:spcBef>
              <a:spcAft>
                <a:spcPts val="1200"/>
              </a:spcAft>
              <a:buClr>
                <a:srgbClr val="707070"/>
              </a:buClr>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Vericiguat is approved in patients with </a:t>
            </a: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low eGFR </a:t>
            </a: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da-DK" sz="1400" b="0" i="0" u="none" strike="noStrike" kern="1200" cap="none" spc="0" normalizeH="0" baseline="0" noProof="0">
                <a:ln>
                  <a:noFill/>
                </a:ln>
                <a:solidFill>
                  <a:srgbClr val="000000"/>
                </a:solidFill>
                <a:effectLst/>
                <a:uLnTx/>
                <a:uFillTx/>
                <a:latin typeface="Arial" panose="020B0604020202020204"/>
                <a:ea typeface="+mn-ea"/>
                <a:cs typeface="+mn-cs"/>
              </a:rPr>
              <a:t>≥15 ml/min/1.73 m</a:t>
            </a:r>
            <a:r>
              <a:rPr kumimoji="0" lang="da-DK" sz="1400" b="0" i="0" u="none" strike="noStrike" kern="1200" cap="none" spc="0" normalizeH="0" baseline="30000" noProof="0">
                <a:ln>
                  <a:noFill/>
                </a:ln>
                <a:solidFill>
                  <a:srgbClr val="000000"/>
                </a:solidFill>
                <a:effectLst/>
                <a:uLnTx/>
                <a:uFillTx/>
                <a:latin typeface="Arial" panose="020B0604020202020204"/>
                <a:ea typeface="+mn-ea"/>
                <a:cs typeface="+mn-cs"/>
              </a:rPr>
              <a:t>2</a:t>
            </a:r>
            <a:r>
              <a:rPr kumimoji="0" lang="da-DK" sz="14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da-DK" sz="1400" b="0" i="0" u="none" strike="noStrike" kern="1200" cap="none" spc="0" normalizeH="0" baseline="30000" noProof="0">
                <a:ln>
                  <a:noFill/>
                </a:ln>
                <a:solidFill>
                  <a:srgbClr val="000000"/>
                </a:solidFill>
                <a:effectLst/>
                <a:uLnTx/>
                <a:uFillTx/>
                <a:latin typeface="Arial" panose="020B0604020202020204"/>
                <a:ea typeface="+mn-ea"/>
                <a:cs typeface="+mn-cs"/>
              </a:rPr>
              <a:t>1</a:t>
            </a:r>
          </a:p>
          <a:p>
            <a:pPr marL="285750" marR="0" lvl="0" indent="-285750" algn="l" defTabSz="914400" rtl="0" eaLnBrk="1" fontAlgn="auto" latinLnBrk="0" hangingPunct="1">
              <a:lnSpc>
                <a:spcPct val="130000"/>
              </a:lnSpc>
              <a:spcBef>
                <a:spcPts val="0"/>
              </a:spcBef>
              <a:spcAft>
                <a:spcPts val="1200"/>
              </a:spcAft>
              <a:buClr>
                <a:srgbClr val="4F256F"/>
              </a:buClr>
              <a:buSzTx/>
              <a:buFont typeface="Arial" panose="020B0604020202020204" pitchFamily="34" charset="0"/>
              <a:buChar char="•"/>
              <a:tabLst/>
              <a:defRPr/>
            </a:pPr>
            <a:endParaRPr kumimoji="0" lang="en-GB" sz="1600" b="0" i="0" u="none" strike="noStrike" kern="1200" cap="none" spc="-20" normalizeH="0" baseline="0" noProof="0">
              <a:ln>
                <a:noFill/>
              </a:ln>
              <a:solidFill>
                <a:srgbClr val="000000"/>
              </a:solidFill>
              <a:effectLst/>
              <a:uLnTx/>
              <a:uFillTx/>
              <a:latin typeface="Arial" panose="020B0604020202020204"/>
              <a:ea typeface="+mn-ea"/>
              <a:cs typeface="+mn-cs"/>
            </a:endParaRPr>
          </a:p>
        </p:txBody>
      </p:sp>
      <p:sp>
        <p:nvSpPr>
          <p:cNvPr id="24" name="Text Placeholder 1">
            <a:extLst>
              <a:ext uri="{FF2B5EF4-FFF2-40B4-BE49-F238E27FC236}">
                <a16:creationId xmlns:a16="http://schemas.microsoft.com/office/drawing/2014/main" id="{706F461E-7748-4B55-9E25-99BDD109DD7F}"/>
              </a:ext>
            </a:extLst>
          </p:cNvPr>
          <p:cNvSpPr txBox="1">
            <a:spLocks/>
          </p:cNvSpPr>
          <p:nvPr/>
        </p:nvSpPr>
        <p:spPr>
          <a:xfrm>
            <a:off x="10031891" y="6522801"/>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2527423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AAC89433-E594-48B3-9576-A205985D03E7}"/>
              </a:ext>
            </a:extLst>
          </p:cNvPr>
          <p:cNvSpPr>
            <a:spLocks noGrp="1"/>
          </p:cNvSpPr>
          <p:nvPr>
            <p:ph type="title"/>
          </p:nvPr>
        </p:nvSpPr>
        <p:spPr>
          <a:xfrm>
            <a:off x="596710" y="164567"/>
            <a:ext cx="11575986" cy="929127"/>
          </a:xfrm>
        </p:spPr>
        <p:txBody>
          <a:bodyPr>
            <a:normAutofit/>
          </a:bodyPr>
          <a:lstStyle/>
          <a:p>
            <a:r>
              <a:rPr kumimoji="0" lang="en-US" sz="2400" b="1" i="0" u="none" strike="noStrike" kern="1200" cap="none" spc="0" normalizeH="0" baseline="0" noProof="0" dirty="0">
                <a:ln>
                  <a:noFill/>
                </a:ln>
                <a:solidFill>
                  <a:schemeClr val="accent4"/>
                </a:solidFill>
                <a:effectLst/>
                <a:uLnTx/>
                <a:uFillTx/>
                <a:latin typeface="Arial"/>
                <a:cs typeface="Arial"/>
              </a:rPr>
              <a:t>Heart failure has significant impact on patients, HCP’s and healthcare systems globally and in India</a:t>
            </a:r>
            <a:endParaRPr lang="en-US" sz="2800" b="1" dirty="0">
              <a:solidFill>
                <a:schemeClr val="accent4"/>
              </a:solidFill>
            </a:endParaRPr>
          </a:p>
        </p:txBody>
      </p:sp>
      <p:sp>
        <p:nvSpPr>
          <p:cNvPr id="3" name="Content Placeholder 2">
            <a:extLst>
              <a:ext uri="{FF2B5EF4-FFF2-40B4-BE49-F238E27FC236}">
                <a16:creationId xmlns:a16="http://schemas.microsoft.com/office/drawing/2014/main" id="{5EE0BE3E-2F72-4667-A92C-DC7E61E5E57E}"/>
              </a:ext>
            </a:extLst>
          </p:cNvPr>
          <p:cNvSpPr>
            <a:spLocks noGrp="1"/>
          </p:cNvSpPr>
          <p:nvPr>
            <p:ph sz="quarter" idx="13"/>
          </p:nvPr>
        </p:nvSpPr>
        <p:spPr/>
        <p:txBody>
          <a:bodyPr/>
          <a:lstStyle/>
          <a:p>
            <a:endParaRPr lang="en-US"/>
          </a:p>
        </p:txBody>
      </p:sp>
      <p:sp>
        <p:nvSpPr>
          <p:cNvPr id="4" name="Text Placeholder 3">
            <a:extLst>
              <a:ext uri="{FF2B5EF4-FFF2-40B4-BE49-F238E27FC236}">
                <a16:creationId xmlns:a16="http://schemas.microsoft.com/office/drawing/2014/main" id="{71BF9016-AD82-46F6-8670-BE10431A32B7}"/>
              </a:ext>
            </a:extLst>
          </p:cNvPr>
          <p:cNvSpPr>
            <a:spLocks noGrp="1"/>
          </p:cNvSpPr>
          <p:nvPr>
            <p:ph type="body" sz="quarter" idx="14"/>
          </p:nvPr>
        </p:nvSpPr>
        <p:spPr/>
        <p:txBody>
          <a:bodyPr>
            <a:normAutofit lnSpcReduction="10000"/>
          </a:bodyPr>
          <a:lstStyle/>
          <a:p>
            <a:endParaRPr lang="en-US"/>
          </a:p>
        </p:txBody>
      </p:sp>
      <p:sp>
        <p:nvSpPr>
          <p:cNvPr id="5" name="Text Placeholder 4">
            <a:extLst>
              <a:ext uri="{FF2B5EF4-FFF2-40B4-BE49-F238E27FC236}">
                <a16:creationId xmlns:a16="http://schemas.microsoft.com/office/drawing/2014/main" id="{BB554EE8-E115-41F1-8C8B-581DC9EE327B}"/>
              </a:ext>
            </a:extLst>
          </p:cNvPr>
          <p:cNvSpPr>
            <a:spLocks noGrp="1"/>
          </p:cNvSpPr>
          <p:nvPr>
            <p:ph type="body" sz="quarter" idx="15"/>
          </p:nvPr>
        </p:nvSpPr>
        <p:spPr/>
        <p:txBody>
          <a:bodyPr/>
          <a:lstStyle/>
          <a:p>
            <a:endParaRPr lang="en-US"/>
          </a:p>
        </p:txBody>
      </p:sp>
      <p:pic>
        <p:nvPicPr>
          <p:cNvPr id="8" name="Graphic 7" descr="Group of people">
            <a:extLst>
              <a:ext uri="{FF2B5EF4-FFF2-40B4-BE49-F238E27FC236}">
                <a16:creationId xmlns:a16="http://schemas.microsoft.com/office/drawing/2014/main" id="{5D1A76F9-9C59-493F-8280-CAB55446E7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94162" y="1726767"/>
            <a:ext cx="1281566" cy="1120514"/>
          </a:xfrm>
          <a:prstGeom prst="rect">
            <a:avLst/>
          </a:prstGeom>
        </p:spPr>
      </p:pic>
      <p:sp>
        <p:nvSpPr>
          <p:cNvPr id="9" name="TextBox 8">
            <a:extLst>
              <a:ext uri="{FF2B5EF4-FFF2-40B4-BE49-F238E27FC236}">
                <a16:creationId xmlns:a16="http://schemas.microsoft.com/office/drawing/2014/main" id="{E805EE9E-CE1A-41C4-9460-2A4A3945E9AB}"/>
              </a:ext>
            </a:extLst>
          </p:cNvPr>
          <p:cNvSpPr txBox="1"/>
          <p:nvPr/>
        </p:nvSpPr>
        <p:spPr bwMode="gray">
          <a:xfrm>
            <a:off x="381224" y="1964039"/>
            <a:ext cx="1498019" cy="4572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30F4B"/>
                </a:solidFill>
                <a:effectLst/>
                <a:uLnTx/>
                <a:uFillTx/>
                <a:latin typeface="Arial"/>
                <a:ea typeface="Arial Unicode MS"/>
                <a:cs typeface="Arial"/>
              </a:rPr>
              <a:t>8-10 million </a:t>
            </a:r>
          </a:p>
        </p:txBody>
      </p:sp>
      <p:cxnSp>
        <p:nvCxnSpPr>
          <p:cNvPr id="11" name="Straight Connector 10">
            <a:extLst>
              <a:ext uri="{FF2B5EF4-FFF2-40B4-BE49-F238E27FC236}">
                <a16:creationId xmlns:a16="http://schemas.microsoft.com/office/drawing/2014/main" id="{E9F219D6-B819-41E5-BD3D-552A1A05C1B1}"/>
              </a:ext>
            </a:extLst>
          </p:cNvPr>
          <p:cNvCxnSpPr>
            <a:cxnSpLocks/>
          </p:cNvCxnSpPr>
          <p:nvPr/>
        </p:nvCxnSpPr>
        <p:spPr bwMode="gray">
          <a:xfrm>
            <a:off x="13513" y="3354767"/>
            <a:ext cx="12178487"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624A26A-B234-40F4-ADFA-D496054D3096}"/>
              </a:ext>
            </a:extLst>
          </p:cNvPr>
          <p:cNvSpPr txBox="1"/>
          <p:nvPr/>
        </p:nvSpPr>
        <p:spPr bwMode="gray">
          <a:xfrm>
            <a:off x="899592" y="2898698"/>
            <a:ext cx="2852089" cy="27087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0384F">
                    <a:lumMod val="90000"/>
                    <a:lumOff val="10000"/>
                  </a:srgbClr>
                </a:solidFill>
                <a:effectLst/>
                <a:uLnTx/>
                <a:uFillTx/>
                <a:latin typeface="Arial"/>
                <a:ea typeface="Arial Unicode MS"/>
                <a:cs typeface="Arial"/>
              </a:rPr>
              <a:t>LARGEST HF POPULATION</a:t>
            </a:r>
            <a:r>
              <a:rPr kumimoji="0" lang="en-US" sz="1400" b="1" i="0" u="none" strike="noStrike" kern="1200" cap="none" spc="0" normalizeH="0" baseline="30000" noProof="0" dirty="0">
                <a:ln>
                  <a:noFill/>
                </a:ln>
                <a:solidFill>
                  <a:srgbClr val="10384F">
                    <a:lumMod val="90000"/>
                    <a:lumOff val="10000"/>
                  </a:srgbClr>
                </a:solidFill>
                <a:effectLst/>
                <a:uLnTx/>
                <a:uFillTx/>
                <a:latin typeface="Arial"/>
                <a:ea typeface="Arial Unicode MS"/>
                <a:cs typeface="Arial"/>
              </a:rPr>
              <a:t>1</a:t>
            </a:r>
            <a:r>
              <a:rPr kumimoji="0" lang="en-US" sz="1400" b="1" i="0" u="none" strike="noStrike" kern="1200" cap="none" spc="0" normalizeH="0" baseline="0" noProof="0" dirty="0">
                <a:ln>
                  <a:noFill/>
                </a:ln>
                <a:solidFill>
                  <a:srgbClr val="10384F">
                    <a:lumMod val="90000"/>
                    <a:lumOff val="10000"/>
                  </a:srgbClr>
                </a:solidFill>
                <a:effectLst/>
                <a:uLnTx/>
                <a:uFillTx/>
                <a:latin typeface="Arial"/>
                <a:ea typeface="Arial Unicode MS"/>
                <a:cs typeface="Arial"/>
              </a:rPr>
              <a:t> </a:t>
            </a:r>
          </a:p>
        </p:txBody>
      </p:sp>
      <p:pic>
        <p:nvPicPr>
          <p:cNvPr id="16" name="Graphic 15" descr="Daily calendar">
            <a:extLst>
              <a:ext uri="{FF2B5EF4-FFF2-40B4-BE49-F238E27FC236}">
                <a16:creationId xmlns:a16="http://schemas.microsoft.com/office/drawing/2014/main" id="{7165008B-C6C3-4E45-B25C-BB313C8ED2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76651" y="4286923"/>
            <a:ext cx="1556480" cy="1168058"/>
          </a:xfrm>
          <a:prstGeom prst="rect">
            <a:avLst/>
          </a:prstGeom>
        </p:spPr>
      </p:pic>
      <p:sp>
        <p:nvSpPr>
          <p:cNvPr id="17" name="Rectangle 16">
            <a:extLst>
              <a:ext uri="{FF2B5EF4-FFF2-40B4-BE49-F238E27FC236}">
                <a16:creationId xmlns:a16="http://schemas.microsoft.com/office/drawing/2014/main" id="{EFAED2BF-D190-4D1F-9048-22612FBD13BE}"/>
              </a:ext>
            </a:extLst>
          </p:cNvPr>
          <p:cNvSpPr/>
          <p:nvPr/>
        </p:nvSpPr>
        <p:spPr>
          <a:xfrm>
            <a:off x="5900559" y="4593026"/>
            <a:ext cx="2474186"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30F4B"/>
                </a:solidFill>
                <a:effectLst/>
                <a:uLnTx/>
                <a:uFillTx/>
                <a:latin typeface="Arial"/>
                <a:ea typeface="Arial Unicode MS"/>
                <a:cs typeface="Arial"/>
              </a:rPr>
              <a:t>3 OUT OF EVERY 5 </a:t>
            </a:r>
            <a:r>
              <a:rPr kumimoji="0" lang="en-US" sz="1400" b="1" i="0" u="none" strike="noStrike" kern="1200" cap="none" spc="0" normalizeH="0" baseline="0" noProof="0" dirty="0">
                <a:ln>
                  <a:noFill/>
                </a:ln>
                <a:solidFill>
                  <a:srgbClr val="10384F"/>
                </a:solidFill>
                <a:effectLst/>
                <a:uLnTx/>
                <a:uFillTx/>
                <a:latin typeface="Arial"/>
                <a:ea typeface="Arial Unicode MS"/>
                <a:cs typeface="Arial"/>
              </a:rPr>
              <a:t>INDIAN PATIENTS</a:t>
            </a:r>
          </a:p>
        </p:txBody>
      </p:sp>
      <p:sp>
        <p:nvSpPr>
          <p:cNvPr id="18" name="Rectangle 17">
            <a:extLst>
              <a:ext uri="{FF2B5EF4-FFF2-40B4-BE49-F238E27FC236}">
                <a16:creationId xmlns:a16="http://schemas.microsoft.com/office/drawing/2014/main" id="{1873E474-1515-43CD-A801-4EB568004ABC}"/>
              </a:ext>
            </a:extLst>
          </p:cNvPr>
          <p:cNvSpPr/>
          <p:nvPr/>
        </p:nvSpPr>
        <p:spPr>
          <a:xfrm>
            <a:off x="4858310" y="4059570"/>
            <a:ext cx="295055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384F"/>
                </a:solidFill>
                <a:effectLst/>
                <a:uLnTx/>
                <a:uFillTx/>
                <a:latin typeface="Arial"/>
                <a:ea typeface="Arial Unicode MS"/>
                <a:cs typeface="Arial"/>
              </a:rPr>
              <a:t> YEAR MORTALITY RATE</a:t>
            </a:r>
            <a:endParaRPr kumimoji="0" lang="en-US" sz="1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 name="Rectangle 19">
            <a:extLst>
              <a:ext uri="{FF2B5EF4-FFF2-40B4-BE49-F238E27FC236}">
                <a16:creationId xmlns:a16="http://schemas.microsoft.com/office/drawing/2014/main" id="{B35FAAF2-925A-4A78-A5E1-E2308A596660}"/>
              </a:ext>
            </a:extLst>
          </p:cNvPr>
          <p:cNvSpPr/>
          <p:nvPr/>
        </p:nvSpPr>
        <p:spPr>
          <a:xfrm>
            <a:off x="4466032" y="3942167"/>
            <a:ext cx="527709" cy="83099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10384F"/>
                </a:solidFill>
                <a:effectLst/>
                <a:uLnTx/>
                <a:uFillTx/>
                <a:latin typeface="Arial"/>
                <a:ea typeface="Arial Unicode MS"/>
                <a:cs typeface="Arial"/>
              </a:rPr>
              <a:t>5</a:t>
            </a:r>
            <a:endParaRPr kumimoji="0" lang="en-US" sz="4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 name="TextBox 22">
            <a:extLst>
              <a:ext uri="{FF2B5EF4-FFF2-40B4-BE49-F238E27FC236}">
                <a16:creationId xmlns:a16="http://schemas.microsoft.com/office/drawing/2014/main" id="{326B715F-E802-435F-859E-F1FF9218CAB6}"/>
              </a:ext>
            </a:extLst>
          </p:cNvPr>
          <p:cNvSpPr txBox="1"/>
          <p:nvPr/>
        </p:nvSpPr>
        <p:spPr bwMode="gray">
          <a:xfrm>
            <a:off x="8557011" y="5081532"/>
            <a:ext cx="2798324" cy="955035"/>
          </a:xfrm>
          <a:prstGeom prst="rect">
            <a:avLst/>
          </a:prstGeom>
          <a:noFill/>
        </p:spPr>
        <p:txBody>
          <a:bodyPr wrap="square" lIns="0" tIns="0" rIns="0" bIns="0" rtlCol="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30F4B"/>
                </a:solidFill>
                <a:effectLst/>
                <a:uLnTx/>
                <a:uFillTx/>
                <a:latin typeface="Arial"/>
                <a:ea typeface="Arial Unicode MS"/>
                <a:cs typeface="Arial"/>
              </a:rPr>
              <a:t>WORSENING HF </a:t>
            </a:r>
            <a:r>
              <a:rPr kumimoji="0" lang="en-US" sz="1600" b="1" i="0" u="none" strike="noStrike" kern="1200" cap="none" spc="0" normalizeH="0" baseline="0" noProof="0" dirty="0">
                <a:ln>
                  <a:noFill/>
                </a:ln>
                <a:solidFill>
                  <a:srgbClr val="10384F">
                    <a:lumMod val="90000"/>
                    <a:lumOff val="10000"/>
                  </a:srgbClr>
                </a:solidFill>
                <a:effectLst/>
                <a:uLnTx/>
                <a:uFillTx/>
                <a:latin typeface="Arial"/>
                <a:ea typeface="Arial Unicode MS"/>
                <a:cs typeface="Arial"/>
              </a:rPr>
              <a:t>IS ONE OF THE MOST IMPORTANT CAUSE OF DEATH</a:t>
            </a:r>
            <a:r>
              <a:rPr kumimoji="0" lang="en-US" sz="1600" b="1" i="0" u="none" strike="noStrike" kern="1200" cap="none" spc="0" normalizeH="0" baseline="30000" noProof="0" dirty="0">
                <a:ln>
                  <a:noFill/>
                </a:ln>
                <a:solidFill>
                  <a:srgbClr val="10384F">
                    <a:lumMod val="90000"/>
                    <a:lumOff val="10000"/>
                  </a:srgbClr>
                </a:solidFill>
                <a:effectLst/>
                <a:uLnTx/>
                <a:uFillTx/>
                <a:latin typeface="Arial"/>
                <a:ea typeface="Arial Unicode MS"/>
                <a:cs typeface="Arial"/>
              </a:rPr>
              <a:t>9</a:t>
            </a:r>
          </a:p>
        </p:txBody>
      </p:sp>
      <p:cxnSp>
        <p:nvCxnSpPr>
          <p:cNvPr id="25" name="Straight Connector 24">
            <a:extLst>
              <a:ext uri="{FF2B5EF4-FFF2-40B4-BE49-F238E27FC236}">
                <a16:creationId xmlns:a16="http://schemas.microsoft.com/office/drawing/2014/main" id="{A41ECA13-BE84-4B01-855C-D3DC66E9A088}"/>
              </a:ext>
            </a:extLst>
          </p:cNvPr>
          <p:cNvCxnSpPr/>
          <p:nvPr/>
        </p:nvCxnSpPr>
        <p:spPr bwMode="gray">
          <a:xfrm>
            <a:off x="4220575" y="3429000"/>
            <a:ext cx="0" cy="342900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7D060259-75B9-4157-B8B4-0AFDB2AB53E9}"/>
              </a:ext>
            </a:extLst>
          </p:cNvPr>
          <p:cNvSpPr/>
          <p:nvPr/>
        </p:nvSpPr>
        <p:spPr bwMode="gray">
          <a:xfrm>
            <a:off x="0" y="3380874"/>
            <a:ext cx="4220575" cy="5418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Arial Unicode MS"/>
                <a:cs typeface="Arial"/>
              </a:rPr>
              <a:t>HOSPITALIZATION</a:t>
            </a:r>
          </a:p>
        </p:txBody>
      </p:sp>
      <p:sp>
        <p:nvSpPr>
          <p:cNvPr id="41" name="Rectangle 40">
            <a:extLst>
              <a:ext uri="{FF2B5EF4-FFF2-40B4-BE49-F238E27FC236}">
                <a16:creationId xmlns:a16="http://schemas.microsoft.com/office/drawing/2014/main" id="{9BFBB6B7-2429-4ABD-A1A7-6062F0E4AEE2}"/>
              </a:ext>
            </a:extLst>
          </p:cNvPr>
          <p:cNvSpPr/>
          <p:nvPr/>
        </p:nvSpPr>
        <p:spPr bwMode="gray">
          <a:xfrm>
            <a:off x="4288220" y="3385465"/>
            <a:ext cx="4190762" cy="54797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Arial Unicode MS"/>
                <a:cs typeface="Arial"/>
              </a:rPr>
              <a:t> MORTALITY</a:t>
            </a:r>
          </a:p>
        </p:txBody>
      </p:sp>
      <p:cxnSp>
        <p:nvCxnSpPr>
          <p:cNvPr id="42" name="Straight Connector 41">
            <a:extLst>
              <a:ext uri="{FF2B5EF4-FFF2-40B4-BE49-F238E27FC236}">
                <a16:creationId xmlns:a16="http://schemas.microsoft.com/office/drawing/2014/main" id="{2ED13F1B-9D7E-4CB5-BB9E-C27DB5DABA40}"/>
              </a:ext>
            </a:extLst>
          </p:cNvPr>
          <p:cNvCxnSpPr/>
          <p:nvPr/>
        </p:nvCxnSpPr>
        <p:spPr bwMode="gray">
          <a:xfrm>
            <a:off x="8517996" y="3429000"/>
            <a:ext cx="0" cy="342900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F61BA848-9333-4042-8D63-7D8D883B73A5}"/>
              </a:ext>
            </a:extLst>
          </p:cNvPr>
          <p:cNvSpPr/>
          <p:nvPr/>
        </p:nvSpPr>
        <p:spPr bwMode="gray">
          <a:xfrm>
            <a:off x="8567427" y="3400282"/>
            <a:ext cx="3617360" cy="549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Arial Unicode MS"/>
                <a:cs typeface="Arial"/>
              </a:rPr>
              <a:t>CAUSE OF DEATH</a:t>
            </a:r>
          </a:p>
        </p:txBody>
      </p:sp>
      <p:cxnSp>
        <p:nvCxnSpPr>
          <p:cNvPr id="63" name="Straight Connector 62">
            <a:extLst>
              <a:ext uri="{FF2B5EF4-FFF2-40B4-BE49-F238E27FC236}">
                <a16:creationId xmlns:a16="http://schemas.microsoft.com/office/drawing/2014/main" id="{F4208170-E59D-4051-8750-D256BDEB064E}"/>
              </a:ext>
            </a:extLst>
          </p:cNvPr>
          <p:cNvCxnSpPr/>
          <p:nvPr/>
        </p:nvCxnSpPr>
        <p:spPr bwMode="gray">
          <a:xfrm>
            <a:off x="0" y="981441"/>
            <a:ext cx="12172696"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DA3E795F-5FF0-4436-9BD3-83B8C9172112}"/>
              </a:ext>
            </a:extLst>
          </p:cNvPr>
          <p:cNvSpPr/>
          <p:nvPr/>
        </p:nvSpPr>
        <p:spPr bwMode="gray">
          <a:xfrm>
            <a:off x="13513" y="1021341"/>
            <a:ext cx="4220575" cy="5418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Arial Unicode MS"/>
                <a:cs typeface="Arial"/>
              </a:rPr>
              <a:t>DISEASE BURDEN</a:t>
            </a:r>
            <a:r>
              <a:rPr kumimoji="0" lang="en-US" sz="1800" b="1" i="0" u="none" strike="noStrike" kern="1200" cap="none" spc="0" normalizeH="0" baseline="30000" noProof="0" dirty="0">
                <a:ln>
                  <a:noFill/>
                </a:ln>
                <a:solidFill>
                  <a:srgbClr val="FFFFFF"/>
                </a:solidFill>
                <a:effectLst/>
                <a:uLnTx/>
                <a:uFillTx/>
                <a:latin typeface="Arial"/>
                <a:ea typeface="Arial Unicode MS"/>
                <a:cs typeface="Arial"/>
              </a:rPr>
              <a:t>1-6</a:t>
            </a:r>
          </a:p>
        </p:txBody>
      </p:sp>
      <p:sp>
        <p:nvSpPr>
          <p:cNvPr id="2" name="Rectangle 1">
            <a:extLst>
              <a:ext uri="{FF2B5EF4-FFF2-40B4-BE49-F238E27FC236}">
                <a16:creationId xmlns:a16="http://schemas.microsoft.com/office/drawing/2014/main" id="{26B4E44F-868C-454A-96F3-B6EF98839D8A}"/>
              </a:ext>
            </a:extLst>
          </p:cNvPr>
          <p:cNvSpPr/>
          <p:nvPr/>
        </p:nvSpPr>
        <p:spPr>
          <a:xfrm>
            <a:off x="496366" y="6377335"/>
            <a:ext cx="990927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1. Chaturvedi V, Parakh N, Seth S, Bhargava B, Ramakrishnan S, Roy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A,et</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al. Heart failure in India: The Indus (India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Ukieri</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Study) study. J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PractCardiovasc</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Sci 2016;2:282.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Harikrishnan</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S, et al.. Eur J Heart Fail. 2015;17:794–800. 3. Lam CS, et al. Eur Heart J. 2016;37:3141–3153. 4.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Harikrishnan</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S, et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al.Am</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Heart J. 2017;189:193–199. 5. Pokharel Y, et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al.Clin</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Cardiol</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2016;39:145–149. 6.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Dokainish</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H, et al. Lancet Glob Health. 2017;5:e665–e672. 7. Chopra VK, et al.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Medanta</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Heart Failure Registry. Unpublished Data (Personal communication). 8. Kirkwood FA, et al. Am Heart J. 2005;149:209–216. 9.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Harikrishnan</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Sivadasanpillai</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et </a:t>
            </a:r>
            <a:r>
              <a:rPr kumimoji="0" lang="en-US" sz="700" b="0" i="0" u="none" strike="noStrike" kern="1200" cap="none" spc="0" normalizeH="0" baseline="0" noProof="0" dirty="0" err="1">
                <a:ln>
                  <a:noFill/>
                </a:ln>
                <a:solidFill>
                  <a:srgbClr val="000000"/>
                </a:solidFill>
                <a:effectLst/>
                <a:uLnTx/>
                <a:uFillTx/>
                <a:latin typeface="Arial" panose="020B0604020202020204"/>
                <a:ea typeface="Arial Unicode MS"/>
                <a:cs typeface="Arial"/>
              </a:rPr>
              <a:t>al.International</a:t>
            </a:r>
            <a:r>
              <a:rPr kumimoji="0" lang="en-US" sz="700" b="0" i="0" u="none" strike="noStrike" kern="1200" cap="none" spc="0" normalizeH="0" baseline="0" noProof="0" dirty="0">
                <a:ln>
                  <a:noFill/>
                </a:ln>
                <a:solidFill>
                  <a:srgbClr val="000000"/>
                </a:solidFill>
                <a:effectLst/>
                <a:uLnTx/>
                <a:uFillTx/>
                <a:latin typeface="Arial" panose="020B0604020202020204"/>
                <a:ea typeface="Arial Unicode MS"/>
                <a:cs typeface="Arial"/>
              </a:rPr>
              <a:t> Journal of Cardiology, Volume 326, 139 - 143</a:t>
            </a:r>
          </a:p>
        </p:txBody>
      </p:sp>
      <p:pic>
        <p:nvPicPr>
          <p:cNvPr id="45" name="Picture 44">
            <a:extLst>
              <a:ext uri="{FF2B5EF4-FFF2-40B4-BE49-F238E27FC236}">
                <a16:creationId xmlns:a16="http://schemas.microsoft.com/office/drawing/2014/main" id="{4ED21E85-B4B5-4ACE-9437-533EF896D63C}"/>
              </a:ext>
            </a:extLst>
          </p:cNvPr>
          <p:cNvPicPr>
            <a:picLocks noChangeAspect="1"/>
          </p:cNvPicPr>
          <p:nvPr/>
        </p:nvPicPr>
        <p:blipFill rotWithShape="1">
          <a:blip r:embed="rId7">
            <a:duotone>
              <a:schemeClr val="accent5">
                <a:shade val="45000"/>
                <a:satMod val="135000"/>
              </a:schemeClr>
              <a:prstClr val="white"/>
            </a:duotone>
          </a:blip>
          <a:srcRect l="10110" t="10081" r="11549" b="16823"/>
          <a:stretch/>
        </p:blipFill>
        <p:spPr>
          <a:xfrm>
            <a:off x="8729058" y="4068705"/>
            <a:ext cx="942261" cy="1077669"/>
          </a:xfrm>
          <a:prstGeom prst="rect">
            <a:avLst/>
          </a:prstGeom>
          <a:solidFill>
            <a:schemeClr val="accent4"/>
          </a:solidFill>
        </p:spPr>
      </p:pic>
      <p:sp>
        <p:nvSpPr>
          <p:cNvPr id="47" name="TextBox 46">
            <a:extLst>
              <a:ext uri="{FF2B5EF4-FFF2-40B4-BE49-F238E27FC236}">
                <a16:creationId xmlns:a16="http://schemas.microsoft.com/office/drawing/2014/main" id="{AEF16E73-1531-4CBA-98C4-6A98EF295114}"/>
              </a:ext>
            </a:extLst>
          </p:cNvPr>
          <p:cNvSpPr txBox="1"/>
          <p:nvPr/>
        </p:nvSpPr>
        <p:spPr bwMode="gray">
          <a:xfrm>
            <a:off x="54986" y="4304756"/>
            <a:ext cx="4033758" cy="1616340"/>
          </a:xfrm>
          <a:prstGeom prst="rect">
            <a:avLst/>
          </a:prstGeom>
          <a:noFill/>
        </p:spPr>
        <p:txBody>
          <a:bodyPr wrap="square">
            <a:spAutoFit/>
          </a:body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a:ea typeface="+mn-ea"/>
                <a:cs typeface="+mn-cs"/>
              </a:rPr>
              <a:t>1 out of 5 </a:t>
            </a:r>
          </a:p>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of </a:t>
            </a:r>
            <a:r>
              <a:rPr kumimoji="0" lang="en-US" sz="1800" b="1" i="0" u="none" strike="noStrike" kern="1200" cap="none" spc="0" normalizeH="0" baseline="0" noProof="0" dirty="0" err="1">
                <a:ln>
                  <a:noFill/>
                </a:ln>
                <a:solidFill>
                  <a:srgbClr val="002060"/>
                </a:solidFill>
                <a:effectLst/>
                <a:uLnTx/>
                <a:uFillTx/>
                <a:latin typeface="Arial" panose="020B0604020202020204"/>
                <a:ea typeface="+mn-ea"/>
                <a:cs typeface="+mn-cs"/>
              </a:rPr>
              <a:t>HFrEF</a:t>
            </a: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ATIENTS </a:t>
            </a:r>
          </a:p>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RE-HOSPITALIZED FOR HF </a:t>
            </a:r>
          </a:p>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AT 1-YEAR </a:t>
            </a:r>
            <a:endParaRPr kumimoji="0" lang="en-US" sz="1800" b="1" i="0" u="none" strike="noStrike" kern="1200" cap="none" spc="0" normalizeH="0" baseline="30000" noProof="0" dirty="0">
              <a:ln>
                <a:noFill/>
              </a:ln>
              <a:solidFill>
                <a:srgbClr val="002060"/>
              </a:solidFill>
              <a:effectLst/>
              <a:uLnTx/>
              <a:uFillTx/>
              <a:latin typeface="Arial" panose="020B0604020202020204"/>
              <a:ea typeface="+mn-ea"/>
              <a:cs typeface="+mn-cs"/>
            </a:endParaRPr>
          </a:p>
        </p:txBody>
      </p:sp>
      <p:pic>
        <p:nvPicPr>
          <p:cNvPr id="50" name="Graphic 49" descr="Ambulance">
            <a:extLst>
              <a:ext uri="{FF2B5EF4-FFF2-40B4-BE49-F238E27FC236}">
                <a16:creationId xmlns:a16="http://schemas.microsoft.com/office/drawing/2014/main" id="{CF56F2EB-51BE-472C-BB18-45F01B0259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0789" y="4017601"/>
            <a:ext cx="1130026" cy="1045137"/>
          </a:xfrm>
          <a:prstGeom prst="rect">
            <a:avLst/>
          </a:prstGeom>
        </p:spPr>
      </p:pic>
      <p:pic>
        <p:nvPicPr>
          <p:cNvPr id="7" name="Graphic 6" descr="Man with cane with solid fill">
            <a:extLst>
              <a:ext uri="{FF2B5EF4-FFF2-40B4-BE49-F238E27FC236}">
                <a16:creationId xmlns:a16="http://schemas.microsoft.com/office/drawing/2014/main" id="{17F7BDCF-42EA-4FE6-8AAE-A6B26F76872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81002" y="1074586"/>
            <a:ext cx="1211956" cy="1211956"/>
          </a:xfrm>
          <a:prstGeom prst="rect">
            <a:avLst/>
          </a:prstGeom>
        </p:spPr>
      </p:pic>
      <p:sp>
        <p:nvSpPr>
          <p:cNvPr id="51" name="TextBox 50">
            <a:extLst>
              <a:ext uri="{FF2B5EF4-FFF2-40B4-BE49-F238E27FC236}">
                <a16:creationId xmlns:a16="http://schemas.microsoft.com/office/drawing/2014/main" id="{B33FB42B-590B-49A7-BF3A-3164835DC499}"/>
              </a:ext>
            </a:extLst>
          </p:cNvPr>
          <p:cNvSpPr txBox="1"/>
          <p:nvPr/>
        </p:nvSpPr>
        <p:spPr bwMode="gray">
          <a:xfrm>
            <a:off x="5036051" y="1475089"/>
            <a:ext cx="2618224" cy="1668214"/>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INDIAN HF PATIENTS ARE </a:t>
            </a:r>
            <a:r>
              <a:rPr kumimoji="0" lang="en-US" sz="1400" b="1" i="0" u="none" strike="noStrike" kern="1200" cap="none" spc="0" normalizeH="0" baseline="0" noProof="0" dirty="0">
                <a:ln>
                  <a:noFill/>
                </a:ln>
                <a:solidFill>
                  <a:srgbClr val="C00000"/>
                </a:solidFill>
                <a:effectLst/>
                <a:uLnTx/>
                <a:uFillTx/>
                <a:latin typeface="Arial" panose="020B0604020202020204"/>
                <a:ea typeface="+mn-ea"/>
                <a:cs typeface="+mn-cs"/>
              </a:rPr>
              <a:t>YOUNGER BY 10-YEARS, </a:t>
            </a: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MAJORITY OF THE BURDEN LIES BELOW 65YEARS OF AGE </a:t>
            </a:r>
            <a:r>
              <a:rPr kumimoji="0" lang="en-US" sz="1400" b="1" i="0" u="none" strike="noStrike" kern="1200" cap="none" spc="0" normalizeH="0" baseline="30000" noProof="0" dirty="0">
                <a:ln>
                  <a:noFill/>
                </a:ln>
                <a:solidFill>
                  <a:srgbClr val="002060"/>
                </a:solidFill>
                <a:effectLst/>
                <a:uLnTx/>
                <a:uFillTx/>
                <a:latin typeface="Arial" panose="020B0604020202020204"/>
                <a:ea typeface="+mn-ea"/>
                <a:cs typeface="+mn-cs"/>
              </a:rPr>
              <a:t>2-8</a:t>
            </a:r>
          </a:p>
        </p:txBody>
      </p:sp>
      <p:pic>
        <p:nvPicPr>
          <p:cNvPr id="13" name="Graphic 12" descr="Heart with pulse with solid fill">
            <a:extLst>
              <a:ext uri="{FF2B5EF4-FFF2-40B4-BE49-F238E27FC236}">
                <a16:creationId xmlns:a16="http://schemas.microsoft.com/office/drawing/2014/main" id="{4189185C-A5EB-434C-AC37-3AE6D53AC65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8955" y="1492992"/>
            <a:ext cx="914400" cy="914400"/>
          </a:xfrm>
          <a:prstGeom prst="rect">
            <a:avLst/>
          </a:prstGeom>
        </p:spPr>
      </p:pic>
      <p:sp>
        <p:nvSpPr>
          <p:cNvPr id="61" name="TextBox 60">
            <a:extLst>
              <a:ext uri="{FF2B5EF4-FFF2-40B4-BE49-F238E27FC236}">
                <a16:creationId xmlns:a16="http://schemas.microsoft.com/office/drawing/2014/main" id="{878A9FD2-E5AD-4CFB-9140-C2520822E66A}"/>
              </a:ext>
            </a:extLst>
          </p:cNvPr>
          <p:cNvSpPr txBox="1"/>
          <p:nvPr/>
        </p:nvSpPr>
        <p:spPr bwMode="gray">
          <a:xfrm>
            <a:off x="9125947" y="1113030"/>
            <a:ext cx="2743781" cy="1991379"/>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C0000"/>
                </a:solidFill>
                <a:effectLst/>
                <a:uLnTx/>
                <a:uFillTx/>
                <a:latin typeface="Arial" panose="020B0604020202020204"/>
                <a:ea typeface="+mn-ea"/>
                <a:cs typeface="+mn-cs"/>
              </a:rPr>
              <a:t>CAD IS THE MOST COMMON ETIOLOGY </a:t>
            </a: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FOR HF IN INDIA (AS PER THE THFR AND MEDANTA REGISTRY), </a:t>
            </a:r>
            <a:r>
              <a:rPr kumimoji="0" lang="en-US" sz="1400" b="1" i="0" u="none" strike="noStrike" kern="1200" cap="none" spc="0" normalizeH="0" baseline="0" noProof="0" dirty="0">
                <a:ln>
                  <a:noFill/>
                </a:ln>
                <a:solidFill>
                  <a:srgbClr val="CC0000"/>
                </a:solidFill>
                <a:effectLst/>
                <a:uLnTx/>
                <a:uFillTx/>
                <a:latin typeface="Arial" panose="020B0604020202020204"/>
                <a:ea typeface="+mn-ea"/>
                <a:cs typeface="+mn-cs"/>
              </a:rPr>
              <a:t>RHD IS ALSO A MAJOR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CONTRIBUTOR </a:t>
            </a:r>
            <a:r>
              <a:rPr kumimoji="0" lang="en-US" sz="1400" b="1" i="0" u="none" strike="noStrike" kern="1200" cap="none" spc="0" normalizeH="0" baseline="30000" noProof="0" dirty="0">
                <a:ln>
                  <a:noFill/>
                </a:ln>
                <a:solidFill>
                  <a:srgbClr val="000000"/>
                </a:solidFill>
                <a:effectLst/>
                <a:uLnTx/>
                <a:uFillTx/>
                <a:latin typeface="Arial" panose="020B0604020202020204"/>
                <a:ea typeface="+mn-ea"/>
                <a:cs typeface="+mn-cs"/>
              </a:rPr>
              <a:t>6,7</a:t>
            </a:r>
            <a:endParaRPr kumimoji="0" lang="en-US" sz="1400" b="1" i="0" u="none" strike="noStrike" kern="1200" cap="none" spc="0" normalizeH="0" baseline="30000" noProof="0" dirty="0">
              <a:ln>
                <a:noFill/>
              </a:ln>
              <a:solidFill>
                <a:srgbClr val="53585A"/>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E249B0FF-95AB-408D-8E21-B5AEAB399798}"/>
              </a:ext>
            </a:extLst>
          </p:cNvPr>
          <p:cNvSpPr txBox="1"/>
          <p:nvPr/>
        </p:nvSpPr>
        <p:spPr>
          <a:xfrm>
            <a:off x="4466032" y="5559049"/>
            <a:ext cx="4012950" cy="553998"/>
          </a:xfrm>
          <a:prstGeom prst="rect">
            <a:avLst/>
          </a:prstGeom>
        </p:spPr>
        <p:txBody>
          <a:bodyPr vert="horz" wrap="square" lIns="91440" tIns="45720" rIns="91440" bIns="45720" rtlCol="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MEDIAN SURVIVAL TIME </a:t>
            </a:r>
            <a: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t>3.1</a:t>
            </a:r>
            <a:r>
              <a:rPr kumimoji="0" lang="en-US" sz="2800" b="0" i="0" u="none" strike="noStrike" kern="1200" cap="none" spc="0" normalizeH="0" baseline="0" noProof="0" dirty="0">
                <a:ln>
                  <a:noFill/>
                </a:ln>
                <a:solidFill>
                  <a:srgbClr val="53585A"/>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YEARS</a:t>
            </a:r>
            <a:r>
              <a:rPr kumimoji="0" lang="en-US" sz="1600" b="1" i="0" u="none" strike="noStrike" kern="1200" cap="none" spc="0" normalizeH="0" baseline="30000" noProof="0" dirty="0">
                <a:ln>
                  <a:noFill/>
                </a:ln>
                <a:solidFill>
                  <a:srgbClr val="002060"/>
                </a:solidFill>
                <a:effectLst/>
                <a:uLnTx/>
                <a:uFillTx/>
                <a:latin typeface="Arial" panose="020B0604020202020204"/>
                <a:ea typeface="+mn-ea"/>
                <a:cs typeface="+mn-cs"/>
              </a:rPr>
              <a:t>9</a:t>
            </a:r>
            <a:endParaRPr kumimoji="0" lang="en-US" sz="2800" b="1" i="0" u="none" strike="noStrike" kern="1200" cap="none" spc="0" normalizeH="0" baseline="3000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863958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CB7123-BEA3-44AC-B4EF-32E878E2722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4F3E8DA-EFA8-4AF6-91A7-62A147E0F12C}" type="slidenum">
              <a:rPr kumimoji="0" lang="en-US" sz="1000" b="0" i="0" u="none" strike="noStrike" kern="1200" cap="none" spc="0" normalizeH="0" baseline="0" noProof="0" smtClean="0">
                <a:ln>
                  <a:noFill/>
                </a:ln>
                <a:solidFill>
                  <a:srgbClr val="000000">
                    <a:tint val="75000"/>
                  </a:srgbClr>
                </a:solidFill>
                <a:effectLst/>
                <a:uLnTx/>
                <a:uFillTx/>
                <a:latin typeface="Arial Black" panose="020B0A040201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000000">
                  <a:tint val="75000"/>
                </a:srgbClr>
              </a:solidFill>
              <a:effectLst/>
              <a:uLnTx/>
              <a:uFillTx/>
              <a:latin typeface="Arial Black" panose="020B0A04020102020204" pitchFamily="34" charset="0"/>
              <a:ea typeface="+mn-ea"/>
              <a:cs typeface="+mn-cs"/>
            </a:endParaRPr>
          </a:p>
        </p:txBody>
      </p:sp>
      <p:sp>
        <p:nvSpPr>
          <p:cNvPr id="6" name="Title 1">
            <a:extLst>
              <a:ext uri="{FF2B5EF4-FFF2-40B4-BE49-F238E27FC236}">
                <a16:creationId xmlns:a16="http://schemas.microsoft.com/office/drawing/2014/main" id="{E44F0DA1-6ABA-4106-A425-DD88C8A64599}"/>
              </a:ext>
            </a:extLst>
          </p:cNvPr>
          <p:cNvSpPr txBox="1">
            <a:spLocks/>
          </p:cNvSpPr>
          <p:nvPr/>
        </p:nvSpPr>
        <p:spPr>
          <a:xfrm>
            <a:off x="327932" y="1645341"/>
            <a:ext cx="9382125" cy="1001168"/>
          </a:xfrm>
          <a:prstGeom prst="rect">
            <a:avLst/>
          </a:prstGeom>
        </p:spPr>
        <p:txBody>
          <a:bodyPr vert="horz" lIns="91440" tIns="45720" rIns="91440" bIns="45720" rtlCol="0" anchor="t">
            <a:noAutofit/>
          </a:bodyPr>
          <a:lstStyle>
            <a:lvl1pPr marL="0" algn="l" defTabSz="914400" rtl="0" eaLnBrk="1" latinLnBrk="0" hangingPunct="1">
              <a:lnSpc>
                <a:spcPct val="100000"/>
              </a:lnSpc>
              <a:spcBef>
                <a:spcPct val="0"/>
              </a:spcBef>
              <a:buNone/>
              <a:defRPr lang="en-US" sz="2800" kern="1200" dirty="0">
                <a:solidFill>
                  <a:srgbClr val="4F256F">
                    <a:alpha val="80000"/>
                  </a:srgbClr>
                </a:solidFill>
                <a:latin typeface="Arial Black" panose="020B0A04020102020204" pitchFamily="34" charset="0"/>
                <a:ea typeface="+mj-ea"/>
                <a:cs typeface="+mj-cs"/>
              </a:defRPr>
            </a:lvl1pPr>
          </a:lstStyle>
          <a:p>
            <a:pPr marL="0" marR="0">
              <a:lnSpc>
                <a:spcPct val="150000"/>
              </a:lnSpc>
              <a:spcBef>
                <a:spcPts val="0"/>
              </a:spcBef>
              <a:spcAft>
                <a:spcPts val="0"/>
              </a:spcAft>
            </a:pPr>
            <a:r>
              <a:rPr lang="en-GB" sz="2800" dirty="0">
                <a:effectLst/>
              </a:rPr>
              <a:t>Optimizing medical management of post worsening HF event: Case reviews</a:t>
            </a:r>
            <a:endParaRPr lang="en-US" sz="3600" dirty="0">
              <a:effectLst/>
            </a:endParaRPr>
          </a:p>
        </p:txBody>
      </p:sp>
      <p:sp>
        <p:nvSpPr>
          <p:cNvPr id="7" name="Text Placeholder 4">
            <a:extLst>
              <a:ext uri="{FF2B5EF4-FFF2-40B4-BE49-F238E27FC236}">
                <a16:creationId xmlns:a16="http://schemas.microsoft.com/office/drawing/2014/main" id="{F4B758F2-24E3-49C7-B301-D3638E4A58E1}"/>
              </a:ext>
            </a:extLst>
          </p:cNvPr>
          <p:cNvSpPr txBox="1">
            <a:spLocks/>
          </p:cNvSpPr>
          <p:nvPr/>
        </p:nvSpPr>
        <p:spPr>
          <a:xfrm>
            <a:off x="241971" y="3429000"/>
            <a:ext cx="4694096" cy="2235200"/>
          </a:xfrm>
          <a:prstGeom prst="rect">
            <a:avLst/>
          </a:prstGeom>
        </p:spPr>
        <p:txBody>
          <a:bodyPr>
            <a:norm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SPEAKER:</a:t>
            </a:r>
          </a:p>
          <a:p>
            <a:pPr marL="0" indent="0">
              <a:buNone/>
            </a:pPr>
            <a:endParaRPr lang="en-US" sz="2000" b="1" dirty="0"/>
          </a:p>
        </p:txBody>
      </p:sp>
    </p:spTree>
    <p:extLst>
      <p:ext uri="{BB962C8B-B14F-4D97-AF65-F5344CB8AC3E}">
        <p14:creationId xmlns:p14="http://schemas.microsoft.com/office/powerpoint/2010/main" val="2760804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89FD7-804E-4832-A45F-E7848B633F58}"/>
              </a:ext>
            </a:extLst>
          </p:cNvPr>
          <p:cNvSpPr>
            <a:spLocks noGrp="1"/>
          </p:cNvSpPr>
          <p:nvPr>
            <p:ph type="title"/>
          </p:nvPr>
        </p:nvSpPr>
        <p:spPr/>
        <p:txBody>
          <a:bodyPr/>
          <a:lstStyle/>
          <a:p>
            <a:r>
              <a:rPr lang="en-US" dirty="0"/>
              <a:t>Case 1: Dr. Rajesh Pandit</a:t>
            </a:r>
          </a:p>
        </p:txBody>
      </p:sp>
      <p:sp>
        <p:nvSpPr>
          <p:cNvPr id="3" name="Slide Number Placeholder 2">
            <a:extLst>
              <a:ext uri="{FF2B5EF4-FFF2-40B4-BE49-F238E27FC236}">
                <a16:creationId xmlns:a16="http://schemas.microsoft.com/office/drawing/2014/main" id="{FA4A02F1-C31B-4DA6-AE54-90062CC00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4F3E8DA-EFA8-4AF6-91A7-62A147E0F12C}" type="slidenum">
              <a:rPr kumimoji="0" lang="en-US" sz="1000" b="0" i="0" u="none" strike="noStrike" kern="1200" cap="none" spc="0" normalizeH="0" baseline="0" noProof="0" smtClean="0">
                <a:ln>
                  <a:noFill/>
                </a:ln>
                <a:solidFill>
                  <a:srgbClr val="000000">
                    <a:tint val="75000"/>
                  </a:srgbClr>
                </a:solidFill>
                <a:effectLst/>
                <a:uLnTx/>
                <a:uFillTx/>
                <a:latin typeface="Arial Black" panose="020B0A040201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000000">
                  <a:tint val="75000"/>
                </a:srgbClr>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5618274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7E317-B2BD-4B84-A581-0EFC0D736E0A}"/>
              </a:ext>
            </a:extLst>
          </p:cNvPr>
          <p:cNvSpPr>
            <a:spLocks noGrp="1"/>
          </p:cNvSpPr>
          <p:nvPr>
            <p:ph type="title"/>
          </p:nvPr>
        </p:nvSpPr>
        <p:spPr/>
        <p:txBody>
          <a:bodyPr/>
          <a:lstStyle/>
          <a:p>
            <a:r>
              <a:rPr lang="en-US" dirty="0"/>
              <a:t>Clinical case: 72-year-old man with HFrEF*</a:t>
            </a:r>
            <a:endParaRPr lang="en-US" b="1" dirty="0"/>
          </a:p>
        </p:txBody>
      </p:sp>
      <p:sp>
        <p:nvSpPr>
          <p:cNvPr id="5" name="Slide Number Placeholder 4">
            <a:extLst>
              <a:ext uri="{FF2B5EF4-FFF2-40B4-BE49-F238E27FC236}">
                <a16:creationId xmlns:a16="http://schemas.microsoft.com/office/drawing/2014/main" id="{80C4AEF3-2146-4B1F-BD9A-E803077685B3}"/>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AF327E08-A648-4093-8F64-FEC62D4C7985}"/>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F, atrial fibrillation; bid, twice daily; BP, blood pressure; bpm, beats per minute; CAD, coronary artery disease; CKD, chronic kidney disease; ECG, electrocardiogram; eGFR, estimated glomerular filtration rate; HbA1c, glycated hemoglobin; HF, heart failure; HFrEF, heart failure with reduced ejection fraction; HR, heart rate; ICD, implantable cardioverter defibrillator; LVEF, left ventricular ejection fraction; MI, myocardial infarction;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MR, mitral regurgitation;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NT-proBNP, N-terminal pro-brain natriuretic peptide; od, once daily; s.p., status post; T2D type 2 diabetes;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TR, tricuspid regurgitation.</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2" name="Table 6">
            <a:extLst>
              <a:ext uri="{FF2B5EF4-FFF2-40B4-BE49-F238E27FC236}">
                <a16:creationId xmlns:a16="http://schemas.microsoft.com/office/drawing/2014/main" id="{2A271869-C4E7-4C23-8061-EDE1E8E3BD48}"/>
              </a:ext>
            </a:extLst>
          </p:cNvPr>
          <p:cNvGraphicFramePr>
            <a:graphicFrameLocks/>
          </p:cNvGraphicFramePr>
          <p:nvPr/>
        </p:nvGraphicFramePr>
        <p:xfrm>
          <a:off x="7981038" y="1412874"/>
          <a:ext cx="2916957" cy="3080705"/>
        </p:xfrm>
        <a:graphic>
          <a:graphicData uri="http://schemas.openxmlformats.org/drawingml/2006/table">
            <a:tbl>
              <a:tblPr firstRow="1" bandRow="1">
                <a:tableStyleId>{74C1A8A3-306A-4EB7-A6B1-4F7E0EB9C5D6}</a:tableStyleId>
              </a:tblPr>
              <a:tblGrid>
                <a:gridCol w="1751366">
                  <a:extLst>
                    <a:ext uri="{9D8B030D-6E8A-4147-A177-3AD203B41FA5}">
                      <a16:colId xmlns:a16="http://schemas.microsoft.com/office/drawing/2014/main" val="447229383"/>
                    </a:ext>
                  </a:extLst>
                </a:gridCol>
                <a:gridCol w="1165591">
                  <a:extLst>
                    <a:ext uri="{9D8B030D-6E8A-4147-A177-3AD203B41FA5}">
                      <a16:colId xmlns:a16="http://schemas.microsoft.com/office/drawing/2014/main" val="3793298042"/>
                    </a:ext>
                  </a:extLst>
                </a:gridCol>
              </a:tblGrid>
              <a:tr h="75251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r>
                        <a:rPr lang="en-US" sz="1200" noProof="0" dirty="0"/>
                        <a:t>HF medications</a:t>
                      </a:r>
                    </a:p>
                    <a:p>
                      <a:pPr marL="0"/>
                      <a:r>
                        <a:rPr lang="en-US" sz="1200" u="sng" noProof="0" dirty="0"/>
                        <a:t>at hospital admission</a:t>
                      </a:r>
                      <a:endParaRPr lang="en-US" sz="1200" b="1" u="sng" kern="1200" noProof="0" dirty="0">
                        <a:solidFill>
                          <a:schemeClr val="bg1"/>
                        </a:solidFill>
                        <a:latin typeface="Arial" panose="020B0604020202020204"/>
                        <a:ea typeface="+mn-ea"/>
                        <a:cs typeface="+mn-cs"/>
                      </a:endParaRPr>
                    </a:p>
                  </a:txBody>
                  <a:tcPr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t>Dose</a:t>
                      </a:r>
                      <a:endParaRPr lang="en-US" sz="1200" b="1" noProof="0" dirty="0">
                        <a:solidFill>
                          <a:schemeClr val="bg1"/>
                        </a:solidFill>
                        <a:latin typeface="+mj-lt"/>
                      </a:endParaRPr>
                    </a:p>
                  </a:txBody>
                  <a:tcPr marL="60960" marR="60960" marT="60960" marB="60960" anchor="ctr"/>
                </a:tc>
                <a:extLst>
                  <a:ext uri="{0D108BD9-81ED-4DB2-BD59-A6C34878D82A}">
                    <a16:rowId xmlns:a16="http://schemas.microsoft.com/office/drawing/2014/main" val="2669082152"/>
                  </a:ext>
                </a:extLst>
              </a:tr>
              <a:tr h="46563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Aspirin </a:t>
                      </a:r>
                    </a:p>
                  </a:txBody>
                  <a:tcPr anchor="ctr"/>
                </a:tc>
                <a:tc>
                  <a:txBody>
                    <a:bodyPr/>
                    <a:lstStyle/>
                    <a:p>
                      <a:pPr algn="ct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100 mg od</a:t>
                      </a:r>
                    </a:p>
                  </a:txBody>
                  <a:tcPr marL="60960" marR="60960" marT="60960" marB="60960" anchor="ctr"/>
                </a:tc>
                <a:extLst>
                  <a:ext uri="{0D108BD9-81ED-4DB2-BD59-A6C34878D82A}">
                    <a16:rowId xmlns:a16="http://schemas.microsoft.com/office/drawing/2014/main" val="1401161199"/>
                  </a:ext>
                </a:extLst>
              </a:tr>
              <a:tr h="46563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Sacubitril/valsartan</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49/51 mg bid </a:t>
                      </a:r>
                      <a:endParaRPr lang="en-US" sz="1200" b="0" i="0" u="none" strike="noStrike" baseline="0" noProof="0" dirty="0">
                        <a:solidFill>
                          <a:schemeClr val="tx1"/>
                        </a:solidFill>
                        <a:latin typeface="+mj-lt"/>
                      </a:endParaRPr>
                    </a:p>
                  </a:txBody>
                  <a:tcPr marL="60960" marR="60960" marT="60960" marB="60960" anchor="ctr"/>
                </a:tc>
                <a:extLst>
                  <a:ext uri="{0D108BD9-81ED-4DB2-BD59-A6C34878D82A}">
                    <a16:rowId xmlns:a16="http://schemas.microsoft.com/office/drawing/2014/main" val="1677165708"/>
                  </a:ext>
                </a:extLst>
              </a:tr>
              <a:tr h="46563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Bisoprolol</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2.5 mg bid</a:t>
                      </a:r>
                      <a:endParaRPr lang="en-US" sz="1200" b="0" i="0" u="none" strike="noStrike" baseline="0" noProof="0" dirty="0">
                        <a:solidFill>
                          <a:schemeClr val="tx1"/>
                        </a:solidFill>
                        <a:latin typeface="+mj-lt"/>
                      </a:endParaRPr>
                    </a:p>
                  </a:txBody>
                  <a:tcPr marL="60960" marR="60960" marT="60960" marB="60960" anchor="ctr"/>
                </a:tc>
                <a:extLst>
                  <a:ext uri="{0D108BD9-81ED-4DB2-BD59-A6C34878D82A}">
                    <a16:rowId xmlns:a16="http://schemas.microsoft.com/office/drawing/2014/main" val="323996343"/>
                  </a:ext>
                </a:extLst>
              </a:tr>
              <a:tr h="46563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Torasemide</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20 mg od</a:t>
                      </a:r>
                      <a:endParaRPr lang="en-US" sz="1200" b="0" i="0" u="none" strike="noStrike" baseline="0" noProof="0" dirty="0">
                        <a:solidFill>
                          <a:schemeClr val="tx1"/>
                        </a:solidFill>
                        <a:latin typeface="+mj-lt"/>
                      </a:endParaRPr>
                    </a:p>
                  </a:txBody>
                  <a:tcPr marL="60960" marR="60960" marT="60960" marB="60960" anchor="ctr"/>
                </a:tc>
                <a:extLst>
                  <a:ext uri="{0D108BD9-81ED-4DB2-BD59-A6C34878D82A}">
                    <a16:rowId xmlns:a16="http://schemas.microsoft.com/office/drawing/2014/main" val="420605132"/>
                  </a:ext>
                </a:extLst>
              </a:tr>
              <a:tr h="46563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Atorvastatin</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40 mg od</a:t>
                      </a:r>
                      <a:endParaRPr lang="en-US" sz="1200" b="0" i="0" u="none" strike="noStrike" baseline="0" noProof="0" dirty="0">
                        <a:solidFill>
                          <a:schemeClr val="tx1"/>
                        </a:solidFill>
                        <a:latin typeface="+mj-lt"/>
                      </a:endParaRPr>
                    </a:p>
                  </a:txBody>
                  <a:tcPr marL="60960" marR="60960" marT="60960" marB="60960" anchor="ctr"/>
                </a:tc>
                <a:extLst>
                  <a:ext uri="{0D108BD9-81ED-4DB2-BD59-A6C34878D82A}">
                    <a16:rowId xmlns:a16="http://schemas.microsoft.com/office/drawing/2014/main" val="90216726"/>
                  </a:ext>
                </a:extLst>
              </a:tr>
            </a:tbl>
          </a:graphicData>
        </a:graphic>
      </p:graphicFrame>
      <p:sp>
        <p:nvSpPr>
          <p:cNvPr id="7" name="Content Placeholder 6">
            <a:extLst>
              <a:ext uri="{FF2B5EF4-FFF2-40B4-BE49-F238E27FC236}">
                <a16:creationId xmlns:a16="http://schemas.microsoft.com/office/drawing/2014/main" id="{9E50D684-FC27-48E7-A9A3-D71B2A48EF9A}"/>
              </a:ext>
            </a:extLst>
          </p:cNvPr>
          <p:cNvSpPr>
            <a:spLocks noGrp="1"/>
          </p:cNvSpPr>
          <p:nvPr>
            <p:ph sz="quarter" idx="13"/>
          </p:nvPr>
        </p:nvSpPr>
        <p:spPr/>
        <p:txBody>
          <a:bodyPr/>
          <a:lstStyle/>
          <a:p>
            <a:endParaRPr lang="en-US" dirty="0"/>
          </a:p>
        </p:txBody>
      </p:sp>
      <p:sp>
        <p:nvSpPr>
          <p:cNvPr id="17" name="Content Placeholder 1">
            <a:extLst>
              <a:ext uri="{FF2B5EF4-FFF2-40B4-BE49-F238E27FC236}">
                <a16:creationId xmlns:a16="http://schemas.microsoft.com/office/drawing/2014/main" id="{1D47A317-890D-4B8A-89E6-A830AD7A9FE8}"/>
              </a:ext>
            </a:extLst>
          </p:cNvPr>
          <p:cNvSpPr txBox="1">
            <a:spLocks/>
          </p:cNvSpPr>
          <p:nvPr/>
        </p:nvSpPr>
        <p:spPr>
          <a:xfrm>
            <a:off x="596710" y="1412875"/>
            <a:ext cx="3264090" cy="4670291"/>
          </a:xfrm>
          <a:prstGeom prst="rect">
            <a:avLst/>
          </a:prstGeom>
          <a:solidFill>
            <a:schemeClr val="bg1">
              <a:lumMod val="95000"/>
            </a:schemeClr>
          </a:solidFill>
          <a:ln w="28575">
            <a:solidFill>
              <a:schemeClr val="accent1"/>
            </a:solidFill>
          </a:ln>
        </p:spPr>
        <p:txBody>
          <a:bodyPr vert="horz" lIns="91440" tIns="144000" rIns="9000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atient was diagnosed with ischemic cardiomyopathy, s.p. anterior MI and stable HFrEF in 2013</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 2020, he was hospitalized following a worsening HF event and fitted with an ICD</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urrently admitted to hospital following a worsening HF event after experiencing progressive dyspnea, progressive peripheral edema and weight gain</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He has CAD, T2D, hypertension, dyslipidemia and CKD</a:t>
            </a:r>
          </a:p>
        </p:txBody>
      </p:sp>
      <p:pic>
        <p:nvPicPr>
          <p:cNvPr id="18" name="Graphic 17" descr="Male profile">
            <a:extLst>
              <a:ext uri="{FF2B5EF4-FFF2-40B4-BE49-F238E27FC236}">
                <a16:creationId xmlns:a16="http://schemas.microsoft.com/office/drawing/2014/main" id="{F9AA6A48-FC7C-4C02-997B-1FBCD636EA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97919" y="1405519"/>
            <a:ext cx="1651087" cy="1651087"/>
          </a:xfrm>
          <a:prstGeom prst="rect">
            <a:avLst/>
          </a:prstGeom>
        </p:spPr>
      </p:pic>
      <p:grpSp>
        <p:nvGrpSpPr>
          <p:cNvPr id="19" name="Group 18">
            <a:extLst>
              <a:ext uri="{FF2B5EF4-FFF2-40B4-BE49-F238E27FC236}">
                <a16:creationId xmlns:a16="http://schemas.microsoft.com/office/drawing/2014/main" id="{0623CB65-95EC-42E8-AE3C-FF03DB3D1484}"/>
              </a:ext>
            </a:extLst>
          </p:cNvPr>
          <p:cNvGrpSpPr/>
          <p:nvPr/>
        </p:nvGrpSpPr>
        <p:grpSpPr>
          <a:xfrm>
            <a:off x="440192" y="1412874"/>
            <a:ext cx="1747837" cy="919907"/>
            <a:chOff x="4702870" y="1271726"/>
            <a:chExt cx="1262199" cy="591075"/>
          </a:xfrm>
        </p:grpSpPr>
        <p:sp>
          <p:nvSpPr>
            <p:cNvPr id="20" name="Parallelogram 19">
              <a:extLst>
                <a:ext uri="{FF2B5EF4-FFF2-40B4-BE49-F238E27FC236}">
                  <a16:creationId xmlns:a16="http://schemas.microsoft.com/office/drawing/2014/main" id="{5038AE76-D4F5-40D4-B4A5-F81C6A47A1DF}"/>
                </a:ext>
              </a:extLst>
            </p:cNvPr>
            <p:cNvSpPr/>
            <p:nvPr/>
          </p:nvSpPr>
          <p:spPr>
            <a:xfrm rot="5400000">
              <a:off x="4525057" y="1544885"/>
              <a:ext cx="476679" cy="121053"/>
            </a:xfrm>
            <a:prstGeom prst="parallelogram">
              <a:avLst>
                <a:gd name="adj" fmla="val 47451"/>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 name="Right Arrow 3">
              <a:extLst>
                <a:ext uri="{FF2B5EF4-FFF2-40B4-BE49-F238E27FC236}">
                  <a16:creationId xmlns:a16="http://schemas.microsoft.com/office/drawing/2014/main" id="{554FB2BD-AEE7-4311-A770-4645B070629A}"/>
                </a:ext>
              </a:extLst>
            </p:cNvPr>
            <p:cNvSpPr/>
            <p:nvPr/>
          </p:nvSpPr>
          <p:spPr>
            <a:xfrm>
              <a:off x="4702871" y="1271726"/>
              <a:ext cx="1262198" cy="591075"/>
            </a:xfrm>
            <a:prstGeom prst="rightArrow">
              <a:avLst>
                <a:gd name="adj1" fmla="val 6924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Brief medical history</a:t>
              </a:r>
            </a:p>
          </p:txBody>
        </p:sp>
      </p:grpSp>
      <p:graphicFrame>
        <p:nvGraphicFramePr>
          <p:cNvPr id="22" name="Table 6">
            <a:extLst>
              <a:ext uri="{FF2B5EF4-FFF2-40B4-BE49-F238E27FC236}">
                <a16:creationId xmlns:a16="http://schemas.microsoft.com/office/drawing/2014/main" id="{FBC7E125-EF44-4275-B140-4BF996901878}"/>
              </a:ext>
            </a:extLst>
          </p:cNvPr>
          <p:cNvGraphicFramePr>
            <a:graphicFrameLocks/>
          </p:cNvGraphicFramePr>
          <p:nvPr/>
        </p:nvGraphicFramePr>
        <p:xfrm>
          <a:off x="4001810" y="1412874"/>
          <a:ext cx="3857825" cy="4789619"/>
        </p:xfrm>
        <a:graphic>
          <a:graphicData uri="http://schemas.openxmlformats.org/drawingml/2006/table">
            <a:tbl>
              <a:tblPr firstRow="1" bandRow="1">
                <a:tableStyleId>{74C1A8A3-306A-4EB7-A6B1-4F7E0EB9C5D6}</a:tableStyleId>
              </a:tblPr>
              <a:tblGrid>
                <a:gridCol w="1828510">
                  <a:extLst>
                    <a:ext uri="{9D8B030D-6E8A-4147-A177-3AD203B41FA5}">
                      <a16:colId xmlns:a16="http://schemas.microsoft.com/office/drawing/2014/main" val="447229383"/>
                    </a:ext>
                  </a:extLst>
                </a:gridCol>
                <a:gridCol w="2029315">
                  <a:extLst>
                    <a:ext uri="{9D8B030D-6E8A-4147-A177-3AD203B41FA5}">
                      <a16:colId xmlns:a16="http://schemas.microsoft.com/office/drawing/2014/main" val="3999715125"/>
                    </a:ext>
                  </a:extLst>
                </a:gridCol>
              </a:tblGrid>
              <a:tr h="750612">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r>
                        <a:rPr lang="en-US" sz="1200" noProof="0" dirty="0"/>
                        <a:t>Clinical investigations and laboratory tests</a:t>
                      </a:r>
                      <a:br>
                        <a:rPr lang="en-US" sz="1200" noProof="0" dirty="0"/>
                      </a:br>
                      <a:r>
                        <a:rPr lang="en-US" sz="1200" u="sng" noProof="0" dirty="0"/>
                        <a:t>at hospital admission</a:t>
                      </a:r>
                      <a:endParaRPr lang="en-US" sz="1200" b="1" u="sng" kern="1200" noProof="0" dirty="0">
                        <a:solidFill>
                          <a:schemeClr val="bg1"/>
                        </a:solidFill>
                        <a:latin typeface="Arial" panose="020B0604020202020204"/>
                        <a:ea typeface="+mn-ea"/>
                        <a:cs typeface="+mn-cs"/>
                      </a:endParaRPr>
                    </a:p>
                  </a:txBody>
                  <a:tcPr anchor="ctr"/>
                </a:tc>
                <a:tc>
                  <a:txBody>
                    <a:bodyPr/>
                    <a:lstStyle/>
                    <a:p>
                      <a:pPr algn="ctr"/>
                      <a:r>
                        <a:rPr lang="en-US" sz="1200" noProof="0" dirty="0"/>
                        <a:t>Findings</a:t>
                      </a:r>
                    </a:p>
                  </a:txBody>
                  <a:tcPr anchor="ctr"/>
                </a:tc>
                <a:extLst>
                  <a:ext uri="{0D108BD9-81ED-4DB2-BD59-A6C34878D82A}">
                    <a16:rowId xmlns:a16="http://schemas.microsoft.com/office/drawing/2014/main" val="2669082152"/>
                  </a:ext>
                </a:extLst>
              </a:tr>
              <a:tr h="53615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b="0" i="0" u="none" strike="noStrike" baseline="0" noProof="0" dirty="0">
                          <a:solidFill>
                            <a:schemeClr val="tx1"/>
                          </a:solidFill>
                          <a:latin typeface="+mj-lt"/>
                        </a:rPr>
                        <a:t>Vital signs</a:t>
                      </a:r>
                    </a:p>
                  </a:txBody>
                  <a:tcPr anchor="ctr"/>
                </a:tc>
                <a:tc>
                  <a:txBody>
                    <a:bodyPr/>
                    <a:lstStyle/>
                    <a:p>
                      <a:pPr marL="171450" indent="-171450" algn="l">
                        <a:buClr>
                          <a:schemeClr val="accent4"/>
                        </a:buClr>
                        <a:buFont typeface="Arial" panose="020B0604020202020204" pitchFamily="34" charset="0"/>
                        <a:buChar char="•"/>
                      </a:pPr>
                      <a:r>
                        <a:rPr lang="en-US" sz="1200" b="0" i="0" u="none" strike="noStrike" baseline="0" noProof="0" dirty="0">
                          <a:solidFill>
                            <a:schemeClr val="tx1"/>
                          </a:solidFill>
                          <a:latin typeface="+mj-lt"/>
                        </a:rPr>
                        <a:t>BP: 100/75 mmHg</a:t>
                      </a:r>
                    </a:p>
                    <a:p>
                      <a:pPr marL="171450" indent="-171450" algn="l">
                        <a:buClr>
                          <a:schemeClr val="accent4"/>
                        </a:buClr>
                        <a:buFont typeface="Arial" panose="020B0604020202020204" pitchFamily="34" charset="0"/>
                        <a:buChar char="•"/>
                      </a:pPr>
                      <a:r>
                        <a:rPr lang="en-US" sz="1200" b="0" i="0" u="none" strike="noStrike" baseline="0" noProof="0" dirty="0">
                          <a:solidFill>
                            <a:schemeClr val="tx1"/>
                          </a:solidFill>
                          <a:latin typeface="+mj-lt"/>
                        </a:rPr>
                        <a:t>HR: 85 bpm (irregular)</a:t>
                      </a:r>
                    </a:p>
                  </a:txBody>
                  <a:tcPr marL="0" anchor="ctr"/>
                </a:tc>
                <a:extLst>
                  <a:ext uri="{0D108BD9-81ED-4DB2-BD59-A6C34878D82A}">
                    <a16:rowId xmlns:a16="http://schemas.microsoft.com/office/drawing/2014/main" val="1677165708"/>
                  </a:ext>
                </a:extLst>
              </a:tr>
              <a:tr h="75061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b="0" i="0" u="none" strike="noStrike" baseline="0" noProof="0" dirty="0">
                          <a:solidFill>
                            <a:schemeClr val="tx1"/>
                          </a:solidFill>
                          <a:latin typeface="+mj-lt"/>
                        </a:rPr>
                        <a:t>ECG</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
                          <a:schemeClr val="accent4"/>
                        </a:buClr>
                        <a:buSzTx/>
                        <a:buFont typeface="Arial" panose="020B0604020202020204" pitchFamily="34" charset="0"/>
                        <a:buChar char="•"/>
                        <a:tabLst/>
                        <a:defRPr/>
                      </a:pPr>
                      <a:r>
                        <a:rPr lang="en-US" sz="1200" b="0" i="0" u="none" strike="noStrike" baseline="0" noProof="0" dirty="0">
                          <a:solidFill>
                            <a:schemeClr val="tx1"/>
                          </a:solidFill>
                          <a:latin typeface="+mj-lt"/>
                        </a:rPr>
                        <a:t>AF</a:t>
                      </a:r>
                    </a:p>
                    <a:p>
                      <a:pPr marL="171450" marR="0" lvl="0" indent="-171450" algn="l" defTabSz="914400" rtl="0" eaLnBrk="1" fontAlgn="auto" latinLnBrk="0" hangingPunct="1">
                        <a:lnSpc>
                          <a:spcPct val="100000"/>
                        </a:lnSpc>
                        <a:spcBef>
                          <a:spcPts val="0"/>
                        </a:spcBef>
                        <a:spcAft>
                          <a:spcPts val="0"/>
                        </a:spcAft>
                        <a:buClr>
                          <a:schemeClr val="accent4"/>
                        </a:buClr>
                        <a:buSzTx/>
                        <a:buFont typeface="Arial" panose="020B0604020202020204" pitchFamily="34" charset="0"/>
                        <a:buChar char="•"/>
                        <a:tabLst/>
                        <a:defRPr/>
                      </a:pPr>
                      <a:r>
                        <a:rPr lang="en-US" sz="1200" b="0" i="0" u="none" strike="noStrike" baseline="0" noProof="0" dirty="0">
                          <a:solidFill>
                            <a:schemeClr val="tx1"/>
                          </a:solidFill>
                          <a:latin typeface="+mj-lt"/>
                        </a:rPr>
                        <a:t>HR: 84 bpm</a:t>
                      </a:r>
                    </a:p>
                    <a:p>
                      <a:pPr marL="171450" marR="0" lvl="0" indent="-171450" algn="l" defTabSz="914400" rtl="0" eaLnBrk="1" fontAlgn="auto" latinLnBrk="0" hangingPunct="1">
                        <a:lnSpc>
                          <a:spcPct val="100000"/>
                        </a:lnSpc>
                        <a:spcBef>
                          <a:spcPts val="0"/>
                        </a:spcBef>
                        <a:spcAft>
                          <a:spcPts val="0"/>
                        </a:spcAft>
                        <a:buClr>
                          <a:schemeClr val="accent4"/>
                        </a:buClr>
                        <a:buSzTx/>
                        <a:buFont typeface="Arial" panose="020B0604020202020204" pitchFamily="34" charset="0"/>
                        <a:buChar char="•"/>
                        <a:tabLst/>
                        <a:defRPr/>
                      </a:pPr>
                      <a:r>
                        <a:rPr lang="en-US" sz="1200" b="0" i="0" u="none" strike="noStrike" baseline="0" noProof="0" dirty="0">
                          <a:solidFill>
                            <a:schemeClr val="tx1"/>
                          </a:solidFill>
                          <a:latin typeface="+mj-lt"/>
                        </a:rPr>
                        <a:t>No signs of acute ischemia </a:t>
                      </a:r>
                    </a:p>
                  </a:txBody>
                  <a:tcPr marL="0" marR="0" anchor="ctr"/>
                </a:tc>
                <a:extLst>
                  <a:ext uri="{0D108BD9-81ED-4DB2-BD59-A6C34878D82A}">
                    <a16:rowId xmlns:a16="http://schemas.microsoft.com/office/drawing/2014/main" val="323996343"/>
                  </a:ext>
                </a:extLst>
              </a:tr>
              <a:tr h="96507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b="0" i="0" u="none" strike="noStrike" baseline="0" noProof="0" dirty="0">
                          <a:solidFill>
                            <a:schemeClr val="tx1"/>
                          </a:solidFill>
                          <a:latin typeface="+mj-lt"/>
                        </a:rPr>
                        <a:t>Echocardiography</a:t>
                      </a:r>
                    </a:p>
                  </a:txBody>
                  <a:tcPr anchor="ctr"/>
                </a:tc>
                <a:tc>
                  <a:txBody>
                    <a:bodyPr/>
                    <a:lstStyle/>
                    <a:p>
                      <a:pPr marL="171450" indent="-171450" algn="l">
                        <a:buClr>
                          <a:schemeClr val="accent4"/>
                        </a:buClr>
                        <a:buFont typeface="Arial" panose="020B0604020202020204" pitchFamily="34" charset="0"/>
                        <a:buChar char="•"/>
                      </a:pPr>
                      <a:r>
                        <a:rPr lang="en-US" sz="1200" b="0" i="0" u="none" strike="noStrike" baseline="0" noProof="0" dirty="0">
                          <a:solidFill>
                            <a:schemeClr val="tx1"/>
                          </a:solidFill>
                          <a:latin typeface="+mj-lt"/>
                        </a:rPr>
                        <a:t>LVEF: 30%</a:t>
                      </a:r>
                    </a:p>
                    <a:p>
                      <a:pPr marL="171450" indent="-171450" algn="l">
                        <a:buClr>
                          <a:schemeClr val="accent4"/>
                        </a:buClr>
                        <a:buFont typeface="Arial" panose="020B0604020202020204" pitchFamily="34" charset="0"/>
                        <a:buChar char="•"/>
                      </a:pPr>
                      <a:r>
                        <a:rPr lang="en-US" sz="1200" b="0" i="0" u="none" strike="noStrike" baseline="0" noProof="0" dirty="0">
                          <a:solidFill>
                            <a:schemeClr val="tx1"/>
                          </a:solidFill>
                          <a:latin typeface="+mj-lt"/>
                        </a:rPr>
                        <a:t>Anterior wall dyskinesia</a:t>
                      </a:r>
                    </a:p>
                    <a:p>
                      <a:pPr marL="171450" indent="-171450" algn="l">
                        <a:buClr>
                          <a:schemeClr val="accent4"/>
                        </a:buClr>
                        <a:buFont typeface="Arial" panose="020B0604020202020204" pitchFamily="34" charset="0"/>
                        <a:buChar char="•"/>
                      </a:pPr>
                      <a:r>
                        <a:rPr lang="en-US" sz="1200" b="0" i="0" u="none" strike="noStrike" baseline="0" noProof="0" dirty="0">
                          <a:solidFill>
                            <a:schemeClr val="tx1"/>
                          </a:solidFill>
                          <a:latin typeface="+mj-lt"/>
                        </a:rPr>
                        <a:t>Moderate functional MR and TR</a:t>
                      </a:r>
                    </a:p>
                  </a:txBody>
                  <a:tcPr marL="0" anchor="ctr"/>
                </a:tc>
                <a:extLst>
                  <a:ext uri="{0D108BD9-81ED-4DB2-BD59-A6C34878D82A}">
                    <a16:rowId xmlns:a16="http://schemas.microsoft.com/office/drawing/2014/main" val="4047705455"/>
                  </a:ext>
                </a:extLst>
              </a:tr>
              <a:tr h="357434">
                <a:tc>
                  <a:txBody>
                    <a:bodyPr/>
                    <a:lstStyle/>
                    <a:p>
                      <a:pPr algn="l"/>
                      <a:r>
                        <a:rPr lang="en-US" sz="1200" b="0" i="0" u="none" strike="noStrike" baseline="0" noProof="0" dirty="0">
                          <a:solidFill>
                            <a:schemeClr val="tx1"/>
                          </a:solidFill>
                          <a:latin typeface="+mj-lt"/>
                        </a:rPr>
                        <a:t>HbA1c, %</a:t>
                      </a:r>
                    </a:p>
                  </a:txBody>
                  <a:tcPr anchor="ctr"/>
                </a:tc>
                <a:tc>
                  <a:txBody>
                    <a:bodyPr/>
                    <a:lstStyle/>
                    <a:p>
                      <a:pPr algn="ctr"/>
                      <a:r>
                        <a:rPr lang="en-US" sz="1200" b="0" i="0" u="none" strike="noStrike" baseline="0" noProof="0" dirty="0">
                          <a:solidFill>
                            <a:schemeClr val="tx1"/>
                          </a:solidFill>
                          <a:latin typeface="+mj-lt"/>
                        </a:rPr>
                        <a:t>7.2</a:t>
                      </a:r>
                    </a:p>
                  </a:txBody>
                  <a:tcPr marL="60960" marR="60960" marT="60960" marB="60960" anchor="ctr"/>
                </a:tc>
                <a:extLst>
                  <a:ext uri="{0D108BD9-81ED-4DB2-BD59-A6C34878D82A}">
                    <a16:rowId xmlns:a16="http://schemas.microsoft.com/office/drawing/2014/main" val="4160545072"/>
                  </a:ext>
                </a:extLst>
              </a:tr>
              <a:tr h="35743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b="0" i="0" u="none" strike="noStrike" baseline="0" noProof="0" dirty="0">
                          <a:solidFill>
                            <a:schemeClr val="tx1"/>
                          </a:solidFill>
                          <a:latin typeface="+mj-lt"/>
                        </a:rPr>
                        <a:t>Creatinine, </a:t>
                      </a:r>
                      <a:r>
                        <a:rPr lang="en-US" sz="1200" u="none" strike="noStrike" kern="1200" baseline="0" dirty="0">
                          <a:solidFill>
                            <a:schemeClr val="tx1"/>
                          </a:solidFill>
                          <a:latin typeface="Arial" panose="020B0604020202020204" pitchFamily="34" charset="0"/>
                          <a:cs typeface="Arial" panose="020B0604020202020204" pitchFamily="34" charset="0"/>
                        </a:rPr>
                        <a:t>mg/dl</a:t>
                      </a:r>
                      <a:endParaRPr lang="en-US" sz="1200" b="0" i="0" u="none" strike="noStrike" baseline="0" noProof="0" dirty="0">
                        <a:solidFill>
                          <a:schemeClr val="tx1"/>
                        </a:solidFill>
                        <a:latin typeface="+mj-lt"/>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noProof="0" dirty="0">
                          <a:solidFill>
                            <a:schemeClr val="tx1"/>
                          </a:solidFill>
                          <a:latin typeface="Arial" panose="020B0604020202020204"/>
                          <a:ea typeface="+mn-ea"/>
                          <a:cs typeface="+mn-cs"/>
                        </a:rPr>
                        <a:t>1.6</a:t>
                      </a:r>
                    </a:p>
                  </a:txBody>
                  <a:tcPr marL="60960" marR="60960" marT="60960" marB="60960" anchor="ctr"/>
                </a:tc>
                <a:extLst>
                  <a:ext uri="{0D108BD9-81ED-4DB2-BD59-A6C34878D82A}">
                    <a16:rowId xmlns:a16="http://schemas.microsoft.com/office/drawing/2014/main" val="2357980223"/>
                  </a:ext>
                </a:extLst>
              </a:tr>
              <a:tr h="357434">
                <a:tc>
                  <a:txBody>
                    <a:bodyPr/>
                    <a:lstStyle/>
                    <a:p>
                      <a:pPr algn="l"/>
                      <a:r>
                        <a:rPr lang="en-US" sz="1200" b="0" i="0" u="none" strike="noStrike" baseline="0" noProof="0" dirty="0">
                          <a:solidFill>
                            <a:schemeClr val="tx1"/>
                          </a:solidFill>
                          <a:latin typeface="+mj-lt"/>
                        </a:rPr>
                        <a:t>eGFR, ml/min/1.73 m</a:t>
                      </a:r>
                      <a:r>
                        <a:rPr lang="en-US" sz="1200" b="0" i="0" u="none" strike="noStrike" baseline="30000" noProof="0" dirty="0">
                          <a:solidFill>
                            <a:schemeClr val="tx1"/>
                          </a:solidFill>
                          <a:latin typeface="+mj-lt"/>
                        </a:rPr>
                        <a:t>2</a:t>
                      </a:r>
                      <a:endParaRPr lang="en-US" sz="1200" b="0" i="0" u="none" strike="noStrike" baseline="0" noProof="0" dirty="0">
                        <a:solidFill>
                          <a:schemeClr val="tx1"/>
                        </a:solidFill>
                        <a:latin typeface="+mj-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noProof="0" dirty="0">
                          <a:solidFill>
                            <a:schemeClr val="tx1"/>
                          </a:solidFill>
                          <a:latin typeface="Arial" panose="020B0604020202020204"/>
                          <a:ea typeface="+mn-ea"/>
                          <a:cs typeface="+mn-cs"/>
                        </a:rPr>
                        <a:t>43</a:t>
                      </a:r>
                    </a:p>
                  </a:txBody>
                  <a:tcPr marL="60960" marR="60960" marT="60960" marB="60960" anchor="ctr"/>
                </a:tc>
                <a:extLst>
                  <a:ext uri="{0D108BD9-81ED-4DB2-BD59-A6C34878D82A}">
                    <a16:rowId xmlns:a16="http://schemas.microsoft.com/office/drawing/2014/main" val="918117602"/>
                  </a:ext>
                </a:extLst>
              </a:tr>
              <a:tr h="3574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noProof="0" dirty="0">
                          <a:solidFill>
                            <a:schemeClr val="tx1"/>
                          </a:solidFill>
                          <a:latin typeface="+mj-lt"/>
                        </a:rPr>
                        <a:t>Potassium, </a:t>
                      </a:r>
                      <a:r>
                        <a:rPr lang="en-US" sz="1200" dirty="0">
                          <a:solidFill>
                            <a:schemeClr val="tx1"/>
                          </a:solidFill>
                          <a:latin typeface="Arial" panose="020B0604020202020204" pitchFamily="34" charset="0"/>
                          <a:cs typeface="Arial" panose="020B0604020202020204" pitchFamily="34" charset="0"/>
                        </a:rPr>
                        <a:t>nmol/l</a:t>
                      </a:r>
                      <a:endParaRPr lang="en-GB"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noProof="0" dirty="0">
                          <a:solidFill>
                            <a:schemeClr val="tx1"/>
                          </a:solidFill>
                          <a:latin typeface="Arial" panose="020B0604020202020204"/>
                          <a:ea typeface="+mn-ea"/>
                          <a:cs typeface="+mn-cs"/>
                        </a:rPr>
                        <a:t>4.9</a:t>
                      </a:r>
                    </a:p>
                  </a:txBody>
                  <a:tcPr marL="60960" marR="60960" marT="60960" marB="60960" anchor="ctr"/>
                </a:tc>
                <a:extLst>
                  <a:ext uri="{0D108BD9-81ED-4DB2-BD59-A6C34878D82A}">
                    <a16:rowId xmlns:a16="http://schemas.microsoft.com/office/drawing/2014/main" val="776512559"/>
                  </a:ext>
                </a:extLst>
              </a:tr>
              <a:tr h="357434">
                <a:tc>
                  <a:txBody>
                    <a:bodyPr/>
                    <a:lstStyle/>
                    <a:p>
                      <a:pPr algn="l"/>
                      <a:r>
                        <a:rPr lang="en-US" sz="1200" b="0" i="0" u="none" strike="noStrike" baseline="0" noProof="0" dirty="0">
                          <a:solidFill>
                            <a:schemeClr val="tx1"/>
                          </a:solidFill>
                          <a:latin typeface="+mj-lt"/>
                        </a:rPr>
                        <a:t>NT-proBNP, pg/m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noProof="0" dirty="0">
                          <a:solidFill>
                            <a:schemeClr val="tx1"/>
                          </a:solidFill>
                          <a:latin typeface="Arial" panose="020B0604020202020204"/>
                          <a:ea typeface="+mn-ea"/>
                          <a:cs typeface="+mn-cs"/>
                        </a:rPr>
                        <a:t>3,825</a:t>
                      </a:r>
                    </a:p>
                  </a:txBody>
                  <a:tcPr marL="60960" marR="60960" marT="60960" marB="60960" anchor="ctr"/>
                </a:tc>
                <a:extLst>
                  <a:ext uri="{0D108BD9-81ED-4DB2-BD59-A6C34878D82A}">
                    <a16:rowId xmlns:a16="http://schemas.microsoft.com/office/drawing/2014/main" val="890909976"/>
                  </a:ext>
                </a:extLst>
              </a:tr>
            </a:tbl>
          </a:graphicData>
        </a:graphic>
      </p:graphicFrame>
    </p:spTree>
    <p:extLst>
      <p:ext uri="{BB962C8B-B14F-4D97-AF65-F5344CB8AC3E}">
        <p14:creationId xmlns:p14="http://schemas.microsoft.com/office/powerpoint/2010/main" val="18623375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8AEB0C7-842E-4E06-A766-7ED1600C3DC1}"/>
              </a:ext>
            </a:extLst>
          </p:cNvPr>
          <p:cNvSpPr/>
          <p:nvPr/>
        </p:nvSpPr>
        <p:spPr>
          <a:xfrm>
            <a:off x="686499" y="2921617"/>
            <a:ext cx="9797202" cy="1014760"/>
          </a:xfrm>
          <a:prstGeom prst="roundRect">
            <a:avLst/>
          </a:prstGeom>
          <a:ln w="25400">
            <a:solidFill>
              <a:schemeClr val="accent1"/>
            </a:solidFill>
          </a:ln>
        </p:spPr>
        <p:txBody>
          <a:bodyPr wrap="square" anchor="ctr">
            <a:noAutofit/>
          </a:bodyPr>
          <a:lstStyle/>
          <a:p>
            <a:pPr marL="1254125" marR="0" lvl="0" indent="0" algn="l" defTabSz="627063" rtl="0" eaLnBrk="0" fontAlgn="base" latinLnBrk="0" hangingPunct="0">
              <a:lnSpc>
                <a:spcPts val="2500"/>
              </a:lnSpc>
              <a:spcBef>
                <a:spcPts val="900"/>
              </a:spcBef>
              <a:spcAft>
                <a:spcPts val="0"/>
              </a:spcAft>
              <a:buClrTx/>
              <a:buSzTx/>
              <a:buFontTx/>
              <a:buNone/>
              <a:tabLst/>
              <a:defRPr/>
            </a:pPr>
            <a:r>
              <a:rPr kumimoji="0" lang="en-US" sz="2400" b="0" i="0" u="none" strike="noStrike" kern="1200" cap="none" spc="0" normalizeH="0" baseline="0" noProof="0" dirty="0">
                <a:ln>
                  <a:noFill/>
                </a:ln>
                <a:solidFill>
                  <a:srgbClr val="53585A"/>
                </a:solidFill>
                <a:effectLst/>
                <a:uLnTx/>
                <a:uFillTx/>
                <a:latin typeface="Arial" panose="020B0604020202020204" pitchFamily="34" charset="0"/>
                <a:ea typeface="MS PGothic" charset="0"/>
                <a:cs typeface="Times New Roman" panose="02020603050405020304" pitchFamily="18" charset="0"/>
              </a:rPr>
              <a:t>What are your clinical considerations for this patient?</a:t>
            </a:r>
          </a:p>
          <a:p>
            <a:pPr marL="1254125" marR="0" lvl="0" indent="0" algn="l" defTabSz="627063" rtl="0" eaLnBrk="0" fontAlgn="base" latinLnBrk="0" hangingPunct="0">
              <a:lnSpc>
                <a:spcPts val="2500"/>
              </a:lnSpc>
              <a:spcBef>
                <a:spcPts val="900"/>
              </a:spcBef>
              <a:spcAft>
                <a:spcPts val="0"/>
              </a:spcAft>
              <a:buClrTx/>
              <a:buSzTx/>
              <a:buFontTx/>
              <a:buNone/>
              <a:tabLst/>
              <a:defRPr/>
            </a:pPr>
            <a:r>
              <a:rPr kumimoji="0" lang="en-US" sz="2400" b="0" i="0" u="none" strike="noStrike" kern="1200" cap="none" spc="0" normalizeH="0" baseline="0" noProof="0" dirty="0">
                <a:ln>
                  <a:noFill/>
                </a:ln>
                <a:solidFill>
                  <a:srgbClr val="53585A"/>
                </a:solidFill>
                <a:effectLst/>
                <a:uLnTx/>
                <a:uFillTx/>
                <a:latin typeface="Arial" panose="020B0604020202020204" pitchFamily="34" charset="0"/>
                <a:ea typeface="MS PGothic" charset="0"/>
                <a:cs typeface="Times New Roman" panose="02020603050405020304" pitchFamily="18" charset="0"/>
              </a:rPr>
              <a:t>How would you optimize treatment?</a:t>
            </a:r>
          </a:p>
        </p:txBody>
      </p:sp>
      <p:pic>
        <p:nvPicPr>
          <p:cNvPr id="14" name="Graphic 13" descr="Chat">
            <a:extLst>
              <a:ext uri="{FF2B5EF4-FFF2-40B4-BE49-F238E27FC236}">
                <a16:creationId xmlns:a16="http://schemas.microsoft.com/office/drawing/2014/main" id="{2F8281BB-0521-4222-9294-E91F280D6D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4531" y="2921617"/>
            <a:ext cx="1014763" cy="1014763"/>
          </a:xfrm>
          <a:prstGeom prst="rect">
            <a:avLst/>
          </a:prstGeom>
        </p:spPr>
      </p:pic>
      <p:sp>
        <p:nvSpPr>
          <p:cNvPr id="8" name="Title 1">
            <a:extLst>
              <a:ext uri="{FF2B5EF4-FFF2-40B4-BE49-F238E27FC236}">
                <a16:creationId xmlns:a16="http://schemas.microsoft.com/office/drawing/2014/main" id="{E249A3E1-41BA-43E2-941A-4F9A4A0FDDA3}"/>
              </a:ext>
            </a:extLst>
          </p:cNvPr>
          <p:cNvSpPr>
            <a:spLocks noGrp="1"/>
          </p:cNvSpPr>
          <p:nvPr>
            <p:ph type="title"/>
          </p:nvPr>
        </p:nvSpPr>
        <p:spPr/>
        <p:txBody>
          <a:bodyPr>
            <a:normAutofit/>
          </a:bodyPr>
          <a:lstStyle/>
          <a:p>
            <a:r>
              <a:rPr lang="en-GB" sz="3200"/>
              <a:t>Question for discussion</a:t>
            </a:r>
          </a:p>
        </p:txBody>
      </p:sp>
      <p:sp>
        <p:nvSpPr>
          <p:cNvPr id="3" name="Text Placeholder 2">
            <a:extLst>
              <a:ext uri="{FF2B5EF4-FFF2-40B4-BE49-F238E27FC236}">
                <a16:creationId xmlns:a16="http://schemas.microsoft.com/office/drawing/2014/main" id="{60A69382-C905-471C-9B50-AF0B3A2FD9ED}"/>
              </a:ext>
            </a:extLst>
          </p:cNvPr>
          <p:cNvSpPr>
            <a:spLocks noGrp="1"/>
          </p:cNvSpPr>
          <p:nvPr>
            <p:ph type="body" sz="quarter" idx="14"/>
          </p:nvPr>
        </p:nvSpPr>
        <p:spPr/>
        <p:txBody>
          <a:bodyPr>
            <a:normAutofit lnSpcReduction="10000"/>
          </a:bodyPr>
          <a:lstStyle/>
          <a:p>
            <a:endParaRPr lang="en-US"/>
          </a:p>
        </p:txBody>
      </p:sp>
      <p:sp>
        <p:nvSpPr>
          <p:cNvPr id="4" name="Text Placeholder 3">
            <a:extLst>
              <a:ext uri="{FF2B5EF4-FFF2-40B4-BE49-F238E27FC236}">
                <a16:creationId xmlns:a16="http://schemas.microsoft.com/office/drawing/2014/main" id="{3C00D484-56D9-4481-9404-8E9A44B55CC3}"/>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8862226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Picture 100">
            <a:extLst>
              <a:ext uri="{FF2B5EF4-FFF2-40B4-BE49-F238E27FC236}">
                <a16:creationId xmlns:a16="http://schemas.microsoft.com/office/drawing/2014/main" id="{4958800E-AE23-4B5B-9D27-49BDAB8D4ECE}"/>
              </a:ext>
            </a:extLst>
          </p:cNvPr>
          <p:cNvPicPr>
            <a:picLocks noChangeAspect="1"/>
          </p:cNvPicPr>
          <p:nvPr/>
        </p:nvPicPr>
        <p:blipFill rotWithShape="1">
          <a:blip r:embed="rId4"/>
          <a:srcRect r="48497"/>
          <a:stretch/>
        </p:blipFill>
        <p:spPr>
          <a:xfrm>
            <a:off x="1405850" y="1888043"/>
            <a:ext cx="4631308" cy="3377477"/>
          </a:xfrm>
          <a:prstGeom prst="rect">
            <a:avLst/>
          </a:prstGeom>
        </p:spPr>
      </p:pic>
      <p:pic>
        <p:nvPicPr>
          <p:cNvPr id="102" name="Picture 101">
            <a:extLst>
              <a:ext uri="{FF2B5EF4-FFF2-40B4-BE49-F238E27FC236}">
                <a16:creationId xmlns:a16="http://schemas.microsoft.com/office/drawing/2014/main" id="{007C7285-4B88-4C2B-A228-9B4C9009C63A}"/>
              </a:ext>
            </a:extLst>
          </p:cNvPr>
          <p:cNvPicPr>
            <a:picLocks noChangeAspect="1"/>
          </p:cNvPicPr>
          <p:nvPr/>
        </p:nvPicPr>
        <p:blipFill rotWithShape="1">
          <a:blip r:embed="rId5"/>
          <a:srcRect l="51587"/>
          <a:stretch/>
        </p:blipFill>
        <p:spPr>
          <a:xfrm>
            <a:off x="6037158" y="1917567"/>
            <a:ext cx="4353505" cy="3377477"/>
          </a:xfrm>
          <a:prstGeom prst="rect">
            <a:avLst/>
          </a:prstGeom>
        </p:spPr>
      </p:pic>
      <p:sp>
        <p:nvSpPr>
          <p:cNvPr id="7" name="Content Placeholder 6">
            <a:extLst>
              <a:ext uri="{FF2B5EF4-FFF2-40B4-BE49-F238E27FC236}">
                <a16:creationId xmlns:a16="http://schemas.microsoft.com/office/drawing/2014/main" id="{2AABF68B-2EE2-4EC3-A347-8C67A40F9A55}"/>
              </a:ext>
            </a:extLst>
          </p:cNvPr>
          <p:cNvSpPr>
            <a:spLocks noGrp="1"/>
          </p:cNvSpPr>
          <p:nvPr>
            <p:ph sz="quarter" idx="13"/>
          </p:nvPr>
        </p:nvSpPr>
        <p:spPr/>
        <p:txBody>
          <a:bodyPr/>
          <a:lstStyle/>
          <a:p>
            <a:endParaRPr lang="en-US" dirty="0"/>
          </a:p>
        </p:txBody>
      </p:sp>
      <p:sp>
        <p:nvSpPr>
          <p:cNvPr id="2" name="Title 1"/>
          <p:cNvSpPr>
            <a:spLocks noGrp="1"/>
          </p:cNvSpPr>
          <p:nvPr>
            <p:ph type="title"/>
          </p:nvPr>
        </p:nvSpPr>
        <p:spPr/>
        <p:txBody>
          <a:bodyPr/>
          <a:lstStyle/>
          <a:p>
            <a:r>
              <a:rPr lang="en-GB" dirty="0"/>
              <a:t>What can be done to reduce the risk of recurrent events in hospitalized patients?</a:t>
            </a:r>
            <a:r>
              <a:rPr lang="en-GB" baseline="30000" dirty="0"/>
              <a:t>1</a:t>
            </a:r>
            <a:endParaRPr lang="en-US" dirty="0"/>
          </a:p>
        </p:txBody>
      </p:sp>
      <p:sp>
        <p:nvSpPr>
          <p:cNvPr id="99" name="Slide Number Placeholder 2">
            <a:extLst>
              <a:ext uri="{FF2B5EF4-FFF2-40B4-BE49-F238E27FC236}">
                <a16:creationId xmlns:a16="http://schemas.microsoft.com/office/drawing/2014/main" id="{299480CE-C0F8-4FBF-88C5-B2171BBDDC64}"/>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100" name="Footer Placeholder 3">
            <a:extLst>
              <a:ext uri="{FF2B5EF4-FFF2-40B4-BE49-F238E27FC236}">
                <a16:creationId xmlns:a16="http://schemas.microsoft.com/office/drawing/2014/main" id="{EAEE8D1E-F5BE-4FD0-A9BA-619BF4D5410A}"/>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Figure adapted from Gheorghiade M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05.</a:t>
            </a: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Reference: 1</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Gheorghiade M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Am J Cardiol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05;96:11G–17G.</a:t>
            </a:r>
          </a:p>
        </p:txBody>
      </p:sp>
      <p:sp>
        <p:nvSpPr>
          <p:cNvPr id="59" name="TextBox 58">
            <a:extLst>
              <a:ext uri="{FF2B5EF4-FFF2-40B4-BE49-F238E27FC236}">
                <a16:creationId xmlns:a16="http://schemas.microsoft.com/office/drawing/2014/main" id="{51E9E600-4495-4E07-821A-6D150DDBC863}"/>
              </a:ext>
            </a:extLst>
          </p:cNvPr>
          <p:cNvSpPr txBox="1"/>
          <p:nvPr/>
        </p:nvSpPr>
        <p:spPr>
          <a:xfrm>
            <a:off x="5638800" y="2983831"/>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5D284F4F-675F-4137-9D62-29468AD06A4E}"/>
              </a:ext>
            </a:extLst>
          </p:cNvPr>
          <p:cNvSpPr txBox="1"/>
          <p:nvPr/>
        </p:nvSpPr>
        <p:spPr>
          <a:xfrm>
            <a:off x="1390258" y="1498823"/>
            <a:ext cx="1377252" cy="292388"/>
          </a:xfrm>
          <a:prstGeom prst="rect">
            <a:avLst/>
          </a:prstGeom>
          <a:solidFill>
            <a:schemeClr val="accent5">
              <a:lumMod val="75000"/>
            </a:schemeClr>
          </a:solidFill>
          <a:ln>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Arial"/>
                <a:ea typeface="+mn-ea"/>
                <a:cs typeface="+mn-cs"/>
              </a:rPr>
              <a:t>Initial diagnosis</a:t>
            </a:r>
          </a:p>
        </p:txBody>
      </p:sp>
      <p:sp>
        <p:nvSpPr>
          <p:cNvPr id="61" name="TextBox 60">
            <a:extLst>
              <a:ext uri="{FF2B5EF4-FFF2-40B4-BE49-F238E27FC236}">
                <a16:creationId xmlns:a16="http://schemas.microsoft.com/office/drawing/2014/main" id="{41180254-3C28-491E-ADA3-BEC77CFC2C55}"/>
              </a:ext>
            </a:extLst>
          </p:cNvPr>
          <p:cNvSpPr txBox="1"/>
          <p:nvPr/>
        </p:nvSpPr>
        <p:spPr>
          <a:xfrm rot="1162548">
            <a:off x="6289834" y="2983044"/>
            <a:ext cx="11384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a:ea typeface="+mn-ea"/>
                <a:cs typeface="+mn-cs"/>
              </a:rPr>
              <a:t>Post event </a:t>
            </a:r>
          </a:p>
        </p:txBody>
      </p:sp>
      <p:sp>
        <p:nvSpPr>
          <p:cNvPr id="69" name="Freeform 9">
            <a:extLst>
              <a:ext uri="{FF2B5EF4-FFF2-40B4-BE49-F238E27FC236}">
                <a16:creationId xmlns:a16="http://schemas.microsoft.com/office/drawing/2014/main" id="{F63F0EFA-1A9C-4823-9BA7-0823D75B0E67}"/>
              </a:ext>
            </a:extLst>
          </p:cNvPr>
          <p:cNvSpPr/>
          <p:nvPr/>
        </p:nvSpPr>
        <p:spPr>
          <a:xfrm>
            <a:off x="1897406" y="2238792"/>
            <a:ext cx="4873495" cy="1114137"/>
          </a:xfrm>
          <a:custGeom>
            <a:avLst/>
            <a:gdLst>
              <a:gd name="connsiteX0" fmla="*/ 0 w 5803900"/>
              <a:gd name="connsiteY0" fmla="*/ 1282700 h 1282700"/>
              <a:gd name="connsiteX1" fmla="*/ 1231900 w 5803900"/>
              <a:gd name="connsiteY1" fmla="*/ 25400 h 1282700"/>
              <a:gd name="connsiteX2" fmla="*/ 5803900 w 5803900"/>
              <a:gd name="connsiteY2" fmla="*/ 25400 h 1282700"/>
              <a:gd name="connsiteX3" fmla="*/ 5803900 w 5803900"/>
              <a:gd name="connsiteY3" fmla="*/ 0 h 1282700"/>
            </a:gdLst>
            <a:ahLst/>
            <a:cxnLst>
              <a:cxn ang="0">
                <a:pos x="connsiteX0" y="connsiteY0"/>
              </a:cxn>
              <a:cxn ang="0">
                <a:pos x="connsiteX1" y="connsiteY1"/>
              </a:cxn>
              <a:cxn ang="0">
                <a:pos x="connsiteX2" y="connsiteY2"/>
              </a:cxn>
              <a:cxn ang="0">
                <a:pos x="connsiteX3" y="connsiteY3"/>
              </a:cxn>
            </a:cxnLst>
            <a:rect l="l" t="t" r="r" b="b"/>
            <a:pathLst>
              <a:path w="5803900" h="1282700">
                <a:moveTo>
                  <a:pt x="0" y="1282700"/>
                </a:moveTo>
                <a:lnTo>
                  <a:pt x="1231900" y="25400"/>
                </a:lnTo>
                <a:lnTo>
                  <a:pt x="5803900" y="25400"/>
                </a:lnTo>
                <a:lnTo>
                  <a:pt x="580390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2" name="Line 17">
            <a:extLst>
              <a:ext uri="{FF2B5EF4-FFF2-40B4-BE49-F238E27FC236}">
                <a16:creationId xmlns:a16="http://schemas.microsoft.com/office/drawing/2014/main" id="{40AC53F3-EFBC-4A9A-95A5-8AAF75BAE0D9}"/>
              </a:ext>
            </a:extLst>
          </p:cNvPr>
          <p:cNvSpPr>
            <a:spLocks noChangeShapeType="1"/>
          </p:cNvSpPr>
          <p:nvPr/>
        </p:nvSpPr>
        <p:spPr bwMode="auto">
          <a:xfrm flipV="1">
            <a:off x="1330899" y="1908788"/>
            <a:ext cx="0" cy="3755930"/>
          </a:xfrm>
          <a:prstGeom prst="line">
            <a:avLst/>
          </a:prstGeom>
          <a:noFill/>
          <a:ln w="12700" cap="rnd">
            <a:solidFill>
              <a:schemeClr val="tx1"/>
            </a:solidFill>
            <a:round/>
            <a:headEnd type="none" w="med" len="med"/>
            <a:tailEnd type="none" w="med" len="med"/>
          </a:ln>
          <a:extLst>
            <a:ext uri="{909E8E84-426E-40DD-AFC4-6F175D3DCCD1}">
              <a14:hiddenFill xmlns:a14="http://schemas.microsoft.com/office/drawing/2010/main">
                <a:noFill/>
              </a14:hiddenFill>
            </a:ext>
          </a:extLst>
        </p:spPr>
        <p:txBody>
          <a:bodyPr wrap="square" lIns="91404" tIns="45708" rIns="91404" bIns="45708">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676767"/>
              </a:solidFill>
              <a:effectLst/>
              <a:uLnTx/>
              <a:uFillTx/>
              <a:latin typeface="Arial"/>
              <a:ea typeface="+mn-ea"/>
              <a:cs typeface="+mn-cs"/>
            </a:endParaRPr>
          </a:p>
        </p:txBody>
      </p:sp>
      <p:sp>
        <p:nvSpPr>
          <p:cNvPr id="73" name="Line 18">
            <a:extLst>
              <a:ext uri="{FF2B5EF4-FFF2-40B4-BE49-F238E27FC236}">
                <a16:creationId xmlns:a16="http://schemas.microsoft.com/office/drawing/2014/main" id="{68F9036A-FDE0-4CD7-8B78-8DAFF55A1AE4}"/>
              </a:ext>
            </a:extLst>
          </p:cNvPr>
          <p:cNvSpPr>
            <a:spLocks noChangeShapeType="1"/>
          </p:cNvSpPr>
          <p:nvPr/>
        </p:nvSpPr>
        <p:spPr bwMode="auto">
          <a:xfrm>
            <a:off x="1330906" y="5661696"/>
            <a:ext cx="9356886" cy="0"/>
          </a:xfrm>
          <a:prstGeom prst="line">
            <a:avLst/>
          </a:prstGeom>
          <a:noFill/>
          <a:ln w="12700">
            <a:solidFill>
              <a:schemeClr val="tx1"/>
            </a:solidFill>
            <a:round/>
            <a:headEnd type="none" w="med" len="med"/>
            <a:tailEnd type="triangle" w="med" len="med"/>
          </a:ln>
          <a:extLst>
            <a:ext uri="{909E8E84-426E-40DD-AFC4-6F175D3DCCD1}">
              <a14:hiddenFill xmlns:a14="http://schemas.microsoft.com/office/drawing/2010/main">
                <a:noFill/>
              </a14:hiddenFill>
            </a:ext>
          </a:extLst>
        </p:spPr>
        <p:txBody>
          <a:bodyPr wrap="square" lIns="91404" tIns="45708" rIns="91404" bIns="45708">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676767"/>
              </a:solidFill>
              <a:effectLst/>
              <a:uLnTx/>
              <a:uFillTx/>
              <a:latin typeface="Arial"/>
              <a:ea typeface="+mn-ea"/>
              <a:cs typeface="+mn-cs"/>
            </a:endParaRPr>
          </a:p>
        </p:txBody>
      </p:sp>
      <p:sp>
        <p:nvSpPr>
          <p:cNvPr id="74" name="Rectangle 23">
            <a:extLst>
              <a:ext uri="{FF2B5EF4-FFF2-40B4-BE49-F238E27FC236}">
                <a16:creationId xmlns:a16="http://schemas.microsoft.com/office/drawing/2014/main" id="{ADD5EC6C-0DE8-42D2-BEFE-AD0933C8E6CD}"/>
              </a:ext>
            </a:extLst>
          </p:cNvPr>
          <p:cNvSpPr/>
          <p:nvPr/>
        </p:nvSpPr>
        <p:spPr>
          <a:xfrm>
            <a:off x="10036452" y="5210489"/>
            <a:ext cx="528824" cy="294060"/>
          </a:xfrm>
          <a:prstGeom prst="rect">
            <a:avLst/>
          </a:prstGeom>
        </p:spPr>
        <p:txBody>
          <a:bodyPr vert="horz" wrap="square" lIns="0" tIns="0" rIns="0" bIns="0">
            <a:noAutofit/>
          </a:bodyPr>
          <a:lstStyle/>
          <a:p>
            <a:pPr marL="0" marR="0" lvl="0" indent="0" algn="ctr" defTabSz="91419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4F8A"/>
                </a:solidFill>
                <a:effectLst/>
                <a:uLnTx/>
                <a:uFillTx/>
                <a:latin typeface="Arial"/>
                <a:ea typeface="+mn-ea"/>
                <a:cs typeface="+mn-cs"/>
              </a:rPr>
              <a:t>Death</a:t>
            </a:r>
          </a:p>
        </p:txBody>
      </p:sp>
      <p:sp>
        <p:nvSpPr>
          <p:cNvPr id="75" name="Rectangle 24">
            <a:extLst>
              <a:ext uri="{FF2B5EF4-FFF2-40B4-BE49-F238E27FC236}">
                <a16:creationId xmlns:a16="http://schemas.microsoft.com/office/drawing/2014/main" id="{D8A31CDC-BF34-4769-9915-FAFAAEABC154}"/>
              </a:ext>
            </a:extLst>
          </p:cNvPr>
          <p:cNvSpPr/>
          <p:nvPr/>
        </p:nvSpPr>
        <p:spPr>
          <a:xfrm>
            <a:off x="898111" y="2595401"/>
            <a:ext cx="879033" cy="2246335"/>
          </a:xfrm>
          <a:prstGeom prst="rect">
            <a:avLst/>
          </a:prstGeom>
          <a:ln w="12700">
            <a:noFill/>
          </a:ln>
        </p:spPr>
        <p:txBody>
          <a:bodyPr vert="vert270" wrap="square" lIns="0" tIns="0" rIns="0" bIns="0">
            <a:noAutofit/>
          </a:bodyPr>
          <a:lstStyle/>
          <a:p>
            <a:pPr marL="0" marR="0" lvl="0" indent="0" algn="ctr" defTabSz="914195"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ardiac function</a:t>
            </a:r>
          </a:p>
        </p:txBody>
      </p:sp>
      <p:sp>
        <p:nvSpPr>
          <p:cNvPr id="76" name="Rectangle 25">
            <a:extLst>
              <a:ext uri="{FF2B5EF4-FFF2-40B4-BE49-F238E27FC236}">
                <a16:creationId xmlns:a16="http://schemas.microsoft.com/office/drawing/2014/main" id="{A454BAF3-16BC-43FE-8508-8950468007A7}"/>
              </a:ext>
            </a:extLst>
          </p:cNvPr>
          <p:cNvSpPr/>
          <p:nvPr/>
        </p:nvSpPr>
        <p:spPr>
          <a:xfrm>
            <a:off x="5595024" y="5737375"/>
            <a:ext cx="500976" cy="294060"/>
          </a:xfrm>
          <a:prstGeom prst="rect">
            <a:avLst/>
          </a:prstGeom>
        </p:spPr>
        <p:txBody>
          <a:bodyPr vert="horz" wrap="none" lIns="0" tIns="0" rIns="0" bIns="0">
            <a:noAutofit/>
          </a:bodyPr>
          <a:lstStyle/>
          <a:p>
            <a:pPr marL="0" marR="0" lvl="0" indent="0" algn="ctr" defTabSz="914195"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0000"/>
                </a:solidFill>
                <a:effectLst/>
                <a:uLnTx/>
                <a:uFillTx/>
                <a:latin typeface="Arial"/>
                <a:ea typeface="+mn-ea"/>
                <a:cs typeface="+mn-cs"/>
              </a:rPr>
              <a:t>Time</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77" name="Rectangle 22">
            <a:extLst>
              <a:ext uri="{FF2B5EF4-FFF2-40B4-BE49-F238E27FC236}">
                <a16:creationId xmlns:a16="http://schemas.microsoft.com/office/drawing/2014/main" id="{83786143-4E46-46F0-9C7D-C9CA853F42F5}"/>
              </a:ext>
            </a:extLst>
          </p:cNvPr>
          <p:cNvSpPr/>
          <p:nvPr/>
        </p:nvSpPr>
        <p:spPr>
          <a:xfrm>
            <a:off x="2550267" y="3185122"/>
            <a:ext cx="1356225" cy="447605"/>
          </a:xfrm>
          <a:prstGeom prst="rect">
            <a:avLst/>
          </a:prstGeom>
        </p:spPr>
        <p:txBody>
          <a:bodyPr wrap="square" lIns="0" tIns="0" rIns="0" bIns="0">
            <a:noAutofit/>
          </a:bodyPr>
          <a:lstStyle/>
          <a:p>
            <a:pPr marL="0" marR="0" lvl="0" indent="0" algn="ctr" defTabSz="914195"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4F8A"/>
                </a:solidFill>
                <a:effectLst/>
                <a:uLnTx/>
                <a:uFillTx/>
                <a:latin typeface="Arial"/>
                <a:ea typeface="+mn-ea"/>
                <a:cs typeface="+mn-cs"/>
              </a:rPr>
              <a:t>First decompensation</a:t>
            </a:r>
            <a:br>
              <a:rPr kumimoji="0" lang="en-US" sz="1200" b="1" i="0" u="none" strike="noStrike" kern="1200" cap="none" spc="0" normalizeH="0" baseline="0" noProof="0" dirty="0">
                <a:ln>
                  <a:noFill/>
                </a:ln>
                <a:solidFill>
                  <a:srgbClr val="704F8A"/>
                </a:solidFill>
                <a:effectLst/>
                <a:uLnTx/>
                <a:uFillTx/>
                <a:latin typeface="Arial"/>
                <a:ea typeface="+mn-ea"/>
                <a:cs typeface="+mn-cs"/>
              </a:rPr>
            </a:br>
            <a:r>
              <a:rPr kumimoji="0" lang="en-US" sz="1200" b="1" i="0" u="none" strike="noStrike" kern="1200" cap="none" spc="0" normalizeH="0" baseline="0" noProof="0" dirty="0">
                <a:ln>
                  <a:noFill/>
                </a:ln>
                <a:solidFill>
                  <a:srgbClr val="704F8A"/>
                </a:solidFill>
                <a:effectLst/>
                <a:uLnTx/>
                <a:uFillTx/>
                <a:latin typeface="Arial"/>
                <a:ea typeface="+mn-ea"/>
                <a:cs typeface="+mn-cs"/>
              </a:rPr>
              <a:t>event after diagnosis</a:t>
            </a:r>
          </a:p>
        </p:txBody>
      </p:sp>
      <p:sp>
        <p:nvSpPr>
          <p:cNvPr id="78" name="Oval 77">
            <a:extLst>
              <a:ext uri="{FF2B5EF4-FFF2-40B4-BE49-F238E27FC236}">
                <a16:creationId xmlns:a16="http://schemas.microsoft.com/office/drawing/2014/main" id="{75D4B358-32F4-41B5-84D2-F9700F7B05D2}"/>
              </a:ext>
            </a:extLst>
          </p:cNvPr>
          <p:cNvSpPr/>
          <p:nvPr/>
        </p:nvSpPr>
        <p:spPr>
          <a:xfrm>
            <a:off x="3092671" y="2879573"/>
            <a:ext cx="271412" cy="2516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2" name="Picture 81">
            <a:extLst>
              <a:ext uri="{FF2B5EF4-FFF2-40B4-BE49-F238E27FC236}">
                <a16:creationId xmlns:a16="http://schemas.microsoft.com/office/drawing/2014/main" id="{40D7CE91-8B22-4303-B20D-B4F3344BCAE1}"/>
              </a:ext>
            </a:extLst>
          </p:cNvPr>
          <p:cNvPicPr>
            <a:picLocks noChangeAspect="1"/>
          </p:cNvPicPr>
          <p:nvPr/>
        </p:nvPicPr>
        <p:blipFill>
          <a:blip r:embed="rId6" cstate="screen">
            <a:clrChange>
              <a:clrFrom>
                <a:srgbClr val="CC2254"/>
              </a:clrFrom>
              <a:clrTo>
                <a:srgbClr val="CC2254">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158035" y="2912613"/>
            <a:ext cx="139950" cy="189129"/>
          </a:xfrm>
          <a:prstGeom prst="rect">
            <a:avLst/>
          </a:prstGeom>
        </p:spPr>
      </p:pic>
      <p:sp>
        <p:nvSpPr>
          <p:cNvPr id="83" name="TextBox 82">
            <a:extLst>
              <a:ext uri="{FF2B5EF4-FFF2-40B4-BE49-F238E27FC236}">
                <a16:creationId xmlns:a16="http://schemas.microsoft.com/office/drawing/2014/main" id="{8D42669A-2430-406F-911F-56766916564F}"/>
              </a:ext>
            </a:extLst>
          </p:cNvPr>
          <p:cNvSpPr txBox="1"/>
          <p:nvPr/>
        </p:nvSpPr>
        <p:spPr>
          <a:xfrm>
            <a:off x="1505995" y="2076541"/>
            <a:ext cx="118654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Initial therapy</a:t>
            </a:r>
          </a:p>
        </p:txBody>
      </p:sp>
      <p:sp>
        <p:nvSpPr>
          <p:cNvPr id="84" name="Oval 83">
            <a:extLst>
              <a:ext uri="{FF2B5EF4-FFF2-40B4-BE49-F238E27FC236}">
                <a16:creationId xmlns:a16="http://schemas.microsoft.com/office/drawing/2014/main" id="{9211E77F-5AC5-493F-AEEB-071F46D4BBE6}"/>
              </a:ext>
            </a:extLst>
          </p:cNvPr>
          <p:cNvSpPr/>
          <p:nvPr/>
        </p:nvSpPr>
        <p:spPr>
          <a:xfrm>
            <a:off x="5903958" y="3515181"/>
            <a:ext cx="271412" cy="25167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5" name="Picture 84">
            <a:extLst>
              <a:ext uri="{FF2B5EF4-FFF2-40B4-BE49-F238E27FC236}">
                <a16:creationId xmlns:a16="http://schemas.microsoft.com/office/drawing/2014/main" id="{93FA9163-3B2E-4005-82B6-2FAA46A16377}"/>
              </a:ext>
            </a:extLst>
          </p:cNvPr>
          <p:cNvPicPr>
            <a:picLocks noChangeAspect="1"/>
          </p:cNvPicPr>
          <p:nvPr/>
        </p:nvPicPr>
        <p:blipFill>
          <a:blip r:embed="rId6" cstate="screen">
            <a:clrChange>
              <a:clrFrom>
                <a:srgbClr val="CC2254"/>
              </a:clrFrom>
              <a:clrTo>
                <a:srgbClr val="CC2254">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969322" y="3548221"/>
            <a:ext cx="139950" cy="189129"/>
          </a:xfrm>
          <a:prstGeom prst="rect">
            <a:avLst/>
          </a:prstGeom>
        </p:spPr>
      </p:pic>
      <p:sp>
        <p:nvSpPr>
          <p:cNvPr id="86" name="Rectangle 22">
            <a:extLst>
              <a:ext uri="{FF2B5EF4-FFF2-40B4-BE49-F238E27FC236}">
                <a16:creationId xmlns:a16="http://schemas.microsoft.com/office/drawing/2014/main" id="{C1EBB40E-6C73-4CDC-B017-D0283A868602}"/>
              </a:ext>
            </a:extLst>
          </p:cNvPr>
          <p:cNvSpPr/>
          <p:nvPr/>
        </p:nvSpPr>
        <p:spPr>
          <a:xfrm>
            <a:off x="7836428" y="4562797"/>
            <a:ext cx="1356225" cy="447605"/>
          </a:xfrm>
          <a:prstGeom prst="rect">
            <a:avLst/>
          </a:prstGeom>
        </p:spPr>
        <p:txBody>
          <a:bodyPr wrap="square" lIns="0" tIns="0" rIns="0" bIns="0">
            <a:noAutofit/>
          </a:bodyPr>
          <a:lstStyle/>
          <a:p>
            <a:pPr marL="0" marR="0" lvl="0" indent="0" algn="ctr" defTabSz="914195"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4F8A"/>
                </a:solidFill>
                <a:effectLst/>
                <a:uLnTx/>
                <a:uFillTx/>
                <a:latin typeface="Arial"/>
                <a:ea typeface="+mn-ea"/>
                <a:cs typeface="+mn-cs"/>
              </a:rPr>
              <a:t>3+ decompensation</a:t>
            </a:r>
            <a:br>
              <a:rPr kumimoji="0" lang="en-US" sz="1200" b="1" i="0" u="none" strike="noStrike" kern="1200" cap="none" spc="0" normalizeH="0" baseline="0" noProof="0" dirty="0">
                <a:ln>
                  <a:noFill/>
                </a:ln>
                <a:solidFill>
                  <a:srgbClr val="704F8A"/>
                </a:solidFill>
                <a:effectLst/>
                <a:uLnTx/>
                <a:uFillTx/>
                <a:latin typeface="Arial"/>
                <a:ea typeface="+mn-ea"/>
                <a:cs typeface="+mn-cs"/>
              </a:rPr>
            </a:br>
            <a:r>
              <a:rPr kumimoji="0" lang="en-US" sz="1200" b="1" i="0" u="none" strike="noStrike" kern="1200" cap="none" spc="0" normalizeH="0" baseline="0" noProof="0" dirty="0">
                <a:ln>
                  <a:noFill/>
                </a:ln>
                <a:solidFill>
                  <a:srgbClr val="704F8A"/>
                </a:solidFill>
                <a:effectLst/>
                <a:uLnTx/>
                <a:uFillTx/>
                <a:latin typeface="Arial"/>
                <a:ea typeface="+mn-ea"/>
                <a:cs typeface="+mn-cs"/>
              </a:rPr>
              <a:t>events</a:t>
            </a:r>
          </a:p>
        </p:txBody>
      </p:sp>
      <p:sp>
        <p:nvSpPr>
          <p:cNvPr id="87" name="Oval 86">
            <a:extLst>
              <a:ext uri="{FF2B5EF4-FFF2-40B4-BE49-F238E27FC236}">
                <a16:creationId xmlns:a16="http://schemas.microsoft.com/office/drawing/2014/main" id="{B6987481-D55C-4BC7-B4B5-73337AD0766C}"/>
              </a:ext>
            </a:extLst>
          </p:cNvPr>
          <p:cNvSpPr/>
          <p:nvPr/>
        </p:nvSpPr>
        <p:spPr>
          <a:xfrm>
            <a:off x="8367218" y="4245783"/>
            <a:ext cx="271412" cy="27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8" name="Picture 87">
            <a:extLst>
              <a:ext uri="{FF2B5EF4-FFF2-40B4-BE49-F238E27FC236}">
                <a16:creationId xmlns:a16="http://schemas.microsoft.com/office/drawing/2014/main" id="{A1CB9E0A-7C71-4186-AC68-415A65FD8C8C}"/>
              </a:ext>
            </a:extLst>
          </p:cNvPr>
          <p:cNvPicPr>
            <a:picLocks noChangeAspect="1"/>
          </p:cNvPicPr>
          <p:nvPr/>
        </p:nvPicPr>
        <p:blipFill>
          <a:blip r:embed="rId6" cstate="screen">
            <a:clrChange>
              <a:clrFrom>
                <a:srgbClr val="CC2254"/>
              </a:clrFrom>
              <a:clrTo>
                <a:srgbClr val="CC2254">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432949" y="4290287"/>
            <a:ext cx="139950" cy="189129"/>
          </a:xfrm>
          <a:prstGeom prst="rect">
            <a:avLst/>
          </a:prstGeom>
        </p:spPr>
      </p:pic>
      <p:sp>
        <p:nvSpPr>
          <p:cNvPr id="89" name="TextBox 88">
            <a:extLst>
              <a:ext uri="{FF2B5EF4-FFF2-40B4-BE49-F238E27FC236}">
                <a16:creationId xmlns:a16="http://schemas.microsoft.com/office/drawing/2014/main" id="{85F197EB-16AC-4492-9B40-59C74BE52B07}"/>
              </a:ext>
            </a:extLst>
          </p:cNvPr>
          <p:cNvSpPr txBox="1"/>
          <p:nvPr/>
        </p:nvSpPr>
        <p:spPr>
          <a:xfrm rot="563684">
            <a:off x="3625818" y="2261043"/>
            <a:ext cx="10887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a:ea typeface="+mn-ea"/>
                <a:cs typeface="+mn-cs"/>
              </a:rPr>
              <a:t>Post event</a:t>
            </a:r>
          </a:p>
        </p:txBody>
      </p:sp>
      <p:sp>
        <p:nvSpPr>
          <p:cNvPr id="90" name="TextBox 89">
            <a:extLst>
              <a:ext uri="{FF2B5EF4-FFF2-40B4-BE49-F238E27FC236}">
                <a16:creationId xmlns:a16="http://schemas.microsoft.com/office/drawing/2014/main" id="{ADBED505-B63B-4DB3-857B-FCA23E8E1D1F}"/>
              </a:ext>
            </a:extLst>
          </p:cNvPr>
          <p:cNvSpPr txBox="1"/>
          <p:nvPr/>
        </p:nvSpPr>
        <p:spPr>
          <a:xfrm rot="1162548">
            <a:off x="8708067" y="3881105"/>
            <a:ext cx="11384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a:ea typeface="+mn-ea"/>
                <a:cs typeface="+mn-cs"/>
              </a:rPr>
              <a:t>Post event </a:t>
            </a:r>
          </a:p>
        </p:txBody>
      </p:sp>
      <p:sp>
        <p:nvSpPr>
          <p:cNvPr id="91" name="Rectangle 22">
            <a:extLst>
              <a:ext uri="{FF2B5EF4-FFF2-40B4-BE49-F238E27FC236}">
                <a16:creationId xmlns:a16="http://schemas.microsoft.com/office/drawing/2014/main" id="{BA423CD1-BB05-440C-B3E1-CAE21DBBAA69}"/>
              </a:ext>
            </a:extLst>
          </p:cNvPr>
          <p:cNvSpPr/>
          <p:nvPr/>
        </p:nvSpPr>
        <p:spPr>
          <a:xfrm>
            <a:off x="4979876" y="3820731"/>
            <a:ext cx="2032547" cy="447605"/>
          </a:xfrm>
          <a:prstGeom prst="rect">
            <a:avLst/>
          </a:prstGeom>
        </p:spPr>
        <p:txBody>
          <a:bodyPr wrap="square" lIns="0" tIns="0" rIns="0" bIns="0">
            <a:noAutofit/>
          </a:bodyPr>
          <a:lstStyle/>
          <a:p>
            <a:pPr marL="0" marR="0" lvl="0" indent="0" algn="ctr" defTabSz="914195"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4F8A"/>
                </a:solidFill>
                <a:effectLst/>
                <a:uLnTx/>
                <a:uFillTx/>
                <a:latin typeface="Arial"/>
                <a:ea typeface="+mn-ea"/>
                <a:cs typeface="+mn-cs"/>
              </a:rPr>
              <a:t>Second</a:t>
            </a:r>
            <a:br>
              <a:rPr kumimoji="0" lang="en-US" sz="1200" b="1" i="0" u="none" strike="noStrike" kern="1200" cap="none" spc="0" normalizeH="0" baseline="0" noProof="0" dirty="0">
                <a:ln>
                  <a:noFill/>
                </a:ln>
                <a:solidFill>
                  <a:srgbClr val="704F8A"/>
                </a:solidFill>
                <a:effectLst/>
                <a:uLnTx/>
                <a:uFillTx/>
                <a:latin typeface="Arial"/>
                <a:ea typeface="+mn-ea"/>
                <a:cs typeface="+mn-cs"/>
              </a:rPr>
            </a:br>
            <a:r>
              <a:rPr kumimoji="0" lang="en-US" sz="1200" b="1" i="0" u="none" strike="noStrike" kern="1200" cap="none" spc="0" normalizeH="0" baseline="0" noProof="0" dirty="0">
                <a:ln>
                  <a:noFill/>
                </a:ln>
                <a:solidFill>
                  <a:srgbClr val="704F8A"/>
                </a:solidFill>
                <a:effectLst/>
                <a:uLnTx/>
                <a:uFillTx/>
                <a:latin typeface="Arial"/>
                <a:ea typeface="+mn-ea"/>
                <a:cs typeface="+mn-cs"/>
              </a:rPr>
              <a:t>d</a:t>
            </a:r>
            <a:r>
              <a:rPr kumimoji="0" lang="en-US" sz="1200" b="1" i="0" u="none" strike="noStrike" kern="1200" cap="none" spc="0" normalizeH="0" baseline="0" noProof="0" dirty="0" err="1">
                <a:ln>
                  <a:noFill/>
                </a:ln>
                <a:solidFill>
                  <a:srgbClr val="704F8A"/>
                </a:solidFill>
                <a:effectLst/>
                <a:uLnTx/>
                <a:uFillTx/>
                <a:latin typeface="Arial"/>
                <a:ea typeface="+mn-ea"/>
                <a:cs typeface="+mn-cs"/>
              </a:rPr>
              <a:t>ecompensation</a:t>
            </a:r>
            <a:r>
              <a:rPr kumimoji="0" lang="en-US" sz="1200" b="1" i="0" u="none" strike="noStrike" kern="1200" cap="none" spc="0" normalizeH="0" baseline="0" noProof="0" dirty="0">
                <a:ln>
                  <a:noFill/>
                </a:ln>
                <a:solidFill>
                  <a:srgbClr val="704F8A"/>
                </a:solidFill>
                <a:effectLst/>
                <a:uLnTx/>
                <a:uFillTx/>
                <a:latin typeface="Arial"/>
                <a:ea typeface="+mn-ea"/>
                <a:cs typeface="+mn-cs"/>
              </a:rPr>
              <a:t> event</a:t>
            </a:r>
          </a:p>
        </p:txBody>
      </p:sp>
      <p:grpSp>
        <p:nvGrpSpPr>
          <p:cNvPr id="92" name="Group 91">
            <a:extLst>
              <a:ext uri="{FF2B5EF4-FFF2-40B4-BE49-F238E27FC236}">
                <a16:creationId xmlns:a16="http://schemas.microsoft.com/office/drawing/2014/main" id="{5E8DF5E0-85CD-4149-A7D1-3C6E8DD56A3C}"/>
              </a:ext>
            </a:extLst>
          </p:cNvPr>
          <p:cNvGrpSpPr/>
          <p:nvPr/>
        </p:nvGrpSpPr>
        <p:grpSpPr>
          <a:xfrm>
            <a:off x="5087888" y="4153134"/>
            <a:ext cx="1895119" cy="1423829"/>
            <a:chOff x="5142414" y="4153134"/>
            <a:chExt cx="1895119" cy="1423829"/>
          </a:xfrm>
        </p:grpSpPr>
        <p:sp>
          <p:nvSpPr>
            <p:cNvPr id="93" name="Rectangle 92">
              <a:extLst>
                <a:ext uri="{FF2B5EF4-FFF2-40B4-BE49-F238E27FC236}">
                  <a16:creationId xmlns:a16="http://schemas.microsoft.com/office/drawing/2014/main" id="{23C8174C-0E78-47F2-9F9F-01B8CD7DB1C0}"/>
                </a:ext>
              </a:extLst>
            </p:cNvPr>
            <p:cNvSpPr/>
            <p:nvPr/>
          </p:nvSpPr>
          <p:spPr>
            <a:xfrm>
              <a:off x="5142414" y="4654350"/>
              <a:ext cx="1895119" cy="922613"/>
            </a:xfrm>
            <a:prstGeom prst="rect">
              <a:avLst/>
            </a:prstGeom>
            <a:solidFill>
              <a:schemeClr val="bg1">
                <a:lumMod val="95000"/>
              </a:schemeClr>
            </a:solidFill>
            <a:ln w="158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hospital initi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nd discharge planning</a:t>
              </a:r>
            </a:p>
          </p:txBody>
        </p:sp>
        <p:sp>
          <p:nvSpPr>
            <p:cNvPr id="94" name="Rectangle 93">
              <a:extLst>
                <a:ext uri="{FF2B5EF4-FFF2-40B4-BE49-F238E27FC236}">
                  <a16:creationId xmlns:a16="http://schemas.microsoft.com/office/drawing/2014/main" id="{5B5EAFB8-CA1F-48A9-AE51-EDB415C8D33E}"/>
                </a:ext>
              </a:extLst>
            </p:cNvPr>
            <p:cNvSpPr/>
            <p:nvPr/>
          </p:nvSpPr>
          <p:spPr>
            <a:xfrm>
              <a:off x="5142414" y="4153134"/>
              <a:ext cx="1895119" cy="498925"/>
            </a:xfrm>
            <a:prstGeom prst="rect">
              <a:avLst/>
            </a:prstGeom>
            <a:solidFill>
              <a:schemeClr val="accent4"/>
            </a:solidFill>
            <a:ln w="158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Hospitalized patient</a:t>
              </a:r>
            </a:p>
          </p:txBody>
        </p:sp>
      </p:grpSp>
      <p:sp>
        <p:nvSpPr>
          <p:cNvPr id="44" name="Oval 43">
            <a:extLst>
              <a:ext uri="{FF2B5EF4-FFF2-40B4-BE49-F238E27FC236}">
                <a16:creationId xmlns:a16="http://schemas.microsoft.com/office/drawing/2014/main" id="{7D95EC22-777F-4A48-8316-5655FB4B0265}"/>
              </a:ext>
            </a:extLst>
          </p:cNvPr>
          <p:cNvSpPr/>
          <p:nvPr/>
        </p:nvSpPr>
        <p:spPr>
          <a:xfrm>
            <a:off x="5639589" y="3072337"/>
            <a:ext cx="720000" cy="720000"/>
          </a:xfrm>
          <a:prstGeom prst="ellipse">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5" name="Content Placeholder 15" descr="Male profile with solid fill">
            <a:extLst>
              <a:ext uri="{FF2B5EF4-FFF2-40B4-BE49-F238E27FC236}">
                <a16:creationId xmlns:a16="http://schemas.microsoft.com/office/drawing/2014/main" id="{799BAD78-02D9-49B5-9742-CF6E329B2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51655" y="3068167"/>
            <a:ext cx="684000" cy="684000"/>
          </a:xfrm>
          <a:prstGeom prst="rect">
            <a:avLst/>
          </a:prstGeom>
        </p:spPr>
      </p:pic>
    </p:spTree>
    <p:custDataLst>
      <p:tags r:id="rId1"/>
    </p:custDataLst>
    <p:extLst>
      <p:ext uri="{BB962C8B-B14F-4D97-AF65-F5344CB8AC3E}">
        <p14:creationId xmlns:p14="http://schemas.microsoft.com/office/powerpoint/2010/main" val="42262727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479735" cy="1001168"/>
          </a:xfrm>
        </p:spPr>
        <p:txBody>
          <a:bodyPr/>
          <a:lstStyle/>
          <a:p>
            <a:r>
              <a:rPr lang="en-GB" dirty="0"/>
              <a:t>International guideline recommendations for patients with HFrEF following a worsening HF event</a:t>
            </a:r>
          </a:p>
        </p:txBody>
      </p:sp>
      <p:sp>
        <p:nvSpPr>
          <p:cNvPr id="4" name="Slide Number Placeholder 3">
            <a:extLst>
              <a:ext uri="{FF2B5EF4-FFF2-40B4-BE49-F238E27FC236}">
                <a16:creationId xmlns:a16="http://schemas.microsoft.com/office/drawing/2014/main" id="{DF66F6EB-DFC7-4B89-8B67-395C947DD519}"/>
              </a:ext>
            </a:extLst>
          </p:cNvPr>
          <p:cNvSpPr>
            <a:spLocks noGrp="1"/>
          </p:cNvSpPr>
          <p:nvPr>
            <p:ph type="sldNum" sz="quarter" idx="4294967295"/>
          </p:nvPr>
        </p:nvSpPr>
        <p:spPr>
          <a:xfrm>
            <a:off x="11710988" y="6340475"/>
            <a:ext cx="4810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651605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4">
            <a:extLst>
              <a:ext uri="{FF2B5EF4-FFF2-40B4-BE49-F238E27FC236}">
                <a16:creationId xmlns:a16="http://schemas.microsoft.com/office/drawing/2014/main" id="{D1BB2E5A-AEA3-4435-A697-E240695BC5DF}"/>
              </a:ext>
            </a:extLst>
          </p:cNvPr>
          <p:cNvSpPr txBox="1">
            <a:spLocks/>
          </p:cNvSpPr>
          <p:nvPr/>
        </p:nvSpPr>
        <p:spPr bwMode="auto">
          <a:xfrm>
            <a:off x="4853" y="3834"/>
            <a:ext cx="10520271" cy="1081617"/>
          </a:xfrm>
          <a:prstGeom prst="rect">
            <a:avLst/>
          </a:prstGeom>
          <a:noFill/>
          <a:ln w="19050" algn="ctr">
            <a:noFill/>
            <a:miter lim="800000"/>
            <a:headEnd/>
            <a:tailEnd/>
          </a:ln>
          <a:effectLst/>
        </p:spPr>
        <p:txBody>
          <a:bodyPr vert="horz" wrap="square" lIns="0" tIns="0" rIns="0" bIns="0" rtlCol="0" anchor="t">
            <a:noAutofit/>
          </a:bodyPr>
          <a:lstStyle>
            <a:lvl1pPr marL="285750" indent="-285750" algn="l" defTabSz="914400" rtl="0" eaLnBrk="1" latinLnBrk="0" hangingPunct="1">
              <a:lnSpc>
                <a:spcPct val="100000"/>
              </a:lnSpc>
              <a:spcBef>
                <a:spcPts val="1000"/>
              </a:spcBef>
              <a:buFont typeface="Wingdings" panose="05000000000000000000" pitchFamily="2" charset="2"/>
              <a:buChar char="§"/>
              <a:defRPr lang="en-US" sz="1600" kern="1200">
                <a:solidFill>
                  <a:schemeClr val="tx1"/>
                </a:solidFill>
                <a:latin typeface="+mn-lt"/>
                <a:ea typeface="+mn-ea"/>
                <a:cs typeface="+mn-cs"/>
              </a:defRPr>
            </a:lvl1pPr>
            <a:lvl2pPr marL="5688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2pPr>
            <a:lvl3pPr marL="8532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3pPr>
            <a:lvl4pPr marL="11376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4pPr>
            <a:lvl5pPr marL="1423350" indent="-285750" algn="l" defTabSz="914400" rtl="0" eaLnBrk="1" latinLnBrk="0" hangingPunct="1">
              <a:lnSpc>
                <a:spcPct val="100000"/>
              </a:lnSpc>
              <a:spcBef>
                <a:spcPts val="600"/>
              </a:spcBef>
              <a:buFont typeface="Wingdings" panose="05000000000000000000" pitchFamily="2" charset="2"/>
              <a:buChar char="§"/>
              <a:defRPr lang="en-US" sz="1600" kern="1200">
                <a:solidFill>
                  <a:schemeClr val="tx1"/>
                </a:solidFill>
                <a:latin typeface="+mn-lt"/>
                <a:ea typeface="+mn-ea"/>
                <a:cs typeface="+mn-cs"/>
              </a:defRPr>
            </a:lvl5pPr>
            <a:lvl6pPr marL="1422000" indent="-2844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70675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dirty="0">
              <a:ln>
                <a:noFill/>
              </a:ln>
              <a:solidFill>
                <a:srgbClr val="000000"/>
              </a:solidFill>
              <a:effectLst/>
              <a:uLnTx/>
              <a:uFillTx/>
              <a:latin typeface="Arial" charset="0"/>
              <a:ea typeface="MS PGothic" charset="0"/>
              <a:cs typeface="+mn-cs"/>
            </a:endParaRPr>
          </a:p>
        </p:txBody>
      </p:sp>
      <p:sp>
        <p:nvSpPr>
          <p:cNvPr id="18" name="Title 1">
            <a:extLst>
              <a:ext uri="{FF2B5EF4-FFF2-40B4-BE49-F238E27FC236}">
                <a16:creationId xmlns:a16="http://schemas.microsoft.com/office/drawing/2014/main" id="{7A02D263-ED3F-472B-B375-3867E7968486}"/>
              </a:ext>
            </a:extLst>
          </p:cNvPr>
          <p:cNvSpPr>
            <a:spLocks noGrp="1"/>
          </p:cNvSpPr>
          <p:nvPr>
            <p:ph type="title"/>
          </p:nvPr>
        </p:nvSpPr>
        <p:spPr>
          <a:xfrm>
            <a:off x="600074" y="164567"/>
            <a:ext cx="10212450" cy="929127"/>
          </a:xfrm>
        </p:spPr>
        <p:txBody>
          <a:bodyPr/>
          <a:lstStyle/>
          <a:p>
            <a:r>
              <a:rPr lang="en-GB" dirty="0"/>
              <a:t>ESC 2021 guidelines recommend optimization of treatment </a:t>
            </a:r>
            <a:br>
              <a:rPr lang="en-GB" dirty="0"/>
            </a:br>
            <a:r>
              <a:rPr lang="en-GB" dirty="0"/>
              <a:t>prior to hospital discharge</a:t>
            </a:r>
            <a:r>
              <a:rPr lang="en-GB" baseline="30000" dirty="0"/>
              <a:t>1 </a:t>
            </a:r>
            <a:endParaRPr lang="en-US" baseline="30000" dirty="0"/>
          </a:p>
        </p:txBody>
      </p:sp>
      <p:sp>
        <p:nvSpPr>
          <p:cNvPr id="24" name="Slide Number Placeholder 9">
            <a:extLst>
              <a:ext uri="{FF2B5EF4-FFF2-40B4-BE49-F238E27FC236}">
                <a16:creationId xmlns:a16="http://schemas.microsoft.com/office/drawing/2014/main" id="{B51DC66A-E435-2847-AAD4-DC7C6229A79D}"/>
              </a:ext>
            </a:extLst>
          </p:cNvPr>
          <p:cNvSpPr>
            <a:spLocks noGrp="1"/>
          </p:cNvSpPr>
          <p:nvPr>
            <p:ph type="sldNum" sz="quarter" idx="14"/>
          </p:nvPr>
        </p:nvSpPr>
        <p:spPr>
          <a:xfrm>
            <a:off x="11591927" y="6340239"/>
            <a:ext cx="4807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40" name="Table 6">
            <a:extLst>
              <a:ext uri="{FF2B5EF4-FFF2-40B4-BE49-F238E27FC236}">
                <a16:creationId xmlns:a16="http://schemas.microsoft.com/office/drawing/2014/main" id="{A2D9262C-C6B9-AD47-AC67-941D44C3CBF2}"/>
              </a:ext>
            </a:extLst>
          </p:cNvPr>
          <p:cNvGraphicFramePr>
            <a:graphicFrameLocks/>
          </p:cNvGraphicFramePr>
          <p:nvPr/>
        </p:nvGraphicFramePr>
        <p:xfrm>
          <a:off x="695400" y="1412874"/>
          <a:ext cx="9829726" cy="2880090"/>
        </p:xfrm>
        <a:graphic>
          <a:graphicData uri="http://schemas.openxmlformats.org/drawingml/2006/table">
            <a:tbl>
              <a:tblPr firstRow="1" bandRow="1">
                <a:tableStyleId>{74C1A8A3-306A-4EB7-A6B1-4F7E0EB9C5D6}</a:tableStyleId>
              </a:tblPr>
              <a:tblGrid>
                <a:gridCol w="6912768">
                  <a:extLst>
                    <a:ext uri="{9D8B030D-6E8A-4147-A177-3AD203B41FA5}">
                      <a16:colId xmlns:a16="http://schemas.microsoft.com/office/drawing/2014/main" val="1277136744"/>
                    </a:ext>
                  </a:extLst>
                </a:gridCol>
                <a:gridCol w="1458479">
                  <a:extLst>
                    <a:ext uri="{9D8B030D-6E8A-4147-A177-3AD203B41FA5}">
                      <a16:colId xmlns:a16="http://schemas.microsoft.com/office/drawing/2014/main" val="2960735870"/>
                    </a:ext>
                  </a:extLst>
                </a:gridCol>
                <a:gridCol w="1458479">
                  <a:extLst>
                    <a:ext uri="{9D8B030D-6E8A-4147-A177-3AD203B41FA5}">
                      <a16:colId xmlns:a16="http://schemas.microsoft.com/office/drawing/2014/main" val="3789054047"/>
                    </a:ext>
                  </a:extLst>
                </a:gridCol>
              </a:tblGrid>
              <a:tr h="4855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a:t>Recommendations</a:t>
                      </a:r>
                    </a:p>
                  </a:txBody>
                  <a:tcPr/>
                </a:tc>
                <a:tc>
                  <a:txBody>
                    <a:bodyPr/>
                    <a:lstStyle/>
                    <a:p>
                      <a:pPr algn="ctr"/>
                      <a:r>
                        <a:rPr lang="en-US" sz="1400" noProof="0" dirty="0"/>
                        <a:t>Clas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Level</a:t>
                      </a:r>
                    </a:p>
                  </a:txBody>
                  <a:tcPr/>
                </a:tc>
                <a:extLst>
                  <a:ext uri="{0D108BD9-81ED-4DB2-BD59-A6C34878D82A}">
                    <a16:rowId xmlns:a16="http://schemas.microsoft.com/office/drawing/2014/main" val="3308609835"/>
                  </a:ext>
                </a:extLst>
              </a:tr>
              <a:tr h="798172">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It is recommended that patients hospitalized for HF be carefully evaluated to exclude persistent signs of congestion before discharge and to optimize oral treatment</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I</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solidFill>
                      <a:srgbClr val="92D050"/>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C</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solidFill>
                      <a:srgbClr val="DBE9F9"/>
                    </a:solidFill>
                  </a:tcPr>
                </a:tc>
                <a:extLst>
                  <a:ext uri="{0D108BD9-81ED-4DB2-BD59-A6C34878D82A}">
                    <a16:rowId xmlns:a16="http://schemas.microsoft.com/office/drawing/2014/main" val="3279889804"/>
                  </a:ext>
                </a:extLst>
              </a:tr>
              <a:tr h="798172">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It is recommended that evidence-based oral medical treatment be administered before discharge</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I</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solidFill>
                      <a:srgbClr val="92D050"/>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0" i="0" u="none" strike="noStrike" kern="1200" dirty="0">
                          <a:solidFill>
                            <a:schemeClr val="tx1"/>
                          </a:solidFill>
                          <a:effectLst/>
                          <a:latin typeface="Arial" panose="020B0604020202020204" pitchFamily="34" charset="0"/>
                          <a:ea typeface="+mn-ea"/>
                          <a:cs typeface="Arial" panose="020B0604020202020204" pitchFamily="34" charset="0"/>
                        </a:rPr>
                        <a:t>C</a:t>
                      </a:r>
                    </a:p>
                  </a:txBody>
                  <a:tcPr marL="94238" marR="94238" marT="91428" marB="91428" anchor="ctr">
                    <a:solidFill>
                      <a:srgbClr val="DBE9F9"/>
                    </a:solidFill>
                  </a:tcPr>
                </a:tc>
                <a:extLst>
                  <a:ext uri="{0D108BD9-81ED-4DB2-BD59-A6C34878D82A}">
                    <a16:rowId xmlns:a16="http://schemas.microsoft.com/office/drawing/2014/main" val="3722358206"/>
                  </a:ext>
                </a:extLst>
              </a:tr>
              <a:tr h="798172">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An early follow-up visit is recommended at 1–2 weeks after discharge to assess signs of congestion, drug tolerance and start and/or uptitrate evidence-based therapy</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I</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4238" marR="94238" marT="91428" marB="91428" anchor="ctr">
                    <a:solidFill>
                      <a:srgbClr val="92D050"/>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0" i="0" u="none" strike="noStrike" kern="1200" dirty="0">
                          <a:solidFill>
                            <a:schemeClr val="tx1"/>
                          </a:solidFill>
                          <a:effectLst/>
                          <a:latin typeface="Arial" panose="020B0604020202020204" pitchFamily="34" charset="0"/>
                          <a:ea typeface="+mn-ea"/>
                          <a:cs typeface="Arial" panose="020B0604020202020204" pitchFamily="34" charset="0"/>
                        </a:rPr>
                        <a:t>C</a:t>
                      </a:r>
                    </a:p>
                  </a:txBody>
                  <a:tcPr marL="94238" marR="94238" marT="91428" marB="91428" anchor="ctr">
                    <a:solidFill>
                      <a:srgbClr val="DBE9F9"/>
                    </a:solidFill>
                  </a:tcPr>
                </a:tc>
                <a:extLst>
                  <a:ext uri="{0D108BD9-81ED-4DB2-BD59-A6C34878D82A}">
                    <a16:rowId xmlns:a16="http://schemas.microsoft.com/office/drawing/2014/main" val="3760002642"/>
                  </a:ext>
                </a:extLst>
              </a:tr>
            </a:tbl>
          </a:graphicData>
        </a:graphic>
      </p:graphicFrame>
      <p:sp>
        <p:nvSpPr>
          <p:cNvPr id="2" name="Footer Placeholder 1">
            <a:extLst>
              <a:ext uri="{FF2B5EF4-FFF2-40B4-BE49-F238E27FC236}">
                <a16:creationId xmlns:a16="http://schemas.microsoft.com/office/drawing/2014/main" id="{415FD7A0-DD1C-4CE1-AC3B-8A1D14B996A6}"/>
              </a:ext>
            </a:extLst>
          </p:cNvPr>
          <p:cNvSpPr>
            <a:spLocks noGrp="1"/>
          </p:cNvSpPr>
          <p:nvPr>
            <p:ph type="ftr" sz="quarter" idx="15"/>
          </p:nvPr>
        </p:nvSpPr>
        <p:spPr/>
        <p:txBody>
          <a:bodyPr/>
          <a:lstStyle/>
          <a:p>
            <a:pPr marL="0" marR="0" lvl="0" indent="0" algn="l" defTabSz="609585" rtl="0" eaLnBrk="0" fontAlgn="base" latinLnBrk="0" hangingPunct="0">
              <a:lnSpc>
                <a:spcPct val="80000"/>
              </a:lnSpc>
              <a:spcBef>
                <a:spcPts val="20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HF, heart failure; TSAT, transferrin saturation.</a:t>
            </a:r>
          </a:p>
          <a:p>
            <a:pPr marL="0" marR="0" lvl="0" indent="0" algn="l" defTabSz="609585" rtl="0" eaLnBrk="0" fontAlgn="base" latinLnBrk="0" hangingPunct="0">
              <a:lnSpc>
                <a:spcPct val="80000"/>
              </a:lnSpc>
              <a:spcBef>
                <a:spcPts val="200"/>
              </a:spcBef>
              <a:spcAft>
                <a:spcPct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S PGothic" charset="0"/>
                <a:cs typeface="+mn-cs"/>
              </a:rPr>
              <a:t>Reference: 1. </a:t>
            </a:r>
            <a:r>
              <a:rPr kumimoji="0" lang="en-US"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McDonagh TA </a:t>
            </a:r>
            <a:r>
              <a:rPr kumimoji="0" lang="en-US" sz="800" b="0" i="1" u="none" strike="noStrike" kern="1200" cap="none" spc="0" normalizeH="0" baseline="0" noProof="0" dirty="0">
                <a:ln>
                  <a:noFill/>
                </a:ln>
                <a:solidFill>
                  <a:srgbClr val="000000"/>
                </a:solidFill>
                <a:effectLst/>
                <a:uLnTx/>
                <a:uFillTx/>
                <a:latin typeface="Arial" panose="020B0604020202020204"/>
                <a:ea typeface="MS PGothic" charset="0"/>
                <a:cs typeface="+mn-cs"/>
              </a:rPr>
              <a:t>et al. Eur Heart J</a:t>
            </a:r>
            <a:r>
              <a:rPr kumimoji="0" lang="en-US"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2021;42:3599–3726.</a:t>
            </a:r>
          </a:p>
        </p:txBody>
      </p:sp>
      <p:sp>
        <p:nvSpPr>
          <p:cNvPr id="12" name="Frame 11">
            <a:extLst>
              <a:ext uri="{FF2B5EF4-FFF2-40B4-BE49-F238E27FC236}">
                <a16:creationId xmlns:a16="http://schemas.microsoft.com/office/drawing/2014/main" id="{922CF323-D122-4686-8845-1EEA1B94CE9D}"/>
              </a:ext>
            </a:extLst>
          </p:cNvPr>
          <p:cNvSpPr/>
          <p:nvPr/>
        </p:nvSpPr>
        <p:spPr>
          <a:xfrm>
            <a:off x="695397" y="2747288"/>
            <a:ext cx="9829727" cy="672145"/>
          </a:xfrm>
          <a:prstGeom prst="frame">
            <a:avLst>
              <a:gd name="adj1" fmla="val 7658"/>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Rectangle: Rounded Corners 2">
            <a:extLst>
              <a:ext uri="{FF2B5EF4-FFF2-40B4-BE49-F238E27FC236}">
                <a16:creationId xmlns:a16="http://schemas.microsoft.com/office/drawing/2014/main" id="{7C26A3D4-3EF5-48DA-93A7-DD8268F14391}"/>
              </a:ext>
            </a:extLst>
          </p:cNvPr>
          <p:cNvSpPr/>
          <p:nvPr/>
        </p:nvSpPr>
        <p:spPr>
          <a:xfrm>
            <a:off x="947057" y="5061857"/>
            <a:ext cx="9720943" cy="805544"/>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Hospitalization episode must be seen as an opportunity to optimize all medical therapies</a:t>
            </a:r>
          </a:p>
        </p:txBody>
      </p:sp>
    </p:spTree>
    <p:extLst>
      <p:ext uri="{BB962C8B-B14F-4D97-AF65-F5344CB8AC3E}">
        <p14:creationId xmlns:p14="http://schemas.microsoft.com/office/powerpoint/2010/main" val="36433369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355B6-E909-4A1D-96C0-1E9C9067B493}"/>
              </a:ext>
            </a:extLst>
          </p:cNvPr>
          <p:cNvSpPr>
            <a:spLocks noGrp="1"/>
          </p:cNvSpPr>
          <p:nvPr>
            <p:ph type="title"/>
          </p:nvPr>
        </p:nvSpPr>
        <p:spPr>
          <a:xfrm>
            <a:off x="600073" y="164567"/>
            <a:ext cx="10427047" cy="929127"/>
          </a:xfrm>
        </p:spPr>
        <p:txBody>
          <a:bodyPr/>
          <a:lstStyle/>
          <a:p>
            <a:r>
              <a:rPr lang="en-GB" spc="-10" dirty="0"/>
              <a:t>ESC 2021 HF guidelines recommendations for the treatment of patients with HFrEF and specific patient groups</a:t>
            </a:r>
            <a:r>
              <a:rPr lang="en-GB" spc="-10" baseline="30000" dirty="0"/>
              <a:t>1</a:t>
            </a:r>
            <a:endParaRPr lang="en-US" spc="-10" baseline="30000" dirty="0"/>
          </a:p>
        </p:txBody>
      </p:sp>
      <p:sp>
        <p:nvSpPr>
          <p:cNvPr id="3" name="Footer Placeholder 2">
            <a:extLst>
              <a:ext uri="{FF2B5EF4-FFF2-40B4-BE49-F238E27FC236}">
                <a16:creationId xmlns:a16="http://schemas.microsoft.com/office/drawing/2014/main" id="{09CA17F2-B522-4940-8289-6244105DF689}"/>
              </a:ext>
            </a:extLst>
          </p:cNvPr>
          <p:cNvSpPr>
            <a:spLocks noGrp="1"/>
          </p:cNvSpPr>
          <p:nvPr>
            <p:ph type="ftr" sz="quarter" idx="16"/>
          </p:nvPr>
        </p:nvSpPr>
        <p:spPr>
          <a:xfrm>
            <a:off x="600073" y="6029343"/>
            <a:ext cx="9925051" cy="365125"/>
          </a:xfrm>
        </p:spPr>
        <p:txBody>
          <a:bodyPr/>
          <a:lstStyle/>
          <a:p>
            <a:pPr marL="0" marR="0" lvl="0" indent="0" algn="l" defTabSz="609585" rtl="0" eaLnBrk="0" fontAlgn="base" latinLnBrk="0" hangingPunct="0">
              <a:lnSpc>
                <a:spcPct val="80000"/>
              </a:lnSpc>
              <a:spcBef>
                <a:spcPts val="200"/>
              </a:spcBef>
              <a:spcAft>
                <a:spcPct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S PGothic" charset="0"/>
                <a:cs typeface="+mn-cs"/>
              </a:rPr>
              <a:t>Flowchart adapted from McDonagh </a:t>
            </a:r>
            <a:r>
              <a:rPr kumimoji="0" lang="en-GB" sz="800" b="1" i="1" u="none" strike="noStrike" kern="1200" cap="none" spc="0" normalizeH="0" baseline="0" noProof="0" dirty="0">
                <a:ln>
                  <a:noFill/>
                </a:ln>
                <a:solidFill>
                  <a:srgbClr val="000000"/>
                </a:solidFill>
                <a:effectLst/>
                <a:uLnTx/>
                <a:uFillTx/>
                <a:latin typeface="Arial" panose="020B0604020202020204"/>
                <a:ea typeface="MS PGothic" charset="0"/>
                <a:cs typeface="+mn-cs"/>
              </a:rPr>
              <a:t>et al. </a:t>
            </a:r>
            <a:r>
              <a:rPr kumimoji="0" lang="en-GB" sz="800" b="1" i="0" u="none" strike="noStrike" kern="1200" cap="none" spc="0" normalizeH="0" baseline="0" noProof="0" dirty="0">
                <a:ln>
                  <a:noFill/>
                </a:ln>
                <a:solidFill>
                  <a:srgbClr val="000000"/>
                </a:solidFill>
                <a:effectLst/>
                <a:uLnTx/>
                <a:uFillTx/>
                <a:latin typeface="Arial" panose="020B0604020202020204"/>
                <a:ea typeface="MS PGothic" charset="0"/>
                <a:cs typeface="+mn-cs"/>
              </a:rPr>
              <a:t>2021.</a:t>
            </a:r>
            <a:r>
              <a:rPr kumimoji="0" lang="en-GB" sz="800" b="1" i="0" u="none" strike="noStrike" kern="1200" cap="none" spc="0" normalizeH="0" baseline="30000" noProof="0" dirty="0">
                <a:ln>
                  <a:noFill/>
                </a:ln>
                <a:solidFill>
                  <a:srgbClr val="000000"/>
                </a:solidFill>
                <a:effectLst/>
                <a:uLnTx/>
                <a:uFillTx/>
                <a:latin typeface="Arial" panose="020B0604020202020204"/>
                <a:ea typeface="MS PGothic" charset="0"/>
                <a:cs typeface="+mn-cs"/>
              </a:rPr>
              <a:t>1</a:t>
            </a:r>
          </a:p>
          <a:p>
            <a:pPr marL="0" marR="0" lvl="0" indent="0" algn="l" defTabSz="609585" rtl="0" eaLnBrk="0" fontAlgn="base" latinLnBrk="0" hangingPunct="0">
              <a:lnSpc>
                <a:spcPct val="80000"/>
              </a:lnSpc>
              <a:spcBef>
                <a:spcPts val="200"/>
              </a:spcBef>
              <a:spcAft>
                <a:spcPct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ARNi is recommended as a replacement for ACEi; ARB is recommended in patients unable to tolerate an ACEi or ARNi (class I, level B).</a:t>
            </a:r>
          </a:p>
          <a:p>
            <a:pPr marL="0" marR="0" lvl="0" indent="0" algn="l" defTabSz="609585" rtl="0" eaLnBrk="0" fontAlgn="base" latinLnBrk="0" hangingPunct="0">
              <a:lnSpc>
                <a:spcPct val="80000"/>
              </a:lnSpc>
              <a:spcBef>
                <a:spcPts val="200"/>
              </a:spcBef>
              <a:spcAft>
                <a:spcPct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Where appropriate.</a:t>
            </a:r>
          </a:p>
          <a:p>
            <a:pPr marL="0" marR="0" lvl="0" indent="0" algn="l" defTabSz="609585" rtl="0" eaLnBrk="0" fontAlgn="base" latinLnBrk="0" hangingPunct="0">
              <a:lnSpc>
                <a:spcPct val="80000"/>
              </a:lnSpc>
              <a:spcBef>
                <a:spcPts val="200"/>
              </a:spcBef>
              <a:spcAft>
                <a:spcPct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ACEi, angiotensin-converting enzyme inhibitor; ARB, angiotensin receptor blocker; ARNi, angiotensin receptor–neprilysin inhibitor; BB, beta blocker; bpm, beats per minute; CRT-D, cardiac resynchronization therapy with defibrillator; CRT-P, cardiac resynchronization therapy with pacemaker; ESC, European Society of Cardiology; HF, heart failure; HFrEF, heart failure with reduced ejection fraction; HR, heart rate; ICD, implantable cardioverter defibrillator; LV, left ventricle; LVEF, left ventricular ejection fraction; MRA, mineralocorticoid receptor antagonist; NYHA, New York Heart Association; SR, sinus rhyth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Reference: 1. </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McDonagh TA </a:t>
            </a:r>
            <a:r>
              <a:rPr kumimoji="0" lang="en-GB" sz="800" b="0" i="1" u="none" strike="noStrike" kern="1200" cap="none" spc="0" normalizeH="0" baseline="0" noProof="0" dirty="0">
                <a:ln>
                  <a:noFill/>
                </a:ln>
                <a:solidFill>
                  <a:srgbClr val="000000"/>
                </a:solidFill>
                <a:effectLst/>
                <a:uLnTx/>
                <a:uFillTx/>
                <a:latin typeface="Arial" panose="020B0604020202020204"/>
                <a:ea typeface="MS PGothic" charset="0"/>
                <a:cs typeface="+mn-cs"/>
              </a:rPr>
              <a:t>et al. Eur Heart J</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2021;42:3599–3726.</a:t>
            </a: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583A1603-7234-4EB9-965E-10DB83216857}"/>
              </a:ext>
            </a:extLst>
          </p:cNvPr>
          <p:cNvSpPr txBox="1"/>
          <p:nvPr/>
        </p:nvSpPr>
        <p:spPr>
          <a:xfrm>
            <a:off x="598126" y="1230239"/>
            <a:ext cx="900000" cy="276999"/>
          </a:xfrm>
          <a:prstGeom prst="rect">
            <a:avLst/>
          </a:prstGeom>
          <a:solidFill>
            <a:srgbClr val="68B327"/>
          </a:solidFill>
          <a:ln>
            <a:no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Class I</a:t>
            </a:r>
          </a:p>
        </p:txBody>
      </p:sp>
      <p:sp>
        <p:nvSpPr>
          <p:cNvPr id="7" name="TextBox 6">
            <a:extLst>
              <a:ext uri="{FF2B5EF4-FFF2-40B4-BE49-F238E27FC236}">
                <a16:creationId xmlns:a16="http://schemas.microsoft.com/office/drawing/2014/main" id="{03D4219E-AE35-4790-9D4B-DF4102FD38A6}"/>
              </a:ext>
            </a:extLst>
          </p:cNvPr>
          <p:cNvSpPr txBox="1"/>
          <p:nvPr/>
        </p:nvSpPr>
        <p:spPr>
          <a:xfrm>
            <a:off x="598126" y="1575404"/>
            <a:ext cx="900000" cy="276999"/>
          </a:xfrm>
          <a:prstGeom prst="rect">
            <a:avLst/>
          </a:prstGeom>
          <a:solidFill>
            <a:srgbClr val="FFCF06"/>
          </a:solidFill>
          <a:ln>
            <a:no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Class IIa</a:t>
            </a:r>
          </a:p>
        </p:txBody>
      </p:sp>
      <p:sp>
        <p:nvSpPr>
          <p:cNvPr id="8" name="TextBox 7">
            <a:extLst>
              <a:ext uri="{FF2B5EF4-FFF2-40B4-BE49-F238E27FC236}">
                <a16:creationId xmlns:a16="http://schemas.microsoft.com/office/drawing/2014/main" id="{348C51FB-C009-4C01-A97A-E9C574FA60DD}"/>
              </a:ext>
            </a:extLst>
          </p:cNvPr>
          <p:cNvSpPr txBox="1"/>
          <p:nvPr/>
        </p:nvSpPr>
        <p:spPr>
          <a:xfrm>
            <a:off x="598126" y="1935615"/>
            <a:ext cx="900000" cy="276999"/>
          </a:xfrm>
          <a:prstGeom prst="rect">
            <a:avLst/>
          </a:prstGeom>
          <a:solidFill>
            <a:srgbClr val="F79426"/>
          </a:solidFill>
          <a:ln>
            <a:no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Class IIb</a:t>
            </a:r>
          </a:p>
        </p:txBody>
      </p:sp>
      <p:sp>
        <p:nvSpPr>
          <p:cNvPr id="10" name="TextBox 9">
            <a:extLst>
              <a:ext uri="{FF2B5EF4-FFF2-40B4-BE49-F238E27FC236}">
                <a16:creationId xmlns:a16="http://schemas.microsoft.com/office/drawing/2014/main" id="{F35C2BB9-353C-4AC0-962B-F4786D3EF4C0}"/>
              </a:ext>
            </a:extLst>
          </p:cNvPr>
          <p:cNvSpPr txBox="1"/>
          <p:nvPr/>
        </p:nvSpPr>
        <p:spPr>
          <a:xfrm>
            <a:off x="2332796" y="1233277"/>
            <a:ext cx="6464382" cy="460800"/>
          </a:xfrm>
          <a:prstGeom prst="rect">
            <a:avLst/>
          </a:prstGeom>
          <a:noFill/>
          <a:ln w="12700">
            <a:solidFill>
              <a:schemeClr val="tx1"/>
            </a:solidFill>
          </a:ln>
        </p:spPr>
        <p:txBody>
          <a:bodyPr wrap="square" rtlCol="0" anchor="ctr" anchorCtr="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S PGothic" charset="0"/>
                <a:cs typeface="+mn-cs"/>
              </a:rPr>
              <a:t>HFrEF</a:t>
            </a:r>
          </a:p>
        </p:txBody>
      </p:sp>
      <p:sp>
        <p:nvSpPr>
          <p:cNvPr id="11" name="TextBox 10">
            <a:extLst>
              <a:ext uri="{FF2B5EF4-FFF2-40B4-BE49-F238E27FC236}">
                <a16:creationId xmlns:a16="http://schemas.microsoft.com/office/drawing/2014/main" id="{ED0F1FB2-5F4A-4D7D-A5A9-1C814E7BDF01}"/>
              </a:ext>
            </a:extLst>
          </p:cNvPr>
          <p:cNvSpPr txBox="1"/>
          <p:nvPr/>
        </p:nvSpPr>
        <p:spPr>
          <a:xfrm>
            <a:off x="2332795" y="1893559"/>
            <a:ext cx="6464382" cy="461665"/>
          </a:xfrm>
          <a:prstGeom prst="rect">
            <a:avLst/>
          </a:prstGeom>
          <a:solidFill>
            <a:srgbClr val="68B327"/>
          </a:solidFill>
          <a:ln w="12700">
            <a:no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ACEi/ARNi* </a:t>
            </a: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a:t>
            </a: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 BB </a:t>
            </a: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a:t>
            </a: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 MRA </a:t>
            </a: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a:t>
            </a: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 dapagliflozin/empagliflozin</a:t>
            </a:r>
            <a:b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a:t>
            </a: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 loop diuretic </a:t>
            </a: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for fluid retention</a:t>
            </a:r>
          </a:p>
        </p:txBody>
      </p:sp>
      <p:cxnSp>
        <p:nvCxnSpPr>
          <p:cNvPr id="12" name="Straight Arrow Connector 11">
            <a:extLst>
              <a:ext uri="{FF2B5EF4-FFF2-40B4-BE49-F238E27FC236}">
                <a16:creationId xmlns:a16="http://schemas.microsoft.com/office/drawing/2014/main" id="{F5A61621-42FC-4E8D-8E3E-CD8F56C0C296}"/>
              </a:ext>
            </a:extLst>
          </p:cNvPr>
          <p:cNvCxnSpPr>
            <a:cxnSpLocks/>
            <a:stCxn id="10" idx="2"/>
            <a:endCxn id="11" idx="0"/>
          </p:cNvCxnSpPr>
          <p:nvPr/>
        </p:nvCxnSpPr>
        <p:spPr>
          <a:xfrm flipH="1">
            <a:off x="5564986" y="1694077"/>
            <a:ext cx="1" cy="19948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62F3F2D-FB9D-4BB3-84FB-43F380D95B16}"/>
              </a:ext>
            </a:extLst>
          </p:cNvPr>
          <p:cNvCxnSpPr>
            <a:cxnSpLocks/>
            <a:stCxn id="11" idx="2"/>
            <a:endCxn id="19" idx="0"/>
          </p:cNvCxnSpPr>
          <p:nvPr/>
        </p:nvCxnSpPr>
        <p:spPr>
          <a:xfrm rot="5400000">
            <a:off x="4025138" y="1131966"/>
            <a:ext cx="316591" cy="2763106"/>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4986758B-42C5-4BF5-8E28-242EB82976C6}"/>
              </a:ext>
            </a:extLst>
          </p:cNvPr>
          <p:cNvCxnSpPr>
            <a:cxnSpLocks/>
            <a:stCxn id="11" idx="2"/>
            <a:endCxn id="20" idx="0"/>
          </p:cNvCxnSpPr>
          <p:nvPr/>
        </p:nvCxnSpPr>
        <p:spPr>
          <a:xfrm rot="16200000" flipH="1">
            <a:off x="6788243" y="1131966"/>
            <a:ext cx="316591" cy="2763105"/>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5290236-A267-4C5D-B356-FDD149C43F0B}"/>
              </a:ext>
            </a:extLst>
          </p:cNvPr>
          <p:cNvSpPr txBox="1"/>
          <p:nvPr/>
        </p:nvSpPr>
        <p:spPr>
          <a:xfrm>
            <a:off x="1581959" y="2671815"/>
            <a:ext cx="2439841" cy="461665"/>
          </a:xfrm>
          <a:prstGeom prst="rect">
            <a:avLst/>
          </a:prstGeom>
          <a:noFill/>
          <a:ln w="12700">
            <a:solidFill>
              <a:schemeClr val="tx1"/>
            </a:solid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LVEF ≤35% and QRS &lt;130 ms</a:t>
            </a:r>
            <a:b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and where appropriate</a:t>
            </a:r>
          </a:p>
        </p:txBody>
      </p:sp>
      <p:sp>
        <p:nvSpPr>
          <p:cNvPr id="20" name="TextBox 19">
            <a:extLst>
              <a:ext uri="{FF2B5EF4-FFF2-40B4-BE49-F238E27FC236}">
                <a16:creationId xmlns:a16="http://schemas.microsoft.com/office/drawing/2014/main" id="{D0313EDD-D627-46A3-B320-0F03A7ADBD91}"/>
              </a:ext>
            </a:extLst>
          </p:cNvPr>
          <p:cNvSpPr txBox="1"/>
          <p:nvPr/>
        </p:nvSpPr>
        <p:spPr>
          <a:xfrm>
            <a:off x="7108170" y="2671815"/>
            <a:ext cx="2439841" cy="461665"/>
          </a:xfrm>
          <a:prstGeom prst="rect">
            <a:avLst/>
          </a:prstGeom>
          <a:noFill/>
          <a:ln w="12700">
            <a:solidFill>
              <a:schemeClr val="tx1"/>
            </a:solid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SR and LVEF ≤35% </a:t>
            </a:r>
            <a:b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and QRS ≥130 ms</a:t>
            </a:r>
          </a:p>
        </p:txBody>
      </p:sp>
      <p:sp>
        <p:nvSpPr>
          <p:cNvPr id="21" name="TextBox 20">
            <a:extLst>
              <a:ext uri="{FF2B5EF4-FFF2-40B4-BE49-F238E27FC236}">
                <a16:creationId xmlns:a16="http://schemas.microsoft.com/office/drawing/2014/main" id="{7F5A49DB-48E6-467B-A3F2-ED004961FB42}"/>
              </a:ext>
            </a:extLst>
          </p:cNvPr>
          <p:cNvSpPr txBox="1"/>
          <p:nvPr/>
        </p:nvSpPr>
        <p:spPr>
          <a:xfrm>
            <a:off x="4345066" y="2671815"/>
            <a:ext cx="2439841" cy="461665"/>
          </a:xfrm>
          <a:prstGeom prst="rect">
            <a:avLst/>
          </a:prstGeom>
          <a:noFill/>
          <a:ln w="12700">
            <a:solidFill>
              <a:schemeClr val="tx1"/>
            </a:solid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LVEF &gt;35% or device therapy not indicated or inappropriate </a:t>
            </a:r>
          </a:p>
        </p:txBody>
      </p:sp>
      <p:cxnSp>
        <p:nvCxnSpPr>
          <p:cNvPr id="22" name="Straight Arrow Connector 21">
            <a:extLst>
              <a:ext uri="{FF2B5EF4-FFF2-40B4-BE49-F238E27FC236}">
                <a16:creationId xmlns:a16="http://schemas.microsoft.com/office/drawing/2014/main" id="{662872DF-AD77-4682-8E38-3A0DFCDA509C}"/>
              </a:ext>
            </a:extLst>
          </p:cNvPr>
          <p:cNvCxnSpPr>
            <a:cxnSpLocks/>
            <a:stCxn id="11" idx="2"/>
            <a:endCxn id="21" idx="0"/>
          </p:cNvCxnSpPr>
          <p:nvPr/>
        </p:nvCxnSpPr>
        <p:spPr>
          <a:xfrm>
            <a:off x="5564986" y="2355224"/>
            <a:ext cx="1" cy="31659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35CC1FD-6CF1-4B08-8086-5B6AD12F1A97}"/>
              </a:ext>
            </a:extLst>
          </p:cNvPr>
          <p:cNvGrpSpPr/>
          <p:nvPr/>
        </p:nvGrpSpPr>
        <p:grpSpPr>
          <a:xfrm>
            <a:off x="1581957" y="3331066"/>
            <a:ext cx="2439842" cy="530035"/>
            <a:chOff x="228359" y="4112246"/>
            <a:chExt cx="2439842" cy="611496"/>
          </a:xfrm>
          <a:gradFill>
            <a:gsLst>
              <a:gs pos="0">
                <a:srgbClr val="68B327"/>
              </a:gs>
              <a:gs pos="50000">
                <a:srgbClr val="92D050"/>
              </a:gs>
              <a:gs pos="52000">
                <a:srgbClr val="FFCF06"/>
              </a:gs>
              <a:gs pos="100000">
                <a:srgbClr val="FFCF06"/>
              </a:gs>
            </a:gsLst>
            <a:lin ang="0" scaled="1"/>
          </a:gradFill>
        </p:grpSpPr>
        <p:sp>
          <p:nvSpPr>
            <p:cNvPr id="37" name="TextBox 36">
              <a:extLst>
                <a:ext uri="{FF2B5EF4-FFF2-40B4-BE49-F238E27FC236}">
                  <a16:creationId xmlns:a16="http://schemas.microsoft.com/office/drawing/2014/main" id="{41AAD8EA-1D33-45ED-8129-A5FEFCAC07C4}"/>
                </a:ext>
              </a:extLst>
            </p:cNvPr>
            <p:cNvSpPr txBox="1"/>
            <p:nvPr/>
          </p:nvSpPr>
          <p:spPr>
            <a:xfrm>
              <a:off x="228360" y="4225343"/>
              <a:ext cx="2439841" cy="498399"/>
            </a:xfrm>
            <a:prstGeom prst="rect">
              <a:avLst/>
            </a:prstGeom>
            <a:gradFill>
              <a:gsLst>
                <a:gs pos="0">
                  <a:srgbClr val="FFCF06"/>
                </a:gs>
                <a:gs pos="50000">
                  <a:srgbClr val="FFCF06"/>
                </a:gs>
                <a:gs pos="52000">
                  <a:srgbClr val="79BF38"/>
                </a:gs>
                <a:gs pos="100000">
                  <a:srgbClr val="79BF38"/>
                </a:gs>
              </a:gsLst>
            </a:gradFill>
            <a:ln w="12700">
              <a:noFill/>
            </a:ln>
          </p:spPr>
          <p:txBody>
            <a:bodyPr wrap="square" numCol="2"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Nonischemic (class IIa)</a:t>
              </a: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S PGothic" charset="0"/>
                <a:cs typeface="+mn-cs"/>
              </a:endParaRP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Ischemic</a:t>
              </a:r>
              <a:b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class I)</a:t>
              </a: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30000" noProof="0" dirty="0">
                <a:ln>
                  <a:noFill/>
                </a:ln>
                <a:solidFill>
                  <a:srgbClr val="53585A"/>
                </a:solidFill>
                <a:effectLst/>
                <a:uLnTx/>
                <a:uFillTx/>
                <a:latin typeface="Arial"/>
                <a:ea typeface="MS PGothic" charset="0"/>
                <a:cs typeface="+mn-cs"/>
              </a:endParaRPr>
            </a:p>
          </p:txBody>
        </p:sp>
        <p:sp>
          <p:nvSpPr>
            <p:cNvPr id="38" name="TextBox 37">
              <a:extLst>
                <a:ext uri="{FF2B5EF4-FFF2-40B4-BE49-F238E27FC236}">
                  <a16:creationId xmlns:a16="http://schemas.microsoft.com/office/drawing/2014/main" id="{208601C1-99CC-4C81-9F28-BB3DE778B531}"/>
                </a:ext>
              </a:extLst>
            </p:cNvPr>
            <p:cNvSpPr txBox="1"/>
            <p:nvPr/>
          </p:nvSpPr>
          <p:spPr>
            <a:xfrm>
              <a:off x="228359" y="4112246"/>
              <a:ext cx="2439841" cy="211660"/>
            </a:xfrm>
            <a:prstGeom prst="rect">
              <a:avLst/>
            </a:prstGeom>
            <a:gradFill>
              <a:gsLst>
                <a:gs pos="0">
                  <a:srgbClr val="FFCF06"/>
                </a:gs>
                <a:gs pos="50000">
                  <a:srgbClr val="FFCF06"/>
                </a:gs>
                <a:gs pos="52000">
                  <a:srgbClr val="79BF38"/>
                </a:gs>
                <a:gs pos="100000">
                  <a:srgbClr val="79BF38"/>
                </a:gs>
              </a:gsLst>
            </a:gradFill>
            <a:ln w="12700">
              <a:noFill/>
            </a:ln>
          </p:spPr>
          <p:txBody>
            <a:bodyPr wrap="square"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ICD</a:t>
              </a:r>
              <a:endParaRPr kumimoji="0" lang="en-GB" sz="1200" b="1" i="0" u="none" strike="noStrike" kern="1200" cap="none" spc="0" normalizeH="0" baseline="30000" noProof="0" dirty="0">
                <a:ln>
                  <a:noFill/>
                </a:ln>
                <a:solidFill>
                  <a:srgbClr val="000000"/>
                </a:solidFill>
                <a:effectLst/>
                <a:uLnTx/>
                <a:uFillTx/>
                <a:latin typeface="Arial"/>
                <a:ea typeface="MS PGothic" charset="0"/>
                <a:cs typeface="+mn-cs"/>
              </a:endParaRPr>
            </a:p>
          </p:txBody>
        </p:sp>
      </p:grpSp>
      <p:cxnSp>
        <p:nvCxnSpPr>
          <p:cNvPr id="24" name="Straight Arrow Connector 23">
            <a:extLst>
              <a:ext uri="{FF2B5EF4-FFF2-40B4-BE49-F238E27FC236}">
                <a16:creationId xmlns:a16="http://schemas.microsoft.com/office/drawing/2014/main" id="{729F85A0-4BC9-4BE0-8B55-DEF4211017F6}"/>
              </a:ext>
            </a:extLst>
          </p:cNvPr>
          <p:cNvCxnSpPr>
            <a:cxnSpLocks/>
            <a:stCxn id="20" idx="2"/>
            <a:endCxn id="36" idx="0"/>
          </p:cNvCxnSpPr>
          <p:nvPr/>
        </p:nvCxnSpPr>
        <p:spPr>
          <a:xfrm flipH="1">
            <a:off x="8325909" y="3133480"/>
            <a:ext cx="2182" cy="13426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5D63190-6380-42B1-A65E-F13B97E30CA1}"/>
              </a:ext>
            </a:extLst>
          </p:cNvPr>
          <p:cNvCxnSpPr>
            <a:cxnSpLocks/>
            <a:stCxn id="19" idx="2"/>
            <a:endCxn id="38" idx="0"/>
          </p:cNvCxnSpPr>
          <p:nvPr/>
        </p:nvCxnSpPr>
        <p:spPr>
          <a:xfrm flipH="1">
            <a:off x="2801878" y="3133480"/>
            <a:ext cx="2" cy="19758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4918B64-E816-49BF-83F8-2F6E7AEF7199}"/>
              </a:ext>
            </a:extLst>
          </p:cNvPr>
          <p:cNvGrpSpPr/>
          <p:nvPr/>
        </p:nvGrpSpPr>
        <p:grpSpPr>
          <a:xfrm>
            <a:off x="332494" y="3133480"/>
            <a:ext cx="10460208" cy="2230396"/>
            <a:chOff x="332494" y="3133480"/>
            <a:chExt cx="10460208" cy="2230396"/>
          </a:xfrm>
        </p:grpSpPr>
        <p:sp>
          <p:nvSpPr>
            <p:cNvPr id="16" name="TextBox 15">
              <a:extLst>
                <a:ext uri="{FF2B5EF4-FFF2-40B4-BE49-F238E27FC236}">
                  <a16:creationId xmlns:a16="http://schemas.microsoft.com/office/drawing/2014/main" id="{6602214B-CCDD-4793-9F9A-9B04429CE23A}"/>
                </a:ext>
              </a:extLst>
            </p:cNvPr>
            <p:cNvSpPr txBox="1"/>
            <p:nvPr/>
          </p:nvSpPr>
          <p:spPr>
            <a:xfrm>
              <a:off x="332494" y="4592038"/>
              <a:ext cx="2390579" cy="771837"/>
            </a:xfrm>
            <a:prstGeom prst="rect">
              <a:avLst/>
            </a:prstGeom>
            <a:solidFill>
              <a:srgbClr val="F79426"/>
            </a:solidFill>
            <a:ln w="12700">
              <a:noFill/>
            </a:ln>
          </p:spPr>
          <p:txBody>
            <a:bodyPr wrap="square" tIns="108000" rtlCol="0" anchor="t"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S PGothic" charset="0"/>
                  <a:cs typeface="+mn-cs"/>
                </a:rPr>
                <a:t>Vericiguat </a:t>
              </a: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may be considered in patients in NYHA class II–IV who have had worsening HF despite treatment with an ACEi/ARNi, BB and MRA</a:t>
              </a:r>
              <a:endParaRPr kumimoji="0" lang="en-GB" sz="1000" b="0" i="0" u="none" strike="noStrike" kern="1200" cap="none" spc="0" normalizeH="0" baseline="30000" noProof="0" dirty="0">
                <a:ln>
                  <a:noFill/>
                </a:ln>
                <a:solidFill>
                  <a:srgbClr val="000000"/>
                </a:solidFill>
                <a:effectLst/>
                <a:uLnTx/>
                <a:uFillTx/>
                <a:latin typeface="Arial"/>
                <a:ea typeface="MS PGothic" charset="0"/>
                <a:cs typeface="+mn-cs"/>
              </a:endParaRPr>
            </a:p>
          </p:txBody>
        </p:sp>
        <p:sp>
          <p:nvSpPr>
            <p:cNvPr id="17" name="TextBox 16">
              <a:extLst>
                <a:ext uri="{FF2B5EF4-FFF2-40B4-BE49-F238E27FC236}">
                  <a16:creationId xmlns:a16="http://schemas.microsoft.com/office/drawing/2014/main" id="{FE82C919-C4CA-40C7-B985-23F3866F648D}"/>
                </a:ext>
              </a:extLst>
            </p:cNvPr>
            <p:cNvSpPr txBox="1"/>
            <p:nvPr/>
          </p:nvSpPr>
          <p:spPr>
            <a:xfrm>
              <a:off x="2876676" y="4592038"/>
              <a:ext cx="2221229" cy="771838"/>
            </a:xfrm>
            <a:prstGeom prst="rect">
              <a:avLst/>
            </a:prstGeom>
            <a:solidFill>
              <a:srgbClr val="FFCF06"/>
            </a:solidFill>
            <a:ln w="12700">
              <a:noFill/>
            </a:ln>
          </p:spPr>
          <p:txBody>
            <a:bodyPr wrap="square" tIns="108000" rtlCol="0" anchor="t"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Consider</a:t>
              </a:r>
              <a:r>
                <a:rPr kumimoji="0" lang="en-GB" sz="1000" b="1" i="0" u="none" strike="noStrike" kern="1200" cap="none" spc="0" normalizeH="0" baseline="0" noProof="0" dirty="0">
                  <a:ln>
                    <a:noFill/>
                  </a:ln>
                  <a:solidFill>
                    <a:srgbClr val="000000"/>
                  </a:solidFill>
                  <a:effectLst/>
                  <a:uLnTx/>
                  <a:uFillTx/>
                  <a:latin typeface="Arial"/>
                  <a:ea typeface="MS PGothic" charset="0"/>
                  <a:cs typeface="+mn-cs"/>
                </a:rPr>
                <a:t> ivabradine </a:t>
              </a: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if LVEF ≤35% in SR and HR ≥70 bpm despite treatment with a BB (if tolerated), ACEi/ARNi and MRA</a:t>
              </a:r>
              <a:endParaRPr kumimoji="0" lang="en-GB" sz="1200" b="0"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18" name="TextBox 17">
              <a:extLst>
                <a:ext uri="{FF2B5EF4-FFF2-40B4-BE49-F238E27FC236}">
                  <a16:creationId xmlns:a16="http://schemas.microsoft.com/office/drawing/2014/main" id="{0DCCC976-2E03-4244-88D3-BFD12C26979F}"/>
                </a:ext>
              </a:extLst>
            </p:cNvPr>
            <p:cNvSpPr txBox="1"/>
            <p:nvPr/>
          </p:nvSpPr>
          <p:spPr>
            <a:xfrm>
              <a:off x="5251508" y="4592038"/>
              <a:ext cx="3243830" cy="771838"/>
            </a:xfrm>
            <a:prstGeom prst="rect">
              <a:avLst/>
            </a:prstGeom>
            <a:solidFill>
              <a:srgbClr val="FFCF06"/>
            </a:solidFill>
            <a:ln w="12700">
              <a:noFill/>
            </a:ln>
          </p:spPr>
          <p:txBody>
            <a:bodyPr wrap="square" tIns="108000" rtlCol="0" anchor="t"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Consider</a:t>
              </a:r>
              <a:r>
                <a:rPr kumimoji="0" lang="en-GB" sz="1000" b="1" i="0" u="none" strike="noStrike" kern="1200" cap="none" spc="0" normalizeH="0" baseline="0" noProof="0" dirty="0">
                  <a:ln>
                    <a:noFill/>
                  </a:ln>
                  <a:solidFill>
                    <a:srgbClr val="000000"/>
                  </a:solidFill>
                  <a:effectLst/>
                  <a:uLnTx/>
                  <a:uFillTx/>
                  <a:latin typeface="Arial"/>
                  <a:ea typeface="MS PGothic" charset="0"/>
                  <a:cs typeface="+mn-cs"/>
                </a:rPr>
                <a:t> hydralazine and isosorbide dinitrate </a:t>
              </a: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for</a:t>
              </a:r>
              <a:r>
                <a:rPr kumimoji="0" lang="en-GB" sz="1000" b="1" i="0" u="none" strike="noStrike" kern="1200" cap="none" spc="0" normalizeH="0" baseline="0" noProof="0" dirty="0">
                  <a:ln>
                    <a:noFill/>
                  </a:ln>
                  <a:solidFill>
                    <a:srgbClr val="000000"/>
                  </a:solidFill>
                  <a:effectLst/>
                  <a:uLnTx/>
                  <a:uFillTx/>
                  <a:latin typeface="Arial"/>
                  <a:ea typeface="MS PGothic" charset="0"/>
                  <a:cs typeface="+mn-cs"/>
                </a:rPr>
                <a:t> </a:t>
              </a: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Black patients with LVEF ≤35% or with an LVEF &lt;45% combined with a dilated LV in NYHA class III–IV</a:t>
              </a:r>
              <a:r>
                <a:rPr kumimoji="0" lang="en-GB" sz="1000" b="1" i="0" u="none" strike="noStrike" kern="1200" cap="none" spc="0" normalizeH="0" baseline="0" noProof="0" dirty="0">
                  <a:ln>
                    <a:noFill/>
                  </a:ln>
                  <a:solidFill>
                    <a:srgbClr val="000000"/>
                  </a:solidFill>
                  <a:effectLst/>
                  <a:uLnTx/>
                  <a:uFillTx/>
                  <a:latin typeface="Arial"/>
                  <a:ea typeface="MS PGothic" charset="0"/>
                  <a:cs typeface="+mn-cs"/>
                </a:rPr>
                <a:t> </a:t>
              </a: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despite treatment with an ACEi/ARNi, BB and MRA</a:t>
              </a:r>
              <a:endParaRPr kumimoji="0" lang="en-GB" sz="1000" b="0" i="0" u="none" strike="noStrike" kern="1200" cap="none" spc="0" normalizeH="0" baseline="30000" noProof="0" dirty="0">
                <a:ln>
                  <a:noFill/>
                </a:ln>
                <a:solidFill>
                  <a:srgbClr val="000000"/>
                </a:solidFill>
                <a:effectLst/>
                <a:uLnTx/>
                <a:uFillTx/>
                <a:latin typeface="Arial"/>
                <a:ea typeface="MS PGothic" charset="0"/>
                <a:cs typeface="+mn-cs"/>
              </a:endParaRPr>
            </a:p>
          </p:txBody>
        </p:sp>
        <p:sp>
          <p:nvSpPr>
            <p:cNvPr id="26" name="TextBox 25">
              <a:extLst>
                <a:ext uri="{FF2B5EF4-FFF2-40B4-BE49-F238E27FC236}">
                  <a16:creationId xmlns:a16="http://schemas.microsoft.com/office/drawing/2014/main" id="{1D0943F7-D180-43F8-ACD7-E829EDA2EA6C}"/>
                </a:ext>
              </a:extLst>
            </p:cNvPr>
            <p:cNvSpPr txBox="1"/>
            <p:nvPr/>
          </p:nvSpPr>
          <p:spPr>
            <a:xfrm>
              <a:off x="2327705" y="4075835"/>
              <a:ext cx="6470198" cy="276999"/>
            </a:xfrm>
            <a:prstGeom prst="rect">
              <a:avLst/>
            </a:prstGeom>
            <a:noFill/>
            <a:ln w="12700">
              <a:solidFill>
                <a:schemeClr val="tx1"/>
              </a:solidFill>
            </a:ln>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S PGothic" charset="0"/>
                  <a:cs typeface="+mn-cs"/>
                </a:rPr>
                <a:t>If symptoms persist, consider therapies with class II recommendations</a:t>
              </a:r>
            </a:p>
          </p:txBody>
        </p:sp>
        <p:sp>
          <p:nvSpPr>
            <p:cNvPr id="27" name="TextBox 26">
              <a:extLst>
                <a:ext uri="{FF2B5EF4-FFF2-40B4-BE49-F238E27FC236}">
                  <a16:creationId xmlns:a16="http://schemas.microsoft.com/office/drawing/2014/main" id="{B8C68980-D8A0-40E5-857A-9BCA21DC63A8}"/>
                </a:ext>
              </a:extLst>
            </p:cNvPr>
            <p:cNvSpPr txBox="1"/>
            <p:nvPr/>
          </p:nvSpPr>
          <p:spPr>
            <a:xfrm>
              <a:off x="8648942" y="4592038"/>
              <a:ext cx="2143760" cy="771838"/>
            </a:xfrm>
            <a:prstGeom prst="rect">
              <a:avLst/>
            </a:prstGeom>
            <a:solidFill>
              <a:srgbClr val="F79426"/>
            </a:solidFill>
            <a:ln w="12700">
              <a:noFill/>
            </a:ln>
          </p:spPr>
          <p:txBody>
            <a:bodyPr wrap="square" tIns="108000" rtlCol="0" anchor="t"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ea typeface="MS PGothic" charset="0"/>
                  <a:cs typeface="+mn-cs"/>
                </a:rPr>
                <a:t>Digoxin </a:t>
              </a:r>
              <a:r>
                <a:rPr kumimoji="0" lang="en-GB" sz="1000" b="0" i="0" u="none" strike="noStrike" kern="1200" cap="none" spc="0" normalizeH="0" baseline="0" noProof="0" dirty="0">
                  <a:ln>
                    <a:noFill/>
                  </a:ln>
                  <a:solidFill>
                    <a:srgbClr val="000000"/>
                  </a:solidFill>
                  <a:effectLst/>
                  <a:uLnTx/>
                  <a:uFillTx/>
                  <a:latin typeface="Arial"/>
                  <a:ea typeface="MS PGothic" charset="0"/>
                  <a:cs typeface="+mn-cs"/>
                </a:rPr>
                <a:t>may be considered in patients with symptomatic HFrEF in SR despite treatment with an ACEi/ARNi, BB and MRA</a:t>
              </a:r>
              <a:endParaRPr kumimoji="0" lang="en-GB" sz="1200" b="0" i="0" u="none" strike="noStrike" kern="1200" cap="none" spc="0" normalizeH="0" baseline="0" noProof="0" dirty="0">
                <a:ln>
                  <a:noFill/>
                </a:ln>
                <a:solidFill>
                  <a:srgbClr val="000000"/>
                </a:solidFill>
                <a:effectLst/>
                <a:uLnTx/>
                <a:uFillTx/>
                <a:latin typeface="Arial"/>
                <a:ea typeface="MS PGothic" charset="0"/>
                <a:cs typeface="+mn-cs"/>
              </a:endParaRPr>
            </a:p>
          </p:txBody>
        </p:sp>
        <p:cxnSp>
          <p:nvCxnSpPr>
            <p:cNvPr id="28" name="Connector: Elbow 27">
              <a:extLst>
                <a:ext uri="{FF2B5EF4-FFF2-40B4-BE49-F238E27FC236}">
                  <a16:creationId xmlns:a16="http://schemas.microsoft.com/office/drawing/2014/main" id="{8765DAFC-B82D-49A6-BF39-65CDDA9C0A64}"/>
                </a:ext>
              </a:extLst>
            </p:cNvPr>
            <p:cNvCxnSpPr>
              <a:cxnSpLocks/>
              <a:stCxn id="37" idx="2"/>
              <a:endCxn id="26" idx="0"/>
            </p:cNvCxnSpPr>
            <p:nvPr/>
          </p:nvCxnSpPr>
          <p:spPr>
            <a:xfrm rot="16200000" flipH="1">
              <a:off x="4074954" y="2587984"/>
              <a:ext cx="214775" cy="2760925"/>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A6E10BD-7FBA-48E7-97DD-B3BB4B5DC8D0}"/>
                </a:ext>
              </a:extLst>
            </p:cNvPr>
            <p:cNvCxnSpPr>
              <a:cxnSpLocks/>
              <a:stCxn id="35" idx="2"/>
              <a:endCxn id="26" idx="0"/>
            </p:cNvCxnSpPr>
            <p:nvPr/>
          </p:nvCxnSpPr>
          <p:spPr>
            <a:xfrm rot="5400000">
              <a:off x="6851803" y="2601728"/>
              <a:ext cx="185108" cy="2763106"/>
            </a:xfrm>
            <a:prstGeom prst="bentConnector3">
              <a:avLst>
                <a:gd name="adj1" fmla="val 4207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CB8DF58A-8935-4509-B31A-C50D2175AF66}"/>
                </a:ext>
              </a:extLst>
            </p:cNvPr>
            <p:cNvCxnSpPr>
              <a:cxnSpLocks/>
              <a:stCxn id="26" idx="2"/>
              <a:endCxn id="16" idx="0"/>
            </p:cNvCxnSpPr>
            <p:nvPr/>
          </p:nvCxnSpPr>
          <p:spPr>
            <a:xfrm rot="5400000">
              <a:off x="3425692" y="2454926"/>
              <a:ext cx="239204" cy="403502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4D630069-2071-4AA4-9733-23425C0CA55A}"/>
                </a:ext>
              </a:extLst>
            </p:cNvPr>
            <p:cNvCxnSpPr>
              <a:cxnSpLocks/>
              <a:stCxn id="26" idx="2"/>
              <a:endCxn id="17" idx="0"/>
            </p:cNvCxnSpPr>
            <p:nvPr/>
          </p:nvCxnSpPr>
          <p:spPr>
            <a:xfrm rot="5400000">
              <a:off x="4655446" y="3684680"/>
              <a:ext cx="239204" cy="157551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19E19C30-F976-4238-8123-79ED875F5BE0}"/>
                </a:ext>
              </a:extLst>
            </p:cNvPr>
            <p:cNvCxnSpPr>
              <a:cxnSpLocks/>
              <a:stCxn id="26" idx="2"/>
              <a:endCxn id="18" idx="0"/>
            </p:cNvCxnSpPr>
            <p:nvPr/>
          </p:nvCxnSpPr>
          <p:spPr>
            <a:xfrm rot="16200000" flipH="1">
              <a:off x="6098511" y="3817126"/>
              <a:ext cx="239204" cy="131061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83113986-6FA8-4E33-AD9A-A00167B9B2BC}"/>
                </a:ext>
              </a:extLst>
            </p:cNvPr>
            <p:cNvCxnSpPr>
              <a:cxnSpLocks/>
              <a:stCxn id="26" idx="2"/>
              <a:endCxn id="27" idx="0"/>
            </p:cNvCxnSpPr>
            <p:nvPr/>
          </p:nvCxnSpPr>
          <p:spPr>
            <a:xfrm rot="16200000" flipH="1">
              <a:off x="7522211" y="2393427"/>
              <a:ext cx="239204" cy="415801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B09C04B-7738-4A9F-8126-66172179613B}"/>
                </a:ext>
              </a:extLst>
            </p:cNvPr>
            <p:cNvCxnSpPr>
              <a:cxnSpLocks/>
              <a:stCxn id="21" idx="2"/>
              <a:endCxn id="26" idx="0"/>
            </p:cNvCxnSpPr>
            <p:nvPr/>
          </p:nvCxnSpPr>
          <p:spPr>
            <a:xfrm flipH="1">
              <a:off x="5562804" y="3133480"/>
              <a:ext cx="2183" cy="9423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26DF79F7-87B9-4E41-888C-6DE7FBE4C6FC}"/>
              </a:ext>
            </a:extLst>
          </p:cNvPr>
          <p:cNvSpPr txBox="1"/>
          <p:nvPr/>
        </p:nvSpPr>
        <p:spPr>
          <a:xfrm>
            <a:off x="7105991" y="3429062"/>
            <a:ext cx="2439838" cy="461665"/>
          </a:xfrm>
          <a:prstGeom prst="rect">
            <a:avLst/>
          </a:prstGeom>
          <a:gradFill>
            <a:gsLst>
              <a:gs pos="0">
                <a:srgbClr val="FFCF06"/>
              </a:gs>
              <a:gs pos="50000">
                <a:srgbClr val="FFCF06"/>
              </a:gs>
              <a:gs pos="52000">
                <a:srgbClr val="79BF38"/>
              </a:gs>
              <a:gs pos="100000">
                <a:srgbClr val="79BF38"/>
              </a:gs>
            </a:gsLst>
            <a:lin ang="0" scaled="1"/>
          </a:gradFill>
          <a:ln w="12700">
            <a:noFill/>
          </a:ln>
        </p:spPr>
        <p:txBody>
          <a:bodyPr wrap="square" lIns="0" rIns="0" numCol="2"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20" normalizeH="0" baseline="0" noProof="0" dirty="0">
                <a:ln>
                  <a:noFill/>
                </a:ln>
                <a:solidFill>
                  <a:srgbClr val="000000"/>
                </a:solidFill>
                <a:effectLst/>
                <a:uLnTx/>
                <a:uFillTx/>
                <a:latin typeface="Arial"/>
                <a:ea typeface="MS PGothic" charset="0"/>
                <a:cs typeface="+mn-cs"/>
              </a:rPr>
              <a:t>QRS 130–149 ms (class IIa)</a:t>
            </a: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20" normalizeH="0" baseline="0" noProof="0" dirty="0">
              <a:ln>
                <a:noFill/>
              </a:ln>
              <a:solidFill>
                <a:srgbClr val="000000"/>
              </a:solidFill>
              <a:effectLst/>
              <a:uLnTx/>
              <a:uFillTx/>
              <a:latin typeface="Arial"/>
              <a:ea typeface="MS PGothic" charset="0"/>
              <a:cs typeface="+mn-cs"/>
            </a:endParaRP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20" normalizeH="0" baseline="0" noProof="0" dirty="0">
                <a:ln>
                  <a:noFill/>
                </a:ln>
                <a:solidFill>
                  <a:srgbClr val="000000"/>
                </a:solidFill>
                <a:effectLst/>
                <a:uLnTx/>
                <a:uFillTx/>
                <a:latin typeface="Arial"/>
                <a:ea typeface="MS PGothic" charset="0"/>
                <a:cs typeface="+mn-cs"/>
              </a:rPr>
              <a:t>QRS ≥150 ms</a:t>
            </a:r>
            <a:br>
              <a:rPr kumimoji="0" lang="en-GB" sz="1200" b="0" i="0" u="none" strike="noStrike" kern="1200" cap="none" spc="-20" normalizeH="0" baseline="0" noProof="0" dirty="0">
                <a:ln>
                  <a:noFill/>
                </a:ln>
                <a:solidFill>
                  <a:srgbClr val="000000"/>
                </a:solidFill>
                <a:effectLst/>
                <a:uLnTx/>
                <a:uFillTx/>
                <a:latin typeface="Arial"/>
                <a:ea typeface="MS PGothic" charset="0"/>
                <a:cs typeface="+mn-cs"/>
              </a:rPr>
            </a:br>
            <a:r>
              <a:rPr kumimoji="0" lang="en-GB" sz="1200" b="0" i="0" u="none" strike="noStrike" kern="1200" cap="none" spc="-20" normalizeH="0" baseline="0" noProof="0" dirty="0">
                <a:ln>
                  <a:noFill/>
                </a:ln>
                <a:solidFill>
                  <a:srgbClr val="000000"/>
                </a:solidFill>
                <a:effectLst/>
                <a:uLnTx/>
                <a:uFillTx/>
                <a:latin typeface="Arial"/>
                <a:ea typeface="MS PGothic" charset="0"/>
                <a:cs typeface="+mn-cs"/>
              </a:rPr>
              <a:t>(class I)</a:t>
            </a: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20" normalizeH="0" baseline="30000" noProof="0" dirty="0">
              <a:ln>
                <a:noFill/>
              </a:ln>
              <a:solidFill>
                <a:srgbClr val="53585A"/>
              </a:solidFill>
              <a:effectLst/>
              <a:uLnTx/>
              <a:uFillTx/>
              <a:latin typeface="Arial"/>
              <a:ea typeface="MS PGothic" charset="0"/>
              <a:cs typeface="+mn-cs"/>
            </a:endParaRPr>
          </a:p>
        </p:txBody>
      </p:sp>
      <p:sp>
        <p:nvSpPr>
          <p:cNvPr id="36" name="TextBox 35">
            <a:extLst>
              <a:ext uri="{FF2B5EF4-FFF2-40B4-BE49-F238E27FC236}">
                <a16:creationId xmlns:a16="http://schemas.microsoft.com/office/drawing/2014/main" id="{57239392-3D3D-4A05-AE4B-AA32B07480CB}"/>
              </a:ext>
            </a:extLst>
          </p:cNvPr>
          <p:cNvSpPr txBox="1"/>
          <p:nvPr/>
        </p:nvSpPr>
        <p:spPr>
          <a:xfrm>
            <a:off x="7105990" y="3267745"/>
            <a:ext cx="2439838" cy="196059"/>
          </a:xfrm>
          <a:prstGeom prst="rect">
            <a:avLst/>
          </a:prstGeom>
          <a:gradFill>
            <a:gsLst>
              <a:gs pos="0">
                <a:srgbClr val="FFCF06"/>
              </a:gs>
              <a:gs pos="50000">
                <a:srgbClr val="FFCF06"/>
              </a:gs>
              <a:gs pos="52000">
                <a:srgbClr val="79BF38"/>
              </a:gs>
              <a:gs pos="100000">
                <a:srgbClr val="79BF38"/>
              </a:gs>
            </a:gsLst>
            <a:lin ang="0" scaled="1"/>
          </a:gradFill>
          <a:ln w="12700">
            <a:noFill/>
          </a:ln>
        </p:spPr>
        <p:txBody>
          <a:bodyPr wrap="square" rtlCol="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CRT-D</a:t>
            </a:r>
            <a:r>
              <a:rPr kumimoji="0" lang="en-GB" sz="1200" b="0" i="0" u="none" strike="noStrike" kern="1200" cap="none" spc="0" normalizeH="0" baseline="30000" noProof="0" dirty="0">
                <a:ln>
                  <a:noFill/>
                </a:ln>
                <a:solidFill>
                  <a:srgbClr val="000000"/>
                </a:solidFill>
                <a:effectLst/>
                <a:uLnTx/>
                <a:uFillTx/>
                <a:latin typeface="Arial"/>
                <a:ea typeface="MS PGothic" charset="0"/>
                <a:cs typeface="+mn-cs"/>
              </a:rPr>
              <a:t>#</a:t>
            </a:r>
            <a:r>
              <a:rPr kumimoji="0" lang="en-GB" sz="1200" b="1" i="0" u="none" strike="noStrike" kern="1200" cap="none" spc="0" normalizeH="0" baseline="0" noProof="0" dirty="0">
                <a:ln>
                  <a:noFill/>
                </a:ln>
                <a:solidFill>
                  <a:srgbClr val="000000"/>
                </a:solidFill>
                <a:effectLst/>
                <a:uLnTx/>
                <a:uFillTx/>
                <a:latin typeface="Arial"/>
                <a:ea typeface="MS PGothic" charset="0"/>
                <a:cs typeface="+mn-cs"/>
              </a:rPr>
              <a:t>/P</a:t>
            </a:r>
            <a:endParaRPr kumimoji="0" lang="en-GB" sz="1200" b="1" i="0" u="none" strike="noStrike" kern="1200" cap="none" spc="0" normalizeH="0" baseline="30000" noProof="0" dirty="0">
              <a:ln>
                <a:noFill/>
              </a:ln>
              <a:solidFill>
                <a:srgbClr val="000000"/>
              </a:solidFill>
              <a:effectLst/>
              <a:uLnTx/>
              <a:uFillTx/>
              <a:latin typeface="Arial"/>
              <a:ea typeface="MS PGothic" charset="0"/>
              <a:cs typeface="+mn-cs"/>
            </a:endParaRPr>
          </a:p>
        </p:txBody>
      </p:sp>
      <p:sp>
        <p:nvSpPr>
          <p:cNvPr id="41" name="Slide Number Placeholder 40">
            <a:extLst>
              <a:ext uri="{FF2B5EF4-FFF2-40B4-BE49-F238E27FC236}">
                <a16:creationId xmlns:a16="http://schemas.microsoft.com/office/drawing/2014/main" id="{EED2BE27-B291-4926-ABAC-913B1551056D}"/>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1727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20">
            <a:extLst>
              <a:ext uri="{FF2B5EF4-FFF2-40B4-BE49-F238E27FC236}">
                <a16:creationId xmlns:a16="http://schemas.microsoft.com/office/drawing/2014/main" id="{02BE4A39-EB81-4BBE-8B91-82B200C57624}"/>
              </a:ext>
            </a:extLst>
          </p:cNvPr>
          <p:cNvGraphicFramePr>
            <a:graphicFrameLocks noGrp="1"/>
          </p:cNvGraphicFramePr>
          <p:nvPr>
            <p:ph sz="quarter" idx="13"/>
          </p:nvPr>
        </p:nvGraphicFramePr>
        <p:xfrm>
          <a:off x="596900" y="1412875"/>
          <a:ext cx="9928800" cy="3924738"/>
        </p:xfrm>
        <a:graphic>
          <a:graphicData uri="http://schemas.openxmlformats.org/drawingml/2006/table">
            <a:tbl>
              <a:tblPr firstRow="1" bandRow="1">
                <a:tableStyleId>{74C1A8A3-306A-4EB7-A6B1-4F7E0EB9C5D6}</a:tableStyleId>
              </a:tblPr>
              <a:tblGrid>
                <a:gridCol w="7659340">
                  <a:extLst>
                    <a:ext uri="{9D8B030D-6E8A-4147-A177-3AD203B41FA5}">
                      <a16:colId xmlns:a16="http://schemas.microsoft.com/office/drawing/2014/main" val="1541236114"/>
                    </a:ext>
                  </a:extLst>
                </a:gridCol>
                <a:gridCol w="1152128">
                  <a:extLst>
                    <a:ext uri="{9D8B030D-6E8A-4147-A177-3AD203B41FA5}">
                      <a16:colId xmlns:a16="http://schemas.microsoft.com/office/drawing/2014/main" val="734969722"/>
                    </a:ext>
                  </a:extLst>
                </a:gridCol>
                <a:gridCol w="1117332">
                  <a:extLst>
                    <a:ext uri="{9D8B030D-6E8A-4147-A177-3AD203B41FA5}">
                      <a16:colId xmlns:a16="http://schemas.microsoft.com/office/drawing/2014/main" val="2468693157"/>
                    </a:ext>
                  </a:extLst>
                </a:gridCol>
              </a:tblGrid>
              <a:tr h="321639">
                <a:tc>
                  <a:txBody>
                    <a:bodyPr/>
                    <a:lstStyle/>
                    <a:p>
                      <a:pPr algn="l" rtl="0" fontAlgn="ctr"/>
                      <a:r>
                        <a:rPr lang="en-US" sz="1400" u="none" strike="noStrike" dirty="0">
                          <a:effectLst/>
                        </a:rPr>
                        <a:t>Recommendation</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1428" marR="91428" marT="91428" marB="91428" anchor="ctr"/>
                </a:tc>
                <a:tc>
                  <a:txBody>
                    <a:bodyPr/>
                    <a:lstStyle/>
                    <a:p>
                      <a:pPr algn="ctr" rtl="0" fontAlgn="ctr"/>
                      <a:r>
                        <a:rPr lang="en-US" sz="1400" u="none" strike="noStrike" dirty="0">
                          <a:effectLst/>
                        </a:rPr>
                        <a:t>Class</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1428" marR="91428" marT="91428" marB="91428" anchor="ctr"/>
                </a:tc>
                <a:tc>
                  <a:txBody>
                    <a:bodyPr/>
                    <a:lstStyle/>
                    <a:p>
                      <a:pPr algn="ctr" rtl="0" fontAlgn="ctr"/>
                      <a:r>
                        <a:rPr lang="en-US" sz="1400" u="none" strike="noStrike" dirty="0">
                          <a:effectLst/>
                        </a:rPr>
                        <a:t>Level</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91428" marR="91428" marT="91428" marB="91428" anchor="ctr"/>
                </a:tc>
                <a:extLst>
                  <a:ext uri="{0D108BD9-81ED-4DB2-BD59-A6C34878D82A}">
                    <a16:rowId xmlns:a16="http://schemas.microsoft.com/office/drawing/2014/main" val="3396163617"/>
                  </a:ext>
                </a:extLst>
              </a:tr>
              <a:tr h="294883">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1" i="0" u="none" strike="noStrike" kern="1200" dirty="0">
                          <a:solidFill>
                            <a:schemeClr val="tx1"/>
                          </a:solidFill>
                          <a:effectLst/>
                          <a:latin typeface="Arial" panose="020B0604020202020204" pitchFamily="34" charset="0"/>
                          <a:ea typeface="+mn-ea"/>
                          <a:cs typeface="Arial" panose="020B0604020202020204" pitchFamily="34" charset="0"/>
                        </a:rPr>
                        <a:t>ESC 2021 guidelines</a:t>
                      </a:r>
                      <a:r>
                        <a:rPr lang="en-GB" sz="1400" b="1" i="0" u="none" strike="noStrike" kern="1200" baseline="30000" dirty="0">
                          <a:solidFill>
                            <a:schemeClr val="tx1"/>
                          </a:solidFill>
                          <a:effectLst/>
                          <a:latin typeface="Arial" panose="020B0604020202020204" pitchFamily="34" charset="0"/>
                          <a:ea typeface="+mn-ea"/>
                          <a:cs typeface="Arial" panose="020B0604020202020204" pitchFamily="34" charset="0"/>
                        </a:rPr>
                        <a:t>1</a:t>
                      </a: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extLst>
                  <a:ext uri="{0D108BD9-81ED-4DB2-BD59-A6C34878D82A}">
                    <a16:rowId xmlns:a16="http://schemas.microsoft.com/office/drawing/2014/main" val="715667315"/>
                  </a:ext>
                </a:extLst>
              </a:tr>
              <a:tr h="612469">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000000"/>
                          </a:solidFill>
                          <a:effectLst/>
                          <a:uLnTx/>
                          <a:uFillTx/>
                          <a:latin typeface="+mn-lt"/>
                          <a:ea typeface="+mn-ea"/>
                          <a:cs typeface="+mn-cs"/>
                        </a:rPr>
                        <a:t>Vericiguat</a:t>
                      </a:r>
                      <a:r>
                        <a:rPr kumimoji="0" lang="en-GB" sz="1400" b="1" i="0" u="none" strike="noStrike" kern="1200" cap="none" spc="0" normalizeH="0" baseline="0" noProof="0" dirty="0">
                          <a:ln>
                            <a:noFill/>
                          </a:ln>
                          <a:solidFill>
                            <a:srgbClr val="000000"/>
                          </a:solidFill>
                          <a:effectLst/>
                          <a:uLnTx/>
                          <a:uFillTx/>
                          <a:latin typeface="+mn-lt"/>
                          <a:ea typeface="+mn-ea"/>
                          <a:cs typeface="+mn-cs"/>
                        </a:rPr>
                        <a:t> </a:t>
                      </a:r>
                      <a:r>
                        <a:rPr kumimoji="0" lang="en-GB" sz="1400" b="0" i="0" u="none" strike="noStrike" kern="1200" cap="none" spc="0" normalizeH="0" baseline="0" noProof="0" dirty="0">
                          <a:ln>
                            <a:noFill/>
                          </a:ln>
                          <a:solidFill>
                            <a:srgbClr val="000000"/>
                          </a:solidFill>
                          <a:effectLst/>
                          <a:uLnTx/>
                          <a:uFillTx/>
                          <a:latin typeface="+mn-lt"/>
                          <a:ea typeface="+mn-ea"/>
                          <a:cs typeface="+mn-cs"/>
                        </a:rPr>
                        <a:t>may be considered in patients in NYHA class II–IV who have had </a:t>
                      </a:r>
                      <a:r>
                        <a:rPr kumimoji="0" lang="en-GB" sz="1400" b="1" i="0" u="none" strike="noStrike" kern="1200" cap="none" spc="0" normalizeH="0" baseline="0" noProof="0" dirty="0">
                          <a:ln>
                            <a:noFill/>
                          </a:ln>
                          <a:solidFill>
                            <a:srgbClr val="000000"/>
                          </a:solidFill>
                          <a:effectLst/>
                          <a:uLnTx/>
                          <a:uFillTx/>
                          <a:latin typeface="+mn-lt"/>
                          <a:ea typeface="+mn-ea"/>
                          <a:cs typeface="+mn-cs"/>
                        </a:rPr>
                        <a:t>worsening HF </a:t>
                      </a:r>
                      <a:r>
                        <a:rPr kumimoji="0" lang="en-GB" sz="1400" b="0" i="0" u="none" strike="noStrike" kern="1200" cap="none" spc="0" normalizeH="0" baseline="0" noProof="0" dirty="0">
                          <a:ln>
                            <a:noFill/>
                          </a:ln>
                          <a:solidFill>
                            <a:srgbClr val="000000"/>
                          </a:solidFill>
                          <a:effectLst/>
                          <a:uLnTx/>
                          <a:uFillTx/>
                          <a:latin typeface="+mn-lt"/>
                          <a:ea typeface="+mn-ea"/>
                          <a:cs typeface="+mn-cs"/>
                        </a:rPr>
                        <a:t>despite treatment with an ACEi (or ARNi), a beta blocker and an MRA to reduce the risk of CV mortality or HFH</a:t>
                      </a:r>
                      <a:endParaRPr kumimoji="0" lang="en-GB" sz="14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000000"/>
                          </a:solidFill>
                          <a:effectLst/>
                          <a:uLnTx/>
                          <a:uFillTx/>
                          <a:latin typeface="+mn-lt"/>
                          <a:ea typeface="+mn-ea"/>
                          <a:cs typeface="+mn-cs"/>
                        </a:rPr>
                        <a:t>IIb</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91428" marR="91428" marT="91428" marB="91428" anchor="ctr">
                    <a:solidFill>
                      <a:srgbClr val="F79426"/>
                    </a:solidFill>
                  </a:tcPr>
                </a:tc>
                <a:tc>
                  <a:txBody>
                    <a:bodyPr/>
                    <a:lstStyle/>
                    <a:p>
                      <a:pPr algn="ctr"/>
                      <a:r>
                        <a:rPr kumimoji="0" lang="en-GB" sz="1400" b="0" i="0" u="none" strike="noStrike" kern="1200" cap="none" spc="0" normalizeH="0" baseline="0" noProof="0" dirty="0">
                          <a:ln>
                            <a:noFill/>
                          </a:ln>
                          <a:solidFill>
                            <a:srgbClr val="000000"/>
                          </a:solidFill>
                          <a:effectLst/>
                          <a:uLnTx/>
                          <a:uFillTx/>
                          <a:latin typeface="+mn-lt"/>
                          <a:ea typeface="+mn-ea"/>
                          <a:cs typeface="+mn-cs"/>
                        </a:rPr>
                        <a:t>B</a:t>
                      </a:r>
                      <a:endParaRPr lang="en-US" dirty="0"/>
                    </a:p>
                  </a:txBody>
                  <a:tcPr marL="91428" marR="91428" marT="91428" marB="91428" anchor="ctr">
                    <a:solidFill>
                      <a:srgbClr val="A5C9F0"/>
                    </a:solidFill>
                  </a:tcPr>
                </a:tc>
                <a:extLst>
                  <a:ext uri="{0D108BD9-81ED-4DB2-BD59-A6C34878D82A}">
                    <a16:rowId xmlns:a16="http://schemas.microsoft.com/office/drawing/2014/main" val="3330378368"/>
                  </a:ext>
                </a:extLst>
              </a:tr>
              <a:tr h="434217">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1" i="0" u="none" strike="noStrike" kern="1200" dirty="0">
                          <a:solidFill>
                            <a:schemeClr val="tx1"/>
                          </a:solidFill>
                          <a:effectLst/>
                          <a:latin typeface="Arial" panose="020B0604020202020204" pitchFamily="34" charset="0"/>
                          <a:ea typeface="+mn-ea"/>
                          <a:cs typeface="Arial" panose="020B0604020202020204" pitchFamily="34" charset="0"/>
                        </a:rPr>
                        <a:t>CCS/CHFS 2021 guidelines</a:t>
                      </a:r>
                      <a:r>
                        <a:rPr lang="en-GB" sz="1400" b="1" i="0" u="none" strike="noStrike" kern="1200" baseline="30000" dirty="0">
                          <a:solidFill>
                            <a:schemeClr val="tx1"/>
                          </a:solidFill>
                          <a:effectLst/>
                          <a:latin typeface="Arial" panose="020B0604020202020204" pitchFamily="34" charset="0"/>
                          <a:ea typeface="+mn-ea"/>
                          <a:cs typeface="Arial" panose="020B0604020202020204" pitchFamily="34" charset="0"/>
                        </a:rPr>
                        <a:t>2</a:t>
                      </a: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extLst>
                  <a:ext uri="{0D108BD9-81ED-4DB2-BD59-A6C34878D82A}">
                    <a16:rowId xmlns:a16="http://schemas.microsoft.com/office/drawing/2014/main" val="228833944"/>
                  </a:ext>
                </a:extLst>
              </a:tr>
              <a:tr h="612469">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000000"/>
                          </a:solidFill>
                          <a:effectLst/>
                          <a:uLnTx/>
                          <a:uFillTx/>
                          <a:latin typeface="+mn-lt"/>
                          <a:ea typeface="+mn-ea"/>
                          <a:cs typeface="+mn-cs"/>
                        </a:rPr>
                        <a:t>We recommend that vericiguat, an oral sGC stimulator, be considered in addition to optimal HF therapies for HFrEF patients with </a:t>
                      </a:r>
                      <a:r>
                        <a:rPr kumimoji="0" lang="en-GB" sz="1400" b="1" i="0" u="none" strike="noStrike" kern="1200" cap="none" spc="0" normalizeH="0" baseline="0" noProof="0" dirty="0">
                          <a:ln>
                            <a:noFill/>
                          </a:ln>
                          <a:solidFill>
                            <a:srgbClr val="000000"/>
                          </a:solidFill>
                          <a:effectLst/>
                          <a:uLnTx/>
                          <a:uFillTx/>
                          <a:latin typeface="+mn-lt"/>
                          <a:ea typeface="+mn-ea"/>
                          <a:cs typeface="+mn-cs"/>
                        </a:rPr>
                        <a:t>worsening symptoms </a:t>
                      </a:r>
                      <a:r>
                        <a:rPr kumimoji="0" lang="en-GB" sz="1400" b="0" i="0" u="none" strike="noStrike" kern="1200" cap="none" spc="0" normalizeH="0" baseline="0" noProof="0" dirty="0">
                          <a:ln>
                            <a:noFill/>
                          </a:ln>
                          <a:solidFill>
                            <a:srgbClr val="000000"/>
                          </a:solidFill>
                          <a:effectLst/>
                          <a:uLnTx/>
                          <a:uFillTx/>
                          <a:latin typeface="+mn-lt"/>
                          <a:ea typeface="+mn-ea"/>
                          <a:cs typeface="+mn-cs"/>
                        </a:rPr>
                        <a:t>and HFH in the past 6 months, to reduce the risk of subsequent HFH</a:t>
                      </a:r>
                      <a:endParaRPr kumimoji="0" lang="en-GB" sz="14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000000"/>
                          </a:solidFill>
                          <a:effectLst/>
                          <a:uLnTx/>
                          <a:uFillTx/>
                          <a:latin typeface="+mn-lt"/>
                          <a:ea typeface="+mn-ea"/>
                          <a:cs typeface="+mn-cs"/>
                        </a:rPr>
                        <a:t>Conditional*</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91428" marR="91428" marT="91428" marB="91428" anchor="ctr">
                    <a:solidFill>
                      <a:schemeClr val="bg1"/>
                    </a:solidFill>
                  </a:tcPr>
                </a:tc>
                <a:tc>
                  <a:txBody>
                    <a:bodyPr/>
                    <a:lstStyle/>
                    <a:p>
                      <a:pPr algn="ctr"/>
                      <a:r>
                        <a:rPr kumimoji="0" lang="en-GB" sz="1400" b="0" i="0" u="none" strike="noStrike" kern="1200" cap="none" spc="0" normalizeH="0" baseline="0" noProof="0" dirty="0">
                          <a:ln>
                            <a:noFill/>
                          </a:ln>
                          <a:solidFill>
                            <a:srgbClr val="000000"/>
                          </a:solidFill>
                          <a:effectLst/>
                          <a:uLnTx/>
                          <a:uFillTx/>
                          <a:latin typeface="+mn-lt"/>
                          <a:ea typeface="+mn-ea"/>
                          <a:cs typeface="+mn-cs"/>
                        </a:rPr>
                        <a:t>Moderate quality</a:t>
                      </a:r>
                      <a:endParaRPr lang="en-US" dirty="0"/>
                    </a:p>
                  </a:txBody>
                  <a:tcPr marL="91428" marR="91428" marT="91428" marB="91428" anchor="ctr">
                    <a:solidFill>
                      <a:schemeClr val="bg1"/>
                    </a:solidFill>
                  </a:tcPr>
                </a:tc>
                <a:extLst>
                  <a:ext uri="{0D108BD9-81ED-4DB2-BD59-A6C34878D82A}">
                    <a16:rowId xmlns:a16="http://schemas.microsoft.com/office/drawing/2014/main" val="1237916288"/>
                  </a:ext>
                </a:extLst>
              </a:tr>
              <a:tr h="439748">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1" dirty="0"/>
                        <a:t>AHA/ACC/HFSA 2022 guidelines</a:t>
                      </a:r>
                      <a:r>
                        <a:rPr lang="en-GB" sz="1400" b="1" baseline="30000" dirty="0"/>
                        <a:t>3</a:t>
                      </a:r>
                      <a:r>
                        <a:rPr lang="en-GB" sz="1400" b="1" dirty="0"/>
                        <a:t> </a:t>
                      </a: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endParaRPr lang="en-GB"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E7E7E7"/>
                    </a:solidFill>
                  </a:tcPr>
                </a:tc>
                <a:extLst>
                  <a:ext uri="{0D108BD9-81ED-4DB2-BD59-A6C34878D82A}">
                    <a16:rowId xmlns:a16="http://schemas.microsoft.com/office/drawing/2014/main" val="4087825570"/>
                  </a:ext>
                </a:extLst>
              </a:tr>
              <a:tr h="612469">
                <a:tc>
                  <a:txBody>
                    <a:bodyPr/>
                    <a:lstStyle/>
                    <a:p>
                      <a:pPr marL="0" marR="0" lvl="0" indent="0" algn="l"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b="0" u="none" strike="noStrike" kern="1200" dirty="0">
                          <a:effectLst/>
                        </a:rPr>
                        <a:t>In selected high-risk patients with HFrEF and </a:t>
                      </a:r>
                      <a:r>
                        <a:rPr lang="en-GB" sz="1400" b="1" u="none" strike="noStrike" kern="1200" dirty="0">
                          <a:effectLst/>
                        </a:rPr>
                        <a:t>recent worsening of HF </a:t>
                      </a:r>
                      <a:r>
                        <a:rPr lang="en-GB" sz="1400" b="0" u="none" strike="noStrike" kern="1200" dirty="0">
                          <a:effectLst/>
                        </a:rPr>
                        <a:t>already on GDMT, an oral sGC stimulator (vericiguat) may be considered to reduce HFH and CV death</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2b</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F79426"/>
                    </a:solidFill>
                  </a:tcPr>
                </a:tc>
                <a:tc>
                  <a:txBody>
                    <a:bodyPr/>
                    <a:lstStyle/>
                    <a:p>
                      <a:pPr marL="0" marR="0" lvl="0" indent="0" algn="ctr" defTabSz="914400" rtl="0" eaLnBrk="1" fontAlgn="ctr" latinLnBrk="0" hangingPunct="1">
                        <a:lnSpc>
                          <a:spcPct val="100000"/>
                        </a:lnSpc>
                        <a:spcBef>
                          <a:spcPts val="0"/>
                        </a:spcBef>
                        <a:spcAft>
                          <a:spcPts val="600"/>
                        </a:spcAft>
                        <a:buClrTx/>
                        <a:buSzTx/>
                        <a:buFont typeface="Arial" panose="020B0604020202020204" pitchFamily="34" charset="0"/>
                        <a:buNone/>
                        <a:tabLst/>
                        <a:defRPr/>
                      </a:pPr>
                      <a:r>
                        <a:rPr lang="en-GB" sz="1400" u="none" strike="noStrike" kern="1200" dirty="0">
                          <a:effectLst/>
                        </a:rPr>
                        <a:t>B</a:t>
                      </a:r>
                      <a:r>
                        <a:rPr lang="en-GB" sz="1400" u="none" strike="noStrike" kern="1200" dirty="0">
                          <a:effectLst/>
                          <a:latin typeface="Arial" panose="020B0604020202020204" pitchFamily="34" charset="0"/>
                          <a:cs typeface="Arial" panose="020B0604020202020204" pitchFamily="34" charset="0"/>
                        </a:rPr>
                        <a:t>–</a:t>
                      </a:r>
                      <a:r>
                        <a:rPr lang="en-GB" sz="1400" u="none" strike="noStrike" kern="1200" dirty="0">
                          <a:effectLst/>
                        </a:rPr>
                        <a:t>R</a:t>
                      </a:r>
                      <a:r>
                        <a:rPr lang="en-GB" sz="1400" u="none" strike="noStrike" kern="1200" baseline="30000" dirty="0">
                          <a:effectLst/>
                        </a:rPr>
                        <a:t>#</a:t>
                      </a:r>
                      <a:endParaRPr lang="en-GB" sz="1400" b="0" i="0" u="none" strike="noStrike" kern="1200" baseline="30000" dirty="0">
                        <a:solidFill>
                          <a:schemeClr val="tx1"/>
                        </a:solidFill>
                        <a:effectLst/>
                        <a:latin typeface="Arial" panose="020B0604020202020204" pitchFamily="34" charset="0"/>
                        <a:ea typeface="+mn-ea"/>
                        <a:cs typeface="Arial" panose="020B0604020202020204" pitchFamily="34" charset="0"/>
                      </a:endParaRPr>
                    </a:p>
                  </a:txBody>
                  <a:tcPr marL="91428" marR="91428" marT="91428" marB="91428" anchor="ctr">
                    <a:solidFill>
                      <a:srgbClr val="A5C9F0"/>
                    </a:solidFill>
                  </a:tcPr>
                </a:tc>
                <a:extLst>
                  <a:ext uri="{0D108BD9-81ED-4DB2-BD59-A6C34878D82A}">
                    <a16:rowId xmlns:a16="http://schemas.microsoft.com/office/drawing/2014/main" val="3118064330"/>
                  </a:ext>
                </a:extLst>
              </a:tr>
            </a:tbl>
          </a:graphicData>
        </a:graphic>
      </p:graphicFrame>
      <p:sp>
        <p:nvSpPr>
          <p:cNvPr id="3" name="Title 2">
            <a:extLst>
              <a:ext uri="{FF2B5EF4-FFF2-40B4-BE49-F238E27FC236}">
                <a16:creationId xmlns:a16="http://schemas.microsoft.com/office/drawing/2014/main" id="{15AB5015-3196-42C5-BC0A-AF54A06C3008}"/>
              </a:ext>
            </a:extLst>
          </p:cNvPr>
          <p:cNvSpPr>
            <a:spLocks noGrp="1"/>
          </p:cNvSpPr>
          <p:nvPr>
            <p:ph type="title"/>
          </p:nvPr>
        </p:nvSpPr>
        <p:spPr/>
        <p:txBody>
          <a:bodyPr/>
          <a:lstStyle/>
          <a:p>
            <a:r>
              <a:rPr lang="en-US" dirty="0"/>
              <a:t>Vericiguat is consistently recommended for patients with HFrEF following a worsening HF event</a:t>
            </a:r>
            <a:r>
              <a:rPr lang="en-GB" baseline="30000" dirty="0"/>
              <a:t>1–3</a:t>
            </a:r>
            <a:endParaRPr lang="en-GB" dirty="0"/>
          </a:p>
        </p:txBody>
      </p:sp>
      <p:sp>
        <p:nvSpPr>
          <p:cNvPr id="7" name="Footer Placeholder 2">
            <a:extLst>
              <a:ext uri="{FF2B5EF4-FFF2-40B4-BE49-F238E27FC236}">
                <a16:creationId xmlns:a16="http://schemas.microsoft.com/office/drawing/2014/main" id="{07D7F3BC-FE66-4318-AF49-6D793A6D965F}"/>
              </a:ext>
            </a:extLst>
          </p:cNvPr>
          <p:cNvSpPr txBox="1">
            <a:spLocks/>
          </p:cNvSpPr>
          <p:nvPr/>
        </p:nvSpPr>
        <p:spPr>
          <a:xfrm>
            <a:off x="600073" y="6029343"/>
            <a:ext cx="9925051" cy="365125"/>
          </a:xfrm>
          <a:prstGeom prst="rect">
            <a:avLst/>
          </a:prstGeom>
        </p:spPr>
        <p:txBody>
          <a:bodyPr vert="horz" lIns="91440" tIns="45720" rIns="91440" bIns="45720" rtlCol="0" anchor="b"/>
          <a:lstStyle>
            <a:defPPr>
              <a:defRPr lang="hu-HU"/>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A conditional recommendation is provided because vericiguat has not yet been approved for this indication in 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Level of evidence B from a randomized tri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CC, American College of Cardiology; </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ACEi, angiotensin-converting enzyme inhibitor;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HA, American Heart Association; </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ARNi, angiotensin receptor–neprilysin inhibitor; </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CCS, Canadian Cardiovascular Society; CHFS, Canadian Heart Failure Society; </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CV, cardiovascular; ESC, European Society of Cardiology;</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GDMT, guideline-directed medical therapy;</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HF, heart failure; HFH, heart failure hospitalization; HFrEF, heart failure with reduced ejection fraction;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HFSA, Heart Failure Society of America; </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MRA, mineralocorticoid receptor antagonist; NYHA, New York Heart Association; sGC,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soluble guanylate cyclase.</a:t>
            </a:r>
            <a:endPar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References: 1. </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McDonagh TA </a:t>
            </a:r>
            <a:r>
              <a:rPr kumimoji="0" lang="en-GB" sz="800" b="0" i="1" u="none" strike="noStrike" kern="1200" cap="none" spc="0" normalizeH="0" baseline="0" noProof="0" dirty="0">
                <a:ln>
                  <a:noFill/>
                </a:ln>
                <a:solidFill>
                  <a:srgbClr val="000000"/>
                </a:solidFill>
                <a:effectLst/>
                <a:uLnTx/>
                <a:uFillTx/>
                <a:latin typeface="Arial" panose="020B0604020202020204"/>
                <a:ea typeface="MS PGothic" charset="0"/>
                <a:cs typeface="+mn-cs"/>
              </a:rPr>
              <a:t>et al. Eur Heart J</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2021;42:3599–3726;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2.</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McDonald M</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 et al. Can J </a:t>
            </a:r>
            <a:r>
              <a:rPr kumimoji="0" lang="en-GB" sz="800" b="0" i="1"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Arial" panose="020B0604020202020204" pitchFamily="34" charset="0"/>
              </a:rPr>
              <a:t>Cardiol</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 2021;37:531–546</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3.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Heidenreich PA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Circulation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2;79:e263-e421</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564414AA-6EBD-4E6E-AF52-619E6FD63D56}"/>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508824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D16070A-C4D6-4947-98FF-63F494F6A217}"/>
              </a:ext>
            </a:extLst>
          </p:cNvPr>
          <p:cNvSpPr>
            <a:spLocks noGrp="1"/>
          </p:cNvSpPr>
          <p:nvPr>
            <p:ph sz="quarter" idx="13"/>
          </p:nvPr>
        </p:nvSpPr>
        <p:spPr/>
        <p:txBody>
          <a:bodyPr/>
          <a:lstStyle/>
          <a:p>
            <a:endParaRPr lang="en-US"/>
          </a:p>
        </p:txBody>
      </p:sp>
      <p:sp>
        <p:nvSpPr>
          <p:cNvPr id="3" name="Text Placeholder 2">
            <a:extLst>
              <a:ext uri="{FF2B5EF4-FFF2-40B4-BE49-F238E27FC236}">
                <a16:creationId xmlns:a16="http://schemas.microsoft.com/office/drawing/2014/main" id="{832FAD26-92D4-4E3D-A2D4-E77A532A5E7C}"/>
              </a:ext>
            </a:extLst>
          </p:cNvPr>
          <p:cNvSpPr>
            <a:spLocks noGrp="1"/>
          </p:cNvSpPr>
          <p:nvPr>
            <p:ph type="body" sz="quarter" idx="14"/>
          </p:nvPr>
        </p:nvSpPr>
        <p:spPr>
          <a:xfrm>
            <a:off x="596708" y="1419177"/>
            <a:ext cx="10332000" cy="317635"/>
          </a:xfrm>
        </p:spPr>
        <p:txBody>
          <a:bodyPr/>
          <a:lstStyle/>
          <a:p>
            <a:r>
              <a:rPr lang="en-GB" spc="-80" dirty="0"/>
              <a:t>Incidence of CV outcomes according to treatment combination in a large-scale systematic meta‑analysis (N=95,444)</a:t>
            </a:r>
            <a:r>
              <a:rPr lang="en-US" spc="-80" baseline="30000" dirty="0"/>
              <a:t>1</a:t>
            </a:r>
          </a:p>
          <a:p>
            <a:endParaRPr lang="en-US" spc="-80" dirty="0"/>
          </a:p>
        </p:txBody>
      </p:sp>
      <p:sp>
        <p:nvSpPr>
          <p:cNvPr id="5" name="Slide Number Placeholder 4">
            <a:extLst>
              <a:ext uri="{FF2B5EF4-FFF2-40B4-BE49-F238E27FC236}">
                <a16:creationId xmlns:a16="http://schemas.microsoft.com/office/drawing/2014/main" id="{B35BDB25-AF74-4230-AE94-B08BBDD574C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2C95F2A8-1BA1-4AFA-80C9-43456BD59203}"/>
              </a:ext>
            </a:extLst>
          </p:cNvPr>
          <p:cNvSpPr>
            <a:spLocks noGrp="1"/>
          </p:cNvSpPr>
          <p:nvPr>
            <p:ph type="title"/>
          </p:nvPr>
        </p:nvSpPr>
        <p:spPr/>
        <p:txBody>
          <a:bodyPr/>
          <a:lstStyle/>
          <a:p>
            <a:r>
              <a:rPr lang="en-GB"/>
              <a:t>Patients with HFrEF may benefit from </a:t>
            </a:r>
            <a:r>
              <a:rPr lang="en-US"/>
              <a:t>a</a:t>
            </a:r>
            <a:r>
              <a:rPr lang="en-GB"/>
              <a:t> comprehensive pharmacological approach</a:t>
            </a:r>
            <a:r>
              <a:rPr lang="en-GB" baseline="30000"/>
              <a:t>1</a:t>
            </a:r>
            <a:endParaRPr lang="en-US" dirty="0"/>
          </a:p>
        </p:txBody>
      </p:sp>
      <p:sp>
        <p:nvSpPr>
          <p:cNvPr id="8" name="Footer Placeholder 7">
            <a:extLst>
              <a:ext uri="{FF2B5EF4-FFF2-40B4-BE49-F238E27FC236}">
                <a16:creationId xmlns:a16="http://schemas.microsoft.com/office/drawing/2014/main" id="{ED9652ED-147A-4F20-A645-7A073D87B9AC}"/>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Figure adapted from Tromp </a:t>
            </a:r>
            <a:r>
              <a:rPr kumimoji="0" lang="en-GB" sz="800" b="0" i="1" u="none" strike="noStrike" kern="1200" cap="none" spc="0" normalizeH="0" baseline="0" noProof="0" dirty="0">
                <a:ln>
                  <a:noFill/>
                </a:ln>
                <a:solidFill>
                  <a:srgbClr val="000000"/>
                </a:solidFill>
                <a:effectLst/>
                <a:uLnTx/>
                <a:uFillTx/>
                <a:latin typeface="Arial" panose="020B0604020202020204"/>
                <a:ea typeface="+mn-ea"/>
                <a:cs typeface="+mn-cs"/>
              </a:rPr>
              <a:t>et al.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2022.</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E</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ch HF study was independently conducted, and no head-to-head HF studies have been completed that allow for direct comparison of the efficacy and/or safety of one drug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vs</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nother. See slide notes for 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References: 1.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romp J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J Am Coll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mn-cs"/>
              </a:rPr>
              <a:t>Cardiol</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2;10:73–84; </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2.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Lam C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Circulation</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2020;142:1129–1131; </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3.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cDonald M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Can J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mn-cs"/>
              </a:rPr>
              <a:t>Cardiol</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37:531–546.</a:t>
            </a:r>
            <a:endPar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endParaRPr>
          </a:p>
        </p:txBody>
      </p:sp>
      <p:graphicFrame>
        <p:nvGraphicFramePr>
          <p:cNvPr id="51" name="Content Placeholder 4">
            <a:extLst>
              <a:ext uri="{FF2B5EF4-FFF2-40B4-BE49-F238E27FC236}">
                <a16:creationId xmlns:a16="http://schemas.microsoft.com/office/drawing/2014/main" id="{FC2E8787-DCA0-48C0-8699-49DA0E7BD602}"/>
              </a:ext>
            </a:extLst>
          </p:cNvPr>
          <p:cNvGraphicFramePr>
            <a:graphicFrameLocks/>
          </p:cNvGraphicFramePr>
          <p:nvPr/>
        </p:nvGraphicFramePr>
        <p:xfrm>
          <a:off x="603151" y="1772816"/>
          <a:ext cx="7617079" cy="3030960"/>
        </p:xfrm>
        <a:graphic>
          <a:graphicData uri="http://schemas.openxmlformats.org/drawingml/2006/table">
            <a:tbl>
              <a:tblPr firstRow="1" bandRow="1">
                <a:tableStyleId>{1E171933-4619-4E11-9A3F-F7608DF75F80}</a:tableStyleId>
              </a:tblPr>
              <a:tblGrid>
                <a:gridCol w="6163176">
                  <a:extLst>
                    <a:ext uri="{9D8B030D-6E8A-4147-A177-3AD203B41FA5}">
                      <a16:colId xmlns:a16="http://schemas.microsoft.com/office/drawing/2014/main" val="20000"/>
                    </a:ext>
                  </a:extLst>
                </a:gridCol>
                <a:gridCol w="1453903">
                  <a:extLst>
                    <a:ext uri="{9D8B030D-6E8A-4147-A177-3AD203B41FA5}">
                      <a16:colId xmlns:a16="http://schemas.microsoft.com/office/drawing/2014/main" val="20002"/>
                    </a:ext>
                  </a:extLst>
                </a:gridCol>
              </a:tblGrid>
              <a:tr h="288000">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r>
                        <a:rPr lang="en-US" sz="1400" b="1" dirty="0">
                          <a:solidFill>
                            <a:schemeClr val="bg1"/>
                          </a:solidFill>
                          <a:latin typeface="+mn-lt"/>
                        </a:rPr>
                        <a:t>Reduction in CV death or HFH by treatment</a:t>
                      </a:r>
                      <a:endParaRPr lang="en-GB" sz="1400" b="1" baseline="30000" dirty="0">
                        <a:solidFill>
                          <a:schemeClr val="bg1"/>
                        </a:solidFill>
                        <a:latin typeface="+mn-lt"/>
                        <a:cs typeface="Arial" panose="020B0604020202020204" pitchFamily="34" charset="0"/>
                      </a:endParaRPr>
                    </a:p>
                  </a:txBody>
                  <a:tcPr marL="45720" marR="45720" marT="36000" marB="0" anchor="ctr">
                    <a:lnL w="12700" cmpd="sng">
                      <a:noFill/>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400" rtl="0" eaLnBrk="1" latinLnBrk="0" hangingPunct="1">
                        <a:defRPr sz="1800" b="1" kern="1200">
                          <a:solidFill>
                            <a:schemeClr val="tx1"/>
                          </a:solidFill>
                          <a:latin typeface="Arial" panose="020B0604020202020204"/>
                        </a:defRPr>
                      </a:lvl1pPr>
                      <a:lvl2pPr marL="457200" algn="l" defTabSz="914400" rtl="0" eaLnBrk="1" latinLnBrk="0" hangingPunct="1">
                        <a:defRPr sz="1800" b="1" kern="1200">
                          <a:solidFill>
                            <a:schemeClr val="tx1"/>
                          </a:solidFill>
                          <a:latin typeface="Arial" panose="020B0604020202020204"/>
                        </a:defRPr>
                      </a:lvl2pPr>
                      <a:lvl3pPr marL="914400" algn="l" defTabSz="914400" rtl="0" eaLnBrk="1" latinLnBrk="0" hangingPunct="1">
                        <a:defRPr sz="1800" b="1" kern="1200">
                          <a:solidFill>
                            <a:schemeClr val="tx1"/>
                          </a:solidFill>
                          <a:latin typeface="Arial" panose="020B0604020202020204"/>
                        </a:defRPr>
                      </a:lvl3pPr>
                      <a:lvl4pPr marL="1371600" algn="l" defTabSz="914400" rtl="0" eaLnBrk="1" latinLnBrk="0" hangingPunct="1">
                        <a:defRPr sz="1800" b="1" kern="1200">
                          <a:solidFill>
                            <a:schemeClr val="tx1"/>
                          </a:solidFill>
                          <a:latin typeface="Arial" panose="020B0604020202020204"/>
                        </a:defRPr>
                      </a:lvl4pPr>
                      <a:lvl5pPr marL="1828800" algn="l" defTabSz="914400" rtl="0" eaLnBrk="1" latinLnBrk="0" hangingPunct="1">
                        <a:defRPr sz="1800" b="1" kern="1200">
                          <a:solidFill>
                            <a:schemeClr val="tx1"/>
                          </a:solidFill>
                          <a:latin typeface="Arial" panose="020B0604020202020204"/>
                        </a:defRPr>
                      </a:lvl5pPr>
                      <a:lvl6pPr marL="2286000" algn="l" defTabSz="914400" rtl="0" eaLnBrk="1" latinLnBrk="0" hangingPunct="1">
                        <a:defRPr sz="1800" b="1" kern="1200">
                          <a:solidFill>
                            <a:schemeClr val="tx1"/>
                          </a:solidFill>
                          <a:latin typeface="Arial" panose="020B0604020202020204"/>
                        </a:defRPr>
                      </a:lvl6pPr>
                      <a:lvl7pPr marL="2743200" algn="l" defTabSz="914400" rtl="0" eaLnBrk="1" latinLnBrk="0" hangingPunct="1">
                        <a:defRPr sz="1800" b="1" kern="1200">
                          <a:solidFill>
                            <a:schemeClr val="tx1"/>
                          </a:solidFill>
                          <a:latin typeface="Arial" panose="020B0604020202020204"/>
                        </a:defRPr>
                      </a:lvl7pPr>
                      <a:lvl8pPr marL="3200400" algn="l" defTabSz="914400" rtl="0" eaLnBrk="1" latinLnBrk="0" hangingPunct="1">
                        <a:defRPr sz="1800" b="1" kern="1200">
                          <a:solidFill>
                            <a:schemeClr val="tx1"/>
                          </a:solidFill>
                          <a:latin typeface="Arial" panose="020B0604020202020204"/>
                        </a:defRPr>
                      </a:lvl8pPr>
                      <a:lvl9pPr marL="3657600" algn="l" defTabSz="914400" rtl="0" eaLnBrk="1" latinLnBrk="0" hangingPunct="1">
                        <a:defRPr sz="1800" b="1" kern="1200">
                          <a:solidFill>
                            <a:schemeClr val="tx1"/>
                          </a:solidFill>
                          <a:latin typeface="Arial" panose="020B0604020202020204"/>
                        </a:defRPr>
                      </a:lvl9pPr>
                    </a:lstStyle>
                    <a:p>
                      <a:pPr algn="ctr"/>
                      <a:r>
                        <a:rPr lang="en-GB" sz="1400" b="1" dirty="0">
                          <a:solidFill>
                            <a:schemeClr val="bg1"/>
                          </a:solidFill>
                          <a:latin typeface="+mn-lt"/>
                        </a:rPr>
                        <a:t>HR (95% CI)</a:t>
                      </a:r>
                      <a:endParaRPr lang="en-GB" sz="1400" b="1" dirty="0">
                        <a:solidFill>
                          <a:schemeClr val="bg1"/>
                        </a:solidFill>
                        <a:latin typeface="+mn-lt"/>
                        <a:cs typeface="Arial" panose="020B0604020202020204" pitchFamily="34" charset="0"/>
                      </a:endParaRPr>
                    </a:p>
                  </a:txBody>
                  <a:tcPr marL="45720" marR="45720" marT="36000" marB="0" anchor="ctr">
                    <a:lnL>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r>
                        <a:rPr lang="en-GB" sz="1400" b="0" dirty="0">
                          <a:solidFill>
                            <a:schemeClr val="tx1"/>
                          </a:solidFill>
                          <a:latin typeface="+mn-lt"/>
                        </a:rPr>
                        <a:t>ARNi + BB + MRA + SGLT2i</a:t>
                      </a:r>
                      <a:endParaRPr lang="en-GB" sz="1400" b="0" baseline="30000" dirty="0">
                        <a:solidFill>
                          <a:schemeClr val="tx1"/>
                        </a:solidFill>
                        <a:latin typeface="+mn-lt"/>
                        <a:cs typeface="Arial" panose="020B0604020202020204" pitchFamily="34" charset="0"/>
                      </a:endParaRPr>
                    </a:p>
                  </a:txBody>
                  <a:tcPr marL="45720" marR="45720" marT="36000" marB="0" anchor="ctr">
                    <a:lnL w="12700" cmpd="sng">
                      <a:noFill/>
                    </a:lnL>
                    <a:lnR>
                      <a:noFill/>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7E7E7"/>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36 (0.29–0.46)</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1"/>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RNi + BB + MRA + vericiguat</a:t>
                      </a:r>
                      <a:endParaRPr lang="en-GB" sz="1400" b="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43 (0.34–0.55)</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buFont typeface="Arial" panose="020B0604020202020204" pitchFamily="34" charset="0"/>
                        <a:buNone/>
                      </a:pPr>
                      <a:r>
                        <a:rPr lang="en-GB" sz="1400" b="0" dirty="0">
                          <a:solidFill>
                            <a:schemeClr val="tx1"/>
                          </a:solidFill>
                          <a:latin typeface="+mn-lt"/>
                        </a:rPr>
                        <a:t>ARNi + BB + MRA + </a:t>
                      </a:r>
                      <a:r>
                        <a:rPr lang="en-GB" sz="1400" b="0" dirty="0" err="1">
                          <a:solidFill>
                            <a:schemeClr val="tx1"/>
                          </a:solidFill>
                          <a:latin typeface="+mn-lt"/>
                        </a:rPr>
                        <a:t>omecamtiv</a:t>
                      </a:r>
                      <a:endParaRPr lang="en-GB" sz="1400" b="0" baseline="3000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7E7E7"/>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44 (0.35–0.56)</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3"/>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CEi + BB + MRA + ivabradine</a:t>
                      </a:r>
                      <a:endParaRPr lang="en-GB" sz="1400" b="0" baseline="30000" noProof="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49 (0.39–0.61)</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847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CEi + BB + MRA + vericiguat</a:t>
                      </a:r>
                      <a:endParaRPr lang="en-GB" sz="1400" b="0" baseline="3000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7E7E7"/>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54 (0.43–0.67)</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0005"/>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RNi + BB + MRA</a:t>
                      </a:r>
                      <a:endParaRPr lang="en-GB" sz="1400" b="0" baseline="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47 (0.38–0.58)</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06765606"/>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CEi + BB + MRA</a:t>
                      </a:r>
                      <a:endParaRPr lang="en-GB" sz="1400" b="0" baseline="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7E7E7"/>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58 (0.47–0.71)</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911538959"/>
                  </a:ext>
                </a:extLst>
              </a:tr>
              <a:tr h="20666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CEi + BB</a:t>
                      </a:r>
                      <a:endParaRPr lang="en-GB" sz="1400" b="0" baseline="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65 (0.55–0.77)</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7294323"/>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RNi + BB</a:t>
                      </a:r>
                      <a:endParaRPr lang="en-GB" sz="1400" b="0" baseline="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solidFill>
                      <a:srgbClr val="E7E7E7"/>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68 (0.58–0.79)</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3443373070"/>
                  </a:ext>
                </a:extLst>
              </a:tr>
              <a:tr h="1419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ACEi + BB</a:t>
                      </a:r>
                      <a:endParaRPr lang="en-GB" sz="1400" b="0" baseline="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84 (0.73–0.96)</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63780749"/>
                  </a:ext>
                </a:extLst>
              </a:tr>
              <a:tr h="8806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r>
                        <a:rPr lang="en-GB" sz="1400" b="0" dirty="0">
                          <a:solidFill>
                            <a:schemeClr val="tx1"/>
                          </a:solidFill>
                          <a:latin typeface="+mn-lt"/>
                        </a:rPr>
                        <a:t>BB</a:t>
                      </a:r>
                      <a:endParaRPr lang="en-GB" sz="1400" b="0" baseline="0" dirty="0">
                        <a:solidFill>
                          <a:schemeClr val="tx1"/>
                        </a:solidFill>
                        <a:latin typeface="+mn-lt"/>
                        <a:cs typeface="Arial" panose="020B0604020202020204" pitchFamily="34" charset="0"/>
                      </a:endParaRPr>
                    </a:p>
                  </a:txBody>
                  <a:tcPr marL="45720" marR="45720" marT="36000" marB="0" anchor="ctr">
                    <a:lnL w="12700" cmpd="sng">
                      <a:noFill/>
                    </a:lnL>
                    <a:lnR>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GB" sz="1400" b="0" dirty="0">
                          <a:solidFill>
                            <a:schemeClr val="tx1"/>
                          </a:solidFill>
                          <a:latin typeface="+mn-lt"/>
                        </a:rPr>
                        <a:t>0.75 (0.65–0.87)</a:t>
                      </a:r>
                      <a:endParaRPr lang="en-GB" sz="1400" b="0" dirty="0">
                        <a:solidFill>
                          <a:schemeClr val="tx1"/>
                        </a:solidFill>
                        <a:latin typeface="+mn-lt"/>
                        <a:cs typeface="Arial" panose="020B0604020202020204" pitchFamily="34" charset="0"/>
                      </a:endParaRPr>
                    </a:p>
                  </a:txBody>
                  <a:tcPr marL="45720" marR="45720" marT="36000" marB="0" anchor="ctr">
                    <a:lnL>
                      <a:noFill/>
                    </a:lnL>
                    <a:lnR>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3517861517"/>
                  </a:ext>
                </a:extLst>
              </a:tr>
            </a:tbl>
          </a:graphicData>
        </a:graphic>
      </p:graphicFrame>
      <p:grpSp>
        <p:nvGrpSpPr>
          <p:cNvPr id="52" name="Group 51">
            <a:extLst>
              <a:ext uri="{FF2B5EF4-FFF2-40B4-BE49-F238E27FC236}">
                <a16:creationId xmlns:a16="http://schemas.microsoft.com/office/drawing/2014/main" id="{29C7403A-E98E-481A-B8A6-D96BC6CD8CC5}"/>
              </a:ext>
            </a:extLst>
          </p:cNvPr>
          <p:cNvGrpSpPr/>
          <p:nvPr/>
        </p:nvGrpSpPr>
        <p:grpSpPr>
          <a:xfrm>
            <a:off x="4229819" y="4800984"/>
            <a:ext cx="2698628" cy="373070"/>
            <a:chOff x="4336499" y="3293499"/>
            <a:chExt cx="2698628" cy="373070"/>
          </a:xfrm>
        </p:grpSpPr>
        <p:grpSp>
          <p:nvGrpSpPr>
            <p:cNvPr id="53" name="Group 52">
              <a:extLst>
                <a:ext uri="{FF2B5EF4-FFF2-40B4-BE49-F238E27FC236}">
                  <a16:creationId xmlns:a16="http://schemas.microsoft.com/office/drawing/2014/main" id="{8CE7BDEF-55F0-45DF-B1F9-66C9F587B049}"/>
                </a:ext>
              </a:extLst>
            </p:cNvPr>
            <p:cNvGrpSpPr/>
            <p:nvPr/>
          </p:nvGrpSpPr>
          <p:grpSpPr>
            <a:xfrm>
              <a:off x="5103178" y="3294292"/>
              <a:ext cx="1931949" cy="372277"/>
              <a:chOff x="3927030" y="3481023"/>
              <a:chExt cx="2154618" cy="372895"/>
            </a:xfrm>
          </p:grpSpPr>
          <p:sp>
            <p:nvSpPr>
              <p:cNvPr id="57" name="TextBox 56">
                <a:extLst>
                  <a:ext uri="{FF2B5EF4-FFF2-40B4-BE49-F238E27FC236}">
                    <a16:creationId xmlns:a16="http://schemas.microsoft.com/office/drawing/2014/main" id="{D49AA4B6-F5EA-46EA-8860-901740C8DA4B}"/>
                  </a:ext>
                </a:extLst>
              </p:cNvPr>
              <p:cNvSpPr txBox="1"/>
              <p:nvPr/>
            </p:nvSpPr>
            <p:spPr>
              <a:xfrm>
                <a:off x="3927030" y="3544902"/>
                <a:ext cx="4830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0.5</a:t>
                </a:r>
              </a:p>
            </p:txBody>
          </p:sp>
          <p:sp>
            <p:nvSpPr>
              <p:cNvPr id="58" name="TextBox 57">
                <a:extLst>
                  <a:ext uri="{FF2B5EF4-FFF2-40B4-BE49-F238E27FC236}">
                    <a16:creationId xmlns:a16="http://schemas.microsoft.com/office/drawing/2014/main" id="{AC578FB3-D9D5-425E-918D-C0FE7380F468}"/>
                  </a:ext>
                </a:extLst>
              </p:cNvPr>
              <p:cNvSpPr txBox="1"/>
              <p:nvPr/>
            </p:nvSpPr>
            <p:spPr>
              <a:xfrm>
                <a:off x="4762811" y="3546142"/>
                <a:ext cx="483053" cy="307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1.0</a:t>
                </a:r>
              </a:p>
            </p:txBody>
          </p:sp>
          <p:sp>
            <p:nvSpPr>
              <p:cNvPr id="59" name="TextBox 58">
                <a:extLst>
                  <a:ext uri="{FF2B5EF4-FFF2-40B4-BE49-F238E27FC236}">
                    <a16:creationId xmlns:a16="http://schemas.microsoft.com/office/drawing/2014/main" id="{F83641BB-750E-4760-8EC0-BC90C388425F}"/>
                  </a:ext>
                </a:extLst>
              </p:cNvPr>
              <p:cNvSpPr txBox="1"/>
              <p:nvPr/>
            </p:nvSpPr>
            <p:spPr>
              <a:xfrm>
                <a:off x="5598595" y="3544888"/>
                <a:ext cx="483053" cy="307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2.0</a:t>
                </a:r>
              </a:p>
            </p:txBody>
          </p:sp>
          <p:cxnSp>
            <p:nvCxnSpPr>
              <p:cNvPr id="60" name="Straight Connector 59">
                <a:extLst>
                  <a:ext uri="{FF2B5EF4-FFF2-40B4-BE49-F238E27FC236}">
                    <a16:creationId xmlns:a16="http://schemas.microsoft.com/office/drawing/2014/main" id="{30AEB6AD-5DD3-4B79-A560-BCA94CFFBDE4}"/>
                  </a:ext>
                </a:extLst>
              </p:cNvPr>
              <p:cNvCxnSpPr/>
              <p:nvPr/>
            </p:nvCxnSpPr>
            <p:spPr>
              <a:xfrm>
                <a:off x="4167437" y="3482947"/>
                <a:ext cx="0" cy="68305"/>
              </a:xfrm>
              <a:prstGeom prst="line">
                <a:avLst/>
              </a:prstGeom>
              <a:noFill/>
              <a:ln w="12700" cap="flat" cmpd="sng" algn="ctr">
                <a:solidFill>
                  <a:schemeClr val="tx1"/>
                </a:solidFill>
                <a:prstDash val="solid"/>
                <a:miter lim="800000"/>
              </a:ln>
              <a:effectLst/>
            </p:spPr>
          </p:cxnSp>
          <p:cxnSp>
            <p:nvCxnSpPr>
              <p:cNvPr id="61" name="Straight Connector 60">
                <a:extLst>
                  <a:ext uri="{FF2B5EF4-FFF2-40B4-BE49-F238E27FC236}">
                    <a16:creationId xmlns:a16="http://schemas.microsoft.com/office/drawing/2014/main" id="{4FFF1AE9-42E4-4DC1-A7E7-AF52989A095E}"/>
                  </a:ext>
                </a:extLst>
              </p:cNvPr>
              <p:cNvCxnSpPr/>
              <p:nvPr/>
            </p:nvCxnSpPr>
            <p:spPr>
              <a:xfrm>
                <a:off x="4986587" y="3484880"/>
                <a:ext cx="0" cy="68305"/>
              </a:xfrm>
              <a:prstGeom prst="line">
                <a:avLst/>
              </a:prstGeom>
              <a:noFill/>
              <a:ln w="12700" cap="flat" cmpd="sng" algn="ctr">
                <a:solidFill>
                  <a:schemeClr val="tx1"/>
                </a:solidFill>
                <a:prstDash val="solid"/>
                <a:miter lim="800000"/>
              </a:ln>
              <a:effectLst/>
            </p:spPr>
          </p:cxnSp>
          <p:cxnSp>
            <p:nvCxnSpPr>
              <p:cNvPr id="62" name="Straight Connector 61">
                <a:extLst>
                  <a:ext uri="{FF2B5EF4-FFF2-40B4-BE49-F238E27FC236}">
                    <a16:creationId xmlns:a16="http://schemas.microsoft.com/office/drawing/2014/main" id="{31A3D7EC-57E9-43CE-827E-13731F121A6F}"/>
                  </a:ext>
                </a:extLst>
              </p:cNvPr>
              <p:cNvCxnSpPr/>
              <p:nvPr/>
            </p:nvCxnSpPr>
            <p:spPr>
              <a:xfrm>
                <a:off x="5818343" y="3481023"/>
                <a:ext cx="0" cy="68305"/>
              </a:xfrm>
              <a:prstGeom prst="line">
                <a:avLst/>
              </a:prstGeom>
              <a:noFill/>
              <a:ln w="12700" cap="flat" cmpd="sng" algn="ctr">
                <a:solidFill>
                  <a:schemeClr val="tx1"/>
                </a:solidFill>
                <a:prstDash val="solid"/>
                <a:miter lim="800000"/>
              </a:ln>
              <a:effectLst/>
            </p:spPr>
          </p:cxnSp>
        </p:grpSp>
        <p:sp>
          <p:nvSpPr>
            <p:cNvPr id="54" name="TextBox 53">
              <a:extLst>
                <a:ext uri="{FF2B5EF4-FFF2-40B4-BE49-F238E27FC236}">
                  <a16:creationId xmlns:a16="http://schemas.microsoft.com/office/drawing/2014/main" id="{9686D916-4491-418C-AE91-8106A95A6C30}"/>
                </a:ext>
              </a:extLst>
            </p:cNvPr>
            <p:cNvSpPr txBox="1"/>
            <p:nvPr/>
          </p:nvSpPr>
          <p:spPr>
            <a:xfrm>
              <a:off x="4336499" y="3355406"/>
              <a:ext cx="53251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0.25</a:t>
              </a:r>
            </a:p>
          </p:txBody>
        </p:sp>
        <p:cxnSp>
          <p:nvCxnSpPr>
            <p:cNvPr id="55" name="Straight Connector 54">
              <a:extLst>
                <a:ext uri="{FF2B5EF4-FFF2-40B4-BE49-F238E27FC236}">
                  <a16:creationId xmlns:a16="http://schemas.microsoft.com/office/drawing/2014/main" id="{9889B0C2-EEA0-4941-BA97-D72589A8F581}"/>
                </a:ext>
              </a:extLst>
            </p:cNvPr>
            <p:cNvCxnSpPr/>
            <p:nvPr/>
          </p:nvCxnSpPr>
          <p:spPr>
            <a:xfrm>
              <a:off x="4553966" y="3293499"/>
              <a:ext cx="0" cy="68191"/>
            </a:xfrm>
            <a:prstGeom prst="line">
              <a:avLst/>
            </a:prstGeom>
            <a:noFill/>
            <a:ln w="12700" cap="flat" cmpd="sng" algn="ctr">
              <a:solidFill>
                <a:schemeClr val="tx1"/>
              </a:solidFill>
              <a:prstDash val="solid"/>
              <a:miter lim="800000"/>
            </a:ln>
            <a:effectLst/>
          </p:spPr>
        </p:cxnSp>
        <p:cxnSp>
          <p:nvCxnSpPr>
            <p:cNvPr id="56" name="Straight Connector 55">
              <a:extLst>
                <a:ext uri="{FF2B5EF4-FFF2-40B4-BE49-F238E27FC236}">
                  <a16:creationId xmlns:a16="http://schemas.microsoft.com/office/drawing/2014/main" id="{9A62157F-891A-4E66-87A2-517964FCE2C4}"/>
                </a:ext>
              </a:extLst>
            </p:cNvPr>
            <p:cNvCxnSpPr>
              <a:cxnSpLocks/>
            </p:cNvCxnSpPr>
            <p:nvPr/>
          </p:nvCxnSpPr>
          <p:spPr>
            <a:xfrm flipH="1">
              <a:off x="4548885" y="3293501"/>
              <a:ext cx="2255869" cy="0"/>
            </a:xfrm>
            <a:prstGeom prst="line">
              <a:avLst/>
            </a:prstGeom>
            <a:noFill/>
            <a:ln w="12700" cap="flat" cmpd="sng" algn="ctr">
              <a:solidFill>
                <a:schemeClr val="tx1"/>
              </a:solidFill>
              <a:prstDash val="solid"/>
              <a:miter lim="800000"/>
            </a:ln>
            <a:effectLst/>
          </p:spPr>
        </p:cxnSp>
      </p:grpSp>
      <p:graphicFrame>
        <p:nvGraphicFramePr>
          <p:cNvPr id="63" name="Chart 62">
            <a:extLst>
              <a:ext uri="{FF2B5EF4-FFF2-40B4-BE49-F238E27FC236}">
                <a16:creationId xmlns:a16="http://schemas.microsoft.com/office/drawing/2014/main" id="{C37FBB89-F218-48C7-B892-2E682CDF414B}"/>
              </a:ext>
            </a:extLst>
          </p:cNvPr>
          <p:cNvGraphicFramePr/>
          <p:nvPr/>
        </p:nvGraphicFramePr>
        <p:xfrm>
          <a:off x="4263385" y="1549873"/>
          <a:ext cx="2754135" cy="3610859"/>
        </p:xfrm>
        <a:graphic>
          <a:graphicData uri="http://schemas.openxmlformats.org/drawingml/2006/chart">
            <c:chart xmlns:c="http://schemas.openxmlformats.org/drawingml/2006/chart" xmlns:r="http://schemas.openxmlformats.org/officeDocument/2006/relationships" r:id="rId3"/>
          </a:graphicData>
        </a:graphic>
      </p:graphicFrame>
      <p:grpSp>
        <p:nvGrpSpPr>
          <p:cNvPr id="64" name="Group 63">
            <a:extLst>
              <a:ext uri="{FF2B5EF4-FFF2-40B4-BE49-F238E27FC236}">
                <a16:creationId xmlns:a16="http://schemas.microsoft.com/office/drawing/2014/main" id="{F1BBCCFD-A112-462B-BA14-A5E0DEDB8C71}"/>
              </a:ext>
            </a:extLst>
          </p:cNvPr>
          <p:cNvGrpSpPr/>
          <p:nvPr/>
        </p:nvGrpSpPr>
        <p:grpSpPr>
          <a:xfrm>
            <a:off x="2575565" y="5085184"/>
            <a:ext cx="5470009" cy="215444"/>
            <a:chOff x="1524690" y="5072899"/>
            <a:chExt cx="5090421" cy="215444"/>
          </a:xfrm>
        </p:grpSpPr>
        <p:sp>
          <p:nvSpPr>
            <p:cNvPr id="65" name="TextBox 64">
              <a:extLst>
                <a:ext uri="{FF2B5EF4-FFF2-40B4-BE49-F238E27FC236}">
                  <a16:creationId xmlns:a16="http://schemas.microsoft.com/office/drawing/2014/main" id="{0BA34D14-47B1-4D25-A839-21D3354803B1}"/>
                </a:ext>
              </a:extLst>
            </p:cNvPr>
            <p:cNvSpPr txBox="1"/>
            <p:nvPr/>
          </p:nvSpPr>
          <p:spPr>
            <a:xfrm>
              <a:off x="1524690" y="5072899"/>
              <a:ext cx="2307055"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S PGothic" charset="0"/>
                  <a:cs typeface="+mn-cs"/>
                </a:rPr>
                <a:t>Treatment combination</a:t>
              </a:r>
            </a:p>
          </p:txBody>
        </p:sp>
        <p:sp>
          <p:nvSpPr>
            <p:cNvPr id="66" name="TextBox 65">
              <a:extLst>
                <a:ext uri="{FF2B5EF4-FFF2-40B4-BE49-F238E27FC236}">
                  <a16:creationId xmlns:a16="http://schemas.microsoft.com/office/drawing/2014/main" id="{198CE160-03EB-4F1C-B774-4D55366BA247}"/>
                </a:ext>
              </a:extLst>
            </p:cNvPr>
            <p:cNvSpPr txBox="1"/>
            <p:nvPr/>
          </p:nvSpPr>
          <p:spPr>
            <a:xfrm>
              <a:off x="4205729" y="5072899"/>
              <a:ext cx="94785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S PGothic" charset="0"/>
                  <a:cs typeface="+mn-cs"/>
                </a:rPr>
                <a:t>Favors</a:t>
              </a:r>
            </a:p>
          </p:txBody>
        </p:sp>
        <p:sp>
          <p:nvSpPr>
            <p:cNvPr id="67" name="TextBox 66">
              <a:extLst>
                <a:ext uri="{FF2B5EF4-FFF2-40B4-BE49-F238E27FC236}">
                  <a16:creationId xmlns:a16="http://schemas.microsoft.com/office/drawing/2014/main" id="{1917DFD1-ABCB-4E09-9EDE-1632A9B0F25C}"/>
                </a:ext>
              </a:extLst>
            </p:cNvPr>
            <p:cNvSpPr txBox="1"/>
            <p:nvPr/>
          </p:nvSpPr>
          <p:spPr>
            <a:xfrm>
              <a:off x="5507057" y="5072899"/>
              <a:ext cx="110805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S PGothic" charset="0"/>
                  <a:cs typeface="+mn-cs"/>
                </a:rPr>
                <a:t>Placebo</a:t>
              </a:r>
            </a:p>
          </p:txBody>
        </p:sp>
        <p:cxnSp>
          <p:nvCxnSpPr>
            <p:cNvPr id="68" name="Straight Arrow Connector 67">
              <a:extLst>
                <a:ext uri="{FF2B5EF4-FFF2-40B4-BE49-F238E27FC236}">
                  <a16:creationId xmlns:a16="http://schemas.microsoft.com/office/drawing/2014/main" id="{223F77E5-155E-4E1E-B27B-98AE8D1FB3C6}"/>
                </a:ext>
              </a:extLst>
            </p:cNvPr>
            <p:cNvCxnSpPr>
              <a:cxnSpLocks/>
            </p:cNvCxnSpPr>
            <p:nvPr/>
          </p:nvCxnSpPr>
          <p:spPr>
            <a:xfrm>
              <a:off x="5153587" y="5181662"/>
              <a:ext cx="277541"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23AA1E7-B32E-4C1F-AB6F-7CBF8F11B929}"/>
                </a:ext>
              </a:extLst>
            </p:cNvPr>
            <p:cNvCxnSpPr>
              <a:cxnSpLocks/>
            </p:cNvCxnSpPr>
            <p:nvPr/>
          </p:nvCxnSpPr>
          <p:spPr>
            <a:xfrm flipH="1">
              <a:off x="3907672" y="5181662"/>
              <a:ext cx="29805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D45A545D-498F-4923-9288-BBA8C8D99004}"/>
              </a:ext>
            </a:extLst>
          </p:cNvPr>
          <p:cNvSpPr txBox="1"/>
          <p:nvPr/>
        </p:nvSpPr>
        <p:spPr>
          <a:xfrm>
            <a:off x="8292528" y="1791620"/>
            <a:ext cx="2592000" cy="3024000"/>
          </a:xfrm>
          <a:prstGeom prst="rect">
            <a:avLst/>
          </a:prstGeom>
          <a:solidFill>
            <a:schemeClr val="accent1"/>
          </a:solidFill>
          <a:ln w="28575"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A </a:t>
            </a: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multidrug approach reduces the risk </a:t>
            </a:r>
            <a:r>
              <a:rPr kumimoji="0" lang="en-US" sz="16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of CV death and HFH for patients with HFrEF, supporting use of a </a:t>
            </a: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comprehensive treatment</a:t>
            </a:r>
            <a:r>
              <a:rPr kumimoji="0" lang="en-US" sz="16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 </a:t>
            </a: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over sequencing</a:t>
            </a:r>
            <a:r>
              <a:rPr kumimoji="0" lang="en-US" sz="16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 of single agents with progressive titration to target doses</a:t>
            </a:r>
            <a:r>
              <a:rPr kumimoji="0" lang="en-US" sz="1600" b="0"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rPr>
              <a:t>1,2</a:t>
            </a:r>
          </a:p>
        </p:txBody>
      </p:sp>
    </p:spTree>
    <p:extLst>
      <p:ext uri="{BB962C8B-B14F-4D97-AF65-F5344CB8AC3E}">
        <p14:creationId xmlns:p14="http://schemas.microsoft.com/office/powerpoint/2010/main" val="3191378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DC9D8-2176-4D98-8DB2-8B515B8C82AF}"/>
              </a:ext>
            </a:extLst>
          </p:cNvPr>
          <p:cNvSpPr>
            <a:spLocks noGrp="1"/>
          </p:cNvSpPr>
          <p:nvPr>
            <p:ph type="title"/>
          </p:nvPr>
        </p:nvSpPr>
        <p:spPr/>
        <p:txBody>
          <a:bodyPr/>
          <a:lstStyle/>
          <a:p>
            <a:r>
              <a:rPr lang="en-US" b="1" dirty="0">
                <a:solidFill>
                  <a:schemeClr val="accent4"/>
                </a:solidFill>
              </a:rPr>
              <a:t>Prescription of guideline directed medical therapy: </a:t>
            </a:r>
            <a:br>
              <a:rPr lang="en-US" b="1" dirty="0">
                <a:solidFill>
                  <a:schemeClr val="accent4"/>
                </a:solidFill>
              </a:rPr>
            </a:br>
            <a:r>
              <a:rPr lang="en-US" b="1" dirty="0">
                <a:solidFill>
                  <a:schemeClr val="accent4"/>
                </a:solidFill>
              </a:rPr>
              <a:t>Insights from Kerala AHF Registry</a:t>
            </a:r>
          </a:p>
        </p:txBody>
      </p:sp>
      <p:sp>
        <p:nvSpPr>
          <p:cNvPr id="4" name="Slide Number Placeholder 3">
            <a:extLst>
              <a:ext uri="{FF2B5EF4-FFF2-40B4-BE49-F238E27FC236}">
                <a16:creationId xmlns:a16="http://schemas.microsoft.com/office/drawing/2014/main" id="{124109BF-0EEC-40FE-8430-840D26333A4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53585A"/>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53585A"/>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06C5D453-9ED3-4828-A5E9-A4DF52735CF3}"/>
              </a:ext>
            </a:extLst>
          </p:cNvPr>
          <p:cNvSpPr>
            <a:spLocks noGrp="1"/>
          </p:cNvSpPr>
          <p:nvPr>
            <p:ph sz="quarter" idx="13"/>
          </p:nvPr>
        </p:nvSpPr>
        <p:spPr/>
        <p:txBody>
          <a:bodyPr/>
          <a:lstStyle/>
          <a:p>
            <a:endParaRPr lang="en-US"/>
          </a:p>
        </p:txBody>
      </p:sp>
      <p:sp>
        <p:nvSpPr>
          <p:cNvPr id="6" name="Text Placeholder 5">
            <a:extLst>
              <a:ext uri="{FF2B5EF4-FFF2-40B4-BE49-F238E27FC236}">
                <a16:creationId xmlns:a16="http://schemas.microsoft.com/office/drawing/2014/main" id="{447837B5-6521-49D3-A012-1314F45767FB}"/>
              </a:ext>
            </a:extLst>
          </p:cNvPr>
          <p:cNvSpPr>
            <a:spLocks noGrp="1"/>
          </p:cNvSpPr>
          <p:nvPr>
            <p:ph type="body" sz="quarter" idx="14"/>
          </p:nvPr>
        </p:nvSpPr>
        <p:spPr/>
        <p:txBody>
          <a:bodyPr>
            <a:normAutofit lnSpcReduction="10000"/>
          </a:bodyPr>
          <a:lstStyle/>
          <a:p>
            <a:endParaRPr lang="en-US"/>
          </a:p>
        </p:txBody>
      </p:sp>
      <p:sp>
        <p:nvSpPr>
          <p:cNvPr id="13" name="Text Placeholder 12">
            <a:extLst>
              <a:ext uri="{FF2B5EF4-FFF2-40B4-BE49-F238E27FC236}">
                <a16:creationId xmlns:a16="http://schemas.microsoft.com/office/drawing/2014/main" id="{149B5BB5-5B2C-4A2B-AD2D-096D9603A1F6}"/>
              </a:ext>
            </a:extLst>
          </p:cNvPr>
          <p:cNvSpPr>
            <a:spLocks noGrp="1"/>
          </p:cNvSpPr>
          <p:nvPr>
            <p:ph type="body" sz="quarter" idx="15"/>
          </p:nvPr>
        </p:nvSpPr>
        <p:spPr/>
        <p:txBody>
          <a:bodyPr/>
          <a:lstStyle/>
          <a:p>
            <a:endParaRPr lang="en-US"/>
          </a:p>
        </p:txBody>
      </p:sp>
      <p:sp>
        <p:nvSpPr>
          <p:cNvPr id="7" name="Rectangle 6">
            <a:extLst>
              <a:ext uri="{FF2B5EF4-FFF2-40B4-BE49-F238E27FC236}">
                <a16:creationId xmlns:a16="http://schemas.microsoft.com/office/drawing/2014/main" id="{4A0A6B9F-10F9-4BBF-B747-7E88A55988C1}"/>
              </a:ext>
            </a:extLst>
          </p:cNvPr>
          <p:cNvSpPr/>
          <p:nvPr/>
        </p:nvSpPr>
        <p:spPr>
          <a:xfrm>
            <a:off x="810227" y="1792149"/>
            <a:ext cx="1689905" cy="1798786"/>
          </a:xfrm>
          <a:prstGeom prst="rect">
            <a:avLst/>
          </a:prstGeom>
          <a:solidFill>
            <a:schemeClr val="accent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A7257EFE-8E5A-4FF0-8937-1695E70F23E0}"/>
              </a:ext>
            </a:extLst>
          </p:cNvPr>
          <p:cNvSpPr/>
          <p:nvPr/>
        </p:nvSpPr>
        <p:spPr>
          <a:xfrm>
            <a:off x="810227" y="1507489"/>
            <a:ext cx="1689905" cy="6685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In Hospi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After stabilization</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graphicFrame>
        <p:nvGraphicFramePr>
          <p:cNvPr id="9" name="Table 9">
            <a:extLst>
              <a:ext uri="{FF2B5EF4-FFF2-40B4-BE49-F238E27FC236}">
                <a16:creationId xmlns:a16="http://schemas.microsoft.com/office/drawing/2014/main" id="{8DFC670E-5D70-4FB2-9D79-A7E36BB177CD}"/>
              </a:ext>
            </a:extLst>
          </p:cNvPr>
          <p:cNvGraphicFramePr>
            <a:graphicFrameLocks noGrp="1"/>
          </p:cNvGraphicFramePr>
          <p:nvPr/>
        </p:nvGraphicFramePr>
        <p:xfrm>
          <a:off x="2500131" y="1507487"/>
          <a:ext cx="4872942" cy="2083445"/>
        </p:xfrm>
        <a:graphic>
          <a:graphicData uri="http://schemas.openxmlformats.org/drawingml/2006/table">
            <a:tbl>
              <a:tblPr firstRow="1" bandRow="1">
                <a:tableStyleId>{00A15C55-8517-42AA-B614-E9B94910E393}</a:tableStyleId>
              </a:tblPr>
              <a:tblGrid>
                <a:gridCol w="2436471">
                  <a:extLst>
                    <a:ext uri="{9D8B030D-6E8A-4147-A177-3AD203B41FA5}">
                      <a16:colId xmlns:a16="http://schemas.microsoft.com/office/drawing/2014/main" val="4085895199"/>
                    </a:ext>
                  </a:extLst>
                </a:gridCol>
                <a:gridCol w="2436471">
                  <a:extLst>
                    <a:ext uri="{9D8B030D-6E8A-4147-A177-3AD203B41FA5}">
                      <a16:colId xmlns:a16="http://schemas.microsoft.com/office/drawing/2014/main" val="2466826805"/>
                    </a:ext>
                  </a:extLst>
                </a:gridCol>
              </a:tblGrid>
              <a:tr h="416689">
                <a:tc>
                  <a:txBody>
                    <a:bodyPr/>
                    <a:lstStyle/>
                    <a:p>
                      <a:r>
                        <a:rPr lang="en-US" sz="1400" dirty="0"/>
                        <a:t>Drugs </a:t>
                      </a:r>
                    </a:p>
                  </a:txBody>
                  <a:tcPr/>
                </a:tc>
                <a:tc>
                  <a:txBody>
                    <a:bodyPr/>
                    <a:lstStyle/>
                    <a:p>
                      <a:r>
                        <a:rPr lang="en-US" sz="1400" dirty="0" err="1"/>
                        <a:t>HFrEF</a:t>
                      </a:r>
                      <a:r>
                        <a:rPr lang="en-US" sz="1400" dirty="0"/>
                        <a:t>(N=5069)</a:t>
                      </a:r>
                    </a:p>
                  </a:txBody>
                  <a:tcPr/>
                </a:tc>
                <a:extLst>
                  <a:ext uri="{0D108BD9-81ED-4DB2-BD59-A6C34878D82A}">
                    <a16:rowId xmlns:a16="http://schemas.microsoft.com/office/drawing/2014/main" val="652040060"/>
                  </a:ext>
                </a:extLst>
              </a:tr>
              <a:tr h="416689">
                <a:tc>
                  <a:txBody>
                    <a:bodyPr/>
                    <a:lstStyle/>
                    <a:p>
                      <a:r>
                        <a:rPr lang="en-US" sz="1400" b="1" dirty="0">
                          <a:solidFill>
                            <a:schemeClr val="tx2"/>
                          </a:solidFill>
                        </a:rPr>
                        <a:t>ACE or ARB’s</a:t>
                      </a:r>
                    </a:p>
                  </a:txBody>
                  <a:tcPr/>
                </a:tc>
                <a:tc>
                  <a:txBody>
                    <a:bodyPr/>
                    <a:lstStyle/>
                    <a:p>
                      <a:r>
                        <a:rPr lang="en-US" sz="1400" dirty="0">
                          <a:solidFill>
                            <a:schemeClr val="tx2"/>
                          </a:solidFill>
                        </a:rPr>
                        <a:t>2561(50.5%)</a:t>
                      </a:r>
                    </a:p>
                  </a:txBody>
                  <a:tcPr/>
                </a:tc>
                <a:extLst>
                  <a:ext uri="{0D108BD9-81ED-4DB2-BD59-A6C34878D82A}">
                    <a16:rowId xmlns:a16="http://schemas.microsoft.com/office/drawing/2014/main" val="395485425"/>
                  </a:ext>
                </a:extLst>
              </a:tr>
              <a:tr h="416689">
                <a:tc>
                  <a:txBody>
                    <a:bodyPr/>
                    <a:lstStyle/>
                    <a:p>
                      <a:r>
                        <a:rPr lang="en-US" sz="1400" b="1" dirty="0">
                          <a:solidFill>
                            <a:schemeClr val="tx2"/>
                          </a:solidFill>
                        </a:rPr>
                        <a:t>Beta Blockers</a:t>
                      </a:r>
                    </a:p>
                  </a:txBody>
                  <a:tcPr/>
                </a:tc>
                <a:tc>
                  <a:txBody>
                    <a:bodyPr/>
                    <a:lstStyle/>
                    <a:p>
                      <a:r>
                        <a:rPr lang="en-US" sz="1400" dirty="0">
                          <a:solidFill>
                            <a:schemeClr val="tx2"/>
                          </a:solidFill>
                        </a:rPr>
                        <a:t>3154 (62%)</a:t>
                      </a:r>
                    </a:p>
                  </a:txBody>
                  <a:tcPr/>
                </a:tc>
                <a:extLst>
                  <a:ext uri="{0D108BD9-81ED-4DB2-BD59-A6C34878D82A}">
                    <a16:rowId xmlns:a16="http://schemas.microsoft.com/office/drawing/2014/main" val="3303656200"/>
                  </a:ext>
                </a:extLst>
              </a:tr>
              <a:tr h="416689">
                <a:tc>
                  <a:txBody>
                    <a:bodyPr/>
                    <a:lstStyle/>
                    <a:p>
                      <a:r>
                        <a:rPr lang="en-US" sz="1400" b="1" dirty="0">
                          <a:solidFill>
                            <a:schemeClr val="tx2"/>
                          </a:solidFill>
                        </a:rPr>
                        <a:t>Aldosterone antagonists</a:t>
                      </a:r>
                    </a:p>
                  </a:txBody>
                  <a:tcPr/>
                </a:tc>
                <a:tc>
                  <a:txBody>
                    <a:bodyPr/>
                    <a:lstStyle/>
                    <a:p>
                      <a:r>
                        <a:rPr lang="en-US" sz="1400" dirty="0">
                          <a:solidFill>
                            <a:schemeClr val="tx2"/>
                          </a:solidFill>
                        </a:rPr>
                        <a:t>2534(49.9%)</a:t>
                      </a:r>
                    </a:p>
                  </a:txBody>
                  <a:tcPr/>
                </a:tc>
                <a:extLst>
                  <a:ext uri="{0D108BD9-81ED-4DB2-BD59-A6C34878D82A}">
                    <a16:rowId xmlns:a16="http://schemas.microsoft.com/office/drawing/2014/main" val="1496023085"/>
                  </a:ext>
                </a:extLst>
              </a:tr>
              <a:tr h="416689">
                <a:tc>
                  <a:txBody>
                    <a:bodyPr/>
                    <a:lstStyle/>
                    <a:p>
                      <a:r>
                        <a:rPr lang="en-US" sz="1400" b="1" dirty="0">
                          <a:solidFill>
                            <a:schemeClr val="tx2"/>
                          </a:solidFill>
                        </a:rPr>
                        <a:t>ARNI</a:t>
                      </a:r>
                    </a:p>
                  </a:txBody>
                  <a:tcPr/>
                </a:tc>
                <a:tc>
                  <a:txBody>
                    <a:bodyPr/>
                    <a:lstStyle/>
                    <a:p>
                      <a:r>
                        <a:rPr lang="en-US" sz="1400" dirty="0">
                          <a:solidFill>
                            <a:schemeClr val="tx2"/>
                          </a:solidFill>
                        </a:rPr>
                        <a:t>115(2.3%)</a:t>
                      </a:r>
                    </a:p>
                  </a:txBody>
                  <a:tcPr/>
                </a:tc>
                <a:extLst>
                  <a:ext uri="{0D108BD9-81ED-4DB2-BD59-A6C34878D82A}">
                    <a16:rowId xmlns:a16="http://schemas.microsoft.com/office/drawing/2014/main" val="1669412200"/>
                  </a:ext>
                </a:extLst>
              </a:tr>
            </a:tbl>
          </a:graphicData>
        </a:graphic>
      </p:graphicFrame>
      <p:sp>
        <p:nvSpPr>
          <p:cNvPr id="10" name="Rectangle 9">
            <a:extLst>
              <a:ext uri="{FF2B5EF4-FFF2-40B4-BE49-F238E27FC236}">
                <a16:creationId xmlns:a16="http://schemas.microsoft.com/office/drawing/2014/main" id="{BF554788-D47F-4792-9BCB-7ECCF9B0F3DE}"/>
              </a:ext>
            </a:extLst>
          </p:cNvPr>
          <p:cNvSpPr/>
          <p:nvPr/>
        </p:nvSpPr>
        <p:spPr>
          <a:xfrm>
            <a:off x="810227" y="4155314"/>
            <a:ext cx="3032568" cy="2037224"/>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BD0DDC18-FE70-48F5-A48D-08F404239B27}"/>
              </a:ext>
            </a:extLst>
          </p:cNvPr>
          <p:cNvGrpSpPr/>
          <p:nvPr/>
        </p:nvGrpSpPr>
        <p:grpSpPr>
          <a:xfrm>
            <a:off x="717628" y="4622216"/>
            <a:ext cx="3129031" cy="1456589"/>
            <a:chOff x="687531" y="4805313"/>
            <a:chExt cx="3129031" cy="1456589"/>
          </a:xfrm>
          <a:solidFill>
            <a:schemeClr val="bg1"/>
          </a:solidFill>
        </p:grpSpPr>
        <p:pic>
          <p:nvPicPr>
            <p:cNvPr id="11" name="Graphic 10" descr="Hospital with solid fill">
              <a:extLst>
                <a:ext uri="{FF2B5EF4-FFF2-40B4-BE49-F238E27FC236}">
                  <a16:creationId xmlns:a16="http://schemas.microsoft.com/office/drawing/2014/main" id="{CFAD402F-D0EA-42D7-BCE0-76BFE9AD8F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7531" y="4805313"/>
              <a:ext cx="1450566" cy="1456589"/>
            </a:xfrm>
            <a:prstGeom prst="rect">
              <a:avLst/>
            </a:prstGeom>
          </p:spPr>
        </p:pic>
        <p:sp>
          <p:nvSpPr>
            <p:cNvPr id="12" name="Arrow: Right 11">
              <a:extLst>
                <a:ext uri="{FF2B5EF4-FFF2-40B4-BE49-F238E27FC236}">
                  <a16:creationId xmlns:a16="http://schemas.microsoft.com/office/drawing/2014/main" id="{571A9777-4305-43A0-BAFA-E5DF0831E953}"/>
                </a:ext>
              </a:extLst>
            </p:cNvPr>
            <p:cNvSpPr/>
            <p:nvPr/>
          </p:nvSpPr>
          <p:spPr>
            <a:xfrm>
              <a:off x="2118168" y="5364646"/>
              <a:ext cx="701806" cy="38196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Graphic 13" descr="House with solid fill">
              <a:extLst>
                <a:ext uri="{FF2B5EF4-FFF2-40B4-BE49-F238E27FC236}">
                  <a16:creationId xmlns:a16="http://schemas.microsoft.com/office/drawing/2014/main" id="{916C5575-CA62-4093-8145-4DD6FC052C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01142" y="5161647"/>
              <a:ext cx="1115420" cy="1053186"/>
            </a:xfrm>
            <a:prstGeom prst="rect">
              <a:avLst/>
            </a:prstGeom>
          </p:spPr>
        </p:pic>
      </p:grpSp>
      <p:sp>
        <p:nvSpPr>
          <p:cNvPr id="15" name="Rectangle 14">
            <a:extLst>
              <a:ext uri="{FF2B5EF4-FFF2-40B4-BE49-F238E27FC236}">
                <a16:creationId xmlns:a16="http://schemas.microsoft.com/office/drawing/2014/main" id="{534900AC-CA8E-4BDD-9C7A-05B821F749F9}"/>
              </a:ext>
            </a:extLst>
          </p:cNvPr>
          <p:cNvSpPr/>
          <p:nvPr/>
        </p:nvSpPr>
        <p:spPr>
          <a:xfrm>
            <a:off x="810228" y="4150378"/>
            <a:ext cx="3032567" cy="572754"/>
          </a:xfrm>
          <a:prstGeom prst="rect">
            <a:avLst/>
          </a:prstGeom>
          <a:solidFill>
            <a:schemeClr val="accent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After discharge</a:t>
            </a:r>
          </a:p>
        </p:txBody>
      </p:sp>
      <p:pic>
        <p:nvPicPr>
          <p:cNvPr id="17" name="Graphic 16" descr="Hospital with solid fill">
            <a:extLst>
              <a:ext uri="{FF2B5EF4-FFF2-40B4-BE49-F238E27FC236}">
                <a16:creationId xmlns:a16="http://schemas.microsoft.com/office/drawing/2014/main" id="{461412CB-B5D6-4F1C-B50F-70F06D1B4A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6084" y="2124975"/>
            <a:ext cx="1782504" cy="1644227"/>
          </a:xfrm>
          <a:prstGeom prst="rect">
            <a:avLst/>
          </a:prstGeom>
        </p:spPr>
      </p:pic>
      <p:graphicFrame>
        <p:nvGraphicFramePr>
          <p:cNvPr id="19" name="Table 9">
            <a:extLst>
              <a:ext uri="{FF2B5EF4-FFF2-40B4-BE49-F238E27FC236}">
                <a16:creationId xmlns:a16="http://schemas.microsoft.com/office/drawing/2014/main" id="{B0095479-C936-48D4-BA8B-04447E31A5A4}"/>
              </a:ext>
            </a:extLst>
          </p:cNvPr>
          <p:cNvGraphicFramePr>
            <a:graphicFrameLocks noGrp="1"/>
          </p:cNvGraphicFramePr>
          <p:nvPr/>
        </p:nvGraphicFramePr>
        <p:xfrm>
          <a:off x="3810769" y="4150378"/>
          <a:ext cx="3666478" cy="2002467"/>
        </p:xfrm>
        <a:graphic>
          <a:graphicData uri="http://schemas.openxmlformats.org/drawingml/2006/table">
            <a:tbl>
              <a:tblPr firstRow="1" bandRow="1">
                <a:tableStyleId>{5C22544A-7EE6-4342-B048-85BDC9FD1C3A}</a:tableStyleId>
              </a:tblPr>
              <a:tblGrid>
                <a:gridCol w="1833239">
                  <a:extLst>
                    <a:ext uri="{9D8B030D-6E8A-4147-A177-3AD203B41FA5}">
                      <a16:colId xmlns:a16="http://schemas.microsoft.com/office/drawing/2014/main" val="4085895199"/>
                    </a:ext>
                  </a:extLst>
                </a:gridCol>
                <a:gridCol w="1833239">
                  <a:extLst>
                    <a:ext uri="{9D8B030D-6E8A-4147-A177-3AD203B41FA5}">
                      <a16:colId xmlns:a16="http://schemas.microsoft.com/office/drawing/2014/main" val="2466826805"/>
                    </a:ext>
                  </a:extLst>
                </a:gridCol>
              </a:tblGrid>
              <a:tr h="351310">
                <a:tc>
                  <a:txBody>
                    <a:bodyPr/>
                    <a:lstStyle/>
                    <a:p>
                      <a:r>
                        <a:rPr lang="en-US" sz="1400" dirty="0"/>
                        <a:t>Drugs </a:t>
                      </a:r>
                    </a:p>
                  </a:txBody>
                  <a:tcPr>
                    <a:solidFill>
                      <a:schemeClr val="accent4"/>
                    </a:solidFill>
                  </a:tcPr>
                </a:tc>
                <a:tc>
                  <a:txBody>
                    <a:bodyPr/>
                    <a:lstStyle/>
                    <a:p>
                      <a:r>
                        <a:rPr lang="en-US" sz="1400" dirty="0" err="1"/>
                        <a:t>HFrEF</a:t>
                      </a:r>
                      <a:r>
                        <a:rPr lang="en-US" sz="1400" dirty="0"/>
                        <a:t>(N=5069)</a:t>
                      </a:r>
                    </a:p>
                  </a:txBody>
                  <a:tcPr>
                    <a:solidFill>
                      <a:schemeClr val="accent4"/>
                    </a:solidFill>
                  </a:tcPr>
                </a:tc>
                <a:extLst>
                  <a:ext uri="{0D108BD9-81ED-4DB2-BD59-A6C34878D82A}">
                    <a16:rowId xmlns:a16="http://schemas.microsoft.com/office/drawing/2014/main" val="652040060"/>
                  </a:ext>
                </a:extLst>
              </a:tr>
              <a:tr h="351310">
                <a:tc>
                  <a:txBody>
                    <a:bodyPr/>
                    <a:lstStyle/>
                    <a:p>
                      <a:r>
                        <a:rPr lang="en-US" sz="1400" b="1" dirty="0">
                          <a:solidFill>
                            <a:schemeClr val="tx2"/>
                          </a:solidFill>
                        </a:rPr>
                        <a:t>ACE or ARB’s</a:t>
                      </a:r>
                    </a:p>
                  </a:txBody>
                  <a:tcPr>
                    <a:solidFill>
                      <a:schemeClr val="bg1"/>
                    </a:solidFill>
                  </a:tcPr>
                </a:tc>
                <a:tc>
                  <a:txBody>
                    <a:bodyPr/>
                    <a:lstStyle/>
                    <a:p>
                      <a:r>
                        <a:rPr lang="en-US" sz="1400" dirty="0">
                          <a:solidFill>
                            <a:schemeClr val="tx2"/>
                          </a:solidFill>
                        </a:rPr>
                        <a:t>2501(52%)</a:t>
                      </a:r>
                    </a:p>
                  </a:txBody>
                  <a:tcPr>
                    <a:solidFill>
                      <a:schemeClr val="bg1"/>
                    </a:solidFill>
                  </a:tcPr>
                </a:tc>
                <a:extLst>
                  <a:ext uri="{0D108BD9-81ED-4DB2-BD59-A6C34878D82A}">
                    <a16:rowId xmlns:a16="http://schemas.microsoft.com/office/drawing/2014/main" val="395485425"/>
                  </a:ext>
                </a:extLst>
              </a:tr>
              <a:tr h="351310">
                <a:tc>
                  <a:txBody>
                    <a:bodyPr/>
                    <a:lstStyle/>
                    <a:p>
                      <a:r>
                        <a:rPr lang="en-US" sz="1400" b="1" dirty="0">
                          <a:solidFill>
                            <a:schemeClr val="tx2"/>
                          </a:solidFill>
                        </a:rPr>
                        <a:t>Beta Blockers</a:t>
                      </a:r>
                    </a:p>
                  </a:txBody>
                  <a:tcPr>
                    <a:solidFill>
                      <a:schemeClr val="bg1"/>
                    </a:solidFill>
                  </a:tcPr>
                </a:tc>
                <a:tc>
                  <a:txBody>
                    <a:bodyPr/>
                    <a:lstStyle/>
                    <a:p>
                      <a:r>
                        <a:rPr lang="en-US" sz="1400" dirty="0">
                          <a:solidFill>
                            <a:schemeClr val="tx2"/>
                          </a:solidFill>
                        </a:rPr>
                        <a:t>3025 (64.1%)</a:t>
                      </a:r>
                    </a:p>
                  </a:txBody>
                  <a:tcPr>
                    <a:solidFill>
                      <a:schemeClr val="bg1"/>
                    </a:solidFill>
                  </a:tcPr>
                </a:tc>
                <a:extLst>
                  <a:ext uri="{0D108BD9-81ED-4DB2-BD59-A6C34878D82A}">
                    <a16:rowId xmlns:a16="http://schemas.microsoft.com/office/drawing/2014/main" val="3303656200"/>
                  </a:ext>
                </a:extLst>
              </a:tr>
              <a:tr h="597227">
                <a:tc>
                  <a:txBody>
                    <a:bodyPr/>
                    <a:lstStyle/>
                    <a:p>
                      <a:r>
                        <a:rPr lang="en-US" sz="1400" b="1" dirty="0">
                          <a:solidFill>
                            <a:schemeClr val="tx2"/>
                          </a:solidFill>
                        </a:rPr>
                        <a:t>Aldosterone antagonists</a:t>
                      </a:r>
                    </a:p>
                  </a:txBody>
                  <a:tcPr>
                    <a:solidFill>
                      <a:schemeClr val="bg1"/>
                    </a:solidFill>
                  </a:tcPr>
                </a:tc>
                <a:tc>
                  <a:txBody>
                    <a:bodyPr/>
                    <a:lstStyle/>
                    <a:p>
                      <a:r>
                        <a:rPr lang="en-US" sz="1400" dirty="0">
                          <a:solidFill>
                            <a:schemeClr val="tx2"/>
                          </a:solidFill>
                        </a:rPr>
                        <a:t>2332(49.4%)</a:t>
                      </a:r>
                    </a:p>
                  </a:txBody>
                  <a:tcPr>
                    <a:solidFill>
                      <a:schemeClr val="bg1"/>
                    </a:solidFill>
                  </a:tcPr>
                </a:tc>
                <a:extLst>
                  <a:ext uri="{0D108BD9-81ED-4DB2-BD59-A6C34878D82A}">
                    <a16:rowId xmlns:a16="http://schemas.microsoft.com/office/drawing/2014/main" val="1496023085"/>
                  </a:ext>
                </a:extLst>
              </a:tr>
              <a:tr h="351310">
                <a:tc>
                  <a:txBody>
                    <a:bodyPr/>
                    <a:lstStyle/>
                    <a:p>
                      <a:r>
                        <a:rPr lang="en-US" sz="1400" b="1" dirty="0">
                          <a:solidFill>
                            <a:schemeClr val="tx2"/>
                          </a:solidFill>
                        </a:rPr>
                        <a:t>ARNI</a:t>
                      </a:r>
                    </a:p>
                  </a:txBody>
                  <a:tcPr>
                    <a:solidFill>
                      <a:schemeClr val="bg1"/>
                    </a:solidFill>
                  </a:tcPr>
                </a:tc>
                <a:tc>
                  <a:txBody>
                    <a:bodyPr/>
                    <a:lstStyle/>
                    <a:p>
                      <a:r>
                        <a:rPr lang="en-US" sz="1400" dirty="0">
                          <a:solidFill>
                            <a:schemeClr val="tx2"/>
                          </a:solidFill>
                        </a:rPr>
                        <a:t>52(1.8%)</a:t>
                      </a:r>
                    </a:p>
                  </a:txBody>
                  <a:tcPr>
                    <a:solidFill>
                      <a:schemeClr val="bg1"/>
                    </a:solidFill>
                  </a:tcPr>
                </a:tc>
                <a:extLst>
                  <a:ext uri="{0D108BD9-81ED-4DB2-BD59-A6C34878D82A}">
                    <a16:rowId xmlns:a16="http://schemas.microsoft.com/office/drawing/2014/main" val="1669412200"/>
                  </a:ext>
                </a:extLst>
              </a:tr>
            </a:tbl>
          </a:graphicData>
        </a:graphic>
      </p:graphicFrame>
      <p:sp>
        <p:nvSpPr>
          <p:cNvPr id="21" name="TextBox 20">
            <a:extLst>
              <a:ext uri="{FF2B5EF4-FFF2-40B4-BE49-F238E27FC236}">
                <a16:creationId xmlns:a16="http://schemas.microsoft.com/office/drawing/2014/main" id="{1404493D-BB83-4292-9F32-6CC00C81C9E7}"/>
              </a:ext>
            </a:extLst>
          </p:cNvPr>
          <p:cNvSpPr txBox="1"/>
          <p:nvPr/>
        </p:nvSpPr>
        <p:spPr>
          <a:xfrm>
            <a:off x="7480333" y="2276307"/>
            <a:ext cx="4572964" cy="2609176"/>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C00000"/>
                </a:solidFill>
                <a:effectLst/>
                <a:uLnTx/>
                <a:uFillTx/>
                <a:latin typeface="Arial" panose="020B0604020202020204"/>
                <a:ea typeface="+mn-ea"/>
                <a:cs typeface="+mn-cs"/>
              </a:rPr>
              <a:t>1 out of 4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PATIENTS (28%) WITH </a:t>
            </a:r>
            <a:r>
              <a:rPr kumimoji="0" lang="en-US" sz="2400" b="1" i="0" u="none" strike="noStrike" kern="1200" cap="none" spc="0" normalizeH="0" baseline="0" noProof="0" dirty="0" err="1">
                <a:ln>
                  <a:noFill/>
                </a:ln>
                <a:solidFill>
                  <a:srgbClr val="002060"/>
                </a:solidFill>
                <a:effectLst/>
                <a:uLnTx/>
                <a:uFillTx/>
                <a:latin typeface="Arial" panose="020B0604020202020204"/>
                <a:ea typeface="+mn-ea"/>
                <a:cs typeface="+mn-cs"/>
              </a:rPr>
              <a:t>HFrEF</a:t>
            </a: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 RECEIVED</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GDMT</a:t>
            </a:r>
          </a:p>
        </p:txBody>
      </p:sp>
      <p:sp>
        <p:nvSpPr>
          <p:cNvPr id="23" name="TextBox 22">
            <a:extLst>
              <a:ext uri="{FF2B5EF4-FFF2-40B4-BE49-F238E27FC236}">
                <a16:creationId xmlns:a16="http://schemas.microsoft.com/office/drawing/2014/main" id="{635A40B8-CFCA-4D41-9B64-F75811962215}"/>
              </a:ext>
            </a:extLst>
          </p:cNvPr>
          <p:cNvSpPr txBox="1"/>
          <p:nvPr/>
        </p:nvSpPr>
        <p:spPr>
          <a:xfrm>
            <a:off x="1512359" y="6292057"/>
            <a:ext cx="60998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85A"/>
                </a:solidFill>
                <a:effectLst/>
                <a:uLnTx/>
                <a:uFillTx/>
                <a:latin typeface="AdvOTb7819099"/>
                <a:ea typeface="+mn-ea"/>
                <a:cs typeface="+mn-cs"/>
              </a:rPr>
              <a:t>S. Joseph </a:t>
            </a:r>
            <a:r>
              <a:rPr kumimoji="0" lang="en-US" sz="1800" b="0" i="0" u="none" strike="noStrike" kern="1200" cap="none" spc="0" normalizeH="0" baseline="0" noProof="0" dirty="0">
                <a:ln>
                  <a:noFill/>
                </a:ln>
                <a:solidFill>
                  <a:srgbClr val="53585A"/>
                </a:solidFill>
                <a:effectLst/>
                <a:uLnTx/>
                <a:uFillTx/>
                <a:latin typeface="AdvOT5415ed09.I"/>
                <a:ea typeface="+mn-ea"/>
                <a:cs typeface="+mn-cs"/>
              </a:rPr>
              <a:t>et al. European Heart Journal (2022) 43, 908–915</a:t>
            </a:r>
            <a:endParaRPr kumimoji="0" lang="en-US"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1883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217705-6DFA-48CD-B6D2-F38D7E035FA8}"/>
              </a:ext>
            </a:extLst>
          </p:cNvPr>
          <p:cNvSpPr>
            <a:spLocks noGrp="1"/>
          </p:cNvSpPr>
          <p:nvPr>
            <p:ph sz="quarter" idx="13"/>
          </p:nvPr>
        </p:nvSpPr>
        <p:spPr/>
        <p:txBody>
          <a:bodyPr/>
          <a:lstStyle/>
          <a:p>
            <a:endParaRPr lang="en-US"/>
          </a:p>
        </p:txBody>
      </p:sp>
      <p:sp>
        <p:nvSpPr>
          <p:cNvPr id="7" name="Title 6">
            <a:extLst>
              <a:ext uri="{FF2B5EF4-FFF2-40B4-BE49-F238E27FC236}">
                <a16:creationId xmlns:a16="http://schemas.microsoft.com/office/drawing/2014/main" id="{A1958FBC-312F-44EC-B434-14CCA3DB53F4}"/>
              </a:ext>
            </a:extLst>
          </p:cNvPr>
          <p:cNvSpPr>
            <a:spLocks noGrp="1"/>
          </p:cNvSpPr>
          <p:nvPr>
            <p:ph type="title"/>
          </p:nvPr>
        </p:nvSpPr>
        <p:spPr/>
        <p:txBody>
          <a:bodyPr/>
          <a:lstStyle/>
          <a:p>
            <a:r>
              <a:rPr lang="en-US" dirty="0"/>
              <a:t>Relative and absolute rate reductions in contemporary landmark HF trials</a:t>
            </a:r>
            <a:r>
              <a:rPr lang="en-US" baseline="30000" dirty="0"/>
              <a:t>1–6</a:t>
            </a:r>
            <a:endParaRPr lang="en-GB" baseline="30000" dirty="0"/>
          </a:p>
        </p:txBody>
      </p:sp>
      <p:sp>
        <p:nvSpPr>
          <p:cNvPr id="4" name="Slide Number Placeholder 3">
            <a:extLst>
              <a:ext uri="{FF2B5EF4-FFF2-40B4-BE49-F238E27FC236}">
                <a16:creationId xmlns:a16="http://schemas.microsoft.com/office/drawing/2014/main" id="{53A88031-542E-4E6E-975C-93B4925E4A0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801315EF-C2B4-48BE-8B03-B6E8DCC7E115}"/>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Each HF study was conducted independently, and no head-to-head HF studies have been completed that allow direct comparison of the efficacy and/or safety of one drug </a:t>
            </a:r>
            <a:r>
              <a:rPr kumimoji="0" lang="en-GB" sz="800" b="1" i="1" u="none" strike="noStrike" kern="1200" cap="none" spc="0" normalizeH="0" baseline="0" noProof="0" dirty="0">
                <a:ln>
                  <a:noFill/>
                </a:ln>
                <a:solidFill>
                  <a:srgbClr val="000000"/>
                </a:solidFill>
                <a:effectLst/>
                <a:uLnTx/>
                <a:uFillTx/>
                <a:latin typeface="Arial"/>
                <a:ea typeface="MS PGothic" charset="0"/>
                <a:cs typeface="+mn-cs"/>
              </a:rPr>
              <a:t>versus</a:t>
            </a: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 anoth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See slide notes for 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References: 1.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McMurray JJV </a:t>
            </a:r>
            <a:r>
              <a:rPr kumimoji="0" lang="en-GB" sz="800" b="0" i="1" u="none" strike="noStrike" kern="1200" cap="none" spc="0" normalizeH="0" baseline="0" noProof="0" dirty="0">
                <a:ln>
                  <a:noFill/>
                </a:ln>
                <a:solidFill>
                  <a:srgbClr val="000000"/>
                </a:solidFill>
                <a:effectLst/>
                <a:uLnTx/>
                <a:uFillTx/>
                <a:latin typeface="Arial"/>
                <a:ea typeface="MS PGothic" charset="0"/>
                <a:cs typeface="+mn-cs"/>
              </a:rPr>
              <a:t>et al. N Engl J Med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2014;371:993–1004. </a:t>
            </a: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2.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Chaudhary AG </a:t>
            </a:r>
            <a:r>
              <a:rPr kumimoji="0" lang="en-GB" sz="800" b="0" i="1" u="none" strike="noStrike" kern="1200" cap="none" spc="0" normalizeH="0" baseline="0" noProof="0" dirty="0">
                <a:ln>
                  <a:noFill/>
                </a:ln>
                <a:solidFill>
                  <a:srgbClr val="000000"/>
                </a:solidFill>
                <a:effectLst/>
                <a:uLnTx/>
                <a:uFillTx/>
                <a:latin typeface="Arial"/>
                <a:ea typeface="MS PGothic" charset="0"/>
                <a:cs typeface="+mn-cs"/>
              </a:rPr>
              <a:t>et al. CJC Open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2021;3:646–657. </a:t>
            </a: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3.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McMurray JJV </a:t>
            </a:r>
            <a:r>
              <a:rPr kumimoji="0" lang="en-GB" sz="800" b="0" i="1" u="none" strike="noStrike" kern="1200" cap="none" spc="0" normalizeH="0" baseline="0" noProof="0" dirty="0">
                <a:ln>
                  <a:noFill/>
                </a:ln>
                <a:solidFill>
                  <a:srgbClr val="000000"/>
                </a:solidFill>
                <a:effectLst/>
                <a:uLnTx/>
                <a:uFillTx/>
                <a:latin typeface="Arial"/>
                <a:ea typeface="MS PGothic" charset="0"/>
                <a:cs typeface="+mn-cs"/>
              </a:rPr>
              <a:t>et al. N Engl J Med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2019;381:1995–2008. </a:t>
            </a:r>
            <a:br>
              <a:rPr kumimoji="0" lang="en-GB" sz="800" b="0" i="0" u="none" strike="noStrike" kern="1200" cap="none" spc="0" normalizeH="0" baseline="0" noProof="0" dirty="0">
                <a:ln>
                  <a:noFill/>
                </a:ln>
                <a:solidFill>
                  <a:srgbClr val="000000"/>
                </a:solidFill>
                <a:effectLst/>
                <a:uLnTx/>
                <a:uFillTx/>
                <a:latin typeface="Arial"/>
                <a:ea typeface="MS PGothic" charset="0"/>
                <a:cs typeface="+mn-cs"/>
              </a:rPr>
            </a:b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4.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Armstrong PW </a:t>
            </a:r>
            <a:r>
              <a:rPr kumimoji="0" lang="en-GB" sz="800" b="0" i="1" u="none" strike="noStrike" kern="1200" cap="none" spc="0" normalizeH="0" baseline="0" noProof="0" dirty="0">
                <a:ln>
                  <a:noFill/>
                </a:ln>
                <a:solidFill>
                  <a:srgbClr val="000000"/>
                </a:solidFill>
                <a:effectLst/>
                <a:uLnTx/>
                <a:uFillTx/>
                <a:latin typeface="Arial"/>
                <a:ea typeface="MS PGothic" charset="0"/>
                <a:cs typeface="+mn-cs"/>
              </a:rPr>
              <a:t>et al. N Engl J Med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2020;382:1883–1893. </a:t>
            </a: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5.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Packer M </a:t>
            </a:r>
            <a:r>
              <a:rPr kumimoji="0" lang="en-GB" sz="800" b="0" i="1" u="none" strike="noStrike" kern="1200" cap="none" spc="0" normalizeH="0" baseline="0" noProof="0" dirty="0">
                <a:ln>
                  <a:noFill/>
                </a:ln>
                <a:solidFill>
                  <a:srgbClr val="000000"/>
                </a:solidFill>
                <a:effectLst/>
                <a:uLnTx/>
                <a:uFillTx/>
                <a:latin typeface="Arial"/>
                <a:ea typeface="MS PGothic" charset="0"/>
                <a:cs typeface="+mn-cs"/>
              </a:rPr>
              <a:t>et al. N Engl J Med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2020;383:1413–1424. </a:t>
            </a:r>
            <a:r>
              <a:rPr kumimoji="0" lang="en-GB" sz="800" b="1" i="0" u="none" strike="noStrike" kern="1200" cap="none" spc="0" normalizeH="0" baseline="0" noProof="0" dirty="0">
                <a:ln>
                  <a:noFill/>
                </a:ln>
                <a:solidFill>
                  <a:srgbClr val="000000"/>
                </a:solidFill>
                <a:effectLst/>
                <a:uLnTx/>
                <a:uFillTx/>
                <a:latin typeface="Arial"/>
                <a:ea typeface="MS PGothic" charset="0"/>
                <a:cs typeface="+mn-cs"/>
              </a:rPr>
              <a:t>6.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Teerlink JR </a:t>
            </a:r>
            <a:r>
              <a:rPr kumimoji="0" lang="en-GB" sz="800" b="0" i="1" u="none" strike="noStrike" kern="1200" cap="none" spc="0" normalizeH="0" baseline="0" noProof="0" dirty="0">
                <a:ln>
                  <a:noFill/>
                </a:ln>
                <a:solidFill>
                  <a:srgbClr val="000000"/>
                </a:solidFill>
                <a:effectLst/>
                <a:uLnTx/>
                <a:uFillTx/>
                <a:latin typeface="Arial"/>
                <a:ea typeface="MS PGothic" charset="0"/>
                <a:cs typeface="+mn-cs"/>
              </a:rPr>
              <a:t>et al. Eur J Heart Fail </a:t>
            </a:r>
            <a:r>
              <a:rPr kumimoji="0" lang="en-GB" sz="800" b="0" i="0" u="none" strike="noStrike" kern="1200" cap="none" spc="0" normalizeH="0" baseline="0" noProof="0" dirty="0">
                <a:ln>
                  <a:noFill/>
                </a:ln>
                <a:solidFill>
                  <a:srgbClr val="000000"/>
                </a:solidFill>
                <a:effectLst/>
                <a:uLnTx/>
                <a:uFillTx/>
                <a:latin typeface="Arial"/>
                <a:ea typeface="MS PGothic" charset="0"/>
                <a:cs typeface="+mn-cs"/>
              </a:rPr>
              <a:t>2021;384:105–116.</a:t>
            </a:r>
          </a:p>
        </p:txBody>
      </p:sp>
      <p:sp>
        <p:nvSpPr>
          <p:cNvPr id="9" name="Isosceles Triangle 8">
            <a:extLst>
              <a:ext uri="{FF2B5EF4-FFF2-40B4-BE49-F238E27FC236}">
                <a16:creationId xmlns:a16="http://schemas.microsoft.com/office/drawing/2014/main" id="{E3C5639B-322E-44F7-986F-37FC8F2F7CA7}"/>
              </a:ext>
            </a:extLst>
          </p:cNvPr>
          <p:cNvSpPr/>
          <p:nvPr/>
        </p:nvSpPr>
        <p:spPr>
          <a:xfrm rot="10800000">
            <a:off x="812059" y="4127920"/>
            <a:ext cx="1729381"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Isosceles Triangle 9">
            <a:extLst>
              <a:ext uri="{FF2B5EF4-FFF2-40B4-BE49-F238E27FC236}">
                <a16:creationId xmlns:a16="http://schemas.microsoft.com/office/drawing/2014/main" id="{C466C762-5FD2-42D4-B056-939EBA950C98}"/>
              </a:ext>
            </a:extLst>
          </p:cNvPr>
          <p:cNvSpPr/>
          <p:nvPr/>
        </p:nvSpPr>
        <p:spPr>
          <a:xfrm rot="10800000">
            <a:off x="2747293" y="4127920"/>
            <a:ext cx="1729381"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Isosceles Triangle 10">
            <a:extLst>
              <a:ext uri="{FF2B5EF4-FFF2-40B4-BE49-F238E27FC236}">
                <a16:creationId xmlns:a16="http://schemas.microsoft.com/office/drawing/2014/main" id="{28422D78-6CDB-4B83-B002-63E81EA93794}"/>
              </a:ext>
            </a:extLst>
          </p:cNvPr>
          <p:cNvSpPr/>
          <p:nvPr/>
        </p:nvSpPr>
        <p:spPr>
          <a:xfrm rot="10800000">
            <a:off x="4682527" y="4127919"/>
            <a:ext cx="1832437"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id="{17C560A9-9CC0-4001-AE84-5393F981560A}"/>
              </a:ext>
            </a:extLst>
          </p:cNvPr>
          <p:cNvSpPr/>
          <p:nvPr/>
        </p:nvSpPr>
        <p:spPr>
          <a:xfrm rot="10800000">
            <a:off x="8759107" y="4127920"/>
            <a:ext cx="1729381"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539E24B6-BED7-49B9-853E-34B52B912F3D}"/>
              </a:ext>
            </a:extLst>
          </p:cNvPr>
          <p:cNvSpPr/>
          <p:nvPr/>
        </p:nvSpPr>
        <p:spPr>
          <a:xfrm>
            <a:off x="800502" y="1848437"/>
            <a:ext cx="1780614"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14" name="Rectangle 13">
            <a:extLst>
              <a:ext uri="{FF2B5EF4-FFF2-40B4-BE49-F238E27FC236}">
                <a16:creationId xmlns:a16="http://schemas.microsoft.com/office/drawing/2014/main" id="{64335250-B369-4C0C-8968-6FA1B25EACAF}"/>
              </a:ext>
            </a:extLst>
          </p:cNvPr>
          <p:cNvSpPr/>
          <p:nvPr/>
        </p:nvSpPr>
        <p:spPr>
          <a:xfrm>
            <a:off x="4743172" y="1848437"/>
            <a:ext cx="1782000"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15" name="Rectangle 14">
            <a:extLst>
              <a:ext uri="{FF2B5EF4-FFF2-40B4-BE49-F238E27FC236}">
                <a16:creationId xmlns:a16="http://schemas.microsoft.com/office/drawing/2014/main" id="{CF9898C5-42A3-48E1-9B12-6564BA8959BD}"/>
              </a:ext>
            </a:extLst>
          </p:cNvPr>
          <p:cNvSpPr/>
          <p:nvPr/>
        </p:nvSpPr>
        <p:spPr>
          <a:xfrm>
            <a:off x="6715200" y="1848437"/>
            <a:ext cx="1757245" cy="2171791"/>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16" name="Rectangle 15">
            <a:extLst>
              <a:ext uri="{FF2B5EF4-FFF2-40B4-BE49-F238E27FC236}">
                <a16:creationId xmlns:a16="http://schemas.microsoft.com/office/drawing/2014/main" id="{166B6BA6-9442-4529-88E3-EB8D5484FD23}"/>
              </a:ext>
            </a:extLst>
          </p:cNvPr>
          <p:cNvSpPr/>
          <p:nvPr/>
        </p:nvSpPr>
        <p:spPr>
          <a:xfrm>
            <a:off x="8687228" y="1848437"/>
            <a:ext cx="1728833"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17" name="Rectangle 16">
            <a:extLst>
              <a:ext uri="{FF2B5EF4-FFF2-40B4-BE49-F238E27FC236}">
                <a16:creationId xmlns:a16="http://schemas.microsoft.com/office/drawing/2014/main" id="{4DBDCA82-AB8E-475C-B9AE-0F5ADE8558EC}"/>
              </a:ext>
            </a:extLst>
          </p:cNvPr>
          <p:cNvSpPr/>
          <p:nvPr/>
        </p:nvSpPr>
        <p:spPr>
          <a:xfrm>
            <a:off x="2755196" y="1848437"/>
            <a:ext cx="1782000" cy="2182265"/>
          </a:xfrm>
          <a:prstGeom prst="rect">
            <a:avLst/>
          </a:prstGeom>
          <a:solidFill>
            <a:srgbClr val="E9EDF0"/>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18" name="Arrow: Down 17">
            <a:extLst>
              <a:ext uri="{FF2B5EF4-FFF2-40B4-BE49-F238E27FC236}">
                <a16:creationId xmlns:a16="http://schemas.microsoft.com/office/drawing/2014/main" id="{3369EFD2-C77C-4342-BD29-32692F27CCA8}"/>
              </a:ext>
            </a:extLst>
          </p:cNvPr>
          <p:cNvSpPr/>
          <p:nvPr/>
        </p:nvSpPr>
        <p:spPr>
          <a:xfrm>
            <a:off x="643299" y="1858765"/>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19" name="Arrow: Down 18">
            <a:extLst>
              <a:ext uri="{FF2B5EF4-FFF2-40B4-BE49-F238E27FC236}">
                <a16:creationId xmlns:a16="http://schemas.microsoft.com/office/drawing/2014/main" id="{AFB7E859-B653-4AAD-A5E4-36E7A35509C2}"/>
              </a:ext>
            </a:extLst>
          </p:cNvPr>
          <p:cNvSpPr/>
          <p:nvPr/>
        </p:nvSpPr>
        <p:spPr>
          <a:xfrm>
            <a:off x="2592195" y="1848437"/>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20" name="Arrow: Down 19">
            <a:extLst>
              <a:ext uri="{FF2B5EF4-FFF2-40B4-BE49-F238E27FC236}">
                <a16:creationId xmlns:a16="http://schemas.microsoft.com/office/drawing/2014/main" id="{24A80EBC-17DE-4363-B678-01647EFA2739}"/>
              </a:ext>
            </a:extLst>
          </p:cNvPr>
          <p:cNvSpPr/>
          <p:nvPr/>
        </p:nvSpPr>
        <p:spPr>
          <a:xfrm>
            <a:off x="4567123" y="1848437"/>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21" name="Arrow: Down 20">
            <a:extLst>
              <a:ext uri="{FF2B5EF4-FFF2-40B4-BE49-F238E27FC236}">
                <a16:creationId xmlns:a16="http://schemas.microsoft.com/office/drawing/2014/main" id="{898BC39C-5F86-4531-A0E3-E1AEC786F271}"/>
              </a:ext>
            </a:extLst>
          </p:cNvPr>
          <p:cNvSpPr/>
          <p:nvPr/>
        </p:nvSpPr>
        <p:spPr>
          <a:xfrm>
            <a:off x="6533746" y="1848437"/>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22" name="Arrow: Down 21">
            <a:extLst>
              <a:ext uri="{FF2B5EF4-FFF2-40B4-BE49-F238E27FC236}">
                <a16:creationId xmlns:a16="http://schemas.microsoft.com/office/drawing/2014/main" id="{804FDA4B-A332-4700-B1F7-954063C6BC30}"/>
              </a:ext>
            </a:extLst>
          </p:cNvPr>
          <p:cNvSpPr/>
          <p:nvPr/>
        </p:nvSpPr>
        <p:spPr>
          <a:xfrm>
            <a:off x="8496034" y="1848437"/>
            <a:ext cx="560606" cy="2182265"/>
          </a:xfrm>
          <a:prstGeom prst="downArrow">
            <a:avLst>
              <a:gd name="adj1" fmla="val 50000"/>
              <a:gd name="adj2" fmla="val 29241"/>
            </a:avLst>
          </a:prstGeom>
          <a:solidFill>
            <a:schemeClr val="accent4"/>
          </a:solidFill>
          <a:ln w="12700" cap="flat" cmpd="sng" algn="ctr">
            <a:noFill/>
            <a:prstDash val="solid"/>
            <a:miter lim="800000"/>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sp>
        <p:nvSpPr>
          <p:cNvPr id="23" name="Isosceles Triangle 22">
            <a:extLst>
              <a:ext uri="{FF2B5EF4-FFF2-40B4-BE49-F238E27FC236}">
                <a16:creationId xmlns:a16="http://schemas.microsoft.com/office/drawing/2014/main" id="{7F26B618-060C-4CF1-AC11-56181DF4C32E}"/>
              </a:ext>
            </a:extLst>
          </p:cNvPr>
          <p:cNvSpPr/>
          <p:nvPr/>
        </p:nvSpPr>
        <p:spPr>
          <a:xfrm rot="10800000">
            <a:off x="6720817" y="4127920"/>
            <a:ext cx="1832437" cy="540687"/>
          </a:xfrm>
          <a:prstGeom prst="triangl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21512B4-E73D-4A56-8330-E6749A55FE4B}"/>
              </a:ext>
            </a:extLst>
          </p:cNvPr>
          <p:cNvSpPr txBox="1"/>
          <p:nvPr/>
        </p:nvSpPr>
        <p:spPr>
          <a:xfrm>
            <a:off x="2735014" y="1531905"/>
            <a:ext cx="1803266" cy="499643"/>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panose="020B0604020202020204"/>
                <a:ea typeface="MS PGothic" charset="0"/>
                <a:cs typeface="+mn-cs"/>
              </a:rPr>
              <a:t>DAPA-HF</a:t>
            </a:r>
            <a:r>
              <a:rPr kumimoji="0" lang="en-GB" sz="1600" b="1" i="0" u="none" strike="noStrike" kern="0" cap="none" spc="0" normalizeH="0" baseline="30000" noProof="0" dirty="0">
                <a:ln>
                  <a:noFill/>
                </a:ln>
                <a:solidFill>
                  <a:srgbClr val="FFFFFF"/>
                </a:solidFill>
                <a:effectLst/>
                <a:uLnTx/>
                <a:uFillTx/>
                <a:latin typeface="Arial" panose="020B0604020202020204"/>
                <a:ea typeface="MS PGothic" charset="0"/>
                <a:cs typeface="+mn-cs"/>
              </a:rPr>
              <a:t>2,3</a:t>
            </a:r>
            <a:endParaRPr kumimoji="0" lang="en-GB" sz="1600" b="1" i="0" u="none" strike="noStrike" kern="0" cap="none" spc="0" normalizeH="0" baseline="0" noProof="0" dirty="0">
              <a:ln>
                <a:noFill/>
              </a:ln>
              <a:solidFill>
                <a:srgbClr val="FFFFFF"/>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N=4,744</a:t>
            </a:r>
          </a:p>
        </p:txBody>
      </p:sp>
      <p:sp>
        <p:nvSpPr>
          <p:cNvPr id="25" name="TextBox 24">
            <a:extLst>
              <a:ext uri="{FF2B5EF4-FFF2-40B4-BE49-F238E27FC236}">
                <a16:creationId xmlns:a16="http://schemas.microsoft.com/office/drawing/2014/main" id="{D48D363D-8830-46C0-BE90-825BE2FCDCF1}"/>
              </a:ext>
            </a:extLst>
          </p:cNvPr>
          <p:cNvSpPr txBox="1"/>
          <p:nvPr/>
        </p:nvSpPr>
        <p:spPr>
          <a:xfrm>
            <a:off x="4707044" y="1531906"/>
            <a:ext cx="1803266" cy="499642"/>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S PGothic" charset="0"/>
                <a:cs typeface="+mn-cs"/>
              </a:rPr>
              <a:t>VICTORIA</a:t>
            </a:r>
            <a:r>
              <a:rPr kumimoji="0" lang="en-GB" sz="1600" b="1" i="0" u="none" strike="noStrike" kern="1200" cap="none" spc="0" normalizeH="0" baseline="30000" noProof="0" dirty="0">
                <a:ln>
                  <a:noFill/>
                </a:ln>
                <a:solidFill>
                  <a:srgbClr val="FFFFFF"/>
                </a:solidFill>
                <a:effectLst/>
                <a:uLnTx/>
                <a:uFillTx/>
                <a:latin typeface="Arial" panose="020B0604020202020204"/>
                <a:ea typeface="MS PGothic" charset="0"/>
                <a:cs typeface="+mn-cs"/>
              </a:rPr>
              <a:t>2,4</a:t>
            </a:r>
            <a:endParaRPr kumimoji="0" lang="en-GB" sz="1600" b="1" i="0" u="none" strike="noStrike" kern="1200" cap="none" spc="0" normalizeH="0" baseline="0" noProof="0" dirty="0">
              <a:ln>
                <a:noFill/>
              </a:ln>
              <a:solidFill>
                <a:srgbClr val="FFFFFF"/>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S PGothic" charset="0"/>
                <a:cs typeface="+mn-cs"/>
              </a:rPr>
              <a:t>N=5,050</a:t>
            </a:r>
          </a:p>
        </p:txBody>
      </p:sp>
      <p:sp>
        <p:nvSpPr>
          <p:cNvPr id="26" name="TextBox 25">
            <a:extLst>
              <a:ext uri="{FF2B5EF4-FFF2-40B4-BE49-F238E27FC236}">
                <a16:creationId xmlns:a16="http://schemas.microsoft.com/office/drawing/2014/main" id="{146B0781-43B4-4646-B800-0B6738B02408}"/>
              </a:ext>
            </a:extLst>
          </p:cNvPr>
          <p:cNvSpPr txBox="1"/>
          <p:nvPr/>
        </p:nvSpPr>
        <p:spPr>
          <a:xfrm>
            <a:off x="6673124" y="1531906"/>
            <a:ext cx="1803266" cy="499642"/>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S PGothic" charset="0"/>
                <a:cs typeface="+mn-cs"/>
              </a:rPr>
              <a:t>EMPEROR-Reduced</a:t>
            </a:r>
            <a:r>
              <a:rPr kumimoji="0" lang="en-GB" sz="1200" b="1" i="0" u="none" strike="noStrike" kern="1200" cap="none" spc="0" normalizeH="0" baseline="30000" noProof="0" dirty="0">
                <a:ln>
                  <a:noFill/>
                </a:ln>
                <a:solidFill>
                  <a:srgbClr val="FFFFFF"/>
                </a:solidFill>
                <a:effectLst/>
                <a:uLnTx/>
                <a:uFillTx/>
                <a:latin typeface="Arial" panose="020B0604020202020204"/>
                <a:ea typeface="MS PGothic" charset="0"/>
                <a:cs typeface="+mn-cs"/>
              </a:rPr>
              <a:t>2,5</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S PGothic" charset="0"/>
                <a:cs typeface="+mn-cs"/>
              </a:rPr>
              <a:t>N=3,730</a:t>
            </a:r>
          </a:p>
        </p:txBody>
      </p:sp>
      <p:sp>
        <p:nvSpPr>
          <p:cNvPr id="27" name="TextBox 26">
            <a:extLst>
              <a:ext uri="{FF2B5EF4-FFF2-40B4-BE49-F238E27FC236}">
                <a16:creationId xmlns:a16="http://schemas.microsoft.com/office/drawing/2014/main" id="{5D1880FF-FFF6-4267-8812-2E63C0FE6970}"/>
              </a:ext>
            </a:extLst>
          </p:cNvPr>
          <p:cNvSpPr txBox="1"/>
          <p:nvPr/>
        </p:nvSpPr>
        <p:spPr>
          <a:xfrm>
            <a:off x="8636578" y="1531906"/>
            <a:ext cx="1803266" cy="499642"/>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1500" b="1" i="0" u="none" strike="noStrike" kern="1200" cap="none" spc="0" normalizeH="0" baseline="0" noProof="0" dirty="0">
                <a:ln>
                  <a:noFill/>
                </a:ln>
                <a:solidFill>
                  <a:srgbClr val="FFFFFF"/>
                </a:solidFill>
                <a:effectLst/>
                <a:uLnTx/>
                <a:uFillTx/>
                <a:latin typeface="Arial" panose="020B0604020202020204"/>
                <a:ea typeface="MS PGothic" charset="0"/>
                <a:cs typeface="+mn-cs"/>
              </a:rPr>
              <a:t>GALACTIC-HF</a:t>
            </a:r>
            <a:r>
              <a:rPr kumimoji="0" lang="en-GB" sz="1500" b="1" i="0" u="none" strike="noStrike" kern="1200" cap="none" spc="0" normalizeH="0" baseline="30000" noProof="0" dirty="0">
                <a:ln>
                  <a:noFill/>
                </a:ln>
                <a:solidFill>
                  <a:srgbClr val="FFFFFF"/>
                </a:solidFill>
                <a:effectLst/>
                <a:uLnTx/>
                <a:uFillTx/>
                <a:latin typeface="Arial" panose="020B0604020202020204"/>
                <a:ea typeface="MS PGothic" charset="0"/>
                <a:cs typeface="+mn-cs"/>
              </a:rPr>
              <a:t>2,6</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S PGothic" charset="0"/>
                <a:cs typeface="+mn-cs"/>
              </a:rPr>
              <a:t>N=8,256</a:t>
            </a:r>
          </a:p>
        </p:txBody>
      </p:sp>
      <p:sp>
        <p:nvSpPr>
          <p:cNvPr id="28" name="TextBox 27">
            <a:extLst>
              <a:ext uri="{FF2B5EF4-FFF2-40B4-BE49-F238E27FC236}">
                <a16:creationId xmlns:a16="http://schemas.microsoft.com/office/drawing/2014/main" id="{71702241-87D3-4913-B204-0FAD96353CB9}"/>
              </a:ext>
            </a:extLst>
          </p:cNvPr>
          <p:cNvSpPr txBox="1"/>
          <p:nvPr/>
        </p:nvSpPr>
        <p:spPr>
          <a:xfrm>
            <a:off x="783135" y="1531905"/>
            <a:ext cx="1803266" cy="503977"/>
          </a:xfrm>
          <a:prstGeom prst="rect">
            <a:avLst/>
          </a:prstGeom>
          <a:solidFill>
            <a:schemeClr val="accent4"/>
          </a:solidFill>
        </p:spPr>
        <p:txBody>
          <a:bodyPr vert="horz" wrap="squar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500" b="1" i="0" u="none" strike="noStrike" kern="0" cap="none" spc="0" normalizeH="0" baseline="0" noProof="0" dirty="0">
                <a:ln>
                  <a:noFill/>
                </a:ln>
                <a:solidFill>
                  <a:srgbClr val="FFFFFF"/>
                </a:solidFill>
                <a:effectLst/>
                <a:uLnTx/>
                <a:uFillTx/>
                <a:latin typeface="Arial" panose="020B0604020202020204"/>
                <a:ea typeface="MS PGothic" charset="0"/>
                <a:cs typeface="+mn-cs"/>
              </a:rPr>
              <a:t>PARADIGM-HF</a:t>
            </a:r>
            <a:r>
              <a:rPr kumimoji="0" lang="en-GB" sz="1500" b="1" i="0" u="none" strike="noStrike" kern="0" cap="none" spc="0" normalizeH="0" baseline="30000" noProof="0" dirty="0">
                <a:ln>
                  <a:noFill/>
                </a:ln>
                <a:solidFill>
                  <a:srgbClr val="FFFFFF"/>
                </a:solidFill>
                <a:effectLst/>
                <a:uLnTx/>
                <a:uFillTx/>
                <a:latin typeface="Arial" panose="020B0604020202020204"/>
                <a:ea typeface="MS PGothic" charset="0"/>
                <a:cs typeface="+mn-cs"/>
              </a:rPr>
              <a:t>1,2</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N=8,442</a:t>
            </a:r>
          </a:p>
        </p:txBody>
      </p:sp>
      <p:sp>
        <p:nvSpPr>
          <p:cNvPr id="29" name="TextBox 28">
            <a:extLst>
              <a:ext uri="{FF2B5EF4-FFF2-40B4-BE49-F238E27FC236}">
                <a16:creationId xmlns:a16="http://schemas.microsoft.com/office/drawing/2014/main" id="{8A52F50A-A726-4D69-8408-CB67A781EA5D}"/>
              </a:ext>
            </a:extLst>
          </p:cNvPr>
          <p:cNvSpPr txBox="1"/>
          <p:nvPr/>
        </p:nvSpPr>
        <p:spPr>
          <a:xfrm>
            <a:off x="8898833" y="2022128"/>
            <a:ext cx="149787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t>Primary outcome:</a:t>
            </a:r>
            <a:b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S PGothic" charset="0"/>
                <a:cs typeface="+mn-cs"/>
              </a:rPr>
              <a:t>First HF event (HFH or urgent HF visit) or CV death</a:t>
            </a: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30" name="TextBox 29">
            <a:extLst>
              <a:ext uri="{FF2B5EF4-FFF2-40B4-BE49-F238E27FC236}">
                <a16:creationId xmlns:a16="http://schemas.microsoft.com/office/drawing/2014/main" id="{CF31AC1A-78C0-4E07-986A-29A00F8FA38E}"/>
              </a:ext>
            </a:extLst>
          </p:cNvPr>
          <p:cNvSpPr txBox="1"/>
          <p:nvPr/>
        </p:nvSpPr>
        <p:spPr>
          <a:xfrm>
            <a:off x="6910647" y="2022128"/>
            <a:ext cx="1497872" cy="1816516"/>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t>Primary outcome:</a:t>
            </a:r>
            <a:b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S PGothic" charset="0"/>
                <a:cs typeface="+mn-cs"/>
              </a:rPr>
              <a:t>First HFH or CV death</a:t>
            </a:r>
          </a:p>
          <a:p>
            <a:pPr marL="0" marR="0" lvl="0" indent="0" algn="l" defTabSz="609585" rtl="0" eaLnBrk="0" fontAlgn="base" latinLnBrk="0" hangingPunct="0">
              <a:lnSpc>
                <a:spcPct val="100000"/>
              </a:lnSpc>
              <a:spcBef>
                <a:spcPts val="600"/>
              </a:spcBef>
              <a:spcAft>
                <a:spcPct val="0"/>
              </a:spcAft>
              <a:buClrTx/>
              <a:buSzTx/>
              <a:buFontTx/>
              <a:buNone/>
              <a:tabLst/>
              <a:defRPr/>
            </a:pP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31" name="TextBox 30">
            <a:extLst>
              <a:ext uri="{FF2B5EF4-FFF2-40B4-BE49-F238E27FC236}">
                <a16:creationId xmlns:a16="http://schemas.microsoft.com/office/drawing/2014/main" id="{2A3B9AB6-A825-49A9-8571-A2437C9D3FA7}"/>
              </a:ext>
            </a:extLst>
          </p:cNvPr>
          <p:cNvSpPr txBox="1"/>
          <p:nvPr/>
        </p:nvSpPr>
        <p:spPr>
          <a:xfrm>
            <a:off x="4945384" y="2022128"/>
            <a:ext cx="149787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S PGothic" charset="0"/>
                <a:cs typeface="+mn-cs"/>
              </a:rPr>
              <a:t>HFrEF</a:t>
            </a: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t>Primary outcome:</a:t>
            </a:r>
            <a:b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S PGothic" charset="0"/>
                <a:cs typeface="+mn-cs"/>
              </a:rPr>
              <a:t>First HFH or CV death</a:t>
            </a: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32" name="TextBox 31">
            <a:extLst>
              <a:ext uri="{FF2B5EF4-FFF2-40B4-BE49-F238E27FC236}">
                <a16:creationId xmlns:a16="http://schemas.microsoft.com/office/drawing/2014/main" id="{34EAC68A-0342-44C3-B8DB-59F0F433E129}"/>
              </a:ext>
            </a:extLst>
          </p:cNvPr>
          <p:cNvSpPr txBox="1"/>
          <p:nvPr/>
        </p:nvSpPr>
        <p:spPr>
          <a:xfrm>
            <a:off x="2993938" y="2022128"/>
            <a:ext cx="149787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err="1">
                <a:ln>
                  <a:noFill/>
                </a:ln>
                <a:solidFill>
                  <a:srgbClr val="000000"/>
                </a:solidFill>
                <a:effectLst/>
                <a:uLnTx/>
                <a:uFillTx/>
                <a:latin typeface="Arial" panose="020B0604020202020204"/>
                <a:ea typeface="MS PGothic" charset="0"/>
                <a:cs typeface="+mn-cs"/>
              </a:rPr>
              <a:t>HFrEF</a:t>
            </a:r>
            <a:endParaRPr kumimoji="0" lang="en-GB" sz="1200" b="1" i="0" u="none" strike="noStrike" kern="1200" cap="none" spc="0" normalizeH="0" baseline="0" noProof="0" dirty="0">
              <a:ln>
                <a:noFill/>
              </a:ln>
              <a:solidFill>
                <a:srgbClr val="000000"/>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t>Primary outcome:</a:t>
            </a:r>
            <a:b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S PGothic" charset="0"/>
                <a:cs typeface="+mn-cs"/>
              </a:rPr>
              <a:t>Worsening HF (unplanned hospitalization/ urgent visit resulting in IV therapy for HF) or CV death</a:t>
            </a: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33" name="TextBox 32">
            <a:extLst>
              <a:ext uri="{FF2B5EF4-FFF2-40B4-BE49-F238E27FC236}">
                <a16:creationId xmlns:a16="http://schemas.microsoft.com/office/drawing/2014/main" id="{9D7B6A79-A91B-414E-AF71-27B6B0F16558}"/>
              </a:ext>
            </a:extLst>
          </p:cNvPr>
          <p:cNvSpPr txBox="1"/>
          <p:nvPr/>
        </p:nvSpPr>
        <p:spPr>
          <a:xfrm>
            <a:off x="1001956" y="2022128"/>
            <a:ext cx="1601812" cy="1600993"/>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err="1">
                <a:ln>
                  <a:noFill/>
                </a:ln>
                <a:solidFill>
                  <a:srgbClr val="000000"/>
                </a:solidFill>
                <a:effectLst/>
                <a:uLnTx/>
                <a:uFillTx/>
                <a:latin typeface="Arial" panose="020B0604020202020204"/>
                <a:ea typeface="MS PGothic" charset="0"/>
                <a:cs typeface="+mn-cs"/>
              </a:rPr>
              <a:t>HFrEF</a:t>
            </a:r>
            <a:endParaRPr kumimoji="0" lang="en-GB" sz="1200" b="1" i="0" u="none" strike="noStrike" kern="1200" cap="none" spc="0" normalizeH="0" baseline="0" noProof="0" dirty="0">
              <a:ln>
                <a:noFill/>
              </a:ln>
              <a:solidFill>
                <a:srgbClr val="000000"/>
              </a:solidFill>
              <a:effectLst/>
              <a:uLnTx/>
              <a:uFillTx/>
              <a:latin typeface="Arial" panose="020B0604020202020204"/>
              <a:ea typeface="MS PGothic" charset="0"/>
              <a:cs typeface="+mn-cs"/>
            </a:endParaRPr>
          </a:p>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t>Primary outcome:</a:t>
            </a:r>
            <a:br>
              <a:rPr kumimoji="0" lang="en-GB" sz="1200" b="1" i="0" u="none" strike="noStrike" kern="1200" cap="none" spc="0" normalizeH="0" baseline="0" noProof="0" dirty="0">
                <a:ln>
                  <a:noFill/>
                </a:ln>
                <a:solidFill>
                  <a:srgbClr val="4F256F"/>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S PGothic" charset="0"/>
                <a:cs typeface="+mn-cs"/>
              </a:rPr>
              <a:t>First HFH or CV death</a:t>
            </a: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34" name="Rectangle 33">
            <a:extLst>
              <a:ext uri="{FF2B5EF4-FFF2-40B4-BE49-F238E27FC236}">
                <a16:creationId xmlns:a16="http://schemas.microsoft.com/office/drawing/2014/main" id="{F5A1DAD3-9A68-4E5B-A5B7-86F25B592A48}"/>
              </a:ext>
            </a:extLst>
          </p:cNvPr>
          <p:cNvSpPr/>
          <p:nvPr/>
        </p:nvSpPr>
        <p:spPr>
          <a:xfrm>
            <a:off x="1260645" y="3744151"/>
            <a:ext cx="992387"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4F256F"/>
                </a:solidFill>
                <a:effectLst/>
                <a:uLnTx/>
                <a:uFillTx/>
                <a:latin typeface="Arial" panose="020B0604020202020204"/>
                <a:ea typeface="MS PGothic" charset="0"/>
                <a:cs typeface="+mn-cs"/>
              </a:rPr>
              <a:t>LVEF ≤35%</a:t>
            </a:r>
          </a:p>
        </p:txBody>
      </p:sp>
      <p:sp>
        <p:nvSpPr>
          <p:cNvPr id="35" name="Rectangle 34">
            <a:extLst>
              <a:ext uri="{FF2B5EF4-FFF2-40B4-BE49-F238E27FC236}">
                <a16:creationId xmlns:a16="http://schemas.microsoft.com/office/drawing/2014/main" id="{37CF4A7C-4172-4817-9BF2-5184E799269E}"/>
              </a:ext>
            </a:extLst>
          </p:cNvPr>
          <p:cNvSpPr/>
          <p:nvPr/>
        </p:nvSpPr>
        <p:spPr>
          <a:xfrm>
            <a:off x="9236316" y="3744151"/>
            <a:ext cx="992387"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4F256F"/>
                </a:solidFill>
                <a:effectLst/>
                <a:uLnTx/>
                <a:uFillTx/>
                <a:latin typeface="Arial" panose="020B0604020202020204"/>
                <a:ea typeface="MS PGothic" charset="0"/>
                <a:cs typeface="+mn-cs"/>
              </a:rPr>
              <a:t>LVEF ≤35%</a:t>
            </a:r>
          </a:p>
        </p:txBody>
      </p:sp>
      <p:sp>
        <p:nvSpPr>
          <p:cNvPr id="36" name="Rectangle 35">
            <a:extLst>
              <a:ext uri="{FF2B5EF4-FFF2-40B4-BE49-F238E27FC236}">
                <a16:creationId xmlns:a16="http://schemas.microsoft.com/office/drawing/2014/main" id="{CD66C1B3-A6E5-4096-8A20-E5628951AA06}"/>
              </a:ext>
            </a:extLst>
          </p:cNvPr>
          <p:cNvSpPr/>
          <p:nvPr/>
        </p:nvSpPr>
        <p:spPr>
          <a:xfrm>
            <a:off x="7206073" y="3744151"/>
            <a:ext cx="992388"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4F256F"/>
                </a:solidFill>
                <a:effectLst/>
                <a:uLnTx/>
                <a:uFillTx/>
                <a:latin typeface="Arial" panose="020B0604020202020204"/>
                <a:ea typeface="MS PGothic" charset="0"/>
                <a:cs typeface="+mn-cs"/>
              </a:rPr>
              <a:t>LVEF ≤40%</a:t>
            </a:r>
          </a:p>
        </p:txBody>
      </p:sp>
      <p:sp>
        <p:nvSpPr>
          <p:cNvPr id="37" name="Rectangle 36">
            <a:extLst>
              <a:ext uri="{FF2B5EF4-FFF2-40B4-BE49-F238E27FC236}">
                <a16:creationId xmlns:a16="http://schemas.microsoft.com/office/drawing/2014/main" id="{788CC301-B911-458C-B116-CB9F82A49265}"/>
              </a:ext>
            </a:extLst>
          </p:cNvPr>
          <p:cNvSpPr/>
          <p:nvPr/>
        </p:nvSpPr>
        <p:spPr>
          <a:xfrm>
            <a:off x="5252229" y="3744151"/>
            <a:ext cx="997196"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4F256F"/>
                </a:solidFill>
                <a:effectLst/>
                <a:uLnTx/>
                <a:uFillTx/>
                <a:latin typeface="Arial" panose="020B0604020202020204"/>
                <a:ea typeface="MS PGothic" charset="0"/>
                <a:cs typeface="+mn-cs"/>
              </a:rPr>
              <a:t>LVEF &lt;45%</a:t>
            </a:r>
          </a:p>
        </p:txBody>
      </p:sp>
      <p:sp>
        <p:nvSpPr>
          <p:cNvPr id="38" name="Rectangle 37">
            <a:extLst>
              <a:ext uri="{FF2B5EF4-FFF2-40B4-BE49-F238E27FC236}">
                <a16:creationId xmlns:a16="http://schemas.microsoft.com/office/drawing/2014/main" id="{A3AFA2DC-9374-4378-8080-3CC462B58DC7}"/>
              </a:ext>
            </a:extLst>
          </p:cNvPr>
          <p:cNvSpPr/>
          <p:nvPr/>
        </p:nvSpPr>
        <p:spPr>
          <a:xfrm>
            <a:off x="3218493" y="3744151"/>
            <a:ext cx="992388" cy="276999"/>
          </a:xfrm>
          <a:prstGeom prst="rect">
            <a:avLst/>
          </a:prstGeom>
        </p:spPr>
        <p:txBody>
          <a:bodyPr wrap="none">
            <a:spAutoFit/>
          </a:bodyPr>
          <a:lstStyle/>
          <a:p>
            <a:pPr marL="0" marR="0" lvl="0" indent="0" algn="ctr" defTabSz="609585"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4F256F"/>
                </a:solidFill>
                <a:effectLst/>
                <a:uLnTx/>
                <a:uFillTx/>
                <a:latin typeface="Arial" panose="020B0604020202020204"/>
                <a:ea typeface="MS PGothic" charset="0"/>
                <a:cs typeface="+mn-cs"/>
              </a:rPr>
              <a:t>LVEF ≤40%</a:t>
            </a:r>
          </a:p>
        </p:txBody>
      </p:sp>
      <p:grpSp>
        <p:nvGrpSpPr>
          <p:cNvPr id="96" name="Group 95">
            <a:extLst>
              <a:ext uri="{FF2B5EF4-FFF2-40B4-BE49-F238E27FC236}">
                <a16:creationId xmlns:a16="http://schemas.microsoft.com/office/drawing/2014/main" id="{3E1D9396-19E5-459F-90F0-45418DD31BEA}"/>
              </a:ext>
            </a:extLst>
          </p:cNvPr>
          <p:cNvGrpSpPr/>
          <p:nvPr/>
        </p:nvGrpSpPr>
        <p:grpSpPr>
          <a:xfrm>
            <a:off x="696265" y="2602335"/>
            <a:ext cx="450000" cy="450000"/>
            <a:chOff x="696265" y="2685606"/>
            <a:chExt cx="450000" cy="450000"/>
          </a:xfrm>
        </p:grpSpPr>
        <p:sp>
          <p:nvSpPr>
            <p:cNvPr id="40" name="Rounded Rectangle 2">
              <a:extLst>
                <a:ext uri="{FF2B5EF4-FFF2-40B4-BE49-F238E27FC236}">
                  <a16:creationId xmlns:a16="http://schemas.microsoft.com/office/drawing/2014/main" id="{FCD3A275-3592-443C-8B3C-64049F9DF9D4}"/>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dirty="0">
                <a:ln>
                  <a:noFill/>
                </a:ln>
                <a:solidFill>
                  <a:srgbClr val="FFFFFF"/>
                </a:solidFill>
                <a:effectLst/>
                <a:uLnTx/>
                <a:uFillTx/>
                <a:latin typeface="Arial" panose="020B0604020202020204"/>
                <a:ea typeface="MS PGothic" charset="0"/>
                <a:cs typeface="Arial"/>
              </a:endParaRPr>
            </a:p>
          </p:txBody>
        </p:sp>
        <p:grpSp>
          <p:nvGrpSpPr>
            <p:cNvPr id="41" name="Group 40">
              <a:extLst>
                <a:ext uri="{FF2B5EF4-FFF2-40B4-BE49-F238E27FC236}">
                  <a16:creationId xmlns:a16="http://schemas.microsoft.com/office/drawing/2014/main" id="{7F438A12-F9E0-41A2-BD84-F2791DC0D206}"/>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42" name="Freeform 51">
                <a:extLst>
                  <a:ext uri="{FF2B5EF4-FFF2-40B4-BE49-F238E27FC236}">
                    <a16:creationId xmlns:a16="http://schemas.microsoft.com/office/drawing/2014/main" id="{802C5CA7-5976-41BA-94FF-E113314A1780}"/>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43" name="Freeform 52">
                <a:extLst>
                  <a:ext uri="{FF2B5EF4-FFF2-40B4-BE49-F238E27FC236}">
                    <a16:creationId xmlns:a16="http://schemas.microsoft.com/office/drawing/2014/main" id="{7D49BD22-1431-44FD-82D9-6C96C9A80548}"/>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44" name="Freeform 53">
                <a:extLst>
                  <a:ext uri="{FF2B5EF4-FFF2-40B4-BE49-F238E27FC236}">
                    <a16:creationId xmlns:a16="http://schemas.microsoft.com/office/drawing/2014/main" id="{64D0B2D0-43DE-4014-AD6A-7C0CB735ED20}"/>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45" name="Freeform 54">
                <a:extLst>
                  <a:ext uri="{FF2B5EF4-FFF2-40B4-BE49-F238E27FC236}">
                    <a16:creationId xmlns:a16="http://schemas.microsoft.com/office/drawing/2014/main" id="{50D9819A-F979-4F64-BBB5-5C1E71BC5D1C}"/>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46" name="Freeform 55">
                <a:extLst>
                  <a:ext uri="{FF2B5EF4-FFF2-40B4-BE49-F238E27FC236}">
                    <a16:creationId xmlns:a16="http://schemas.microsoft.com/office/drawing/2014/main" id="{87F73A0F-C14A-4694-B997-86C780FF04D8}"/>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47" name="Freeform 56">
                <a:extLst>
                  <a:ext uri="{FF2B5EF4-FFF2-40B4-BE49-F238E27FC236}">
                    <a16:creationId xmlns:a16="http://schemas.microsoft.com/office/drawing/2014/main" id="{1D333144-565C-455D-8675-847F99BA3FC7}"/>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grpSp>
      </p:grpSp>
      <p:sp>
        <p:nvSpPr>
          <p:cNvPr id="48" name="TextBox 47">
            <a:extLst>
              <a:ext uri="{FF2B5EF4-FFF2-40B4-BE49-F238E27FC236}">
                <a16:creationId xmlns:a16="http://schemas.microsoft.com/office/drawing/2014/main" id="{B80CDC88-BA7E-4996-86E8-DD1583FF7045}"/>
              </a:ext>
            </a:extLst>
          </p:cNvPr>
          <p:cNvSpPr txBox="1"/>
          <p:nvPr/>
        </p:nvSpPr>
        <p:spPr>
          <a:xfrm>
            <a:off x="1233609" y="4643602"/>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ARR=2.7</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NNT=39</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RRR=20%</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p&lt;0.001</a:t>
            </a:r>
          </a:p>
        </p:txBody>
      </p:sp>
      <p:sp>
        <p:nvSpPr>
          <p:cNvPr id="49" name="TextBox 48">
            <a:extLst>
              <a:ext uri="{FF2B5EF4-FFF2-40B4-BE49-F238E27FC236}">
                <a16:creationId xmlns:a16="http://schemas.microsoft.com/office/drawing/2014/main" id="{457784C9-E831-45E2-96B2-69272BB3143C}"/>
              </a:ext>
            </a:extLst>
          </p:cNvPr>
          <p:cNvSpPr txBox="1"/>
          <p:nvPr/>
        </p:nvSpPr>
        <p:spPr>
          <a:xfrm>
            <a:off x="3188996" y="4643602"/>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ARR=4.0</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NNT=25</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RRR=26%</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p&lt;0.001</a:t>
            </a:r>
          </a:p>
          <a:p>
            <a:pPr marL="0" marR="0" lvl="0" indent="0" algn="ctr" defTabSz="609585" rtl="0" eaLnBrk="0" fontAlgn="base" latinLnBrk="0" hangingPunct="0">
              <a:lnSpc>
                <a:spcPct val="100000"/>
              </a:lnSpc>
              <a:spcBef>
                <a:spcPts val="600"/>
              </a:spcBef>
              <a:spcAft>
                <a:spcPct val="0"/>
              </a:spcAft>
              <a:buClrTx/>
              <a:buSzTx/>
              <a:buFontTx/>
              <a:buNone/>
              <a:tabLst/>
              <a:defRPr/>
            </a:pPr>
            <a:endPar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endParaRPr>
          </a:p>
        </p:txBody>
      </p:sp>
      <p:sp>
        <p:nvSpPr>
          <p:cNvPr id="50" name="TextBox 49">
            <a:extLst>
              <a:ext uri="{FF2B5EF4-FFF2-40B4-BE49-F238E27FC236}">
                <a16:creationId xmlns:a16="http://schemas.microsoft.com/office/drawing/2014/main" id="{6BFAA8D9-E935-4E14-92D5-EFFF415D281F}"/>
              </a:ext>
            </a:extLst>
          </p:cNvPr>
          <p:cNvSpPr txBox="1"/>
          <p:nvPr/>
        </p:nvSpPr>
        <p:spPr>
          <a:xfrm>
            <a:off x="5176972" y="4643602"/>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ARR=4.2</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NNT=24</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RRR=10%</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p=0.02</a:t>
            </a:r>
          </a:p>
        </p:txBody>
      </p:sp>
      <p:sp>
        <p:nvSpPr>
          <p:cNvPr id="51" name="TextBox 50">
            <a:extLst>
              <a:ext uri="{FF2B5EF4-FFF2-40B4-BE49-F238E27FC236}">
                <a16:creationId xmlns:a16="http://schemas.microsoft.com/office/drawing/2014/main" id="{CC954E9E-6F62-4FB2-AC90-ECFE05C81E11}"/>
              </a:ext>
            </a:extLst>
          </p:cNvPr>
          <p:cNvSpPr txBox="1"/>
          <p:nvPr/>
        </p:nvSpPr>
        <p:spPr>
          <a:xfrm>
            <a:off x="7136622" y="4643602"/>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ARR=5.2</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NNT=19</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RRR=25%</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p&lt;0.001</a:t>
            </a:r>
          </a:p>
          <a:p>
            <a:pPr marL="0" marR="0" lvl="0" indent="0" algn="ctr" defTabSz="609585" rtl="0" eaLnBrk="0" fontAlgn="base" latinLnBrk="0" hangingPunct="0">
              <a:lnSpc>
                <a:spcPct val="100000"/>
              </a:lnSpc>
              <a:spcBef>
                <a:spcPts val="600"/>
              </a:spcBef>
              <a:spcAft>
                <a:spcPct val="0"/>
              </a:spcAft>
              <a:buClrTx/>
              <a:buSzTx/>
              <a:buFontTx/>
              <a:buNone/>
              <a:tabLst/>
              <a:defRPr/>
            </a:pPr>
            <a:endPar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endParaRPr>
          </a:p>
        </p:txBody>
      </p:sp>
      <p:sp>
        <p:nvSpPr>
          <p:cNvPr id="52" name="TextBox 51">
            <a:extLst>
              <a:ext uri="{FF2B5EF4-FFF2-40B4-BE49-F238E27FC236}">
                <a16:creationId xmlns:a16="http://schemas.microsoft.com/office/drawing/2014/main" id="{68586E4B-6994-4A61-9042-C37F6D7646D0}"/>
              </a:ext>
            </a:extLst>
          </p:cNvPr>
          <p:cNvSpPr txBox="1"/>
          <p:nvPr/>
        </p:nvSpPr>
        <p:spPr>
          <a:xfrm>
            <a:off x="9094444" y="4643602"/>
            <a:ext cx="914400" cy="914400"/>
          </a:xfrm>
          <a:prstGeom prst="rect">
            <a:avLst/>
          </a:prstGeom>
        </p:spPr>
        <p:txBody>
          <a:bodyPr vert="horz" wrap="non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ARR=2.1</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4F256F"/>
                </a:solidFill>
                <a:effectLst/>
                <a:uLnTx/>
                <a:uFillTx/>
                <a:latin typeface="Arial" panose="020B0604020202020204"/>
                <a:ea typeface="MS PGothic" charset="0"/>
                <a:cs typeface="+mn-cs"/>
              </a:rPr>
              <a:t>NNT=48</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RRR=8%</a:t>
            </a:r>
          </a:p>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0" i="0" u="none" strike="noStrike" kern="1200" cap="none" spc="0" normalizeH="0" baseline="0" noProof="0" dirty="0">
                <a:ln>
                  <a:noFill/>
                </a:ln>
                <a:solidFill>
                  <a:srgbClr val="4F256F"/>
                </a:solidFill>
                <a:effectLst/>
                <a:uLnTx/>
                <a:uFillTx/>
                <a:latin typeface="Arial" panose="020B0604020202020204"/>
                <a:ea typeface="MS PGothic" charset="0"/>
                <a:cs typeface="+mn-cs"/>
              </a:rPr>
              <a:t>p=0.03</a:t>
            </a:r>
          </a:p>
        </p:txBody>
      </p:sp>
      <p:sp>
        <p:nvSpPr>
          <p:cNvPr id="53" name="Rectangle 52">
            <a:extLst>
              <a:ext uri="{FF2B5EF4-FFF2-40B4-BE49-F238E27FC236}">
                <a16:creationId xmlns:a16="http://schemas.microsoft.com/office/drawing/2014/main" id="{DB89223D-7553-4A5A-B3E1-721D05A43EE8}"/>
              </a:ext>
            </a:extLst>
          </p:cNvPr>
          <p:cNvSpPr/>
          <p:nvPr/>
        </p:nvSpPr>
        <p:spPr>
          <a:xfrm>
            <a:off x="4570885" y="1203266"/>
            <a:ext cx="1955171" cy="460199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0" name="TextBox 89">
            <a:extLst>
              <a:ext uri="{FF2B5EF4-FFF2-40B4-BE49-F238E27FC236}">
                <a16:creationId xmlns:a16="http://schemas.microsoft.com/office/drawing/2014/main" id="{7741F614-82BD-4A5A-B883-35537AC836BE}"/>
              </a:ext>
            </a:extLst>
          </p:cNvPr>
          <p:cNvSpPr txBox="1"/>
          <p:nvPr/>
        </p:nvSpPr>
        <p:spPr>
          <a:xfrm>
            <a:off x="1389613" y="1203265"/>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4F8A"/>
                </a:solidFill>
                <a:effectLst/>
                <a:uLnTx/>
                <a:uFillTx/>
                <a:latin typeface="Arial"/>
                <a:ea typeface="+mn-ea"/>
                <a:cs typeface="+mn-cs"/>
              </a:rPr>
              <a:t>2014</a:t>
            </a:r>
          </a:p>
        </p:txBody>
      </p:sp>
      <p:sp>
        <p:nvSpPr>
          <p:cNvPr id="91" name="TextBox 90">
            <a:extLst>
              <a:ext uri="{FF2B5EF4-FFF2-40B4-BE49-F238E27FC236}">
                <a16:creationId xmlns:a16="http://schemas.microsoft.com/office/drawing/2014/main" id="{914C9BB8-94E2-46DB-878E-07BE922E1731}"/>
              </a:ext>
            </a:extLst>
          </p:cNvPr>
          <p:cNvSpPr txBox="1"/>
          <p:nvPr/>
        </p:nvSpPr>
        <p:spPr>
          <a:xfrm>
            <a:off x="3350243" y="1203265"/>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4F8A"/>
                </a:solidFill>
                <a:effectLst/>
                <a:uLnTx/>
                <a:uFillTx/>
                <a:latin typeface="Arial"/>
                <a:ea typeface="+mn-ea"/>
                <a:cs typeface="+mn-cs"/>
              </a:rPr>
              <a:t>2019</a:t>
            </a:r>
          </a:p>
        </p:txBody>
      </p:sp>
      <p:sp>
        <p:nvSpPr>
          <p:cNvPr id="92" name="TextBox 91">
            <a:extLst>
              <a:ext uri="{FF2B5EF4-FFF2-40B4-BE49-F238E27FC236}">
                <a16:creationId xmlns:a16="http://schemas.microsoft.com/office/drawing/2014/main" id="{4BD392CA-9AB0-4028-8CA2-4676068DDF27}"/>
              </a:ext>
            </a:extLst>
          </p:cNvPr>
          <p:cNvSpPr txBox="1"/>
          <p:nvPr/>
        </p:nvSpPr>
        <p:spPr>
          <a:xfrm>
            <a:off x="5275314" y="1203265"/>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4F8A"/>
                </a:solidFill>
                <a:effectLst/>
                <a:uLnTx/>
                <a:uFillTx/>
                <a:latin typeface="Arial"/>
                <a:ea typeface="+mn-ea"/>
                <a:cs typeface="+mn-cs"/>
              </a:rPr>
              <a:t>2020</a:t>
            </a:r>
          </a:p>
        </p:txBody>
      </p:sp>
      <p:sp>
        <p:nvSpPr>
          <p:cNvPr id="93" name="TextBox 92">
            <a:extLst>
              <a:ext uri="{FF2B5EF4-FFF2-40B4-BE49-F238E27FC236}">
                <a16:creationId xmlns:a16="http://schemas.microsoft.com/office/drawing/2014/main" id="{1EA4E11E-DC28-4C02-95D7-D0824915A8EF}"/>
              </a:ext>
            </a:extLst>
          </p:cNvPr>
          <p:cNvSpPr txBox="1"/>
          <p:nvPr/>
        </p:nvSpPr>
        <p:spPr>
          <a:xfrm>
            <a:off x="7286745" y="1203265"/>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4F8A"/>
                </a:solidFill>
                <a:effectLst/>
                <a:uLnTx/>
                <a:uFillTx/>
                <a:latin typeface="Arial"/>
                <a:ea typeface="+mn-ea"/>
                <a:cs typeface="+mn-cs"/>
              </a:rPr>
              <a:t>2020</a:t>
            </a:r>
          </a:p>
        </p:txBody>
      </p:sp>
      <p:sp>
        <p:nvSpPr>
          <p:cNvPr id="94" name="TextBox 93">
            <a:extLst>
              <a:ext uri="{FF2B5EF4-FFF2-40B4-BE49-F238E27FC236}">
                <a16:creationId xmlns:a16="http://schemas.microsoft.com/office/drawing/2014/main" id="{FA8C74FE-D292-43DE-8A52-108DB523627F}"/>
              </a:ext>
            </a:extLst>
          </p:cNvPr>
          <p:cNvSpPr txBox="1"/>
          <p:nvPr/>
        </p:nvSpPr>
        <p:spPr>
          <a:xfrm>
            <a:off x="9237215" y="1203265"/>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4F8A"/>
                </a:solidFill>
                <a:effectLst/>
                <a:uLnTx/>
                <a:uFillTx/>
                <a:latin typeface="Arial"/>
                <a:ea typeface="+mn-ea"/>
                <a:cs typeface="+mn-cs"/>
              </a:rPr>
              <a:t>2020</a:t>
            </a:r>
          </a:p>
        </p:txBody>
      </p:sp>
      <p:grpSp>
        <p:nvGrpSpPr>
          <p:cNvPr id="97" name="Group 96">
            <a:extLst>
              <a:ext uri="{FF2B5EF4-FFF2-40B4-BE49-F238E27FC236}">
                <a16:creationId xmlns:a16="http://schemas.microsoft.com/office/drawing/2014/main" id="{5F5C9D71-E99B-4C06-96B3-5F02AEECFE8D}"/>
              </a:ext>
            </a:extLst>
          </p:cNvPr>
          <p:cNvGrpSpPr/>
          <p:nvPr/>
        </p:nvGrpSpPr>
        <p:grpSpPr>
          <a:xfrm>
            <a:off x="2659172" y="2602335"/>
            <a:ext cx="450000" cy="450000"/>
            <a:chOff x="696265" y="2685606"/>
            <a:chExt cx="450000" cy="450000"/>
          </a:xfrm>
        </p:grpSpPr>
        <p:sp>
          <p:nvSpPr>
            <p:cNvPr id="98" name="Rounded Rectangle 2">
              <a:extLst>
                <a:ext uri="{FF2B5EF4-FFF2-40B4-BE49-F238E27FC236}">
                  <a16:creationId xmlns:a16="http://schemas.microsoft.com/office/drawing/2014/main" id="{9A7D0CDC-D610-4DC6-B9FE-BB010019A100}"/>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dirty="0">
                <a:ln>
                  <a:noFill/>
                </a:ln>
                <a:solidFill>
                  <a:srgbClr val="FFFFFF"/>
                </a:solidFill>
                <a:effectLst/>
                <a:uLnTx/>
                <a:uFillTx/>
                <a:latin typeface="Arial" panose="020B0604020202020204"/>
                <a:ea typeface="MS PGothic" charset="0"/>
                <a:cs typeface="Arial"/>
              </a:endParaRPr>
            </a:p>
          </p:txBody>
        </p:sp>
        <p:grpSp>
          <p:nvGrpSpPr>
            <p:cNvPr id="99" name="Group 98">
              <a:extLst>
                <a:ext uri="{FF2B5EF4-FFF2-40B4-BE49-F238E27FC236}">
                  <a16:creationId xmlns:a16="http://schemas.microsoft.com/office/drawing/2014/main" id="{3CB34A9D-EDB8-4018-B320-EFBD29F026BD}"/>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00" name="Freeform 51">
                <a:extLst>
                  <a:ext uri="{FF2B5EF4-FFF2-40B4-BE49-F238E27FC236}">
                    <a16:creationId xmlns:a16="http://schemas.microsoft.com/office/drawing/2014/main" id="{C7DB5A4F-846E-4878-A764-8C3E6F1D9710}"/>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01" name="Freeform 52">
                <a:extLst>
                  <a:ext uri="{FF2B5EF4-FFF2-40B4-BE49-F238E27FC236}">
                    <a16:creationId xmlns:a16="http://schemas.microsoft.com/office/drawing/2014/main" id="{3BDEDF16-F444-4CF5-9985-6F726D42E2D5}"/>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02" name="Freeform 53">
                <a:extLst>
                  <a:ext uri="{FF2B5EF4-FFF2-40B4-BE49-F238E27FC236}">
                    <a16:creationId xmlns:a16="http://schemas.microsoft.com/office/drawing/2014/main" id="{C86F01D3-621F-46F1-8C9E-BA62AA496459}"/>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03" name="Freeform 54">
                <a:extLst>
                  <a:ext uri="{FF2B5EF4-FFF2-40B4-BE49-F238E27FC236}">
                    <a16:creationId xmlns:a16="http://schemas.microsoft.com/office/drawing/2014/main" id="{EA995DDC-A0B4-487D-A9D6-9D9E3256116D}"/>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04" name="Freeform 55">
                <a:extLst>
                  <a:ext uri="{FF2B5EF4-FFF2-40B4-BE49-F238E27FC236}">
                    <a16:creationId xmlns:a16="http://schemas.microsoft.com/office/drawing/2014/main" id="{9D50D008-9A59-4C38-ADF4-0C438D77CEF7}"/>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05" name="Freeform 56">
                <a:extLst>
                  <a:ext uri="{FF2B5EF4-FFF2-40B4-BE49-F238E27FC236}">
                    <a16:creationId xmlns:a16="http://schemas.microsoft.com/office/drawing/2014/main" id="{7DBAC783-5EE3-428A-8D14-61FCD9A32503}"/>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grpSp>
      </p:grpSp>
      <p:grpSp>
        <p:nvGrpSpPr>
          <p:cNvPr id="106" name="Group 105">
            <a:extLst>
              <a:ext uri="{FF2B5EF4-FFF2-40B4-BE49-F238E27FC236}">
                <a16:creationId xmlns:a16="http://schemas.microsoft.com/office/drawing/2014/main" id="{4F5E8739-6797-4781-80C5-2F47DE33AF36}"/>
              </a:ext>
            </a:extLst>
          </p:cNvPr>
          <p:cNvGrpSpPr/>
          <p:nvPr/>
        </p:nvGrpSpPr>
        <p:grpSpPr>
          <a:xfrm>
            <a:off x="4622079" y="2602335"/>
            <a:ext cx="450000" cy="450000"/>
            <a:chOff x="696265" y="2685606"/>
            <a:chExt cx="450000" cy="450000"/>
          </a:xfrm>
        </p:grpSpPr>
        <p:sp>
          <p:nvSpPr>
            <p:cNvPr id="107" name="Rounded Rectangle 2">
              <a:extLst>
                <a:ext uri="{FF2B5EF4-FFF2-40B4-BE49-F238E27FC236}">
                  <a16:creationId xmlns:a16="http://schemas.microsoft.com/office/drawing/2014/main" id="{59F6615A-ACC4-4742-8B83-F211B0F25DF2}"/>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dirty="0">
                <a:ln>
                  <a:noFill/>
                </a:ln>
                <a:solidFill>
                  <a:srgbClr val="FFFFFF"/>
                </a:solidFill>
                <a:effectLst/>
                <a:uLnTx/>
                <a:uFillTx/>
                <a:latin typeface="Arial" panose="020B0604020202020204"/>
                <a:ea typeface="MS PGothic" charset="0"/>
                <a:cs typeface="Arial"/>
              </a:endParaRPr>
            </a:p>
          </p:txBody>
        </p:sp>
        <p:grpSp>
          <p:nvGrpSpPr>
            <p:cNvPr id="108" name="Group 107">
              <a:extLst>
                <a:ext uri="{FF2B5EF4-FFF2-40B4-BE49-F238E27FC236}">
                  <a16:creationId xmlns:a16="http://schemas.microsoft.com/office/drawing/2014/main" id="{99D99E05-D352-4081-9F93-DA07D2826C79}"/>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09" name="Freeform 51">
                <a:extLst>
                  <a:ext uri="{FF2B5EF4-FFF2-40B4-BE49-F238E27FC236}">
                    <a16:creationId xmlns:a16="http://schemas.microsoft.com/office/drawing/2014/main" id="{6D4F0904-4418-413D-9B19-115C02B19DE2}"/>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10" name="Freeform 52">
                <a:extLst>
                  <a:ext uri="{FF2B5EF4-FFF2-40B4-BE49-F238E27FC236}">
                    <a16:creationId xmlns:a16="http://schemas.microsoft.com/office/drawing/2014/main" id="{D54927CC-D862-47C5-ADAC-292B59184CB7}"/>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11" name="Freeform 53">
                <a:extLst>
                  <a:ext uri="{FF2B5EF4-FFF2-40B4-BE49-F238E27FC236}">
                    <a16:creationId xmlns:a16="http://schemas.microsoft.com/office/drawing/2014/main" id="{3F99DD8D-8976-445D-B46D-EFFBA3005738}"/>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12" name="Freeform 54">
                <a:extLst>
                  <a:ext uri="{FF2B5EF4-FFF2-40B4-BE49-F238E27FC236}">
                    <a16:creationId xmlns:a16="http://schemas.microsoft.com/office/drawing/2014/main" id="{E21B0039-4079-488E-AB30-175E117C9581}"/>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13" name="Freeform 55">
                <a:extLst>
                  <a:ext uri="{FF2B5EF4-FFF2-40B4-BE49-F238E27FC236}">
                    <a16:creationId xmlns:a16="http://schemas.microsoft.com/office/drawing/2014/main" id="{751FBC01-7669-4F48-A538-4DCA0DF9D37F}"/>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14" name="Freeform 56">
                <a:extLst>
                  <a:ext uri="{FF2B5EF4-FFF2-40B4-BE49-F238E27FC236}">
                    <a16:creationId xmlns:a16="http://schemas.microsoft.com/office/drawing/2014/main" id="{C9441B18-679B-47C7-B128-ECC4182935C7}"/>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grpSp>
      </p:grpSp>
      <p:grpSp>
        <p:nvGrpSpPr>
          <p:cNvPr id="115" name="Group 114">
            <a:extLst>
              <a:ext uri="{FF2B5EF4-FFF2-40B4-BE49-F238E27FC236}">
                <a16:creationId xmlns:a16="http://schemas.microsoft.com/office/drawing/2014/main" id="{A46EDF6F-8E8E-48DA-AE48-E1C8F34573FC}"/>
              </a:ext>
            </a:extLst>
          </p:cNvPr>
          <p:cNvGrpSpPr/>
          <p:nvPr/>
        </p:nvGrpSpPr>
        <p:grpSpPr>
          <a:xfrm>
            <a:off x="6584986" y="2602335"/>
            <a:ext cx="450000" cy="450000"/>
            <a:chOff x="696265" y="2685606"/>
            <a:chExt cx="450000" cy="450000"/>
          </a:xfrm>
        </p:grpSpPr>
        <p:sp>
          <p:nvSpPr>
            <p:cNvPr id="116" name="Rounded Rectangle 2">
              <a:extLst>
                <a:ext uri="{FF2B5EF4-FFF2-40B4-BE49-F238E27FC236}">
                  <a16:creationId xmlns:a16="http://schemas.microsoft.com/office/drawing/2014/main" id="{44C6B45D-A7BA-4FA0-AB48-9E1408BB994D}"/>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dirty="0">
                <a:ln>
                  <a:noFill/>
                </a:ln>
                <a:solidFill>
                  <a:srgbClr val="FFFFFF"/>
                </a:solidFill>
                <a:effectLst/>
                <a:uLnTx/>
                <a:uFillTx/>
                <a:latin typeface="Arial" panose="020B0604020202020204"/>
                <a:ea typeface="MS PGothic" charset="0"/>
                <a:cs typeface="Arial"/>
              </a:endParaRPr>
            </a:p>
          </p:txBody>
        </p:sp>
        <p:grpSp>
          <p:nvGrpSpPr>
            <p:cNvPr id="117" name="Group 116">
              <a:extLst>
                <a:ext uri="{FF2B5EF4-FFF2-40B4-BE49-F238E27FC236}">
                  <a16:creationId xmlns:a16="http://schemas.microsoft.com/office/drawing/2014/main" id="{B3AEE1FB-E036-4AFB-BD79-0EF61D8D380B}"/>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18" name="Freeform 51">
                <a:extLst>
                  <a:ext uri="{FF2B5EF4-FFF2-40B4-BE49-F238E27FC236}">
                    <a16:creationId xmlns:a16="http://schemas.microsoft.com/office/drawing/2014/main" id="{06AFC331-61BA-403E-A3CC-D158595832A7}"/>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19" name="Freeform 52">
                <a:extLst>
                  <a:ext uri="{FF2B5EF4-FFF2-40B4-BE49-F238E27FC236}">
                    <a16:creationId xmlns:a16="http://schemas.microsoft.com/office/drawing/2014/main" id="{AABDF24F-3807-4E0F-8497-0405742EB850}"/>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20" name="Freeform 53">
                <a:extLst>
                  <a:ext uri="{FF2B5EF4-FFF2-40B4-BE49-F238E27FC236}">
                    <a16:creationId xmlns:a16="http://schemas.microsoft.com/office/drawing/2014/main" id="{0CE8A940-AB12-4006-924A-806338B26E91}"/>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21" name="Freeform 54">
                <a:extLst>
                  <a:ext uri="{FF2B5EF4-FFF2-40B4-BE49-F238E27FC236}">
                    <a16:creationId xmlns:a16="http://schemas.microsoft.com/office/drawing/2014/main" id="{F3E57D4A-AE71-4DD6-87BE-4A3783F6259E}"/>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22" name="Freeform 55">
                <a:extLst>
                  <a:ext uri="{FF2B5EF4-FFF2-40B4-BE49-F238E27FC236}">
                    <a16:creationId xmlns:a16="http://schemas.microsoft.com/office/drawing/2014/main" id="{16BF46B0-8560-4A37-8DCB-EF7DBFD552D3}"/>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23" name="Freeform 56">
                <a:extLst>
                  <a:ext uri="{FF2B5EF4-FFF2-40B4-BE49-F238E27FC236}">
                    <a16:creationId xmlns:a16="http://schemas.microsoft.com/office/drawing/2014/main" id="{E2CDFBB6-8460-41CC-B005-7BBE934CC203}"/>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grpSp>
      </p:grpSp>
      <p:grpSp>
        <p:nvGrpSpPr>
          <p:cNvPr id="124" name="Group 123">
            <a:extLst>
              <a:ext uri="{FF2B5EF4-FFF2-40B4-BE49-F238E27FC236}">
                <a16:creationId xmlns:a16="http://schemas.microsoft.com/office/drawing/2014/main" id="{0791B6EF-0B06-4774-BB27-37BCB2BA9299}"/>
              </a:ext>
            </a:extLst>
          </p:cNvPr>
          <p:cNvGrpSpPr/>
          <p:nvPr/>
        </p:nvGrpSpPr>
        <p:grpSpPr>
          <a:xfrm>
            <a:off x="8547893" y="2602335"/>
            <a:ext cx="450000" cy="450000"/>
            <a:chOff x="696265" y="2685606"/>
            <a:chExt cx="450000" cy="450000"/>
          </a:xfrm>
        </p:grpSpPr>
        <p:sp>
          <p:nvSpPr>
            <p:cNvPr id="125" name="Rounded Rectangle 2">
              <a:extLst>
                <a:ext uri="{FF2B5EF4-FFF2-40B4-BE49-F238E27FC236}">
                  <a16:creationId xmlns:a16="http://schemas.microsoft.com/office/drawing/2014/main" id="{4883A9CC-E26B-43F4-B152-DAC1227B26D8}"/>
                </a:ext>
              </a:extLst>
            </p:cNvPr>
            <p:cNvSpPr/>
            <p:nvPr/>
          </p:nvSpPr>
          <p:spPr bwMode="gray">
            <a:xfrm>
              <a:off x="696265" y="2685606"/>
              <a:ext cx="450000" cy="450000"/>
            </a:xfrm>
            <a:prstGeom prst="ellipse">
              <a:avLst/>
            </a:prstGeom>
            <a:solidFill>
              <a:srgbClr val="FFFFFF"/>
            </a:solidFill>
            <a:ln w="12700" cap="flat" cmpd="sng" algn="ctr">
              <a:solidFill>
                <a:schemeClr val="accent4"/>
              </a:solid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1218469" rtl="0" eaLnBrk="0" fontAlgn="base" latinLnBrk="0" hangingPunct="0">
                <a:lnSpc>
                  <a:spcPct val="100000"/>
                </a:lnSpc>
                <a:spcBef>
                  <a:spcPct val="0"/>
                </a:spcBef>
                <a:spcAft>
                  <a:spcPct val="0"/>
                </a:spcAft>
                <a:buClrTx/>
                <a:buSzTx/>
                <a:buFontTx/>
                <a:buNone/>
                <a:tabLst/>
                <a:defRPr/>
              </a:pPr>
              <a:endParaRPr kumimoji="0" lang="en-US" sz="2799" b="1" i="0" u="none" strike="noStrike" kern="0" cap="none" spc="0" normalizeH="0" baseline="0" noProof="0" dirty="0">
                <a:ln>
                  <a:noFill/>
                </a:ln>
                <a:solidFill>
                  <a:srgbClr val="FFFFFF"/>
                </a:solidFill>
                <a:effectLst/>
                <a:uLnTx/>
                <a:uFillTx/>
                <a:latin typeface="Arial" panose="020B0604020202020204"/>
                <a:ea typeface="MS PGothic" charset="0"/>
                <a:cs typeface="Arial"/>
              </a:endParaRPr>
            </a:p>
          </p:txBody>
        </p:sp>
        <p:grpSp>
          <p:nvGrpSpPr>
            <p:cNvPr id="126" name="Group 125">
              <a:extLst>
                <a:ext uri="{FF2B5EF4-FFF2-40B4-BE49-F238E27FC236}">
                  <a16:creationId xmlns:a16="http://schemas.microsoft.com/office/drawing/2014/main" id="{2DCF3EB9-CD03-4C3F-B16E-BE3279A5313F}"/>
                </a:ext>
              </a:extLst>
            </p:cNvPr>
            <p:cNvGrpSpPr>
              <a:grpSpLocks noChangeAspect="1"/>
            </p:cNvGrpSpPr>
            <p:nvPr/>
          </p:nvGrpSpPr>
          <p:grpSpPr bwMode="gray">
            <a:xfrm>
              <a:off x="799706" y="2754885"/>
              <a:ext cx="236265" cy="324000"/>
              <a:chOff x="8699747" y="1861133"/>
              <a:chExt cx="380689" cy="511210"/>
            </a:xfrm>
            <a:solidFill>
              <a:schemeClr val="accent4"/>
            </a:solidFill>
          </p:grpSpPr>
          <p:sp>
            <p:nvSpPr>
              <p:cNvPr id="127" name="Freeform 51">
                <a:extLst>
                  <a:ext uri="{FF2B5EF4-FFF2-40B4-BE49-F238E27FC236}">
                    <a16:creationId xmlns:a16="http://schemas.microsoft.com/office/drawing/2014/main" id="{15F741B3-335F-46C2-8B9E-FA7FEC556726}"/>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28" name="Freeform 52">
                <a:extLst>
                  <a:ext uri="{FF2B5EF4-FFF2-40B4-BE49-F238E27FC236}">
                    <a16:creationId xmlns:a16="http://schemas.microsoft.com/office/drawing/2014/main" id="{ECF799EC-67DB-4706-9386-9EBA47A11E65}"/>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29" name="Freeform 53">
                <a:extLst>
                  <a:ext uri="{FF2B5EF4-FFF2-40B4-BE49-F238E27FC236}">
                    <a16:creationId xmlns:a16="http://schemas.microsoft.com/office/drawing/2014/main" id="{E0843638-AA59-4A19-9EFB-D6C304ED055A}"/>
                  </a:ext>
                </a:extLst>
              </p:cNvPr>
              <p:cNvSpPr>
                <a:spLocks/>
              </p:cNvSpPr>
              <p:nvPr/>
            </p:nvSpPr>
            <p:spPr bwMode="gray">
              <a:xfrm>
                <a:off x="8734354" y="2020330"/>
                <a:ext cx="153266"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30" name="Freeform 54">
                <a:extLst>
                  <a:ext uri="{FF2B5EF4-FFF2-40B4-BE49-F238E27FC236}">
                    <a16:creationId xmlns:a16="http://schemas.microsoft.com/office/drawing/2014/main" id="{F0F87272-F1CE-486E-910B-A87904E9ACBF}"/>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31" name="Freeform 55">
                <a:extLst>
                  <a:ext uri="{FF2B5EF4-FFF2-40B4-BE49-F238E27FC236}">
                    <a16:creationId xmlns:a16="http://schemas.microsoft.com/office/drawing/2014/main" id="{FDC29C17-3C6B-4666-9DCE-1142D32E6DAC}"/>
                  </a:ext>
                </a:extLst>
              </p:cNvPr>
              <p:cNvSpPr>
                <a:spLocks noEditPoints="1"/>
              </p:cNvSpPr>
              <p:nvPr/>
            </p:nvSpPr>
            <p:spPr bwMode="gray">
              <a:xfrm>
                <a:off x="8906406"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32" name="Freeform 56">
                <a:extLst>
                  <a:ext uri="{FF2B5EF4-FFF2-40B4-BE49-F238E27FC236}">
                    <a16:creationId xmlns:a16="http://schemas.microsoft.com/office/drawing/2014/main" id="{5B532A11-B951-49EE-8EB3-372EE663D3E8}"/>
                  </a:ext>
                </a:extLst>
              </p:cNvPr>
              <p:cNvSpPr>
                <a:spLocks/>
              </p:cNvSpPr>
              <p:nvPr/>
            </p:nvSpPr>
            <p:spPr bwMode="gray">
              <a:xfrm>
                <a:off x="8765996"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0" fontAlgn="base" latinLnBrk="0" hangingPunct="0">
                  <a:lnSpc>
                    <a:spcPct val="100000"/>
                  </a:lnSpc>
                  <a:spcBef>
                    <a:spcPct val="0"/>
                  </a:spcBef>
                  <a:spcAft>
                    <a:spcPct val="0"/>
                  </a:spcAft>
                  <a:buClrTx/>
                  <a:buSzTx/>
                  <a:buFontTx/>
                  <a:buNone/>
                  <a:tabLst/>
                  <a:defRPr/>
                </a:pPr>
                <a:endParaRPr kumimoji="0" lang="en-GB" sz="2398"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grpSp>
      </p:grpSp>
      <p:sp>
        <p:nvSpPr>
          <p:cNvPr id="2" name="TextBox 1">
            <a:extLst>
              <a:ext uri="{FF2B5EF4-FFF2-40B4-BE49-F238E27FC236}">
                <a16:creationId xmlns:a16="http://schemas.microsoft.com/office/drawing/2014/main" id="{67B9FF11-F697-4B4E-A4AA-EBF5B1292BAE}"/>
              </a:ext>
            </a:extLst>
          </p:cNvPr>
          <p:cNvSpPr txBox="1"/>
          <p:nvPr/>
        </p:nvSpPr>
        <p:spPr>
          <a:xfrm>
            <a:off x="905750" y="4077072"/>
            <a:ext cx="1497525"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S PGothic" charset="0"/>
                <a:cs typeface="+mn-cs"/>
              </a:rPr>
              <a:t>Sacubitril/valsartan </a:t>
            </a:r>
            <a:r>
              <a:rPr kumimoji="0" lang="en-GB" sz="1050" b="0" i="1" u="none" strike="noStrike" kern="1200" cap="none" spc="0" normalizeH="0" baseline="0" noProof="0" dirty="0">
                <a:ln>
                  <a:noFill/>
                </a:ln>
                <a:solidFill>
                  <a:srgbClr val="000000"/>
                </a:solidFill>
                <a:effectLst/>
                <a:uLnTx/>
                <a:uFillTx/>
                <a:latin typeface="Arial" panose="020B0604020202020204"/>
                <a:ea typeface="MS PGothic" charset="0"/>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enalapril (active)</a:t>
            </a:r>
          </a:p>
        </p:txBody>
      </p:sp>
      <p:sp>
        <p:nvSpPr>
          <p:cNvPr id="133" name="TextBox 132">
            <a:extLst>
              <a:ext uri="{FF2B5EF4-FFF2-40B4-BE49-F238E27FC236}">
                <a16:creationId xmlns:a16="http://schemas.microsoft.com/office/drawing/2014/main" id="{2F74FB74-F1AE-495F-8563-3EC59D2CE206}"/>
              </a:ext>
            </a:extLst>
          </p:cNvPr>
          <p:cNvSpPr txBox="1"/>
          <p:nvPr/>
        </p:nvSpPr>
        <p:spPr>
          <a:xfrm>
            <a:off x="3058446" y="4077072"/>
            <a:ext cx="1132041"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Dapagliflozin </a:t>
            </a:r>
            <a:r>
              <a:rPr kumimoji="0" lang="en-GB" sz="1050" b="0" i="1" u="none" strike="noStrike" kern="1200" cap="none" spc="0" normalizeH="0" baseline="0" noProof="0" dirty="0">
                <a:ln>
                  <a:noFill/>
                </a:ln>
                <a:solidFill>
                  <a:srgbClr val="000000"/>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placebo</a:t>
            </a:r>
          </a:p>
        </p:txBody>
      </p:sp>
      <p:sp>
        <p:nvSpPr>
          <p:cNvPr id="134" name="TextBox 133">
            <a:extLst>
              <a:ext uri="{FF2B5EF4-FFF2-40B4-BE49-F238E27FC236}">
                <a16:creationId xmlns:a16="http://schemas.microsoft.com/office/drawing/2014/main" id="{369185D7-8A8B-433D-9269-B959DB2C35B6}"/>
              </a:ext>
            </a:extLst>
          </p:cNvPr>
          <p:cNvSpPr txBox="1"/>
          <p:nvPr/>
        </p:nvSpPr>
        <p:spPr>
          <a:xfrm>
            <a:off x="5114545" y="4077072"/>
            <a:ext cx="957313"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Vericiguat </a:t>
            </a:r>
            <a:r>
              <a:rPr kumimoji="0" lang="en-GB" sz="1050" b="0" i="1" u="none" strike="noStrike" kern="1200" cap="none" spc="0" normalizeH="0" baseline="0" noProof="0" dirty="0">
                <a:ln>
                  <a:noFill/>
                </a:ln>
                <a:solidFill>
                  <a:srgbClr val="000000"/>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placebo</a:t>
            </a:r>
          </a:p>
        </p:txBody>
      </p:sp>
      <p:sp>
        <p:nvSpPr>
          <p:cNvPr id="135" name="TextBox 134">
            <a:extLst>
              <a:ext uri="{FF2B5EF4-FFF2-40B4-BE49-F238E27FC236}">
                <a16:creationId xmlns:a16="http://schemas.microsoft.com/office/drawing/2014/main" id="{9BA3D98E-E1D6-440B-9824-D1DBA2A952C8}"/>
              </a:ext>
            </a:extLst>
          </p:cNvPr>
          <p:cNvSpPr txBox="1"/>
          <p:nvPr/>
        </p:nvSpPr>
        <p:spPr>
          <a:xfrm>
            <a:off x="7062136" y="4077072"/>
            <a:ext cx="1160895"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Empagliflozin </a:t>
            </a:r>
            <a:r>
              <a:rPr kumimoji="0" lang="en-GB" sz="1050" b="0" i="1" u="none" strike="noStrike" kern="1200" cap="none" spc="0" normalizeH="0" baseline="0" noProof="0" dirty="0">
                <a:ln>
                  <a:noFill/>
                </a:ln>
                <a:solidFill>
                  <a:srgbClr val="000000"/>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placebo</a:t>
            </a:r>
          </a:p>
        </p:txBody>
      </p:sp>
      <p:sp>
        <p:nvSpPr>
          <p:cNvPr id="136" name="TextBox 135">
            <a:extLst>
              <a:ext uri="{FF2B5EF4-FFF2-40B4-BE49-F238E27FC236}">
                <a16:creationId xmlns:a16="http://schemas.microsoft.com/office/drawing/2014/main" id="{4A9E88E7-0A59-4E70-BF21-DAE114D67011}"/>
              </a:ext>
            </a:extLst>
          </p:cNvPr>
          <p:cNvSpPr txBox="1"/>
          <p:nvPr/>
        </p:nvSpPr>
        <p:spPr>
          <a:xfrm>
            <a:off x="8812521" y="4077072"/>
            <a:ext cx="1622560"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000000"/>
                </a:solidFill>
                <a:effectLst/>
                <a:uLnTx/>
                <a:uFillTx/>
                <a:latin typeface="Arial" panose="020B0604020202020204"/>
                <a:ea typeface="+mn-ea"/>
                <a:cs typeface="+mn-cs"/>
              </a:rPr>
              <a:t>Omecamtiv</a:t>
            </a: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1050" b="0" i="0" u="none" strike="noStrike" kern="1200" cap="none" spc="0" normalizeH="0" baseline="0" noProof="0" dirty="0" err="1">
                <a:ln>
                  <a:noFill/>
                </a:ln>
                <a:solidFill>
                  <a:srgbClr val="000000"/>
                </a:solidFill>
                <a:effectLst/>
                <a:uLnTx/>
                <a:uFillTx/>
                <a:latin typeface="Arial" panose="020B0604020202020204"/>
                <a:ea typeface="+mn-ea"/>
                <a:cs typeface="+mn-cs"/>
              </a:rPr>
              <a:t>mecarbil</a:t>
            </a: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1050" b="0" i="1" u="none" strike="noStrike" kern="1200" cap="none" spc="0" normalizeH="0" baseline="0" noProof="0" dirty="0">
                <a:ln>
                  <a:noFill/>
                </a:ln>
                <a:solidFill>
                  <a:srgbClr val="000000"/>
                </a:solidFill>
                <a:effectLst/>
                <a:uLnTx/>
                <a:uFillTx/>
                <a:latin typeface="Arial" panose="020B0604020202020204"/>
                <a:ea typeface="+mn-ea"/>
                <a:cs typeface="+mn-cs"/>
              </a:rPr>
              <a:t>v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placebo</a:t>
            </a:r>
          </a:p>
        </p:txBody>
      </p:sp>
    </p:spTree>
    <p:extLst>
      <p:ext uri="{BB962C8B-B14F-4D97-AF65-F5344CB8AC3E}">
        <p14:creationId xmlns:p14="http://schemas.microsoft.com/office/powerpoint/2010/main" val="21468934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FECC68-9249-4A0D-AF66-2046F9641312}"/>
              </a:ext>
            </a:extLst>
          </p:cNvPr>
          <p:cNvSpPr/>
          <p:nvPr/>
        </p:nvSpPr>
        <p:spPr>
          <a:xfrm>
            <a:off x="600074" y="4921624"/>
            <a:ext cx="7285143"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600" b="1" i="0" u="none" strike="noStrike" kern="1200" cap="none" spc="0" normalizeH="0" baseline="0" noProof="0" dirty="0">
                <a:ln>
                  <a:noFill/>
                </a:ln>
                <a:solidFill>
                  <a:srgbClr val="000000">
                    <a:alpha val="80000"/>
                  </a:srgbClr>
                </a:solidFill>
                <a:effectLst/>
                <a:uLnTx/>
                <a:uFillTx/>
                <a:latin typeface="Arial Black" panose="020B0A04020102020204" pitchFamily="34" charset="0"/>
                <a:ea typeface="+mn-ea"/>
                <a:cs typeface="+mn-cs"/>
              </a:rPr>
            </a:br>
            <a:br>
              <a:rPr kumimoji="0" lang="en-GB" sz="1600" b="1" i="0" u="none" strike="noStrike" kern="1200" cap="none" spc="0" normalizeH="0" baseline="0" noProof="0" dirty="0">
                <a:ln>
                  <a:noFill/>
                </a:ln>
                <a:solidFill>
                  <a:srgbClr val="000000">
                    <a:alpha val="80000"/>
                  </a:srgbClr>
                </a:solidFill>
                <a:effectLst/>
                <a:uLnTx/>
                <a:uFillTx/>
                <a:latin typeface="Arial Black" panose="020B0A04020102020204" pitchFamily="34" charset="0"/>
                <a:ea typeface="+mn-ea"/>
                <a:cs typeface="+mn-cs"/>
              </a:rPr>
            </a:br>
            <a:endParaRPr kumimoji="0" lang="en-US" sz="16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 name="Title 1">
            <a:extLst>
              <a:ext uri="{FF2B5EF4-FFF2-40B4-BE49-F238E27FC236}">
                <a16:creationId xmlns:a16="http://schemas.microsoft.com/office/drawing/2014/main" id="{98985630-C50A-49C4-8708-CAC83BCAE971}"/>
              </a:ext>
            </a:extLst>
          </p:cNvPr>
          <p:cNvSpPr>
            <a:spLocks noGrp="1"/>
          </p:cNvSpPr>
          <p:nvPr>
            <p:ph type="title"/>
          </p:nvPr>
        </p:nvSpPr>
        <p:spPr>
          <a:xfrm>
            <a:off x="600074" y="3920456"/>
            <a:ext cx="5448301" cy="1001168"/>
          </a:xfrm>
        </p:spPr>
        <p:txBody>
          <a:bodyPr/>
          <a:lstStyle/>
          <a:p>
            <a:r>
              <a:rPr lang="en-GB" dirty="0"/>
              <a:t>What if… you have decided to prescribe vericiguat for your patient?</a:t>
            </a:r>
            <a:endParaRPr lang="en-GB" dirty="0">
              <a:solidFill>
                <a:schemeClr val="tx1">
                  <a:alpha val="80000"/>
                </a:schemeClr>
              </a:solidFill>
            </a:endParaRPr>
          </a:p>
        </p:txBody>
      </p:sp>
    </p:spTree>
    <p:extLst>
      <p:ext uri="{BB962C8B-B14F-4D97-AF65-F5344CB8AC3E}">
        <p14:creationId xmlns:p14="http://schemas.microsoft.com/office/powerpoint/2010/main" val="15519982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7E317-B2BD-4B84-A581-0EFC0D736E0A}"/>
              </a:ext>
            </a:extLst>
          </p:cNvPr>
          <p:cNvSpPr>
            <a:spLocks noGrp="1"/>
          </p:cNvSpPr>
          <p:nvPr>
            <p:ph type="title"/>
          </p:nvPr>
        </p:nvSpPr>
        <p:spPr/>
        <p:txBody>
          <a:bodyPr/>
          <a:lstStyle/>
          <a:p>
            <a:r>
              <a:rPr lang="en-US" dirty="0"/>
              <a:t>Clinical case: 72-year-old man with HFrEF*</a:t>
            </a:r>
            <a:endParaRPr lang="en-US" b="1" dirty="0"/>
          </a:p>
        </p:txBody>
      </p:sp>
      <p:sp>
        <p:nvSpPr>
          <p:cNvPr id="5" name="Slide Number Placeholder 4">
            <a:extLst>
              <a:ext uri="{FF2B5EF4-FFF2-40B4-BE49-F238E27FC236}">
                <a16:creationId xmlns:a16="http://schemas.microsoft.com/office/drawing/2014/main" id="{80C4AEF3-2146-4B1F-BD9A-E803077685B3}"/>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2" name="Table 6">
            <a:extLst>
              <a:ext uri="{FF2B5EF4-FFF2-40B4-BE49-F238E27FC236}">
                <a16:creationId xmlns:a16="http://schemas.microsoft.com/office/drawing/2014/main" id="{2A271869-C4E7-4C23-8061-EDE1E8E3BD48}"/>
              </a:ext>
            </a:extLst>
          </p:cNvPr>
          <p:cNvGraphicFramePr>
            <a:graphicFrameLocks/>
          </p:cNvGraphicFramePr>
          <p:nvPr/>
        </p:nvGraphicFramePr>
        <p:xfrm>
          <a:off x="7981200" y="1412874"/>
          <a:ext cx="2916957" cy="3992247"/>
        </p:xfrm>
        <a:graphic>
          <a:graphicData uri="http://schemas.openxmlformats.org/drawingml/2006/table">
            <a:tbl>
              <a:tblPr firstRow="1" bandRow="1">
                <a:tableStyleId>{74C1A8A3-306A-4EB7-A6B1-4F7E0EB9C5D6}</a:tableStyleId>
              </a:tblPr>
              <a:tblGrid>
                <a:gridCol w="1679051">
                  <a:extLst>
                    <a:ext uri="{9D8B030D-6E8A-4147-A177-3AD203B41FA5}">
                      <a16:colId xmlns:a16="http://schemas.microsoft.com/office/drawing/2014/main" val="447229383"/>
                    </a:ext>
                  </a:extLst>
                </a:gridCol>
                <a:gridCol w="1237906">
                  <a:extLst>
                    <a:ext uri="{9D8B030D-6E8A-4147-A177-3AD203B41FA5}">
                      <a16:colId xmlns:a16="http://schemas.microsoft.com/office/drawing/2014/main" val="3793298042"/>
                    </a:ext>
                  </a:extLst>
                </a:gridCol>
              </a:tblGrid>
              <a:tr h="663107">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r>
                        <a:rPr lang="en-US" sz="1200" noProof="0" dirty="0"/>
                        <a:t>Medications</a:t>
                      </a:r>
                      <a:br>
                        <a:rPr lang="en-US" sz="1200" noProof="0" dirty="0"/>
                      </a:br>
                      <a:r>
                        <a:rPr lang="en-US" sz="1200" u="sng" noProof="0" dirty="0"/>
                        <a:t>at discharge</a:t>
                      </a:r>
                      <a:endParaRPr lang="en-US" sz="1200" b="1" u="sng" kern="1200" noProof="0" dirty="0">
                        <a:solidFill>
                          <a:schemeClr val="bg1"/>
                        </a:solidFill>
                        <a:latin typeface="Arial" panose="020B0604020202020204"/>
                        <a:ea typeface="+mn-ea"/>
                        <a:cs typeface="+mn-cs"/>
                      </a:endParaRPr>
                    </a:p>
                  </a:txBody>
                  <a:tcPr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t>Dose</a:t>
                      </a:r>
                      <a:endParaRPr lang="en-US" sz="1200" b="1" noProof="0" dirty="0">
                        <a:solidFill>
                          <a:schemeClr val="bg1"/>
                        </a:solidFill>
                        <a:latin typeface="+mj-lt"/>
                      </a:endParaRPr>
                    </a:p>
                  </a:txBody>
                  <a:tcPr marL="60960" marR="60960" marT="60960" marB="60960" anchor="ctr"/>
                </a:tc>
                <a:extLst>
                  <a:ext uri="{0D108BD9-81ED-4DB2-BD59-A6C34878D82A}">
                    <a16:rowId xmlns:a16="http://schemas.microsoft.com/office/drawing/2014/main" val="2669082152"/>
                  </a:ext>
                </a:extLst>
              </a:tr>
              <a:tr h="4835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spirin </a:t>
                      </a:r>
                    </a:p>
                  </a:txBody>
                  <a:tcPr anchor="ctr"/>
                </a:tc>
                <a:tc>
                  <a:txBody>
                    <a:bodyPr/>
                    <a:lstStyle/>
                    <a:p>
                      <a:pPr algn="ct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100 mg od</a:t>
                      </a:r>
                    </a:p>
                  </a:txBody>
                  <a:tcPr marL="60960" marR="60960" marT="60960" marB="60960" anchor="ctr"/>
                </a:tc>
                <a:extLst>
                  <a:ext uri="{0D108BD9-81ED-4DB2-BD59-A6C34878D82A}">
                    <a16:rowId xmlns:a16="http://schemas.microsoft.com/office/drawing/2014/main" val="1401161199"/>
                  </a:ext>
                </a:extLst>
              </a:tr>
              <a:tr h="48351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acubitril/valsartan</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49/51 mg bid </a:t>
                      </a:r>
                      <a:endParaRPr lang="en-US" sz="1200" b="0" i="0" u="none" strike="noStrike" baseline="0" noProof="0" dirty="0">
                        <a:solidFill>
                          <a:schemeClr val="tx2"/>
                        </a:solidFill>
                        <a:latin typeface="+mj-lt"/>
                      </a:endParaRPr>
                    </a:p>
                  </a:txBody>
                  <a:tcPr marL="60960" marR="60960" marT="60960" marB="60960" anchor="ctr"/>
                </a:tc>
                <a:extLst>
                  <a:ext uri="{0D108BD9-81ED-4DB2-BD59-A6C34878D82A}">
                    <a16:rowId xmlns:a16="http://schemas.microsoft.com/office/drawing/2014/main" val="1677165708"/>
                  </a:ext>
                </a:extLst>
              </a:tr>
              <a:tr h="48351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Bisoprolol</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5 mg bid</a:t>
                      </a:r>
                      <a:endParaRPr lang="en-US" sz="1200" b="1" i="0" u="none" strike="noStrike" baseline="0" noProof="0" dirty="0">
                        <a:solidFill>
                          <a:schemeClr val="tx2"/>
                        </a:solidFill>
                        <a:latin typeface="+mj-lt"/>
                      </a:endParaRPr>
                    </a:p>
                  </a:txBody>
                  <a:tcPr marL="60960" marR="60960" marT="60960" marB="60960" anchor="ctr"/>
                </a:tc>
                <a:extLst>
                  <a:ext uri="{0D108BD9-81ED-4DB2-BD59-A6C34878D82A}">
                    <a16:rowId xmlns:a16="http://schemas.microsoft.com/office/drawing/2014/main" val="323996343"/>
                  </a:ext>
                </a:extLst>
              </a:tr>
              <a:tr h="48351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Torasemide</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40 mg + 20 mg</a:t>
                      </a:r>
                      <a:endParaRPr lang="en-US" sz="1200" b="1" i="0" u="none" strike="noStrike" baseline="0" noProof="0" dirty="0">
                        <a:solidFill>
                          <a:schemeClr val="tx2"/>
                        </a:solidFill>
                        <a:latin typeface="+mj-lt"/>
                      </a:endParaRPr>
                    </a:p>
                  </a:txBody>
                  <a:tcPr marL="60960" marR="60960" marT="60960" marB="60960" anchor="ctr"/>
                </a:tc>
                <a:extLst>
                  <a:ext uri="{0D108BD9-81ED-4DB2-BD59-A6C34878D82A}">
                    <a16:rowId xmlns:a16="http://schemas.microsoft.com/office/drawing/2014/main" val="420605132"/>
                  </a:ext>
                </a:extLst>
              </a:tr>
              <a:tr h="48351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torvastatin</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40 mg od</a:t>
                      </a:r>
                      <a:endParaRPr lang="en-US" sz="1200" b="0" i="0" u="none" strike="noStrike" baseline="0" noProof="0" dirty="0">
                        <a:solidFill>
                          <a:schemeClr val="tx2"/>
                        </a:solidFill>
                        <a:latin typeface="+mj-lt"/>
                      </a:endParaRPr>
                    </a:p>
                  </a:txBody>
                  <a:tcPr marL="60960" marR="60960" marT="60960" marB="60960" anchor="ctr"/>
                </a:tc>
                <a:extLst>
                  <a:ext uri="{0D108BD9-81ED-4DB2-BD59-A6C34878D82A}">
                    <a16:rowId xmlns:a16="http://schemas.microsoft.com/office/drawing/2014/main" val="90216726"/>
                  </a:ext>
                </a:extLst>
              </a:tr>
              <a:tr h="4835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Dapagliflozin</a:t>
                      </a:r>
                    </a:p>
                  </a:txBody>
                  <a:tcPr anchor="ctr"/>
                </a:tc>
                <a:tc>
                  <a:txBody>
                    <a:bodyPr/>
                    <a:lstStyle/>
                    <a:p>
                      <a:pPr algn="ctr"/>
                      <a:r>
                        <a:rPr lang="en-US" sz="1200" b="1" i="0" u="none" strike="noStrike" baseline="0" noProof="0" dirty="0">
                          <a:solidFill>
                            <a:schemeClr val="tx1"/>
                          </a:solidFill>
                          <a:latin typeface="+mj-lt"/>
                        </a:rPr>
                        <a:t>10 mg od</a:t>
                      </a:r>
                    </a:p>
                  </a:txBody>
                  <a:tcPr marL="60960" marR="60960" marT="60960" marB="60960" anchor="ctr"/>
                </a:tc>
                <a:extLst>
                  <a:ext uri="{0D108BD9-81ED-4DB2-BD59-A6C34878D82A}">
                    <a16:rowId xmlns:a16="http://schemas.microsoft.com/office/drawing/2014/main" val="1188581941"/>
                  </a:ext>
                </a:extLst>
              </a:tr>
              <a:tr h="42807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Vericiguat</a:t>
                      </a:r>
                    </a:p>
                  </a:txBody>
                  <a:tcPr anchor="ctr"/>
                </a:tc>
                <a:tc>
                  <a:txBody>
                    <a:bodyPr/>
                    <a:lstStyle/>
                    <a:p>
                      <a:pPr algn="ctr"/>
                      <a:r>
                        <a:rPr lang="en-US" sz="1200" b="1" i="0" u="none" strike="noStrike" baseline="0" noProof="0" dirty="0">
                          <a:solidFill>
                            <a:schemeClr val="tx1"/>
                          </a:solidFill>
                          <a:latin typeface="+mj-lt"/>
                        </a:rPr>
                        <a:t>2.5 mg od</a:t>
                      </a:r>
                    </a:p>
                  </a:txBody>
                  <a:tcPr marL="60960" marR="60960" marT="60960" marB="60960" anchor="ctr"/>
                </a:tc>
                <a:extLst>
                  <a:ext uri="{0D108BD9-81ED-4DB2-BD59-A6C34878D82A}">
                    <a16:rowId xmlns:a16="http://schemas.microsoft.com/office/drawing/2014/main" val="3628834799"/>
                  </a:ext>
                </a:extLst>
              </a:tr>
            </a:tbl>
          </a:graphicData>
        </a:graphic>
      </p:graphicFrame>
      <p:graphicFrame>
        <p:nvGraphicFramePr>
          <p:cNvPr id="11" name="Table 6">
            <a:extLst>
              <a:ext uri="{FF2B5EF4-FFF2-40B4-BE49-F238E27FC236}">
                <a16:creationId xmlns:a16="http://schemas.microsoft.com/office/drawing/2014/main" id="{9A57AC5F-0712-4763-8436-7B4E3DBFF7DA}"/>
              </a:ext>
            </a:extLst>
          </p:cNvPr>
          <p:cNvGraphicFramePr>
            <a:graphicFrameLocks/>
          </p:cNvGraphicFramePr>
          <p:nvPr/>
        </p:nvGraphicFramePr>
        <p:xfrm>
          <a:off x="4263755" y="1412874"/>
          <a:ext cx="3315600" cy="3992248"/>
        </p:xfrm>
        <a:graphic>
          <a:graphicData uri="http://schemas.openxmlformats.org/drawingml/2006/table">
            <a:tbl>
              <a:tblPr firstRow="1" bandRow="1">
                <a:tableStyleId>{74C1A8A3-306A-4EB7-A6B1-4F7E0EB9C5D6}</a:tableStyleId>
              </a:tblPr>
              <a:tblGrid>
                <a:gridCol w="1828800">
                  <a:extLst>
                    <a:ext uri="{9D8B030D-6E8A-4147-A177-3AD203B41FA5}">
                      <a16:colId xmlns:a16="http://schemas.microsoft.com/office/drawing/2014/main" val="447229383"/>
                    </a:ext>
                  </a:extLst>
                </a:gridCol>
                <a:gridCol w="1486800">
                  <a:extLst>
                    <a:ext uri="{9D8B030D-6E8A-4147-A177-3AD203B41FA5}">
                      <a16:colId xmlns:a16="http://schemas.microsoft.com/office/drawing/2014/main" val="3793298042"/>
                    </a:ext>
                  </a:extLst>
                </a:gridCol>
              </a:tblGrid>
              <a:tr h="650189">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r>
                        <a:rPr lang="en-US" sz="1200" dirty="0"/>
                        <a:t>Characteristics of patient </a:t>
                      </a:r>
                      <a:r>
                        <a:rPr lang="en-US" sz="1200" u="sng" dirty="0"/>
                        <a:t>at discharge</a:t>
                      </a:r>
                      <a:endParaRPr lang="en-US" sz="1200" b="1" u="sng" kern="1200" noProof="0" dirty="0">
                        <a:solidFill>
                          <a:schemeClr val="bg1"/>
                        </a:solidFill>
                        <a:latin typeface="Arial" panose="020B0604020202020204"/>
                        <a:ea typeface="+mn-ea"/>
                        <a:cs typeface="+mn-cs"/>
                      </a:endParaRPr>
                    </a:p>
                  </a:txBody>
                  <a:tcPr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Value</a:t>
                      </a:r>
                      <a:endParaRPr lang="en-US" sz="1200" b="1" dirty="0">
                        <a:solidFill>
                          <a:schemeClr val="bg1"/>
                        </a:solidFill>
                        <a:latin typeface="+mj-lt"/>
                      </a:endParaRPr>
                    </a:p>
                  </a:txBody>
                  <a:tcPr marL="60960" marR="60960" marT="60960" marB="60960" anchor="ctr"/>
                </a:tc>
                <a:extLst>
                  <a:ext uri="{0D108BD9-81ED-4DB2-BD59-A6C34878D82A}">
                    <a16:rowId xmlns:a16="http://schemas.microsoft.com/office/drawing/2014/main" val="2669082152"/>
                  </a:ext>
                </a:extLst>
              </a:tr>
              <a:tr h="46832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t>NYHA class</a:t>
                      </a:r>
                      <a:endParaRPr lang="en-US" sz="1200" b="0" i="0" u="none" strike="noStrike" baseline="0" dirty="0">
                        <a:solidFill>
                          <a:schemeClr val="tx2"/>
                        </a:solidFill>
                        <a:latin typeface="+mj-lt"/>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u="none" strike="noStrike" baseline="0" dirty="0"/>
                        <a:t>II</a:t>
                      </a:r>
                      <a:endParaRPr lang="en-US" sz="1200" b="0" i="0" u="none" strike="noStrike" baseline="0" dirty="0">
                        <a:solidFill>
                          <a:schemeClr val="tx2"/>
                        </a:solidFill>
                        <a:latin typeface="+mj-lt"/>
                      </a:endParaRPr>
                    </a:p>
                  </a:txBody>
                  <a:tcPr marL="60960" marR="60960" marT="60960" marB="60960" anchor="ctr"/>
                </a:tc>
                <a:extLst>
                  <a:ext uri="{0D108BD9-81ED-4DB2-BD59-A6C34878D82A}">
                    <a16:rowId xmlns:a16="http://schemas.microsoft.com/office/drawing/2014/main" val="323996343"/>
                  </a:ext>
                </a:extLst>
              </a:tr>
              <a:tr h="46832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t>LVEF, %</a:t>
                      </a:r>
                      <a:endParaRPr lang="en-US" sz="1200" b="0" i="0" u="none" strike="noStrike" baseline="0" dirty="0">
                        <a:solidFill>
                          <a:schemeClr val="tx2"/>
                        </a:solidFill>
                        <a:latin typeface="+mj-lt"/>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u="none" strike="noStrike" baseline="0" dirty="0"/>
                        <a:t>35</a:t>
                      </a:r>
                      <a:endParaRPr lang="en-US" sz="1200" b="0" i="0" u="none" strike="noStrike" baseline="0" dirty="0">
                        <a:solidFill>
                          <a:schemeClr val="tx2"/>
                        </a:solidFill>
                        <a:latin typeface="+mj-lt"/>
                      </a:endParaRPr>
                    </a:p>
                  </a:txBody>
                  <a:tcPr marL="60960" marR="60960" marT="60960" marB="60960" anchor="ctr"/>
                </a:tc>
                <a:extLst>
                  <a:ext uri="{0D108BD9-81ED-4DB2-BD59-A6C34878D82A}">
                    <a16:rowId xmlns:a16="http://schemas.microsoft.com/office/drawing/2014/main" val="4047705455"/>
                  </a:ext>
                </a:extLst>
              </a:tr>
              <a:tr h="46832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solidFill>
                            <a:schemeClr val="tx1"/>
                          </a:solidFill>
                        </a:rPr>
                        <a:t>NT-proBNP, pg/ml</a:t>
                      </a:r>
                      <a:endParaRPr lang="en-US" sz="1200" b="0" i="0" u="none" strike="noStrike" baseline="0" dirty="0">
                        <a:solidFill>
                          <a:schemeClr val="tx1"/>
                        </a:solidFill>
                        <a:latin typeface="+mj-lt"/>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u="none" strike="noStrike" baseline="0" dirty="0">
                          <a:solidFill>
                            <a:schemeClr val="tx1"/>
                          </a:solidFill>
                        </a:rPr>
                        <a:t>1,996</a:t>
                      </a:r>
                      <a:endParaRPr lang="en-US" sz="1200" b="0" i="0" u="none" strike="noStrike" baseline="0" dirty="0">
                        <a:solidFill>
                          <a:schemeClr val="tx1"/>
                        </a:solidFill>
                        <a:latin typeface="+mj-lt"/>
                      </a:endParaRPr>
                    </a:p>
                  </a:txBody>
                  <a:tcPr marL="60960" marR="60960" marT="60960" marB="60960" anchor="ctr"/>
                </a:tc>
                <a:extLst>
                  <a:ext uri="{0D108BD9-81ED-4DB2-BD59-A6C34878D82A}">
                    <a16:rowId xmlns:a16="http://schemas.microsoft.com/office/drawing/2014/main" val="420605132"/>
                  </a:ext>
                </a:extLst>
              </a:tr>
              <a:tr h="46832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solidFill>
                            <a:schemeClr val="tx1"/>
                          </a:solidFill>
                        </a:rPr>
                        <a:t>eGFR, ml/min/1.73 m</a:t>
                      </a:r>
                      <a:r>
                        <a:rPr lang="en-US" sz="1200" u="none" strike="noStrike" baseline="30000" dirty="0">
                          <a:solidFill>
                            <a:schemeClr val="tx1"/>
                          </a:solidFill>
                        </a:rPr>
                        <a:t>2</a:t>
                      </a:r>
                      <a:endParaRPr lang="en-US" sz="1200" b="0" i="0" u="none" strike="noStrike" baseline="0" dirty="0">
                        <a:solidFill>
                          <a:schemeClr val="tx1"/>
                        </a:solidFill>
                        <a:latin typeface="+mj-lt"/>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i="0" u="none" strike="noStrike" baseline="0" dirty="0">
                          <a:solidFill>
                            <a:schemeClr val="tx1"/>
                          </a:solidFill>
                          <a:latin typeface="+mj-lt"/>
                        </a:rPr>
                        <a:t>48</a:t>
                      </a:r>
                    </a:p>
                  </a:txBody>
                  <a:tcPr marL="60960" marR="60960" marT="60960" marB="60960" anchor="ctr"/>
                </a:tc>
                <a:extLst>
                  <a:ext uri="{0D108BD9-81ED-4DB2-BD59-A6C34878D82A}">
                    <a16:rowId xmlns:a16="http://schemas.microsoft.com/office/drawing/2014/main" val="90216726"/>
                  </a:ext>
                </a:extLst>
              </a:tr>
              <a:tr h="468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noProof="0" dirty="0">
                          <a:solidFill>
                            <a:schemeClr val="tx1"/>
                          </a:solidFill>
                          <a:latin typeface="+mj-lt"/>
                        </a:rPr>
                        <a:t>Potassium, </a:t>
                      </a:r>
                      <a:r>
                        <a:rPr lang="en-US" sz="1200" dirty="0">
                          <a:solidFill>
                            <a:schemeClr val="tx1"/>
                          </a:solidFill>
                          <a:latin typeface="Arial" panose="020B0604020202020204" pitchFamily="34" charset="0"/>
                          <a:cs typeface="Arial" panose="020B0604020202020204" pitchFamily="34" charset="0"/>
                        </a:rPr>
                        <a:t>nmol/l</a:t>
                      </a:r>
                      <a:endParaRPr lang="en-GB" sz="12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noProof="0" dirty="0">
                          <a:solidFill>
                            <a:schemeClr val="tx1"/>
                          </a:solidFill>
                          <a:latin typeface="Arial" panose="020B0604020202020204"/>
                          <a:ea typeface="+mn-ea"/>
                          <a:cs typeface="+mn-cs"/>
                        </a:rPr>
                        <a:t>4.9</a:t>
                      </a:r>
                    </a:p>
                  </a:txBody>
                  <a:tcPr marL="60960" marR="60960" marT="60960" marB="60960" anchor="ctr"/>
                </a:tc>
                <a:extLst>
                  <a:ext uri="{0D108BD9-81ED-4DB2-BD59-A6C34878D82A}">
                    <a16:rowId xmlns:a16="http://schemas.microsoft.com/office/drawing/2014/main" val="226727837"/>
                  </a:ext>
                </a:extLst>
              </a:tr>
              <a:tr h="46832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kern="1200" baseline="0" dirty="0">
                          <a:solidFill>
                            <a:schemeClr val="tx1"/>
                          </a:solidFill>
                        </a:rPr>
                        <a:t>Heart rate, bpm</a:t>
                      </a:r>
                      <a:endParaRPr lang="en-US" sz="1200" b="0" i="0" u="none" strike="noStrike" kern="1200" baseline="0" dirty="0">
                        <a:solidFill>
                          <a:schemeClr val="tx1"/>
                        </a:solidFill>
                        <a:latin typeface="+mn-lt"/>
                        <a:ea typeface="+mn-ea"/>
                        <a:cs typeface="+mn-cs"/>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rPr>
                        <a:t>75</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60960" marR="60960" marT="60960" marB="60960" anchor="ctr"/>
                </a:tc>
                <a:extLst>
                  <a:ext uri="{0D108BD9-81ED-4DB2-BD59-A6C34878D82A}">
                    <a16:rowId xmlns:a16="http://schemas.microsoft.com/office/drawing/2014/main" val="284424953"/>
                  </a:ext>
                </a:extLst>
              </a:tr>
              <a:tr h="53213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rPr>
                        <a:t>Current SBP, mmHg</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rPr>
                        <a:t>100</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60960" marR="60960" marT="60960" marB="60960" anchor="ctr"/>
                </a:tc>
                <a:extLst>
                  <a:ext uri="{0D108BD9-81ED-4DB2-BD59-A6C34878D82A}">
                    <a16:rowId xmlns:a16="http://schemas.microsoft.com/office/drawing/2014/main" val="1816019866"/>
                  </a:ext>
                </a:extLst>
              </a:tr>
            </a:tbl>
          </a:graphicData>
        </a:graphic>
      </p:graphicFrame>
      <p:sp>
        <p:nvSpPr>
          <p:cNvPr id="14" name="Content Placeholder 1">
            <a:extLst>
              <a:ext uri="{FF2B5EF4-FFF2-40B4-BE49-F238E27FC236}">
                <a16:creationId xmlns:a16="http://schemas.microsoft.com/office/drawing/2014/main" id="{31E205FC-DE03-41C8-91F6-9F5C7C75A900}"/>
              </a:ext>
            </a:extLst>
          </p:cNvPr>
          <p:cNvSpPr txBox="1">
            <a:spLocks/>
          </p:cNvSpPr>
          <p:nvPr/>
        </p:nvSpPr>
        <p:spPr>
          <a:xfrm>
            <a:off x="596709" y="1412875"/>
            <a:ext cx="3265200" cy="3974373"/>
          </a:xfrm>
          <a:prstGeom prst="rect">
            <a:avLst/>
          </a:prstGeom>
          <a:solidFill>
            <a:schemeClr val="bg1">
              <a:lumMod val="95000"/>
            </a:schemeClr>
          </a:solidFill>
          <a:ln w="28575">
            <a:solidFill>
              <a:schemeClr val="accent1"/>
            </a:solidFill>
          </a:ln>
        </p:spPr>
        <p:txBody>
          <a:bodyPr vert="horz" lIns="91440" tIns="144000" rIns="90000" bIns="45720" rtlCol="0">
            <a:noAutofit/>
          </a:bodyPr>
          <a:lstStyle>
            <a:lvl1pPr marL="285750" indent="-285750">
              <a:lnSpc>
                <a:spcPct val="100000"/>
              </a:lnSpc>
              <a:spcBef>
                <a:spcPts val="1200"/>
              </a:spcBef>
              <a:buClr>
                <a:schemeClr val="accent4"/>
              </a:buClr>
              <a:buFont typeface="Arial" panose="020B0604020202020204" pitchFamily="34" charset="0"/>
              <a:buChar char="•"/>
              <a:defRPr sz="1400"/>
            </a:lvl1pPr>
            <a:lvl2pPr marL="361950" indent="-180975">
              <a:lnSpc>
                <a:spcPct val="100000"/>
              </a:lnSpc>
              <a:spcBef>
                <a:spcPts val="600"/>
              </a:spcBef>
              <a:buClr>
                <a:schemeClr val="accent2"/>
              </a:buClr>
              <a:buFont typeface="Arial" panose="020B0604020202020204" pitchFamily="34" charset="0"/>
              <a:buChar char="–"/>
              <a:defRPr sz="1400"/>
            </a:lvl2pPr>
            <a:lvl3pPr marL="533400" indent="-171450">
              <a:lnSpc>
                <a:spcPct val="100000"/>
              </a:lnSpc>
              <a:spcBef>
                <a:spcPts val="600"/>
              </a:spcBef>
              <a:buClr>
                <a:schemeClr val="tx2"/>
              </a:buClr>
              <a:buFont typeface="Arial" panose="020B0604020202020204" pitchFamily="34" charset="0"/>
              <a:buChar char="•"/>
              <a:defRPr sz="1200"/>
            </a:lvl3pPr>
            <a:lvl4pPr marL="715963" indent="-182563">
              <a:lnSpc>
                <a:spcPct val="100000"/>
              </a:lnSpc>
              <a:spcBef>
                <a:spcPts val="500"/>
              </a:spcBef>
              <a:buClr>
                <a:schemeClr val="accent4"/>
              </a:buClr>
              <a:buFont typeface="Arial" panose="020B0604020202020204" pitchFamily="34" charset="0"/>
              <a:buChar char="–"/>
              <a:defRPr sz="1100"/>
            </a:lvl4pPr>
            <a:lvl5pPr marL="896938" indent="-180975">
              <a:lnSpc>
                <a:spcPct val="100000"/>
              </a:lnSpc>
              <a:spcBef>
                <a:spcPts val="500"/>
              </a:spcBef>
              <a:buClr>
                <a:schemeClr val="accent2"/>
              </a:buClr>
              <a:buFont typeface="Arial" panose="020B0604020202020204" pitchFamily="34" charset="0"/>
              <a:buChar char="•"/>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1200"/>
              </a:spcBef>
              <a:spcAft>
                <a:spcPts val="0"/>
              </a:spcAft>
              <a:buClr>
                <a:srgbClr val="4F256F"/>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atient was successfully recompensated with IV diuretics and his condition has stabilized </a:t>
            </a:r>
          </a:p>
          <a:p>
            <a:pPr marL="180975" marR="0" lvl="0" indent="-180975" algn="l" defTabSz="914400" rtl="0" eaLnBrk="1" fontAlgn="auto" latinLnBrk="0" hangingPunct="1">
              <a:lnSpc>
                <a:spcPct val="100000"/>
              </a:lnSpc>
              <a:spcBef>
                <a:spcPts val="600"/>
              </a:spcBef>
              <a:spcAft>
                <a:spcPts val="0"/>
              </a:spcAft>
              <a:buClr>
                <a:srgbClr val="4F256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He is an inpatient just prior to discharge</a:t>
            </a:r>
          </a:p>
        </p:txBody>
      </p:sp>
      <p:grpSp>
        <p:nvGrpSpPr>
          <p:cNvPr id="17" name="Group 16">
            <a:extLst>
              <a:ext uri="{FF2B5EF4-FFF2-40B4-BE49-F238E27FC236}">
                <a16:creationId xmlns:a16="http://schemas.microsoft.com/office/drawing/2014/main" id="{ECA3B78E-6B6E-4426-9674-CC26BC023490}"/>
              </a:ext>
            </a:extLst>
          </p:cNvPr>
          <p:cNvGrpSpPr/>
          <p:nvPr/>
        </p:nvGrpSpPr>
        <p:grpSpPr>
          <a:xfrm>
            <a:off x="440192" y="1412874"/>
            <a:ext cx="1747837" cy="919907"/>
            <a:chOff x="4702870" y="1271726"/>
            <a:chExt cx="1262199" cy="591075"/>
          </a:xfrm>
        </p:grpSpPr>
        <p:sp>
          <p:nvSpPr>
            <p:cNvPr id="18" name="Parallelogram 17">
              <a:extLst>
                <a:ext uri="{FF2B5EF4-FFF2-40B4-BE49-F238E27FC236}">
                  <a16:creationId xmlns:a16="http://schemas.microsoft.com/office/drawing/2014/main" id="{9D1489D7-75C4-498B-951C-DC91CB5F42B1}"/>
                </a:ext>
              </a:extLst>
            </p:cNvPr>
            <p:cNvSpPr/>
            <p:nvPr/>
          </p:nvSpPr>
          <p:spPr>
            <a:xfrm rot="5400000">
              <a:off x="4525057" y="1544885"/>
              <a:ext cx="476679" cy="121053"/>
            </a:xfrm>
            <a:prstGeom prst="parallelogram">
              <a:avLst>
                <a:gd name="adj" fmla="val 47451"/>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Right Arrow 3">
              <a:extLst>
                <a:ext uri="{FF2B5EF4-FFF2-40B4-BE49-F238E27FC236}">
                  <a16:creationId xmlns:a16="http://schemas.microsoft.com/office/drawing/2014/main" id="{4FC9959C-B09A-40CE-91A3-157E1E6B7387}"/>
                </a:ext>
              </a:extLst>
            </p:cNvPr>
            <p:cNvSpPr/>
            <p:nvPr/>
          </p:nvSpPr>
          <p:spPr>
            <a:xfrm>
              <a:off x="4702871" y="1271726"/>
              <a:ext cx="1262198" cy="591075"/>
            </a:xfrm>
            <a:prstGeom prst="rightArrow">
              <a:avLst>
                <a:gd name="adj1" fmla="val 6924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Next steps</a:t>
              </a:r>
            </a:p>
          </p:txBody>
        </p:sp>
      </p:grpSp>
      <p:pic>
        <p:nvPicPr>
          <p:cNvPr id="13" name="Graphic 12" descr="Male profile">
            <a:extLst>
              <a:ext uri="{FF2B5EF4-FFF2-40B4-BE49-F238E27FC236}">
                <a16:creationId xmlns:a16="http://schemas.microsoft.com/office/drawing/2014/main" id="{F36C1879-E99A-4079-AC28-C71AA7D949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97919" y="1405519"/>
            <a:ext cx="1651087" cy="1651087"/>
          </a:xfrm>
          <a:prstGeom prst="rect">
            <a:avLst/>
          </a:prstGeom>
        </p:spPr>
      </p:pic>
    </p:spTree>
    <p:extLst>
      <p:ext uri="{BB962C8B-B14F-4D97-AF65-F5344CB8AC3E}">
        <p14:creationId xmlns:p14="http://schemas.microsoft.com/office/powerpoint/2010/main" val="35943384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515101" cy="1001168"/>
          </a:xfrm>
        </p:spPr>
        <p:txBody>
          <a:bodyPr/>
          <a:lstStyle/>
          <a:p>
            <a:r>
              <a:rPr lang="en-GB" dirty="0"/>
              <a:t>Initiating treatment with vericiguat</a:t>
            </a:r>
          </a:p>
        </p:txBody>
      </p:sp>
      <p:sp>
        <p:nvSpPr>
          <p:cNvPr id="4" name="Slide Number Placeholder 3">
            <a:extLst>
              <a:ext uri="{FF2B5EF4-FFF2-40B4-BE49-F238E27FC236}">
                <a16:creationId xmlns:a16="http://schemas.microsoft.com/office/drawing/2014/main" id="{DF66F6EB-DFC7-4B89-8B67-395C947DD519}"/>
              </a:ext>
            </a:extLst>
          </p:cNvPr>
          <p:cNvSpPr>
            <a:spLocks noGrp="1"/>
          </p:cNvSpPr>
          <p:nvPr>
            <p:ph type="sldNum" sz="quarter" idx="4294967295"/>
          </p:nvPr>
        </p:nvSpPr>
        <p:spPr>
          <a:xfrm>
            <a:off x="11710988" y="6340475"/>
            <a:ext cx="4810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089093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9">
            <a:extLst>
              <a:ext uri="{FF2B5EF4-FFF2-40B4-BE49-F238E27FC236}">
                <a16:creationId xmlns:a16="http://schemas.microsoft.com/office/drawing/2014/main" id="{8719F3F4-9DFA-4C6B-8575-2F043F3CBE0D}"/>
              </a:ext>
            </a:extLst>
          </p:cNvPr>
          <p:cNvGraphicFramePr>
            <a:graphicFrameLocks noGrp="1"/>
          </p:cNvGraphicFramePr>
          <p:nvPr>
            <p:ph sz="quarter" idx="13"/>
          </p:nvPr>
        </p:nvGraphicFramePr>
        <p:xfrm>
          <a:off x="596900" y="1808163"/>
          <a:ext cx="9928903" cy="1935480"/>
        </p:xfrm>
        <a:graphic>
          <a:graphicData uri="http://schemas.openxmlformats.org/drawingml/2006/table">
            <a:tbl>
              <a:tblPr firstRow="1" bandRow="1">
                <a:tableStyleId>{74C1A8A3-306A-4EB7-A6B1-4F7E0EB9C5D6}</a:tableStyleId>
              </a:tblPr>
              <a:tblGrid>
                <a:gridCol w="2763238">
                  <a:extLst>
                    <a:ext uri="{9D8B030D-6E8A-4147-A177-3AD203B41FA5}">
                      <a16:colId xmlns:a16="http://schemas.microsoft.com/office/drawing/2014/main" val="2066202133"/>
                    </a:ext>
                  </a:extLst>
                </a:gridCol>
                <a:gridCol w="2880781">
                  <a:extLst>
                    <a:ext uri="{9D8B030D-6E8A-4147-A177-3AD203B41FA5}">
                      <a16:colId xmlns:a16="http://schemas.microsoft.com/office/drawing/2014/main" val="3299616002"/>
                    </a:ext>
                  </a:extLst>
                </a:gridCol>
                <a:gridCol w="1800487">
                  <a:extLst>
                    <a:ext uri="{9D8B030D-6E8A-4147-A177-3AD203B41FA5}">
                      <a16:colId xmlns:a16="http://schemas.microsoft.com/office/drawing/2014/main" val="827992682"/>
                    </a:ext>
                  </a:extLst>
                </a:gridCol>
                <a:gridCol w="1296207">
                  <a:extLst>
                    <a:ext uri="{9D8B030D-6E8A-4147-A177-3AD203B41FA5}">
                      <a16:colId xmlns:a16="http://schemas.microsoft.com/office/drawing/2014/main" val="2714287310"/>
                    </a:ext>
                  </a:extLst>
                </a:gridCol>
                <a:gridCol w="1188190">
                  <a:extLst>
                    <a:ext uri="{9D8B030D-6E8A-4147-A177-3AD203B41FA5}">
                      <a16:colId xmlns:a16="http://schemas.microsoft.com/office/drawing/2014/main" val="3791547277"/>
                    </a:ext>
                  </a:extLst>
                </a:gridCol>
              </a:tblGrid>
              <a:tr h="370840">
                <a:tc>
                  <a:txBody>
                    <a:bodyPr/>
                    <a:lstStyle/>
                    <a:p>
                      <a:pPr marL="114300" indent="0">
                        <a:lnSpc>
                          <a:spcPct val="100000"/>
                        </a:lnSpc>
                      </a:pPr>
                      <a:endParaRPr lang="en-US" sz="1400" dirty="0"/>
                    </a:p>
                  </a:txBody>
                  <a:tcPr marL="45727" marR="45727"/>
                </a:tc>
                <a:tc>
                  <a:txBody>
                    <a:bodyPr/>
                    <a:lstStyle/>
                    <a:p>
                      <a:pPr algn="ctr">
                        <a:lnSpc>
                          <a:spcPct val="100000"/>
                        </a:lnSpc>
                      </a:pPr>
                      <a:endParaRPr lang="en-US" sz="1400" dirty="0"/>
                    </a:p>
                  </a:txBody>
                  <a:tcPr marL="45727" marR="45727"/>
                </a:tc>
                <a:tc>
                  <a:txBody>
                    <a:bodyPr/>
                    <a:lstStyle/>
                    <a:p>
                      <a:pPr algn="ctr">
                        <a:lnSpc>
                          <a:spcPct val="100000"/>
                        </a:lnSpc>
                      </a:pPr>
                      <a:r>
                        <a:rPr lang="en-US" sz="1400" dirty="0"/>
                        <a:t>Number of events, vericiguat/placebo</a:t>
                      </a:r>
                    </a:p>
                  </a:txBody>
                  <a:tcPr marL="45727" marR="45727" anchor="ctr"/>
                </a:tc>
                <a:tc>
                  <a:txBody>
                    <a:bodyPr/>
                    <a:lstStyle/>
                    <a:p>
                      <a:pPr algn="ctr">
                        <a:lnSpc>
                          <a:spcPct val="100000"/>
                        </a:lnSpc>
                      </a:pPr>
                      <a:r>
                        <a:rPr lang="en-US" sz="1400" dirty="0"/>
                        <a:t>Hazard ratio</a:t>
                      </a:r>
                    </a:p>
                  </a:txBody>
                  <a:tcPr marL="45727" marR="45727" anchor="ctr"/>
                </a:tc>
                <a:tc>
                  <a:txBody>
                    <a:bodyPr/>
                    <a:lstStyle/>
                    <a:p>
                      <a:pPr algn="ctr">
                        <a:lnSpc>
                          <a:spcPct val="100000"/>
                        </a:lnSpc>
                      </a:pPr>
                      <a:r>
                        <a:rPr lang="en-US" sz="1400" dirty="0"/>
                        <a:t>95% CI </a:t>
                      </a:r>
                    </a:p>
                  </a:txBody>
                  <a:tcPr marL="45727" marR="45727" anchor="ctr"/>
                </a:tc>
                <a:extLst>
                  <a:ext uri="{0D108BD9-81ED-4DB2-BD59-A6C34878D82A}">
                    <a16:rowId xmlns:a16="http://schemas.microsoft.com/office/drawing/2014/main" val="168814484"/>
                  </a:ext>
                </a:extLst>
              </a:tr>
              <a:tr h="0">
                <a:tc>
                  <a:txBody>
                    <a:bodyPr/>
                    <a:lstStyle/>
                    <a:p>
                      <a:pPr marL="0" indent="0" algn="l">
                        <a:lnSpc>
                          <a:spcPct val="100000"/>
                        </a:lnSpc>
                      </a:pPr>
                      <a:r>
                        <a:rPr lang="en-GB" sz="1400" noProof="0" dirty="0"/>
                        <a:t>Index event</a:t>
                      </a:r>
                    </a:p>
                  </a:txBody>
                  <a:tcPr marL="91455" marR="91455"/>
                </a:tc>
                <a:tc>
                  <a:txBody>
                    <a:bodyPr/>
                    <a:lstStyle/>
                    <a:p>
                      <a:pPr algn="ctr">
                        <a:lnSpc>
                          <a:spcPct val="100000"/>
                        </a:lnSpc>
                      </a:pPr>
                      <a:endParaRPr lang="en-GB" sz="1400" noProof="0" dirty="0"/>
                    </a:p>
                  </a:txBody>
                  <a:tcPr marL="91455" marR="91455"/>
                </a:tc>
                <a:tc>
                  <a:txBody>
                    <a:bodyPr/>
                    <a:lstStyle/>
                    <a:p>
                      <a:pPr algn="ctr">
                        <a:lnSpc>
                          <a:spcPct val="100000"/>
                        </a:lnSpc>
                      </a:pPr>
                      <a:endParaRPr lang="en-GB" sz="1400" noProof="0" dirty="0"/>
                    </a:p>
                  </a:txBody>
                  <a:tcPr marL="91455" marR="91455"/>
                </a:tc>
                <a:tc>
                  <a:txBody>
                    <a:bodyPr/>
                    <a:lstStyle/>
                    <a:p>
                      <a:pPr algn="ctr">
                        <a:lnSpc>
                          <a:spcPct val="100000"/>
                        </a:lnSpc>
                      </a:pPr>
                      <a:endParaRPr lang="en-GB" sz="1400" noProof="0" dirty="0"/>
                    </a:p>
                  </a:txBody>
                  <a:tcPr marL="91455" marR="91455"/>
                </a:tc>
                <a:tc>
                  <a:txBody>
                    <a:bodyPr/>
                    <a:lstStyle/>
                    <a:p>
                      <a:pPr algn="ctr">
                        <a:lnSpc>
                          <a:spcPct val="100000"/>
                        </a:lnSpc>
                      </a:pPr>
                      <a:endParaRPr lang="en-GB" sz="1400" noProof="0" dirty="0"/>
                    </a:p>
                  </a:txBody>
                  <a:tcPr marL="91455" marR="91455"/>
                </a:tc>
                <a:extLst>
                  <a:ext uri="{0D108BD9-81ED-4DB2-BD59-A6C34878D82A}">
                    <a16:rowId xmlns:a16="http://schemas.microsoft.com/office/drawing/2014/main" val="1190966505"/>
                  </a:ext>
                </a:extLst>
              </a:tr>
              <a:tr h="370840">
                <a:tc>
                  <a:txBody>
                    <a:bodyPr/>
                    <a:lstStyle/>
                    <a:p>
                      <a:pPr marL="180000" indent="0" algn="l">
                        <a:lnSpc>
                          <a:spcPct val="100000"/>
                        </a:lnSpc>
                      </a:pPr>
                      <a:r>
                        <a:rPr lang="en-GB" sz="1400" noProof="0" dirty="0"/>
                        <a:t>IV diuretic &lt;3 months</a:t>
                      </a:r>
                    </a:p>
                  </a:txBody>
                  <a:tcPr marL="91455" marR="91455"/>
                </a:tc>
                <a:tc>
                  <a:txBody>
                    <a:bodyPr/>
                    <a:lstStyle/>
                    <a:p>
                      <a:pPr algn="ctr">
                        <a:lnSpc>
                          <a:spcPct val="100000"/>
                        </a:lnSpc>
                      </a:pPr>
                      <a:endParaRPr lang="en-GB" sz="1400" noProof="0" dirty="0"/>
                    </a:p>
                  </a:txBody>
                  <a:tcPr marL="91455" marR="91455"/>
                </a:tc>
                <a:tc>
                  <a:txBody>
                    <a:bodyPr/>
                    <a:lstStyle/>
                    <a:p>
                      <a:pPr algn="ctr">
                        <a:lnSpc>
                          <a:spcPct val="100000"/>
                        </a:lnSpc>
                      </a:pPr>
                      <a:r>
                        <a:rPr lang="en-GB" sz="1400" noProof="0" dirty="0"/>
                        <a:t>96/120</a:t>
                      </a:r>
                    </a:p>
                  </a:txBody>
                  <a:tcPr marL="91455" marR="91455"/>
                </a:tc>
                <a:tc>
                  <a:txBody>
                    <a:bodyPr/>
                    <a:lstStyle/>
                    <a:p>
                      <a:pPr algn="ctr">
                        <a:lnSpc>
                          <a:spcPct val="100000"/>
                        </a:lnSpc>
                      </a:pPr>
                      <a:r>
                        <a:rPr lang="en-GB" sz="1400" noProof="0" dirty="0"/>
                        <a:t>0.78</a:t>
                      </a:r>
                    </a:p>
                  </a:txBody>
                  <a:tcPr marL="91455" marR="91455"/>
                </a:tc>
                <a:tc>
                  <a:txBody>
                    <a:bodyPr/>
                    <a:lstStyle/>
                    <a:p>
                      <a:pPr algn="ctr">
                        <a:lnSpc>
                          <a:spcPct val="100000"/>
                        </a:lnSpc>
                      </a:pPr>
                      <a:r>
                        <a:rPr lang="en-GB" sz="1400" noProof="0" dirty="0"/>
                        <a:t>0.60‒1.02</a:t>
                      </a:r>
                    </a:p>
                  </a:txBody>
                  <a:tcPr marL="0" marR="0"/>
                </a:tc>
                <a:extLst>
                  <a:ext uri="{0D108BD9-81ED-4DB2-BD59-A6C34878D82A}">
                    <a16:rowId xmlns:a16="http://schemas.microsoft.com/office/drawing/2014/main" val="1956924937"/>
                  </a:ext>
                </a:extLst>
              </a:tr>
              <a:tr h="370840">
                <a:tc>
                  <a:txBody>
                    <a:bodyPr/>
                    <a:lstStyle/>
                    <a:p>
                      <a:pPr marL="180000" indent="0" algn="l">
                        <a:lnSpc>
                          <a:spcPct val="100000"/>
                        </a:lnSpc>
                      </a:pPr>
                      <a:r>
                        <a:rPr lang="en-GB" sz="1400" noProof="0" dirty="0"/>
                        <a:t>Hospitalization &lt;3 months</a:t>
                      </a:r>
                    </a:p>
                  </a:txBody>
                  <a:tcPr marL="91455" marR="91455"/>
                </a:tc>
                <a:tc>
                  <a:txBody>
                    <a:bodyPr/>
                    <a:lstStyle/>
                    <a:p>
                      <a:pPr algn="ctr">
                        <a:lnSpc>
                          <a:spcPct val="100000"/>
                        </a:lnSpc>
                      </a:pPr>
                      <a:endParaRPr lang="en-GB" sz="1400" noProof="0" dirty="0"/>
                    </a:p>
                  </a:txBody>
                  <a:tcPr marL="91455" marR="91455"/>
                </a:tc>
                <a:tc>
                  <a:txBody>
                    <a:bodyPr/>
                    <a:lstStyle/>
                    <a:p>
                      <a:pPr algn="ctr">
                        <a:lnSpc>
                          <a:spcPct val="100000"/>
                        </a:lnSpc>
                      </a:pPr>
                      <a:r>
                        <a:rPr lang="en-GB" sz="1400" noProof="0" dirty="0"/>
                        <a:t>660/701</a:t>
                      </a:r>
                    </a:p>
                  </a:txBody>
                  <a:tcPr marL="91455" marR="91455"/>
                </a:tc>
                <a:tc>
                  <a:txBody>
                    <a:bodyPr/>
                    <a:lstStyle/>
                    <a:p>
                      <a:pPr algn="ctr">
                        <a:lnSpc>
                          <a:spcPct val="100000"/>
                        </a:lnSpc>
                      </a:pPr>
                      <a:r>
                        <a:rPr lang="en-GB" sz="1400" noProof="0" dirty="0"/>
                        <a:t>0.93</a:t>
                      </a:r>
                    </a:p>
                  </a:txBody>
                  <a:tcPr marL="91455" marR="91455"/>
                </a:tc>
                <a:tc>
                  <a:txBody>
                    <a:bodyPr/>
                    <a:lstStyle/>
                    <a:p>
                      <a:pPr algn="ctr">
                        <a:lnSpc>
                          <a:spcPct val="100000"/>
                        </a:lnSpc>
                      </a:pPr>
                      <a:r>
                        <a:rPr lang="en-GB" sz="1400" noProof="0" dirty="0"/>
                        <a:t>0.84‒1.04</a:t>
                      </a:r>
                    </a:p>
                  </a:txBody>
                  <a:tcPr marL="0" marR="0"/>
                </a:tc>
                <a:extLst>
                  <a:ext uri="{0D108BD9-81ED-4DB2-BD59-A6C34878D82A}">
                    <a16:rowId xmlns:a16="http://schemas.microsoft.com/office/drawing/2014/main" val="4098158006"/>
                  </a:ext>
                </a:extLst>
              </a:tr>
              <a:tr h="370840">
                <a:tc>
                  <a:txBody>
                    <a:bodyPr/>
                    <a:lstStyle/>
                    <a:p>
                      <a:pPr marL="180000" indent="0" algn="l">
                        <a:lnSpc>
                          <a:spcPct val="100000"/>
                        </a:lnSpc>
                      </a:pPr>
                      <a:r>
                        <a:rPr lang="en-GB" sz="1400" noProof="0" dirty="0"/>
                        <a:t>Hospitalization 3–6 months</a:t>
                      </a:r>
                    </a:p>
                  </a:txBody>
                  <a:tcPr marL="91455" marR="0"/>
                </a:tc>
                <a:tc>
                  <a:txBody>
                    <a:bodyPr/>
                    <a:lstStyle/>
                    <a:p>
                      <a:pPr algn="ctr">
                        <a:lnSpc>
                          <a:spcPct val="100000"/>
                        </a:lnSpc>
                      </a:pPr>
                      <a:endParaRPr lang="en-GB" sz="1400" noProof="0" dirty="0"/>
                    </a:p>
                  </a:txBody>
                  <a:tcPr marL="91455" marR="91455"/>
                </a:tc>
                <a:tc>
                  <a:txBody>
                    <a:bodyPr/>
                    <a:lstStyle/>
                    <a:p>
                      <a:pPr algn="ctr">
                        <a:lnSpc>
                          <a:spcPct val="100000"/>
                        </a:lnSpc>
                      </a:pPr>
                      <a:r>
                        <a:rPr lang="en-GB" sz="1400" noProof="0" dirty="0"/>
                        <a:t>141/151</a:t>
                      </a:r>
                    </a:p>
                  </a:txBody>
                  <a:tcPr marL="91455" marR="91455"/>
                </a:tc>
                <a:tc>
                  <a:txBody>
                    <a:bodyPr/>
                    <a:lstStyle/>
                    <a:p>
                      <a:pPr algn="ctr">
                        <a:lnSpc>
                          <a:spcPct val="100000"/>
                        </a:lnSpc>
                      </a:pPr>
                      <a:r>
                        <a:rPr lang="en-GB" sz="1400" noProof="0" dirty="0"/>
                        <a:t>0.85</a:t>
                      </a:r>
                    </a:p>
                  </a:txBody>
                  <a:tcPr marL="91455" marR="91455"/>
                </a:tc>
                <a:tc>
                  <a:txBody>
                    <a:bodyPr/>
                    <a:lstStyle/>
                    <a:p>
                      <a:pPr algn="ctr">
                        <a:lnSpc>
                          <a:spcPct val="100000"/>
                        </a:lnSpc>
                      </a:pPr>
                      <a:r>
                        <a:rPr lang="en-GB" sz="1400" noProof="0" dirty="0"/>
                        <a:t>0.67‒1.07</a:t>
                      </a:r>
                    </a:p>
                  </a:txBody>
                  <a:tcPr marL="0" marR="0"/>
                </a:tc>
                <a:extLst>
                  <a:ext uri="{0D108BD9-81ED-4DB2-BD59-A6C34878D82A}">
                    <a16:rowId xmlns:a16="http://schemas.microsoft.com/office/drawing/2014/main" val="828541628"/>
                  </a:ext>
                </a:extLst>
              </a:tr>
            </a:tbl>
          </a:graphicData>
        </a:graphic>
      </p:graphicFrame>
      <p:sp>
        <p:nvSpPr>
          <p:cNvPr id="10" name="Text Placeholder 9">
            <a:extLst>
              <a:ext uri="{FF2B5EF4-FFF2-40B4-BE49-F238E27FC236}">
                <a16:creationId xmlns:a16="http://schemas.microsoft.com/office/drawing/2014/main" id="{82EC083F-32A2-4501-BCED-128FA277676C}"/>
              </a:ext>
            </a:extLst>
          </p:cNvPr>
          <p:cNvSpPr>
            <a:spLocks noGrp="1"/>
          </p:cNvSpPr>
          <p:nvPr>
            <p:ph type="body" sz="quarter" idx="14"/>
          </p:nvPr>
        </p:nvSpPr>
        <p:spPr/>
        <p:txBody>
          <a:bodyPr/>
          <a:lstStyle/>
          <a:p>
            <a:r>
              <a:rPr lang="en-GB" dirty="0"/>
              <a:t>Outcomes according to index event type in VICTORIA</a:t>
            </a:r>
          </a:p>
          <a:p>
            <a:endParaRPr lang="en-GB" dirty="0"/>
          </a:p>
        </p:txBody>
      </p:sp>
      <p:sp>
        <p:nvSpPr>
          <p:cNvPr id="2" name="Slide Number Placeholder 1">
            <a:extLst>
              <a:ext uri="{FF2B5EF4-FFF2-40B4-BE49-F238E27FC236}">
                <a16:creationId xmlns:a16="http://schemas.microsoft.com/office/drawing/2014/main" id="{FC7DEA98-1F8F-4643-8799-25E3BD045D56}"/>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CC443EC8-F76E-48C9-82D6-2F32E8601AC0}"/>
              </a:ext>
            </a:extLst>
          </p:cNvPr>
          <p:cNvSpPr>
            <a:spLocks noGrp="1"/>
          </p:cNvSpPr>
          <p:nvPr>
            <p:ph type="title"/>
          </p:nvPr>
        </p:nvSpPr>
        <p:spPr/>
        <p:txBody>
          <a:bodyPr>
            <a:normAutofit/>
          </a:bodyPr>
          <a:lstStyle/>
          <a:p>
            <a:r>
              <a:rPr lang="en-US" kern="600" dirty="0"/>
              <a:t>IN VICTORIA, vericiguat </a:t>
            </a:r>
            <a:r>
              <a:rPr lang="en-US" sz="2400" kern="600" dirty="0"/>
              <a:t>reduced the primary outcome irrespective of time from index event*</a:t>
            </a:r>
            <a:r>
              <a:rPr lang="en-US" sz="2400" kern="600" baseline="30000" dirty="0"/>
              <a:t>1</a:t>
            </a:r>
            <a:endParaRPr lang="en-GB" dirty="0"/>
          </a:p>
        </p:txBody>
      </p:sp>
      <p:sp>
        <p:nvSpPr>
          <p:cNvPr id="37" name="TextBox 36">
            <a:extLst>
              <a:ext uri="{FF2B5EF4-FFF2-40B4-BE49-F238E27FC236}">
                <a16:creationId xmlns:a16="http://schemas.microsoft.com/office/drawing/2014/main" id="{C0DD5F17-DFAF-414B-9D0F-65EE7E6E88F2}"/>
              </a:ext>
            </a:extLst>
          </p:cNvPr>
          <p:cNvSpPr txBox="1"/>
          <p:nvPr/>
        </p:nvSpPr>
        <p:spPr>
          <a:xfrm>
            <a:off x="2802756" y="4168448"/>
            <a:ext cx="1301499"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0000"/>
                </a:solidFill>
                <a:effectLst/>
                <a:uLnTx/>
                <a:uFillTx/>
                <a:latin typeface="Arial"/>
                <a:ea typeface="+mn-ea"/>
                <a:cs typeface="+mn-cs"/>
              </a:rPr>
              <a:t>Vericiguat</a:t>
            </a:r>
          </a:p>
        </p:txBody>
      </p:sp>
      <p:sp>
        <p:nvSpPr>
          <p:cNvPr id="38" name="TextBox 37">
            <a:extLst>
              <a:ext uri="{FF2B5EF4-FFF2-40B4-BE49-F238E27FC236}">
                <a16:creationId xmlns:a16="http://schemas.microsoft.com/office/drawing/2014/main" id="{A0DBBB74-BC67-4510-9CD9-AEAF111329B1}"/>
              </a:ext>
            </a:extLst>
          </p:cNvPr>
          <p:cNvSpPr txBox="1"/>
          <p:nvPr/>
        </p:nvSpPr>
        <p:spPr>
          <a:xfrm>
            <a:off x="4530188" y="4168447"/>
            <a:ext cx="102368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0000"/>
                </a:solidFill>
                <a:effectLst/>
                <a:uLnTx/>
                <a:uFillTx/>
                <a:latin typeface="Arial"/>
                <a:ea typeface="+mn-ea"/>
                <a:cs typeface="+mn-cs"/>
              </a:rPr>
              <a:t>Favors</a:t>
            </a:r>
          </a:p>
        </p:txBody>
      </p:sp>
      <p:sp>
        <p:nvSpPr>
          <p:cNvPr id="39" name="TextBox 38">
            <a:extLst>
              <a:ext uri="{FF2B5EF4-FFF2-40B4-BE49-F238E27FC236}">
                <a16:creationId xmlns:a16="http://schemas.microsoft.com/office/drawing/2014/main" id="{06B9527F-7932-4506-9968-AA31D7A9122E}"/>
              </a:ext>
            </a:extLst>
          </p:cNvPr>
          <p:cNvSpPr txBox="1"/>
          <p:nvPr/>
        </p:nvSpPr>
        <p:spPr>
          <a:xfrm>
            <a:off x="5936408" y="4168448"/>
            <a:ext cx="102368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dirty="0">
                <a:ln>
                  <a:noFill/>
                </a:ln>
                <a:solidFill>
                  <a:srgbClr val="000000"/>
                </a:solidFill>
                <a:effectLst/>
                <a:uLnTx/>
                <a:uFillTx/>
                <a:latin typeface="Arial"/>
                <a:ea typeface="+mn-ea"/>
                <a:cs typeface="+mn-cs"/>
              </a:rPr>
              <a:t>Placebo</a:t>
            </a:r>
          </a:p>
        </p:txBody>
      </p:sp>
      <p:cxnSp>
        <p:nvCxnSpPr>
          <p:cNvPr id="40" name="Straight Arrow Connector 39">
            <a:extLst>
              <a:ext uri="{FF2B5EF4-FFF2-40B4-BE49-F238E27FC236}">
                <a16:creationId xmlns:a16="http://schemas.microsoft.com/office/drawing/2014/main" id="{29D0E6D2-0FF9-4D03-BE1B-9FA276BC96B9}"/>
              </a:ext>
            </a:extLst>
          </p:cNvPr>
          <p:cNvCxnSpPr>
            <a:cxnSpLocks/>
          </p:cNvCxnSpPr>
          <p:nvPr/>
        </p:nvCxnSpPr>
        <p:spPr>
          <a:xfrm flipH="1">
            <a:off x="4180183" y="4306946"/>
            <a:ext cx="36576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67808B7-211F-4033-9E6B-DAD3F9115488}"/>
              </a:ext>
            </a:extLst>
          </p:cNvPr>
          <p:cNvCxnSpPr/>
          <p:nvPr/>
        </p:nvCxnSpPr>
        <p:spPr>
          <a:xfrm>
            <a:off x="5494719" y="4306946"/>
            <a:ext cx="36576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01844E7-5AC7-4B25-8F45-8FE9C00E3A3B}"/>
              </a:ext>
            </a:extLst>
          </p:cNvPr>
          <p:cNvCxnSpPr>
            <a:cxnSpLocks/>
          </p:cNvCxnSpPr>
          <p:nvPr/>
        </p:nvCxnSpPr>
        <p:spPr>
          <a:xfrm>
            <a:off x="5025981" y="2327564"/>
            <a:ext cx="0" cy="1454388"/>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B6CC59DB-23E6-40BC-869B-A3EF4EB02130}"/>
              </a:ext>
            </a:extLst>
          </p:cNvPr>
          <p:cNvGrpSpPr/>
          <p:nvPr/>
        </p:nvGrpSpPr>
        <p:grpSpPr>
          <a:xfrm>
            <a:off x="4251300" y="2721729"/>
            <a:ext cx="832570" cy="196343"/>
            <a:chOff x="4081629" y="3752740"/>
            <a:chExt cx="832570" cy="196343"/>
          </a:xfrm>
          <a:solidFill>
            <a:schemeClr val="tx1"/>
          </a:solidFill>
        </p:grpSpPr>
        <p:grpSp>
          <p:nvGrpSpPr>
            <p:cNvPr id="169" name="Group 168">
              <a:extLst>
                <a:ext uri="{FF2B5EF4-FFF2-40B4-BE49-F238E27FC236}">
                  <a16:creationId xmlns:a16="http://schemas.microsoft.com/office/drawing/2014/main" id="{A9BD4A70-796A-4D54-98C5-C212C26C30F8}"/>
                </a:ext>
              </a:extLst>
            </p:cNvPr>
            <p:cNvGrpSpPr/>
            <p:nvPr/>
          </p:nvGrpSpPr>
          <p:grpSpPr>
            <a:xfrm>
              <a:off x="4081629" y="3766884"/>
              <a:ext cx="832570" cy="168055"/>
              <a:chOff x="4110204" y="3265152"/>
              <a:chExt cx="732081" cy="168055"/>
            </a:xfrm>
            <a:grpFill/>
          </p:grpSpPr>
          <p:cxnSp>
            <p:nvCxnSpPr>
              <p:cNvPr id="171" name="Straight Connector 170">
                <a:extLst>
                  <a:ext uri="{FF2B5EF4-FFF2-40B4-BE49-F238E27FC236}">
                    <a16:creationId xmlns:a16="http://schemas.microsoft.com/office/drawing/2014/main" id="{E1B3E2C1-B913-492D-9AD7-C3A0754800F4}"/>
                  </a:ext>
                </a:extLst>
              </p:cNvPr>
              <p:cNvCxnSpPr>
                <a:cxnSpLocks/>
              </p:cNvCxnSpPr>
              <p:nvPr/>
            </p:nvCxnSpPr>
            <p:spPr>
              <a:xfrm>
                <a:off x="4110204" y="3265152"/>
                <a:ext cx="0" cy="16805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9F55E0AF-335E-4CF0-8AC5-DC1368DA65D7}"/>
                  </a:ext>
                </a:extLst>
              </p:cNvPr>
              <p:cNvCxnSpPr>
                <a:cxnSpLocks/>
              </p:cNvCxnSpPr>
              <p:nvPr/>
            </p:nvCxnSpPr>
            <p:spPr>
              <a:xfrm>
                <a:off x="4842285" y="3265152"/>
                <a:ext cx="0" cy="16805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9EA1B22-A0BA-4A11-8CEE-97999BF63AFE}"/>
                  </a:ext>
                </a:extLst>
              </p:cNvPr>
              <p:cNvCxnSpPr>
                <a:cxnSpLocks/>
              </p:cNvCxnSpPr>
              <p:nvPr/>
            </p:nvCxnSpPr>
            <p:spPr>
              <a:xfrm flipH="1">
                <a:off x="4114800" y="3349179"/>
                <a:ext cx="721756" cy="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0" name="Diamond 169">
              <a:extLst>
                <a:ext uri="{FF2B5EF4-FFF2-40B4-BE49-F238E27FC236}">
                  <a16:creationId xmlns:a16="http://schemas.microsoft.com/office/drawing/2014/main" id="{BEEE5DFA-417E-4CB3-99B0-09EC1C432F7C}"/>
                </a:ext>
              </a:extLst>
            </p:cNvPr>
            <p:cNvSpPr/>
            <p:nvPr/>
          </p:nvSpPr>
          <p:spPr>
            <a:xfrm>
              <a:off x="4378285" y="3752740"/>
              <a:ext cx="196344" cy="196343"/>
            </a:xfrm>
            <a:prstGeom prst="diamond">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57" name="Group 156">
            <a:extLst>
              <a:ext uri="{FF2B5EF4-FFF2-40B4-BE49-F238E27FC236}">
                <a16:creationId xmlns:a16="http://schemas.microsoft.com/office/drawing/2014/main" id="{CE4DF496-BB7F-49CA-8F98-C33E3444CBCE}"/>
              </a:ext>
            </a:extLst>
          </p:cNvPr>
          <p:cNvGrpSpPr/>
          <p:nvPr/>
        </p:nvGrpSpPr>
        <p:grpSpPr>
          <a:xfrm>
            <a:off x="4772295" y="3089721"/>
            <a:ext cx="320250" cy="196343"/>
            <a:chOff x="4602624" y="4007921"/>
            <a:chExt cx="320250" cy="196343"/>
          </a:xfrm>
          <a:solidFill>
            <a:schemeClr val="tx1"/>
          </a:solidFill>
        </p:grpSpPr>
        <p:grpSp>
          <p:nvGrpSpPr>
            <p:cNvPr id="164" name="Group 163">
              <a:extLst>
                <a:ext uri="{FF2B5EF4-FFF2-40B4-BE49-F238E27FC236}">
                  <a16:creationId xmlns:a16="http://schemas.microsoft.com/office/drawing/2014/main" id="{BC5D1ED2-3348-4D26-A37F-CD838EE65CD5}"/>
                </a:ext>
              </a:extLst>
            </p:cNvPr>
            <p:cNvGrpSpPr/>
            <p:nvPr/>
          </p:nvGrpSpPr>
          <p:grpSpPr>
            <a:xfrm>
              <a:off x="4602624" y="4022065"/>
              <a:ext cx="320250" cy="168055"/>
              <a:chOff x="4110204" y="3265152"/>
              <a:chExt cx="732081" cy="168055"/>
            </a:xfrm>
            <a:grpFill/>
          </p:grpSpPr>
          <p:cxnSp>
            <p:nvCxnSpPr>
              <p:cNvPr id="166" name="Straight Connector 165">
                <a:extLst>
                  <a:ext uri="{FF2B5EF4-FFF2-40B4-BE49-F238E27FC236}">
                    <a16:creationId xmlns:a16="http://schemas.microsoft.com/office/drawing/2014/main" id="{AC6DE921-1AA7-4D79-8880-9FE9AF1087AB}"/>
                  </a:ext>
                </a:extLst>
              </p:cNvPr>
              <p:cNvCxnSpPr>
                <a:cxnSpLocks/>
              </p:cNvCxnSpPr>
              <p:nvPr/>
            </p:nvCxnSpPr>
            <p:spPr>
              <a:xfrm>
                <a:off x="4110204" y="3265152"/>
                <a:ext cx="0" cy="16805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4CBA0B7-0C79-4A25-B822-92332FF077FF}"/>
                  </a:ext>
                </a:extLst>
              </p:cNvPr>
              <p:cNvCxnSpPr>
                <a:cxnSpLocks/>
              </p:cNvCxnSpPr>
              <p:nvPr/>
            </p:nvCxnSpPr>
            <p:spPr>
              <a:xfrm>
                <a:off x="4842285" y="3265152"/>
                <a:ext cx="0" cy="16805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30659BA8-3591-4FFF-BD45-7D19DED2D8DF}"/>
                  </a:ext>
                </a:extLst>
              </p:cNvPr>
              <p:cNvCxnSpPr>
                <a:cxnSpLocks/>
              </p:cNvCxnSpPr>
              <p:nvPr/>
            </p:nvCxnSpPr>
            <p:spPr>
              <a:xfrm flipH="1">
                <a:off x="4114800" y="3349179"/>
                <a:ext cx="721756" cy="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5" name="Diamond 164">
              <a:extLst>
                <a:ext uri="{FF2B5EF4-FFF2-40B4-BE49-F238E27FC236}">
                  <a16:creationId xmlns:a16="http://schemas.microsoft.com/office/drawing/2014/main" id="{3BA9AC88-F519-44B9-849A-20FAC9FFD38B}"/>
                </a:ext>
              </a:extLst>
            </p:cNvPr>
            <p:cNvSpPr/>
            <p:nvPr/>
          </p:nvSpPr>
          <p:spPr>
            <a:xfrm>
              <a:off x="4660048" y="4007921"/>
              <a:ext cx="196344" cy="196343"/>
            </a:xfrm>
            <a:prstGeom prst="diamond">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58" name="Group 157">
            <a:extLst>
              <a:ext uri="{FF2B5EF4-FFF2-40B4-BE49-F238E27FC236}">
                <a16:creationId xmlns:a16="http://schemas.microsoft.com/office/drawing/2014/main" id="{6AC6388F-A501-42A7-A8F7-0F3E3B22EAD3}"/>
              </a:ext>
            </a:extLst>
          </p:cNvPr>
          <p:cNvGrpSpPr/>
          <p:nvPr/>
        </p:nvGrpSpPr>
        <p:grpSpPr>
          <a:xfrm>
            <a:off x="4421422" y="3457713"/>
            <a:ext cx="713654" cy="196343"/>
            <a:chOff x="4251751" y="4263103"/>
            <a:chExt cx="713654" cy="196343"/>
          </a:xfrm>
          <a:solidFill>
            <a:schemeClr val="tx1"/>
          </a:solidFill>
        </p:grpSpPr>
        <p:grpSp>
          <p:nvGrpSpPr>
            <p:cNvPr id="159" name="Group 158">
              <a:extLst>
                <a:ext uri="{FF2B5EF4-FFF2-40B4-BE49-F238E27FC236}">
                  <a16:creationId xmlns:a16="http://schemas.microsoft.com/office/drawing/2014/main" id="{7183DDDC-3E8D-4300-964E-0B78FB223EF8}"/>
                </a:ext>
              </a:extLst>
            </p:cNvPr>
            <p:cNvGrpSpPr/>
            <p:nvPr/>
          </p:nvGrpSpPr>
          <p:grpSpPr>
            <a:xfrm>
              <a:off x="4251751" y="4277247"/>
              <a:ext cx="713654" cy="168055"/>
              <a:chOff x="4110204" y="3265152"/>
              <a:chExt cx="732081" cy="168055"/>
            </a:xfrm>
            <a:grpFill/>
          </p:grpSpPr>
          <p:cxnSp>
            <p:nvCxnSpPr>
              <p:cNvPr id="161" name="Straight Connector 160">
                <a:extLst>
                  <a:ext uri="{FF2B5EF4-FFF2-40B4-BE49-F238E27FC236}">
                    <a16:creationId xmlns:a16="http://schemas.microsoft.com/office/drawing/2014/main" id="{21E8BB19-D67D-43F9-A500-3F5DF004DFAA}"/>
                  </a:ext>
                </a:extLst>
              </p:cNvPr>
              <p:cNvCxnSpPr>
                <a:cxnSpLocks/>
              </p:cNvCxnSpPr>
              <p:nvPr/>
            </p:nvCxnSpPr>
            <p:spPr>
              <a:xfrm>
                <a:off x="4110204" y="3265152"/>
                <a:ext cx="0" cy="16805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64F016C5-245C-4036-B135-EDD1FE60FD1A}"/>
                  </a:ext>
                </a:extLst>
              </p:cNvPr>
              <p:cNvCxnSpPr>
                <a:cxnSpLocks/>
              </p:cNvCxnSpPr>
              <p:nvPr/>
            </p:nvCxnSpPr>
            <p:spPr>
              <a:xfrm>
                <a:off x="4842285" y="3265152"/>
                <a:ext cx="0" cy="168055"/>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EACD400F-2A89-4334-8CD8-2894113F7B4D}"/>
                  </a:ext>
                </a:extLst>
              </p:cNvPr>
              <p:cNvCxnSpPr>
                <a:cxnSpLocks/>
              </p:cNvCxnSpPr>
              <p:nvPr/>
            </p:nvCxnSpPr>
            <p:spPr>
              <a:xfrm flipH="1">
                <a:off x="4114800" y="3349179"/>
                <a:ext cx="721756" cy="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0" name="Diamond 159">
              <a:extLst>
                <a:ext uri="{FF2B5EF4-FFF2-40B4-BE49-F238E27FC236}">
                  <a16:creationId xmlns:a16="http://schemas.microsoft.com/office/drawing/2014/main" id="{DE321238-8946-47F5-B689-642709A45466}"/>
                </a:ext>
              </a:extLst>
            </p:cNvPr>
            <p:cNvSpPr/>
            <p:nvPr/>
          </p:nvSpPr>
          <p:spPr>
            <a:xfrm>
              <a:off x="4521825" y="4263103"/>
              <a:ext cx="196344" cy="196343"/>
            </a:xfrm>
            <a:prstGeom prst="diamond">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TextBox 192">
            <a:extLst>
              <a:ext uri="{FF2B5EF4-FFF2-40B4-BE49-F238E27FC236}">
                <a16:creationId xmlns:a16="http://schemas.microsoft.com/office/drawing/2014/main" id="{35292DD4-6A38-414E-AD86-B2D23FB5EF85}"/>
              </a:ext>
            </a:extLst>
          </p:cNvPr>
          <p:cNvSpPr txBox="1"/>
          <p:nvPr/>
        </p:nvSpPr>
        <p:spPr>
          <a:xfrm>
            <a:off x="3713120" y="3873169"/>
            <a:ext cx="45720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0000"/>
                </a:solidFill>
                <a:effectLst/>
                <a:uLnTx/>
                <a:uFillTx/>
                <a:latin typeface="Arial"/>
                <a:ea typeface="+mn-ea"/>
                <a:cs typeface="+mn-cs"/>
              </a:rPr>
              <a:t>0.5</a:t>
            </a:r>
          </a:p>
        </p:txBody>
      </p:sp>
      <p:sp>
        <p:nvSpPr>
          <p:cNvPr id="194" name="TextBox 193">
            <a:extLst>
              <a:ext uri="{FF2B5EF4-FFF2-40B4-BE49-F238E27FC236}">
                <a16:creationId xmlns:a16="http://schemas.microsoft.com/office/drawing/2014/main" id="{09602120-47E6-4C47-82F8-F4C453E325CE}"/>
              </a:ext>
            </a:extLst>
          </p:cNvPr>
          <p:cNvSpPr txBox="1"/>
          <p:nvPr/>
        </p:nvSpPr>
        <p:spPr>
          <a:xfrm>
            <a:off x="4801691" y="3873169"/>
            <a:ext cx="45720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0000"/>
                </a:solidFill>
                <a:effectLst/>
                <a:uLnTx/>
                <a:uFillTx/>
                <a:latin typeface="Arial"/>
                <a:ea typeface="+mn-ea"/>
                <a:cs typeface="+mn-cs"/>
              </a:rPr>
              <a:t>1</a:t>
            </a:r>
          </a:p>
        </p:txBody>
      </p:sp>
      <p:sp>
        <p:nvSpPr>
          <p:cNvPr id="195" name="TextBox 194">
            <a:extLst>
              <a:ext uri="{FF2B5EF4-FFF2-40B4-BE49-F238E27FC236}">
                <a16:creationId xmlns:a16="http://schemas.microsoft.com/office/drawing/2014/main" id="{6F493359-D48D-4BA9-B356-5C03EC3A392D}"/>
              </a:ext>
            </a:extLst>
          </p:cNvPr>
          <p:cNvSpPr txBox="1"/>
          <p:nvPr/>
        </p:nvSpPr>
        <p:spPr>
          <a:xfrm>
            <a:off x="5488445" y="3873169"/>
            <a:ext cx="45720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0000"/>
                </a:solidFill>
                <a:effectLst/>
                <a:uLnTx/>
                <a:uFillTx/>
                <a:latin typeface="Arial"/>
                <a:ea typeface="+mn-ea"/>
                <a:cs typeface="+mn-cs"/>
              </a:rPr>
              <a:t>1.5</a:t>
            </a:r>
          </a:p>
        </p:txBody>
      </p:sp>
      <p:cxnSp>
        <p:nvCxnSpPr>
          <p:cNvPr id="196" name="Straight Connector 195">
            <a:extLst>
              <a:ext uri="{FF2B5EF4-FFF2-40B4-BE49-F238E27FC236}">
                <a16:creationId xmlns:a16="http://schemas.microsoft.com/office/drawing/2014/main" id="{F6C84E6B-7224-4982-BBD8-BD8864B3201B}"/>
              </a:ext>
            </a:extLst>
          </p:cNvPr>
          <p:cNvCxnSpPr>
            <a:cxnSpLocks/>
          </p:cNvCxnSpPr>
          <p:nvPr/>
        </p:nvCxnSpPr>
        <p:spPr>
          <a:xfrm flipV="1">
            <a:off x="3513346" y="3747574"/>
            <a:ext cx="301470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5E85834-742A-4BB2-A670-B98527099056}"/>
              </a:ext>
            </a:extLst>
          </p:cNvPr>
          <p:cNvCxnSpPr/>
          <p:nvPr/>
        </p:nvCxnSpPr>
        <p:spPr>
          <a:xfrm>
            <a:off x="3939545" y="3748737"/>
            <a:ext cx="0" cy="914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AD46A65-F77A-47A8-817B-2BBB008742D5}"/>
              </a:ext>
            </a:extLst>
          </p:cNvPr>
          <p:cNvCxnSpPr/>
          <p:nvPr/>
        </p:nvCxnSpPr>
        <p:spPr>
          <a:xfrm>
            <a:off x="5717045" y="3748737"/>
            <a:ext cx="0" cy="914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F84F6404-26A0-4C45-BD6A-0C4162917BBF}"/>
              </a:ext>
            </a:extLst>
          </p:cNvPr>
          <p:cNvCxnSpPr/>
          <p:nvPr/>
        </p:nvCxnSpPr>
        <p:spPr>
          <a:xfrm>
            <a:off x="5025044" y="3748737"/>
            <a:ext cx="0" cy="914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7BA7ABA-3ED5-4526-8D99-D673C6512D58}"/>
              </a:ext>
            </a:extLst>
          </p:cNvPr>
          <p:cNvSpPr/>
          <p:nvPr/>
        </p:nvSpPr>
        <p:spPr>
          <a:xfrm>
            <a:off x="592781" y="5157192"/>
            <a:ext cx="9928034" cy="615430"/>
          </a:xfrm>
          <a:prstGeom prst="rect">
            <a:avLst/>
          </a:prstGeom>
          <a:solidFill>
            <a:schemeClr val="accent1"/>
          </a:solidFill>
          <a:ln w="12700">
            <a:noFill/>
          </a:ln>
          <a:effectLst>
            <a:outerShdw blurRad="50800" dist="38100" dir="8100000" algn="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rtlCol="0" anchor="t">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The effect of vericiguat across the prespecified subgroup defined by the index event </a:t>
            </a:r>
            <a:br>
              <a:rPr kumimoji="0" lang="en-GB" sz="1600" b="1" i="0" u="none" strike="noStrike" kern="1200" cap="none" spc="0" normalizeH="0" baseline="0" noProof="0" dirty="0">
                <a:ln>
                  <a:noFill/>
                </a:ln>
                <a:solidFill>
                  <a:srgbClr val="FFFFFF"/>
                </a:solidFill>
                <a:effectLst/>
                <a:uLnTx/>
                <a:uFillTx/>
                <a:latin typeface="Arial"/>
                <a:ea typeface="+mn-ea"/>
                <a:cs typeface="+mn-cs"/>
              </a:rPr>
            </a:br>
            <a:r>
              <a:rPr kumimoji="0" lang="en-GB" sz="1600" b="1" i="0" u="none" strike="noStrike" kern="1200" cap="none" spc="0" normalizeH="0" baseline="0" noProof="0" dirty="0">
                <a:ln>
                  <a:noFill/>
                </a:ln>
                <a:solidFill>
                  <a:srgbClr val="FFFFFF"/>
                </a:solidFill>
                <a:effectLst/>
                <a:uLnTx/>
                <a:uFillTx/>
                <a:latin typeface="Arial"/>
                <a:ea typeface="+mn-ea"/>
                <a:cs typeface="+mn-cs"/>
              </a:rPr>
              <a:t>indicates a generally consistent treatment effect</a:t>
            </a:r>
          </a:p>
        </p:txBody>
      </p:sp>
      <p:sp>
        <p:nvSpPr>
          <p:cNvPr id="4" name="Footer Placeholder 3">
            <a:extLst>
              <a:ext uri="{FF2B5EF4-FFF2-40B4-BE49-F238E27FC236}">
                <a16:creationId xmlns:a16="http://schemas.microsoft.com/office/drawing/2014/main" id="{29ABE727-3FCF-45CB-B9FA-5D6409A1A3B4}"/>
              </a:ext>
            </a:extLst>
          </p:cNvPr>
          <p:cNvSpPr>
            <a:spLocks noGrp="1"/>
          </p:cNvSpPr>
          <p:nvPr>
            <p:ph type="ftr" sz="quarter" idx="17"/>
          </p:nvPr>
        </p:nvSpPr>
        <p:spPr>
          <a:xfrm>
            <a:off x="600073" y="6030000"/>
            <a:ext cx="9925051" cy="365125"/>
          </a:xfrm>
        </p:spPr>
        <p:txBody>
          <a:bodyPr/>
          <a:lstStyle/>
          <a:p>
            <a:pPr marL="0" marR="0" lvl="0" indent="0" algn="l" defTabSz="914400" rtl="0" eaLnBrk="1" fontAlgn="auto" latinLnBrk="0" hangingPunct="1">
              <a:lnSpc>
                <a:spcPct val="80000"/>
              </a:lnSpc>
              <a:spcBef>
                <a:spcPts val="200"/>
              </a:spcBef>
              <a:spcAft>
                <a:spcPts val="0"/>
              </a:spcAft>
              <a:buClrTx/>
              <a:buSzTx/>
              <a:buFontTx/>
              <a:buNone/>
              <a:tabLst/>
              <a:defRPr/>
            </a:pPr>
            <a:endPar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pt-BR" sz="800" b="0" i="0" u="none" strike="noStrike" kern="1200" cap="none" spc="0" normalizeH="0" baseline="0" noProof="0" dirty="0">
                <a:ln>
                  <a:noFill/>
                </a:ln>
                <a:solidFill>
                  <a:srgbClr val="000000"/>
                </a:solidFill>
                <a:effectLst/>
                <a:uLnTx/>
                <a:uFillTx/>
                <a:latin typeface="Arial"/>
                <a:ea typeface="+mn-ea"/>
                <a:cs typeface="+mn-cs"/>
              </a:rPr>
              <a:t>Vericiguat=2,526; placebo=2,524.</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 Primary outcome was a composite of death from CV causes or first heart failure hospitalization.</a:t>
            </a:r>
            <a:endPar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CI, confidence interval; CV, cardiovascular; IV, intravenous.</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S PGothic" charset="0"/>
                <a:cs typeface="+mn-cs"/>
              </a:rPr>
              <a:t>Reference: 1. </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Armstrong PW </a:t>
            </a:r>
            <a:r>
              <a:rPr kumimoji="0" lang="da-DK" sz="800" b="0" i="1" u="none" strike="noStrike" kern="1200" cap="none" spc="0" normalizeH="0" baseline="0" noProof="0" dirty="0">
                <a:ln>
                  <a:noFill/>
                </a:ln>
                <a:solidFill>
                  <a:srgbClr val="000000"/>
                </a:solidFill>
                <a:effectLst/>
                <a:uLnTx/>
                <a:uFillTx/>
                <a:latin typeface="Arial" panose="020B0604020202020204"/>
                <a:ea typeface="+mn-ea"/>
                <a:cs typeface="+mn-cs"/>
              </a:rPr>
              <a:t>et al. N Engl J Med</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 2020;382:1883–1893.</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37244188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71D7CAA6-CF61-4D46-BB04-65145D3915D4}"/>
              </a:ext>
            </a:extLst>
          </p:cNvPr>
          <p:cNvSpPr txBox="1"/>
          <p:nvPr/>
        </p:nvSpPr>
        <p:spPr>
          <a:xfrm>
            <a:off x="6225163" y="1586666"/>
            <a:ext cx="4227321" cy="3966570"/>
          </a:xfrm>
          <a:prstGeom prst="rect">
            <a:avLst/>
          </a:prstGeom>
          <a:solidFill>
            <a:schemeClr val="bg1"/>
          </a:solidFill>
          <a:ln w="28575">
            <a:solidFill>
              <a:schemeClr val="accent4"/>
            </a:solidFill>
          </a:ln>
        </p:spPr>
        <p:txBody>
          <a:bodyPr wrap="square" lIns="91440" tIns="45720" rIns="91440" bIns="45720" rtlCol="0" anchor="t">
            <a:noAutofit/>
          </a:bodyPr>
          <a:lstStyle/>
          <a:p>
            <a:pPr marL="503555" marR="0" lvl="0" indent="0" algn="ctr" defTabSz="914400" rtl="0" eaLnBrk="1" fontAlgn="auto" latinLnBrk="0" hangingPunct="1">
              <a:lnSpc>
                <a:spcPct val="100000"/>
              </a:lnSpc>
              <a:spcBef>
                <a:spcPts val="600"/>
              </a:spcBef>
              <a:spcAft>
                <a:spcPts val="600"/>
              </a:spcAft>
              <a:buClr>
                <a:srgbClr val="FA9992"/>
              </a:buClr>
              <a:buSzTx/>
              <a:buFontTx/>
              <a:buNone/>
              <a:tabLst/>
              <a:defRPr/>
            </a:pPr>
            <a:endPar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B52738CA-8205-4545-B8D6-5B605D204E72}"/>
              </a:ext>
            </a:extLst>
          </p:cNvPr>
          <p:cNvSpPr>
            <a:spLocks noGrp="1"/>
          </p:cNvSpPr>
          <p:nvPr>
            <p:ph type="title"/>
          </p:nvPr>
        </p:nvSpPr>
        <p:spPr/>
        <p:txBody>
          <a:bodyPr/>
          <a:lstStyle/>
          <a:p>
            <a:r>
              <a:rPr lang="en-GB" dirty="0"/>
              <a:t>Vericiguat can be initiated in various scenarios following a decompensation event</a:t>
            </a:r>
            <a:r>
              <a:rPr lang="en-GB" baseline="30000" dirty="0"/>
              <a:t>1</a:t>
            </a:r>
            <a:r>
              <a:rPr lang="en-US" baseline="30000" dirty="0"/>
              <a:t>–4</a:t>
            </a:r>
            <a:endParaRPr lang="en-GB" baseline="30000" dirty="0"/>
          </a:p>
        </p:txBody>
      </p:sp>
      <p:sp>
        <p:nvSpPr>
          <p:cNvPr id="7" name="Slide Number Placeholder 6">
            <a:extLst>
              <a:ext uri="{FF2B5EF4-FFF2-40B4-BE49-F238E27FC236}">
                <a16:creationId xmlns:a16="http://schemas.microsoft.com/office/drawing/2014/main" id="{D9FABD58-747C-4AFE-9956-942C947207C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7B5C11A3-F6B2-47BA-8475-3D207BC1E3EB}"/>
              </a:ext>
            </a:extLst>
          </p:cNvPr>
          <p:cNvSpPr/>
          <p:nvPr/>
        </p:nvSpPr>
        <p:spPr>
          <a:xfrm rot="5400000">
            <a:off x="4317319" y="-2013789"/>
            <a:ext cx="3557356" cy="10554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C0CACB46-1A91-45DB-9F86-E9BE56F59937}"/>
              </a:ext>
            </a:extLst>
          </p:cNvPr>
          <p:cNvSpPr txBox="1"/>
          <p:nvPr/>
        </p:nvSpPr>
        <p:spPr>
          <a:xfrm>
            <a:off x="1097532" y="1586664"/>
            <a:ext cx="5015013" cy="3966571"/>
          </a:xfrm>
          <a:prstGeom prst="rect">
            <a:avLst/>
          </a:prstGeom>
          <a:solidFill>
            <a:schemeClr val="bg1"/>
          </a:solidFill>
          <a:ln w="28575">
            <a:solidFill>
              <a:schemeClr val="accent4"/>
            </a:solidFill>
          </a:ln>
        </p:spPr>
        <p:txBody>
          <a:bodyPr wrap="square" lIns="91440" tIns="45720" rIns="91440" bIns="45720" rtlCol="0" anchor="t">
            <a:noAutofit/>
          </a:bodyPr>
          <a:lstStyle/>
          <a:p>
            <a:pPr marL="503555" marR="0" lvl="0" indent="0" algn="ctr" defTabSz="914400" rtl="0" eaLnBrk="1" fontAlgn="auto" latinLnBrk="0" hangingPunct="1">
              <a:lnSpc>
                <a:spcPct val="100000"/>
              </a:lnSpc>
              <a:spcBef>
                <a:spcPts val="600"/>
              </a:spcBef>
              <a:spcAft>
                <a:spcPts val="600"/>
              </a:spcAft>
              <a:buClr>
                <a:srgbClr val="FA9992"/>
              </a:buClr>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Vericiguat can be initiated at any time following a decompensation event*</a:t>
            </a:r>
            <a:r>
              <a:rPr kumimoji="0" lang="en-US" sz="1800" b="1" i="0" u="none" strike="noStrike" kern="1200" cap="none" spc="0" normalizeH="0" baseline="30000" noProof="0" dirty="0">
                <a:ln>
                  <a:noFill/>
                </a:ln>
                <a:solidFill>
                  <a:srgbClr val="000000"/>
                </a:solidFill>
                <a:effectLst/>
                <a:uLnTx/>
                <a:uFillTx/>
                <a:latin typeface="Arial" panose="020B0604020202020204"/>
                <a:ea typeface="+mn-ea"/>
                <a:cs typeface="+mn-cs"/>
              </a:rPr>
              <a:t>1,2</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792000" marR="0" lvl="3" indent="-285750" algn="l" defTabSz="914400" rtl="0" eaLnBrk="1" fontAlgn="auto" latinLnBrk="0" hangingPunct="1">
              <a:lnSpc>
                <a:spcPct val="100000"/>
              </a:lnSpc>
              <a:spcBef>
                <a:spcPts val="600"/>
              </a:spcBef>
              <a:spcAft>
                <a:spcPts val="600"/>
              </a:spcAft>
              <a:buClr>
                <a:srgbClr val="4F256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Patients should have </a:t>
            </a:r>
            <a:r>
              <a:rPr kumimoji="0" lang="en-US" sz="1600" b="1" i="0" u="none" strike="noStrike" kern="1200" cap="none" spc="0" normalizeH="0" baseline="0" noProof="0" dirty="0">
                <a:ln>
                  <a:noFill/>
                </a:ln>
                <a:solidFill>
                  <a:srgbClr val="FC3B2D"/>
                </a:solidFill>
                <a:effectLst/>
                <a:uLnTx/>
                <a:uFillTx/>
                <a:latin typeface="Arial" panose="020B0604020202020204"/>
                <a:ea typeface="+mn-ea"/>
                <a:cs typeface="+mn-cs"/>
              </a:rPr>
              <a:t>stopped IV diuretics at least 24 hours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prior to initiation</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3</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792000" marR="0" lvl="3" indent="-285750" algn="l" defTabSz="914400" rtl="0" eaLnBrk="1" fontAlgn="auto" latinLnBrk="0" hangingPunct="1">
              <a:lnSpc>
                <a:spcPct val="100000"/>
              </a:lnSpc>
              <a:spcBef>
                <a:spcPts val="600"/>
              </a:spcBef>
              <a:spcAft>
                <a:spcPts val="600"/>
              </a:spcAft>
              <a:buClr>
                <a:srgbClr val="4F256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Patients with very high NT-proBNP may not be fully stabilized and </a:t>
            </a:r>
            <a:r>
              <a:rPr kumimoji="0" lang="en-US" sz="1600" b="1" i="0" u="none" strike="noStrike" kern="1200" cap="none" spc="0" normalizeH="0" baseline="0" noProof="0" dirty="0">
                <a:ln>
                  <a:noFill/>
                </a:ln>
                <a:solidFill>
                  <a:srgbClr val="FC3B2D"/>
                </a:solidFill>
                <a:effectLst/>
                <a:uLnTx/>
                <a:uFillTx/>
                <a:latin typeface="Arial" panose="020B0604020202020204"/>
                <a:ea typeface="+mn-ea"/>
                <a:cs typeface="+mn-cs"/>
              </a:rPr>
              <a:t>may require further optimization of volume status and diuretic therapy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prior to initiation</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1</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792000" marR="0" lvl="3" indent="-285750" algn="l" defTabSz="914400" rtl="0" eaLnBrk="1" fontAlgn="auto" latinLnBrk="0" hangingPunct="1">
              <a:lnSpc>
                <a:spcPct val="100000"/>
              </a:lnSpc>
              <a:spcBef>
                <a:spcPts val="600"/>
              </a:spcBef>
              <a:spcAft>
                <a:spcPts val="600"/>
              </a:spcAft>
              <a:buClr>
                <a:srgbClr val="4F256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Ensure patients have </a:t>
            </a:r>
            <a:r>
              <a:rPr kumimoji="0" lang="en-US" sz="1600" b="1" i="0" u="none" strike="noStrike" kern="1200" cap="none" spc="0" normalizeH="0" baseline="0" noProof="0" dirty="0">
                <a:ln>
                  <a:noFill/>
                </a:ln>
                <a:solidFill>
                  <a:srgbClr val="FC3B2D"/>
                </a:solidFill>
                <a:effectLst/>
                <a:uLnTx/>
                <a:uFillTx/>
                <a:latin typeface="Arial" panose="020B0604020202020204"/>
                <a:ea typeface="+mn-ea"/>
                <a:cs typeface="+mn-cs"/>
              </a:rPr>
              <a:t>eGFR ≥15 ml/min/1.73 m</a:t>
            </a:r>
            <a:r>
              <a:rPr kumimoji="0" lang="en-US" sz="1600" b="1" i="0" u="none" strike="noStrike" kern="1200" cap="none" spc="0" normalizeH="0" baseline="30000" noProof="0" dirty="0">
                <a:ln>
                  <a:noFill/>
                </a:ln>
                <a:solidFill>
                  <a:srgbClr val="FC3B2D"/>
                </a:solidFill>
                <a:effectLst/>
                <a:uLnTx/>
                <a:uFillTx/>
                <a:latin typeface="Arial" panose="020B0604020202020204"/>
                <a:ea typeface="+mn-ea"/>
                <a:cs typeface="+mn-cs"/>
              </a:rPr>
              <a:t>2</a:t>
            </a:r>
            <a:r>
              <a:rPr kumimoji="0" lang="en-US" sz="1600" b="1" i="0" u="none" strike="noStrike" kern="1200" cap="none" spc="0" normalizeH="0" baseline="0" noProof="0" dirty="0">
                <a:ln>
                  <a:noFill/>
                </a:ln>
                <a:solidFill>
                  <a:srgbClr val="FC3B2D"/>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nd</a:t>
            </a:r>
            <a:r>
              <a:rPr kumimoji="0" lang="en-US" sz="1600" b="1" i="0" u="none" strike="noStrike" kern="1200" cap="none" spc="0" normalizeH="0" baseline="0" noProof="0" dirty="0">
                <a:ln>
                  <a:noFill/>
                </a:ln>
                <a:solidFill>
                  <a:srgbClr val="FC3B2D"/>
                </a:solidFill>
                <a:effectLst/>
                <a:uLnTx/>
                <a:uFillTx/>
                <a:latin typeface="Arial" panose="020B0604020202020204"/>
                <a:ea typeface="+mn-ea"/>
                <a:cs typeface="+mn-cs"/>
              </a:rPr>
              <a:t> SBP ≥100 mmHg</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1–4</a:t>
            </a:r>
            <a:endParaRPr kumimoji="0" lang="en-GB" sz="1600" b="0" i="0" u="none" strike="noStrike" kern="1200" cap="none" spc="0" normalizeH="0" baseline="30000" noProof="0" dirty="0">
              <a:ln>
                <a:noFill/>
              </a:ln>
              <a:solidFill>
                <a:srgbClr val="000000"/>
              </a:solidFill>
              <a:effectLst/>
              <a:uLnTx/>
              <a:uFillTx/>
              <a:latin typeface="Arial" panose="020B0604020202020204"/>
              <a:ea typeface="+mn-ea"/>
              <a:cs typeface="Arial"/>
            </a:endParaRPr>
          </a:p>
          <a:p>
            <a:pPr marL="792000" marR="0" lvl="3" indent="-285750" algn="l" defTabSz="914400" rtl="0" eaLnBrk="1" fontAlgn="auto" latinLnBrk="0" hangingPunct="1">
              <a:lnSpc>
                <a:spcPct val="100000"/>
              </a:lnSpc>
              <a:spcBef>
                <a:spcPts val="600"/>
              </a:spcBef>
              <a:spcAft>
                <a:spcPts val="600"/>
              </a:spcAft>
              <a:buClr>
                <a:srgbClr val="4F256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Other heart failure therapies can continue (e.g. triple therapy)</a:t>
            </a:r>
            <a:r>
              <a:rPr kumimoji="0" lang="en-US" sz="1600" b="0" i="0" u="none" strike="noStrike" kern="1200" cap="none" spc="0" normalizeH="0" baseline="30000" noProof="0" dirty="0">
                <a:ln>
                  <a:noFill/>
                </a:ln>
                <a:solidFill>
                  <a:srgbClr val="000000"/>
                </a:solidFill>
                <a:effectLst/>
                <a:uLnTx/>
                <a:uFillTx/>
                <a:latin typeface="Arial" panose="020B0604020202020204"/>
                <a:ea typeface="+mn-ea"/>
                <a:cs typeface="+mn-cs"/>
              </a:rPr>
              <a:t>1−4</a:t>
            </a:r>
          </a:p>
        </p:txBody>
      </p:sp>
      <p:sp>
        <p:nvSpPr>
          <p:cNvPr id="13" name="Oval 12">
            <a:extLst>
              <a:ext uri="{FF2B5EF4-FFF2-40B4-BE49-F238E27FC236}">
                <a16:creationId xmlns:a16="http://schemas.microsoft.com/office/drawing/2014/main" id="{2011A5E1-36D6-4A5D-ACF6-5EC339BE9663}"/>
              </a:ext>
            </a:extLst>
          </p:cNvPr>
          <p:cNvSpPr/>
          <p:nvPr/>
        </p:nvSpPr>
        <p:spPr>
          <a:xfrm>
            <a:off x="593386" y="1381502"/>
            <a:ext cx="1008294" cy="982041"/>
          </a:xfrm>
          <a:prstGeom prst="ellipse">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grpSp>
        <p:nvGrpSpPr>
          <p:cNvPr id="14" name="Group 13">
            <a:extLst>
              <a:ext uri="{FF2B5EF4-FFF2-40B4-BE49-F238E27FC236}">
                <a16:creationId xmlns:a16="http://schemas.microsoft.com/office/drawing/2014/main" id="{BD624C2E-1526-4CB4-B4A4-4D1647520817}"/>
              </a:ext>
            </a:extLst>
          </p:cNvPr>
          <p:cNvGrpSpPr>
            <a:grpSpLocks noChangeAspect="1"/>
          </p:cNvGrpSpPr>
          <p:nvPr/>
        </p:nvGrpSpPr>
        <p:grpSpPr bwMode="gray">
          <a:xfrm>
            <a:off x="790370" y="1486525"/>
            <a:ext cx="543753" cy="730180"/>
            <a:chOff x="8699747" y="1861133"/>
            <a:chExt cx="380690" cy="511210"/>
          </a:xfrm>
          <a:solidFill>
            <a:schemeClr val="bg1"/>
          </a:solidFill>
        </p:grpSpPr>
        <p:sp>
          <p:nvSpPr>
            <p:cNvPr id="15" name="Freeform 51">
              <a:extLst>
                <a:ext uri="{FF2B5EF4-FFF2-40B4-BE49-F238E27FC236}">
                  <a16:creationId xmlns:a16="http://schemas.microsoft.com/office/drawing/2014/main" id="{B3E74873-A366-436D-9EAF-55FB1C620C2C}"/>
                </a:ext>
              </a:extLst>
            </p:cNvPr>
            <p:cNvSpPr>
              <a:spLocks noEditPoints="1"/>
            </p:cNvSpPr>
            <p:nvPr/>
          </p:nvSpPr>
          <p:spPr bwMode="gray">
            <a:xfrm>
              <a:off x="8813460" y="1861133"/>
              <a:ext cx="203694" cy="187872"/>
            </a:xfrm>
            <a:custGeom>
              <a:avLst/>
              <a:gdLst>
                <a:gd name="T0" fmla="*/ 58 w 77"/>
                <a:gd name="T1" fmla="*/ 10 h 71"/>
                <a:gd name="T2" fmla="*/ 46 w 77"/>
                <a:gd name="T3" fmla="*/ 23 h 71"/>
                <a:gd name="T4" fmla="*/ 49 w 77"/>
                <a:gd name="T5" fmla="*/ 5 h 71"/>
                <a:gd name="T6" fmla="*/ 29 w 77"/>
                <a:gd name="T7" fmla="*/ 6 h 71"/>
                <a:gd name="T8" fmla="*/ 27 w 77"/>
                <a:gd name="T9" fmla="*/ 24 h 71"/>
                <a:gd name="T10" fmla="*/ 18 w 77"/>
                <a:gd name="T11" fmla="*/ 7 h 71"/>
                <a:gd name="T12" fmla="*/ 3 w 77"/>
                <a:gd name="T13" fmla="*/ 21 h 71"/>
                <a:gd name="T14" fmla="*/ 12 w 77"/>
                <a:gd name="T15" fmla="*/ 32 h 71"/>
                <a:gd name="T16" fmla="*/ 1 w 77"/>
                <a:gd name="T17" fmla="*/ 61 h 71"/>
                <a:gd name="T18" fmla="*/ 31 w 77"/>
                <a:gd name="T19" fmla="*/ 71 h 71"/>
                <a:gd name="T20" fmla="*/ 36 w 77"/>
                <a:gd name="T21" fmla="*/ 51 h 71"/>
                <a:gd name="T22" fmla="*/ 60 w 77"/>
                <a:gd name="T23" fmla="*/ 38 h 71"/>
                <a:gd name="T24" fmla="*/ 58 w 77"/>
                <a:gd name="T25" fmla="*/ 35 h 71"/>
                <a:gd name="T26" fmla="*/ 74 w 77"/>
                <a:gd name="T27" fmla="*/ 22 h 71"/>
                <a:gd name="T28" fmla="*/ 58 w 77"/>
                <a:gd name="T29" fmla="*/ 10 h 71"/>
                <a:gd name="T30" fmla="*/ 46 w 77"/>
                <a:gd name="T31" fmla="*/ 7 h 71"/>
                <a:gd name="T32" fmla="*/ 32 w 77"/>
                <a:gd name="T33" fmla="*/ 7 h 71"/>
                <a:gd name="T34" fmla="*/ 46 w 77"/>
                <a:gd name="T35" fmla="*/ 7 h 71"/>
                <a:gd name="T36" fmla="*/ 6 w 77"/>
                <a:gd name="T37" fmla="*/ 20 h 71"/>
                <a:gd name="T38" fmla="*/ 18 w 77"/>
                <a:gd name="T39" fmla="*/ 11 h 71"/>
                <a:gd name="T40" fmla="*/ 6 w 77"/>
                <a:gd name="T41" fmla="*/ 20 h 71"/>
                <a:gd name="T42" fmla="*/ 71 w 77"/>
                <a:gd name="T43" fmla="*/ 22 h 71"/>
                <a:gd name="T44" fmla="*/ 60 w 77"/>
                <a:gd name="T45" fmla="*/ 13 h 71"/>
                <a:gd name="T46" fmla="*/ 71 w 77"/>
                <a:gd name="T4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1">
                  <a:moveTo>
                    <a:pt x="58" y="10"/>
                  </a:moveTo>
                  <a:cubicBezTo>
                    <a:pt x="54" y="16"/>
                    <a:pt x="50" y="20"/>
                    <a:pt x="46" y="23"/>
                  </a:cubicBezTo>
                  <a:cubicBezTo>
                    <a:pt x="48" y="17"/>
                    <a:pt x="49" y="11"/>
                    <a:pt x="49" y="5"/>
                  </a:cubicBezTo>
                  <a:cubicBezTo>
                    <a:pt x="49" y="0"/>
                    <a:pt x="29" y="0"/>
                    <a:pt x="29" y="6"/>
                  </a:cubicBezTo>
                  <a:cubicBezTo>
                    <a:pt x="29" y="13"/>
                    <a:pt x="29" y="18"/>
                    <a:pt x="27" y="24"/>
                  </a:cubicBezTo>
                  <a:cubicBezTo>
                    <a:pt x="25" y="17"/>
                    <a:pt x="22" y="12"/>
                    <a:pt x="18" y="7"/>
                  </a:cubicBezTo>
                  <a:cubicBezTo>
                    <a:pt x="15" y="3"/>
                    <a:pt x="0" y="17"/>
                    <a:pt x="3" y="21"/>
                  </a:cubicBezTo>
                  <a:cubicBezTo>
                    <a:pt x="7" y="25"/>
                    <a:pt x="10" y="28"/>
                    <a:pt x="12" y="32"/>
                  </a:cubicBezTo>
                  <a:cubicBezTo>
                    <a:pt x="4" y="39"/>
                    <a:pt x="0" y="49"/>
                    <a:pt x="1" y="61"/>
                  </a:cubicBezTo>
                  <a:cubicBezTo>
                    <a:pt x="11" y="59"/>
                    <a:pt x="21" y="58"/>
                    <a:pt x="31" y="71"/>
                  </a:cubicBezTo>
                  <a:cubicBezTo>
                    <a:pt x="26" y="58"/>
                    <a:pt x="30" y="51"/>
                    <a:pt x="36" y="51"/>
                  </a:cubicBezTo>
                  <a:cubicBezTo>
                    <a:pt x="41" y="47"/>
                    <a:pt x="48" y="43"/>
                    <a:pt x="60" y="38"/>
                  </a:cubicBezTo>
                  <a:cubicBezTo>
                    <a:pt x="60" y="37"/>
                    <a:pt x="59" y="36"/>
                    <a:pt x="58" y="35"/>
                  </a:cubicBezTo>
                  <a:cubicBezTo>
                    <a:pt x="65" y="32"/>
                    <a:pt x="70" y="28"/>
                    <a:pt x="74" y="22"/>
                  </a:cubicBezTo>
                  <a:cubicBezTo>
                    <a:pt x="77" y="18"/>
                    <a:pt x="61" y="6"/>
                    <a:pt x="58" y="10"/>
                  </a:cubicBezTo>
                  <a:close/>
                  <a:moveTo>
                    <a:pt x="46" y="7"/>
                  </a:moveTo>
                  <a:cubicBezTo>
                    <a:pt x="46" y="11"/>
                    <a:pt x="32" y="11"/>
                    <a:pt x="32" y="7"/>
                  </a:cubicBezTo>
                  <a:cubicBezTo>
                    <a:pt x="32" y="4"/>
                    <a:pt x="46" y="2"/>
                    <a:pt x="46" y="7"/>
                  </a:cubicBezTo>
                  <a:close/>
                  <a:moveTo>
                    <a:pt x="6" y="20"/>
                  </a:moveTo>
                  <a:cubicBezTo>
                    <a:pt x="4" y="18"/>
                    <a:pt x="14" y="7"/>
                    <a:pt x="18" y="11"/>
                  </a:cubicBezTo>
                  <a:cubicBezTo>
                    <a:pt x="20" y="14"/>
                    <a:pt x="9" y="23"/>
                    <a:pt x="6" y="20"/>
                  </a:cubicBezTo>
                  <a:close/>
                  <a:moveTo>
                    <a:pt x="71" y="22"/>
                  </a:moveTo>
                  <a:cubicBezTo>
                    <a:pt x="68" y="25"/>
                    <a:pt x="58" y="16"/>
                    <a:pt x="60" y="13"/>
                  </a:cubicBezTo>
                  <a:cubicBezTo>
                    <a:pt x="61" y="10"/>
                    <a:pt x="73" y="18"/>
                    <a:pt x="71" y="22"/>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6" name="Freeform 52">
              <a:extLst>
                <a:ext uri="{FF2B5EF4-FFF2-40B4-BE49-F238E27FC236}">
                  <a16:creationId xmlns:a16="http://schemas.microsoft.com/office/drawing/2014/main" id="{CAF238B4-8F8A-4164-8659-59BE5FED9626}"/>
                </a:ext>
              </a:extLst>
            </p:cNvPr>
            <p:cNvSpPr>
              <a:spLocks/>
            </p:cNvSpPr>
            <p:nvPr/>
          </p:nvSpPr>
          <p:spPr bwMode="gray">
            <a:xfrm>
              <a:off x="8699747" y="1951114"/>
              <a:ext cx="53395" cy="58340"/>
            </a:xfrm>
            <a:custGeom>
              <a:avLst/>
              <a:gdLst>
                <a:gd name="T0" fmla="*/ 19 w 20"/>
                <a:gd name="T1" fmla="*/ 1 h 22"/>
                <a:gd name="T2" fmla="*/ 6 w 20"/>
                <a:gd name="T3" fmla="*/ 0 h 22"/>
                <a:gd name="T4" fmla="*/ 6 w 20"/>
                <a:gd name="T5" fmla="*/ 21 h 22"/>
                <a:gd name="T6" fmla="*/ 20 w 20"/>
                <a:gd name="T7" fmla="*/ 22 h 22"/>
                <a:gd name="T8" fmla="*/ 19 w 20"/>
                <a:gd name="T9" fmla="*/ 1 h 22"/>
              </a:gdLst>
              <a:ahLst/>
              <a:cxnLst>
                <a:cxn ang="0">
                  <a:pos x="T0" y="T1"/>
                </a:cxn>
                <a:cxn ang="0">
                  <a:pos x="T2" y="T3"/>
                </a:cxn>
                <a:cxn ang="0">
                  <a:pos x="T4" y="T5"/>
                </a:cxn>
                <a:cxn ang="0">
                  <a:pos x="T6" y="T7"/>
                </a:cxn>
                <a:cxn ang="0">
                  <a:pos x="T8" y="T9"/>
                </a:cxn>
              </a:cxnLst>
              <a:rect l="0" t="0" r="r" b="b"/>
              <a:pathLst>
                <a:path w="20" h="22">
                  <a:moveTo>
                    <a:pt x="19" y="1"/>
                  </a:moveTo>
                  <a:cubicBezTo>
                    <a:pt x="19" y="1"/>
                    <a:pt x="10" y="0"/>
                    <a:pt x="6" y="0"/>
                  </a:cubicBezTo>
                  <a:cubicBezTo>
                    <a:pt x="2" y="0"/>
                    <a:pt x="0" y="20"/>
                    <a:pt x="6" y="21"/>
                  </a:cubicBezTo>
                  <a:cubicBezTo>
                    <a:pt x="12" y="21"/>
                    <a:pt x="20" y="22"/>
                    <a:pt x="20" y="22"/>
                  </a:cubicBezTo>
                  <a:lnTo>
                    <a:pt x="19" y="1"/>
                  </a:ln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7" name="Freeform 53">
              <a:extLst>
                <a:ext uri="{FF2B5EF4-FFF2-40B4-BE49-F238E27FC236}">
                  <a16:creationId xmlns:a16="http://schemas.microsoft.com/office/drawing/2014/main" id="{9D9559E6-F905-4EF5-9C65-E13FC78F27D1}"/>
                </a:ext>
              </a:extLst>
            </p:cNvPr>
            <p:cNvSpPr>
              <a:spLocks/>
            </p:cNvSpPr>
            <p:nvPr/>
          </p:nvSpPr>
          <p:spPr bwMode="gray">
            <a:xfrm>
              <a:off x="8734355" y="2020330"/>
              <a:ext cx="153265" cy="230391"/>
            </a:xfrm>
            <a:custGeom>
              <a:avLst/>
              <a:gdLst>
                <a:gd name="T0" fmla="*/ 53 w 58"/>
                <a:gd name="T1" fmla="*/ 11 h 87"/>
                <a:gd name="T2" fmla="*/ 14 w 58"/>
                <a:gd name="T3" fmla="*/ 17 h 87"/>
                <a:gd name="T4" fmla="*/ 1 w 58"/>
                <a:gd name="T5" fmla="*/ 64 h 87"/>
                <a:gd name="T6" fmla="*/ 15 w 58"/>
                <a:gd name="T7" fmla="*/ 69 h 87"/>
                <a:gd name="T8" fmla="*/ 31 w 58"/>
                <a:gd name="T9" fmla="*/ 40 h 87"/>
                <a:gd name="T10" fmla="*/ 53 w 58"/>
                <a:gd name="T11" fmla="*/ 11 h 87"/>
              </a:gdLst>
              <a:ahLst/>
              <a:cxnLst>
                <a:cxn ang="0">
                  <a:pos x="T0" y="T1"/>
                </a:cxn>
                <a:cxn ang="0">
                  <a:pos x="T2" y="T3"/>
                </a:cxn>
                <a:cxn ang="0">
                  <a:pos x="T4" y="T5"/>
                </a:cxn>
                <a:cxn ang="0">
                  <a:pos x="T6" y="T7"/>
                </a:cxn>
                <a:cxn ang="0">
                  <a:pos x="T8" y="T9"/>
                </a:cxn>
                <a:cxn ang="0">
                  <a:pos x="T10" y="T11"/>
                </a:cxn>
              </a:cxnLst>
              <a:rect l="0" t="0" r="r" b="b"/>
              <a:pathLst>
                <a:path w="58" h="87">
                  <a:moveTo>
                    <a:pt x="53" y="11"/>
                  </a:moveTo>
                  <a:cubicBezTo>
                    <a:pt x="49" y="5"/>
                    <a:pt x="37" y="0"/>
                    <a:pt x="14" y="17"/>
                  </a:cubicBezTo>
                  <a:cubicBezTo>
                    <a:pt x="1" y="27"/>
                    <a:pt x="1" y="42"/>
                    <a:pt x="1" y="64"/>
                  </a:cubicBezTo>
                  <a:cubicBezTo>
                    <a:pt x="0" y="85"/>
                    <a:pt x="15" y="87"/>
                    <a:pt x="15" y="69"/>
                  </a:cubicBezTo>
                  <a:cubicBezTo>
                    <a:pt x="24" y="64"/>
                    <a:pt x="31" y="40"/>
                    <a:pt x="31" y="40"/>
                  </a:cubicBezTo>
                  <a:cubicBezTo>
                    <a:pt x="44" y="39"/>
                    <a:pt x="58" y="17"/>
                    <a:pt x="53" y="11"/>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8" name="Freeform 54">
              <a:extLst>
                <a:ext uri="{FF2B5EF4-FFF2-40B4-BE49-F238E27FC236}">
                  <a16:creationId xmlns:a16="http://schemas.microsoft.com/office/drawing/2014/main" id="{58F6A55B-B46A-476F-98E3-C86F8D095AE2}"/>
                </a:ext>
              </a:extLst>
            </p:cNvPr>
            <p:cNvSpPr>
              <a:spLocks/>
            </p:cNvSpPr>
            <p:nvPr/>
          </p:nvSpPr>
          <p:spPr bwMode="gray">
            <a:xfrm>
              <a:off x="8761053" y="1887830"/>
              <a:ext cx="52407" cy="167108"/>
            </a:xfrm>
            <a:custGeom>
              <a:avLst/>
              <a:gdLst>
                <a:gd name="T0" fmla="*/ 8 w 20"/>
                <a:gd name="T1" fmla="*/ 58 h 63"/>
                <a:gd name="T2" fmla="*/ 17 w 20"/>
                <a:gd name="T3" fmla="*/ 54 h 63"/>
                <a:gd name="T4" fmla="*/ 20 w 20"/>
                <a:gd name="T5" fmla="*/ 28 h 63"/>
                <a:gd name="T6" fmla="*/ 19 w 20"/>
                <a:gd name="T7" fmla="*/ 5 h 63"/>
                <a:gd name="T8" fmla="*/ 0 w 20"/>
                <a:gd name="T9" fmla="*/ 7 h 63"/>
                <a:gd name="T10" fmla="*/ 2 w 20"/>
                <a:gd name="T11" fmla="*/ 63 h 63"/>
                <a:gd name="T12" fmla="*/ 8 w 20"/>
                <a:gd name="T13" fmla="*/ 58 h 63"/>
              </a:gdLst>
              <a:ahLst/>
              <a:cxnLst>
                <a:cxn ang="0">
                  <a:pos x="T0" y="T1"/>
                </a:cxn>
                <a:cxn ang="0">
                  <a:pos x="T2" y="T3"/>
                </a:cxn>
                <a:cxn ang="0">
                  <a:pos x="T4" y="T5"/>
                </a:cxn>
                <a:cxn ang="0">
                  <a:pos x="T6" y="T7"/>
                </a:cxn>
                <a:cxn ang="0">
                  <a:pos x="T8" y="T9"/>
                </a:cxn>
                <a:cxn ang="0">
                  <a:pos x="T10" y="T11"/>
                </a:cxn>
                <a:cxn ang="0">
                  <a:pos x="T12" y="T13"/>
                </a:cxn>
              </a:cxnLst>
              <a:rect l="0" t="0" r="r" b="b"/>
              <a:pathLst>
                <a:path w="20" h="63">
                  <a:moveTo>
                    <a:pt x="8" y="58"/>
                  </a:moveTo>
                  <a:cubicBezTo>
                    <a:pt x="12" y="56"/>
                    <a:pt x="14" y="55"/>
                    <a:pt x="17" y="54"/>
                  </a:cubicBezTo>
                  <a:cubicBezTo>
                    <a:pt x="16" y="47"/>
                    <a:pt x="16" y="37"/>
                    <a:pt x="20" y="28"/>
                  </a:cubicBezTo>
                  <a:cubicBezTo>
                    <a:pt x="19" y="17"/>
                    <a:pt x="19" y="7"/>
                    <a:pt x="19" y="5"/>
                  </a:cubicBezTo>
                  <a:cubicBezTo>
                    <a:pt x="19" y="1"/>
                    <a:pt x="1" y="0"/>
                    <a:pt x="0" y="7"/>
                  </a:cubicBezTo>
                  <a:cubicBezTo>
                    <a:pt x="0" y="12"/>
                    <a:pt x="1" y="45"/>
                    <a:pt x="2" y="63"/>
                  </a:cubicBezTo>
                  <a:cubicBezTo>
                    <a:pt x="4" y="61"/>
                    <a:pt x="6" y="59"/>
                    <a:pt x="8" y="5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19" name="Freeform 55">
              <a:extLst>
                <a:ext uri="{FF2B5EF4-FFF2-40B4-BE49-F238E27FC236}">
                  <a16:creationId xmlns:a16="http://schemas.microsoft.com/office/drawing/2014/main" id="{0A422F9A-C660-437C-AFF0-F9FC122CA221}"/>
                </a:ext>
              </a:extLst>
            </p:cNvPr>
            <p:cNvSpPr>
              <a:spLocks noEditPoints="1"/>
            </p:cNvSpPr>
            <p:nvPr/>
          </p:nvSpPr>
          <p:spPr bwMode="gray">
            <a:xfrm>
              <a:off x="8906407" y="1954080"/>
              <a:ext cx="174030" cy="118656"/>
            </a:xfrm>
            <a:custGeom>
              <a:avLst/>
              <a:gdLst>
                <a:gd name="T0" fmla="*/ 55 w 66"/>
                <a:gd name="T1" fmla="*/ 1 h 45"/>
                <a:gd name="T2" fmla="*/ 0 w 66"/>
                <a:gd name="T3" fmla="*/ 24 h 45"/>
                <a:gd name="T4" fmla="*/ 3 w 66"/>
                <a:gd name="T5" fmla="*/ 35 h 45"/>
                <a:gd name="T6" fmla="*/ 31 w 66"/>
                <a:gd name="T7" fmla="*/ 36 h 45"/>
                <a:gd name="T8" fmla="*/ 59 w 66"/>
                <a:gd name="T9" fmla="*/ 21 h 45"/>
                <a:gd name="T10" fmla="*/ 55 w 66"/>
                <a:gd name="T11" fmla="*/ 1 h 45"/>
                <a:gd name="T12" fmla="*/ 58 w 66"/>
                <a:gd name="T13" fmla="*/ 18 h 45"/>
                <a:gd name="T14" fmla="*/ 54 w 66"/>
                <a:gd name="T15" fmla="*/ 4 h 45"/>
                <a:gd name="T16" fmla="*/ 58 w 66"/>
                <a:gd name="T17"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55" y="1"/>
                  </a:moveTo>
                  <a:cubicBezTo>
                    <a:pt x="27" y="4"/>
                    <a:pt x="0" y="19"/>
                    <a:pt x="0" y="24"/>
                  </a:cubicBezTo>
                  <a:cubicBezTo>
                    <a:pt x="0" y="27"/>
                    <a:pt x="2" y="31"/>
                    <a:pt x="3" y="35"/>
                  </a:cubicBezTo>
                  <a:cubicBezTo>
                    <a:pt x="17" y="36"/>
                    <a:pt x="22" y="45"/>
                    <a:pt x="31" y="36"/>
                  </a:cubicBezTo>
                  <a:cubicBezTo>
                    <a:pt x="28" y="30"/>
                    <a:pt x="52" y="23"/>
                    <a:pt x="59" y="21"/>
                  </a:cubicBezTo>
                  <a:cubicBezTo>
                    <a:pt x="66" y="19"/>
                    <a:pt x="61" y="0"/>
                    <a:pt x="55" y="1"/>
                  </a:cubicBezTo>
                  <a:close/>
                  <a:moveTo>
                    <a:pt x="58" y="18"/>
                  </a:moveTo>
                  <a:cubicBezTo>
                    <a:pt x="54" y="19"/>
                    <a:pt x="50" y="5"/>
                    <a:pt x="54" y="4"/>
                  </a:cubicBezTo>
                  <a:cubicBezTo>
                    <a:pt x="57" y="3"/>
                    <a:pt x="62" y="16"/>
                    <a:pt x="58" y="18"/>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sp>
          <p:nvSpPr>
            <p:cNvPr id="20" name="Freeform 56">
              <a:extLst>
                <a:ext uri="{FF2B5EF4-FFF2-40B4-BE49-F238E27FC236}">
                  <a16:creationId xmlns:a16="http://schemas.microsoft.com/office/drawing/2014/main" id="{44BE2E79-DD8B-4666-A7BF-D03793F0E985}"/>
                </a:ext>
              </a:extLst>
            </p:cNvPr>
            <p:cNvSpPr>
              <a:spLocks/>
            </p:cNvSpPr>
            <p:nvPr/>
          </p:nvSpPr>
          <p:spPr bwMode="gray">
            <a:xfrm>
              <a:off x="8765997" y="2064826"/>
              <a:ext cx="298619" cy="307517"/>
            </a:xfrm>
            <a:custGeom>
              <a:avLst/>
              <a:gdLst>
                <a:gd name="T0" fmla="*/ 110 w 113"/>
                <a:gd name="T1" fmla="*/ 69 h 116"/>
                <a:gd name="T2" fmla="*/ 84 w 113"/>
                <a:gd name="T3" fmla="*/ 6 h 116"/>
                <a:gd name="T4" fmla="*/ 87 w 113"/>
                <a:gd name="T5" fmla="*/ 27 h 116"/>
                <a:gd name="T6" fmla="*/ 90 w 113"/>
                <a:gd name="T7" fmla="*/ 58 h 116"/>
                <a:gd name="T8" fmla="*/ 84 w 113"/>
                <a:gd name="T9" fmla="*/ 39 h 116"/>
                <a:gd name="T10" fmla="*/ 80 w 113"/>
                <a:gd name="T11" fmla="*/ 48 h 116"/>
                <a:gd name="T12" fmla="*/ 76 w 113"/>
                <a:gd name="T13" fmla="*/ 77 h 116"/>
                <a:gd name="T14" fmla="*/ 80 w 113"/>
                <a:gd name="T15" fmla="*/ 95 h 116"/>
                <a:gd name="T16" fmla="*/ 73 w 113"/>
                <a:gd name="T17" fmla="*/ 80 h 116"/>
                <a:gd name="T18" fmla="*/ 69 w 113"/>
                <a:gd name="T19" fmla="*/ 54 h 116"/>
                <a:gd name="T20" fmla="*/ 51 w 113"/>
                <a:gd name="T21" fmla="*/ 66 h 116"/>
                <a:gd name="T22" fmla="*/ 61 w 113"/>
                <a:gd name="T23" fmla="*/ 51 h 116"/>
                <a:gd name="T24" fmla="*/ 73 w 113"/>
                <a:gd name="T25" fmla="*/ 43 h 116"/>
                <a:gd name="T26" fmla="*/ 77 w 113"/>
                <a:gd name="T27" fmla="*/ 4 h 116"/>
                <a:gd name="T28" fmla="*/ 53 w 113"/>
                <a:gd name="T29" fmla="*/ 5 h 116"/>
                <a:gd name="T30" fmla="*/ 19 w 113"/>
                <a:gd name="T31" fmla="*/ 44 h 116"/>
                <a:gd name="T32" fmla="*/ 0 w 113"/>
                <a:gd name="T33" fmla="*/ 67 h 116"/>
                <a:gd name="T34" fmla="*/ 47 w 113"/>
                <a:gd name="T35" fmla="*/ 101 h 116"/>
                <a:gd name="T36" fmla="*/ 110 w 113"/>
                <a:gd name="T37" fmla="*/ 6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16">
                  <a:moveTo>
                    <a:pt x="110" y="69"/>
                  </a:moveTo>
                  <a:cubicBezTo>
                    <a:pt x="107" y="34"/>
                    <a:pt x="94" y="13"/>
                    <a:pt x="84" y="6"/>
                  </a:cubicBezTo>
                  <a:cubicBezTo>
                    <a:pt x="88" y="11"/>
                    <a:pt x="88" y="19"/>
                    <a:pt x="87" y="27"/>
                  </a:cubicBezTo>
                  <a:cubicBezTo>
                    <a:pt x="87" y="36"/>
                    <a:pt x="98" y="45"/>
                    <a:pt x="90" y="58"/>
                  </a:cubicBezTo>
                  <a:cubicBezTo>
                    <a:pt x="91" y="47"/>
                    <a:pt x="86" y="44"/>
                    <a:pt x="84" y="39"/>
                  </a:cubicBezTo>
                  <a:cubicBezTo>
                    <a:pt x="83" y="42"/>
                    <a:pt x="82" y="45"/>
                    <a:pt x="80" y="48"/>
                  </a:cubicBezTo>
                  <a:cubicBezTo>
                    <a:pt x="71" y="62"/>
                    <a:pt x="69" y="72"/>
                    <a:pt x="76" y="77"/>
                  </a:cubicBezTo>
                  <a:cubicBezTo>
                    <a:pt x="86" y="84"/>
                    <a:pt x="88" y="93"/>
                    <a:pt x="80" y="95"/>
                  </a:cubicBezTo>
                  <a:cubicBezTo>
                    <a:pt x="85" y="90"/>
                    <a:pt x="80" y="85"/>
                    <a:pt x="73" y="80"/>
                  </a:cubicBezTo>
                  <a:cubicBezTo>
                    <a:pt x="66" y="75"/>
                    <a:pt x="63" y="67"/>
                    <a:pt x="69" y="54"/>
                  </a:cubicBezTo>
                  <a:cubicBezTo>
                    <a:pt x="63" y="58"/>
                    <a:pt x="54" y="53"/>
                    <a:pt x="51" y="66"/>
                  </a:cubicBezTo>
                  <a:cubicBezTo>
                    <a:pt x="50" y="57"/>
                    <a:pt x="55" y="53"/>
                    <a:pt x="61" y="51"/>
                  </a:cubicBezTo>
                  <a:cubicBezTo>
                    <a:pt x="67" y="49"/>
                    <a:pt x="70" y="46"/>
                    <a:pt x="73" y="43"/>
                  </a:cubicBezTo>
                  <a:cubicBezTo>
                    <a:pt x="77" y="36"/>
                    <a:pt x="82" y="14"/>
                    <a:pt x="77" y="4"/>
                  </a:cubicBezTo>
                  <a:cubicBezTo>
                    <a:pt x="70" y="5"/>
                    <a:pt x="63" y="0"/>
                    <a:pt x="53" y="5"/>
                  </a:cubicBezTo>
                  <a:cubicBezTo>
                    <a:pt x="44" y="26"/>
                    <a:pt x="27" y="25"/>
                    <a:pt x="19" y="44"/>
                  </a:cubicBezTo>
                  <a:cubicBezTo>
                    <a:pt x="11" y="62"/>
                    <a:pt x="3" y="66"/>
                    <a:pt x="0" y="67"/>
                  </a:cubicBezTo>
                  <a:cubicBezTo>
                    <a:pt x="2" y="81"/>
                    <a:pt x="8" y="94"/>
                    <a:pt x="47" y="101"/>
                  </a:cubicBezTo>
                  <a:cubicBezTo>
                    <a:pt x="90" y="109"/>
                    <a:pt x="113" y="116"/>
                    <a:pt x="110" y="69"/>
                  </a:cubicBezTo>
                  <a:close/>
                </a:path>
              </a:pathLst>
            </a:custGeom>
            <a:grpFill/>
            <a:ln>
              <a:noFill/>
            </a:ln>
          </p:spPr>
          <p:txBody>
            <a:bodyPr vert="horz" wrap="square" lIns="91392" tIns="45696" rIns="91392" bIns="45696" numCol="1" anchor="t" anchorCtr="0" compatLnSpc="1">
              <a:prstTxWarp prst="textNoShape">
                <a:avLst/>
              </a:prstTxWarp>
            </a:bodyPr>
            <a:lstStyle/>
            <a:p>
              <a:pPr marL="0" marR="0" lvl="0" indent="0" algn="l" defTabSz="1214282" rtl="0" eaLnBrk="1" fontAlgn="auto" latinLnBrk="0" hangingPunct="1">
                <a:lnSpc>
                  <a:spcPct val="100000"/>
                </a:lnSpc>
                <a:spcBef>
                  <a:spcPts val="0"/>
                </a:spcBef>
                <a:spcAft>
                  <a:spcPts val="0"/>
                </a:spcAft>
                <a:buClrTx/>
                <a:buSzTx/>
                <a:buFontTx/>
                <a:buNone/>
                <a:tabLst/>
                <a:defRPr/>
              </a:pPr>
              <a:endParaRPr kumimoji="0" lang="en-GB" sz="1999" b="0" i="0" u="none" strike="noStrike" kern="0" cap="none" spc="0" normalizeH="0" baseline="0" noProof="0" dirty="0">
                <a:ln>
                  <a:noFill/>
                </a:ln>
                <a:solidFill>
                  <a:srgbClr val="4C5053"/>
                </a:solidFill>
                <a:effectLst/>
                <a:uLnTx/>
                <a:uFillTx/>
                <a:latin typeface="Arial" panose="020B0604020202020204"/>
                <a:ea typeface="MS PGothic" charset="0"/>
                <a:cs typeface="+mn-cs"/>
              </a:endParaRPr>
            </a:p>
          </p:txBody>
        </p:sp>
      </p:grpSp>
      <p:sp>
        <p:nvSpPr>
          <p:cNvPr id="2" name="TextBox 1">
            <a:extLst>
              <a:ext uri="{FF2B5EF4-FFF2-40B4-BE49-F238E27FC236}">
                <a16:creationId xmlns:a16="http://schemas.microsoft.com/office/drawing/2014/main" id="{B2771957-11B5-4EB6-892B-466AE2285A3B}"/>
              </a:ext>
            </a:extLst>
          </p:cNvPr>
          <p:cNvSpPr txBox="1"/>
          <p:nvPr/>
        </p:nvSpPr>
        <p:spPr>
          <a:xfrm>
            <a:off x="6380411" y="1661965"/>
            <a:ext cx="3850106" cy="384721"/>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000000"/>
                </a:solidFill>
                <a:effectLst/>
                <a:uLnTx/>
                <a:uFillTx/>
                <a:latin typeface="Arial" panose="020B0604020202020204"/>
                <a:ea typeface="+mn-ea"/>
                <a:cs typeface="+mn-cs"/>
              </a:rPr>
              <a:t>Points of initiation </a:t>
            </a:r>
          </a:p>
        </p:txBody>
      </p:sp>
      <p:grpSp>
        <p:nvGrpSpPr>
          <p:cNvPr id="3" name="Group 2">
            <a:extLst>
              <a:ext uri="{FF2B5EF4-FFF2-40B4-BE49-F238E27FC236}">
                <a16:creationId xmlns:a16="http://schemas.microsoft.com/office/drawing/2014/main" id="{33532238-7948-4857-A5CA-97C534FB6ECF}"/>
              </a:ext>
            </a:extLst>
          </p:cNvPr>
          <p:cNvGrpSpPr/>
          <p:nvPr/>
        </p:nvGrpSpPr>
        <p:grpSpPr>
          <a:xfrm>
            <a:off x="6376620" y="2141048"/>
            <a:ext cx="879131" cy="882162"/>
            <a:chOff x="7058612" y="1833907"/>
            <a:chExt cx="1008294" cy="1030872"/>
          </a:xfrm>
        </p:grpSpPr>
        <p:sp>
          <p:nvSpPr>
            <p:cNvPr id="22" name="Oval 21">
              <a:extLst>
                <a:ext uri="{FF2B5EF4-FFF2-40B4-BE49-F238E27FC236}">
                  <a16:creationId xmlns:a16="http://schemas.microsoft.com/office/drawing/2014/main" id="{E63B5DDF-2372-4E66-81BA-462F574217D2}"/>
                </a:ext>
              </a:extLst>
            </p:cNvPr>
            <p:cNvSpPr/>
            <p:nvPr/>
          </p:nvSpPr>
          <p:spPr>
            <a:xfrm>
              <a:off x="7058612" y="1833907"/>
              <a:ext cx="1008294" cy="1030872"/>
            </a:xfrm>
            <a:prstGeom prst="ellipse">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pic>
          <p:nvPicPr>
            <p:cNvPr id="6" name="Graphic 5" descr="Hospital with solid fill">
              <a:extLst>
                <a:ext uri="{FF2B5EF4-FFF2-40B4-BE49-F238E27FC236}">
                  <a16:creationId xmlns:a16="http://schemas.microsoft.com/office/drawing/2014/main" id="{86AD3E63-02B7-4634-A3D4-5B081FF121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67471" y="1921704"/>
              <a:ext cx="782918" cy="782918"/>
            </a:xfrm>
            <a:prstGeom prst="rect">
              <a:avLst/>
            </a:prstGeom>
          </p:spPr>
        </p:pic>
      </p:grpSp>
      <p:grpSp>
        <p:nvGrpSpPr>
          <p:cNvPr id="21" name="Group 20">
            <a:extLst>
              <a:ext uri="{FF2B5EF4-FFF2-40B4-BE49-F238E27FC236}">
                <a16:creationId xmlns:a16="http://schemas.microsoft.com/office/drawing/2014/main" id="{8E2B389E-EAFA-4DDC-9AF1-4A1756045B06}"/>
              </a:ext>
            </a:extLst>
          </p:cNvPr>
          <p:cNvGrpSpPr/>
          <p:nvPr/>
        </p:nvGrpSpPr>
        <p:grpSpPr>
          <a:xfrm>
            <a:off x="6376620" y="4594663"/>
            <a:ext cx="879131" cy="857844"/>
            <a:chOff x="7058612" y="4575199"/>
            <a:chExt cx="1008294" cy="1030872"/>
          </a:xfrm>
        </p:grpSpPr>
        <p:sp>
          <p:nvSpPr>
            <p:cNvPr id="23" name="Oval 22">
              <a:extLst>
                <a:ext uri="{FF2B5EF4-FFF2-40B4-BE49-F238E27FC236}">
                  <a16:creationId xmlns:a16="http://schemas.microsoft.com/office/drawing/2014/main" id="{C2DD85C2-15D6-4AA7-BF7E-4D75CA76581E}"/>
                </a:ext>
              </a:extLst>
            </p:cNvPr>
            <p:cNvSpPr/>
            <p:nvPr/>
          </p:nvSpPr>
          <p:spPr>
            <a:xfrm>
              <a:off x="7058612" y="4575199"/>
              <a:ext cx="1008294" cy="1030872"/>
            </a:xfrm>
            <a:prstGeom prst="ellipse">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pic>
          <p:nvPicPr>
            <p:cNvPr id="8" name="Graphic 7" descr="House with solid fill">
              <a:extLst>
                <a:ext uri="{FF2B5EF4-FFF2-40B4-BE49-F238E27FC236}">
                  <a16:creationId xmlns:a16="http://schemas.microsoft.com/office/drawing/2014/main" id="{5FEB12ED-52AA-4225-A837-E91FA12E25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87775" y="4705018"/>
              <a:ext cx="749968" cy="749968"/>
            </a:xfrm>
            <a:prstGeom prst="rect">
              <a:avLst/>
            </a:prstGeom>
          </p:spPr>
        </p:pic>
      </p:grpSp>
      <p:grpSp>
        <p:nvGrpSpPr>
          <p:cNvPr id="9" name="Group 8">
            <a:extLst>
              <a:ext uri="{FF2B5EF4-FFF2-40B4-BE49-F238E27FC236}">
                <a16:creationId xmlns:a16="http://schemas.microsoft.com/office/drawing/2014/main" id="{F069051C-1545-48C9-AC5E-2B0108DE1031}"/>
              </a:ext>
            </a:extLst>
          </p:cNvPr>
          <p:cNvGrpSpPr/>
          <p:nvPr/>
        </p:nvGrpSpPr>
        <p:grpSpPr>
          <a:xfrm>
            <a:off x="6376620" y="3380015"/>
            <a:ext cx="879131" cy="857844"/>
            <a:chOff x="7058612" y="3169522"/>
            <a:chExt cx="1008294" cy="1030872"/>
          </a:xfrm>
        </p:grpSpPr>
        <p:sp>
          <p:nvSpPr>
            <p:cNvPr id="24" name="Oval 23">
              <a:extLst>
                <a:ext uri="{FF2B5EF4-FFF2-40B4-BE49-F238E27FC236}">
                  <a16:creationId xmlns:a16="http://schemas.microsoft.com/office/drawing/2014/main" id="{2EDE82A2-A978-46E4-A2C2-8AFF23733043}"/>
                </a:ext>
              </a:extLst>
            </p:cNvPr>
            <p:cNvSpPr/>
            <p:nvPr/>
          </p:nvSpPr>
          <p:spPr>
            <a:xfrm>
              <a:off x="7058612" y="3169522"/>
              <a:ext cx="1008294" cy="1030872"/>
            </a:xfrm>
            <a:prstGeom prst="ellipse">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09402"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pic>
          <p:nvPicPr>
            <p:cNvPr id="10" name="Graphic 9" descr="Daily calendar with solid fill">
              <a:extLst>
                <a:ext uri="{FF2B5EF4-FFF2-40B4-BE49-F238E27FC236}">
                  <a16:creationId xmlns:a16="http://schemas.microsoft.com/office/drawing/2014/main" id="{FA6B463D-4E3E-4F75-916F-CD57C8AD13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87775" y="3293725"/>
              <a:ext cx="749968" cy="749968"/>
            </a:xfrm>
            <a:prstGeom prst="rect">
              <a:avLst/>
            </a:prstGeom>
          </p:spPr>
        </p:pic>
      </p:grpSp>
      <p:sp>
        <p:nvSpPr>
          <p:cNvPr id="12" name="TextBox 11">
            <a:extLst>
              <a:ext uri="{FF2B5EF4-FFF2-40B4-BE49-F238E27FC236}">
                <a16:creationId xmlns:a16="http://schemas.microsoft.com/office/drawing/2014/main" id="{29CCA631-2D25-453B-B334-B9DE8BAEEF89}"/>
              </a:ext>
            </a:extLst>
          </p:cNvPr>
          <p:cNvSpPr txBox="1"/>
          <p:nvPr/>
        </p:nvSpPr>
        <p:spPr>
          <a:xfrm>
            <a:off x="7350665" y="2292951"/>
            <a:ext cx="266977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C3B2D"/>
                </a:solidFill>
                <a:effectLst/>
                <a:uLnTx/>
                <a:uFillTx/>
                <a:latin typeface="Arial" panose="020B0604020202020204"/>
                <a:ea typeface="+mn-ea"/>
                <a:cs typeface="+mn-cs"/>
              </a:rPr>
              <a:t>In hospital</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 prior to or </a:t>
            </a:r>
            <a:b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at discharge</a:t>
            </a:r>
          </a:p>
        </p:txBody>
      </p:sp>
      <p:sp>
        <p:nvSpPr>
          <p:cNvPr id="26" name="TextBox 25">
            <a:extLst>
              <a:ext uri="{FF2B5EF4-FFF2-40B4-BE49-F238E27FC236}">
                <a16:creationId xmlns:a16="http://schemas.microsoft.com/office/drawing/2014/main" id="{D16239C9-AF42-4579-9826-19237BE31852}"/>
              </a:ext>
            </a:extLst>
          </p:cNvPr>
          <p:cNvSpPr txBox="1"/>
          <p:nvPr/>
        </p:nvSpPr>
        <p:spPr>
          <a:xfrm>
            <a:off x="7350665" y="3504535"/>
            <a:ext cx="229836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C3B2D"/>
                </a:solidFill>
                <a:effectLst/>
                <a:uLnTx/>
                <a:uFillTx/>
                <a:latin typeface="Arial" panose="020B0604020202020204"/>
                <a:ea typeface="+mn-ea"/>
                <a:cs typeface="+mn-cs"/>
              </a:rPr>
              <a:t>First follow-up </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appointment after HFH</a:t>
            </a:r>
          </a:p>
        </p:txBody>
      </p:sp>
      <p:sp>
        <p:nvSpPr>
          <p:cNvPr id="27" name="TextBox 26">
            <a:extLst>
              <a:ext uri="{FF2B5EF4-FFF2-40B4-BE49-F238E27FC236}">
                <a16:creationId xmlns:a16="http://schemas.microsoft.com/office/drawing/2014/main" id="{E468BF39-A106-4FC6-A0AC-D03EE5B47756}"/>
              </a:ext>
            </a:extLst>
          </p:cNvPr>
          <p:cNvSpPr txBox="1"/>
          <p:nvPr/>
        </p:nvSpPr>
        <p:spPr>
          <a:xfrm>
            <a:off x="7350665" y="4591352"/>
            <a:ext cx="247669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C3B2D"/>
                </a:solidFill>
                <a:effectLst/>
                <a:uLnTx/>
                <a:uFillTx/>
                <a:latin typeface="Arial" panose="020B0604020202020204"/>
                <a:ea typeface="+mn-ea"/>
                <a:cs typeface="+mn-cs"/>
              </a:rPr>
              <a:t>Outpatient setting </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following a requirement for IV diuretics</a:t>
            </a:r>
          </a:p>
        </p:txBody>
      </p:sp>
      <p:sp>
        <p:nvSpPr>
          <p:cNvPr id="28" name="Footer Placeholder 2">
            <a:extLst>
              <a:ext uri="{FF2B5EF4-FFF2-40B4-BE49-F238E27FC236}">
                <a16:creationId xmlns:a16="http://schemas.microsoft.com/office/drawing/2014/main" id="{FD997F5A-29B6-478A-9D2C-395A53C5E7F5}"/>
              </a:ext>
            </a:extLst>
          </p:cNvPr>
          <p:cNvSpPr>
            <a:spLocks noGrp="1"/>
          </p:cNvSpPr>
          <p:nvPr>
            <p:ph type="ftr" sz="quarter" idx="16"/>
          </p:nvPr>
        </p:nvSpPr>
        <p:spPr>
          <a:xfrm>
            <a:off x="600073" y="6029697"/>
            <a:ext cx="9925051" cy="365125"/>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For full information regarding contraindications and precautions related to vericiguat use, please refer to the relevant local Prescribing Information.</a:t>
            </a: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1,2</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eGFR, estimated glomerular filtration rate; HFH, heart failure hospitalization; IV, intravenous; NT-proBNP,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N-terminal pro-brain natriuretic peptide</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SBP, systolic blood pressure.</a:t>
            </a: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References:</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1.</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Bayer AG. Verquvo</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vericiguat) SmPC. 202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Link</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2.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Merck Sharp &amp; Dohme Corp</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VERQUVO™ (vericiguat) Highlights of PI. 202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hlinkClick r:id="rId10">
                  <a:extLst>
                    <a:ext uri="{A12FA001-AC4F-418D-AE19-62706E023703}">
                      <ahyp:hlinkClr xmlns:ahyp="http://schemas.microsoft.com/office/drawing/2018/hyperlinkcolor" val="tx"/>
                    </a:ext>
                  </a:extLst>
                </a:hlinkClick>
              </a:rPr>
              <a:t>Link</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3. </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Armstrong PW </a:t>
            </a:r>
            <a:r>
              <a:rPr kumimoji="0" lang="da-DK" sz="800" b="0" i="1" u="none" strike="noStrike" kern="1200" cap="none" spc="0" normalizeH="0" baseline="0" noProof="0" dirty="0">
                <a:ln>
                  <a:noFill/>
                </a:ln>
                <a:solidFill>
                  <a:srgbClr val="000000"/>
                </a:solidFill>
                <a:effectLst/>
                <a:uLnTx/>
                <a:uFillTx/>
                <a:latin typeface="Arial" panose="020B0604020202020204"/>
                <a:ea typeface="+mn-ea"/>
                <a:cs typeface="+mn-cs"/>
              </a:rPr>
              <a:t>et al. N Engl J Med</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 2020;382(</a:t>
            </a:r>
            <a:r>
              <a:rPr kumimoji="0" lang="en-GB" sz="800" b="0" i="0" u="none" strike="noStrike" kern="1200" cap="none" spc="0" normalizeH="0" baseline="0" noProof="0" dirty="0">
                <a:ln>
                  <a:noFill/>
                </a:ln>
                <a:solidFill>
                  <a:srgbClr val="000000"/>
                </a:solidFill>
                <a:effectLst/>
                <a:uLnTx/>
                <a:uFillTx/>
                <a:latin typeface="Arial"/>
                <a:ea typeface="+mn-ea"/>
                <a:cs typeface="+mn-cs"/>
              </a:rPr>
              <a:t>suppl 1–45</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1883–1893;</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 4. </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Armstrong PW </a:t>
            </a:r>
            <a:r>
              <a:rPr kumimoji="0" lang="da-DK" sz="800" b="0" i="1" u="none" strike="noStrike" kern="1200" cap="none" spc="0" normalizeH="0" baseline="0" noProof="0" dirty="0">
                <a:ln>
                  <a:noFill/>
                </a:ln>
                <a:solidFill>
                  <a:srgbClr val="000000"/>
                </a:solidFill>
                <a:effectLst/>
                <a:uLnTx/>
                <a:uFillTx/>
                <a:latin typeface="Arial" panose="020B0604020202020204"/>
                <a:ea typeface="+mn-ea"/>
                <a:cs typeface="+mn-cs"/>
              </a:rPr>
              <a:t>et al. N Engl J Med</a:t>
            </a:r>
            <a:r>
              <a:rPr kumimoji="0" lang="da-DK" sz="800" b="0" i="0" u="none" strike="noStrike" kern="1200" cap="none" spc="0" normalizeH="0" baseline="0" noProof="0" dirty="0">
                <a:ln>
                  <a:noFill/>
                </a:ln>
                <a:solidFill>
                  <a:srgbClr val="000000"/>
                </a:solidFill>
                <a:effectLst/>
                <a:uLnTx/>
                <a:uFillTx/>
                <a:latin typeface="Arial" panose="020B0604020202020204"/>
                <a:ea typeface="+mn-ea"/>
                <a:cs typeface="+mn-cs"/>
              </a:rPr>
              <a:t> 2020;382:1883–1893.</a:t>
            </a: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900849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600826" cy="1001168"/>
          </a:xfrm>
        </p:spPr>
        <p:txBody>
          <a:bodyPr/>
          <a:lstStyle/>
          <a:p>
            <a:br>
              <a:rPr lang="en-GB" dirty="0"/>
            </a:br>
            <a:r>
              <a:rPr lang="en-GB" dirty="0"/>
              <a:t>Dosages and monitoring requirements for vericiguat</a:t>
            </a:r>
          </a:p>
        </p:txBody>
      </p:sp>
      <p:sp>
        <p:nvSpPr>
          <p:cNvPr id="4" name="Slide Number Placeholder 3">
            <a:extLst>
              <a:ext uri="{FF2B5EF4-FFF2-40B4-BE49-F238E27FC236}">
                <a16:creationId xmlns:a16="http://schemas.microsoft.com/office/drawing/2014/main" id="{DF66F6EB-DFC7-4B89-8B67-395C947DD519}"/>
              </a:ext>
            </a:extLst>
          </p:cNvPr>
          <p:cNvSpPr>
            <a:spLocks noGrp="1"/>
          </p:cNvSpPr>
          <p:nvPr>
            <p:ph type="sldNum" sz="quarter" idx="4294967295"/>
          </p:nvPr>
        </p:nvSpPr>
        <p:spPr>
          <a:xfrm>
            <a:off x="11710988" y="6340475"/>
            <a:ext cx="4810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63658479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ADFED2-E6B1-4732-8453-92B46BEA77F6}"/>
              </a:ext>
            </a:extLst>
          </p:cNvPr>
          <p:cNvSpPr>
            <a:spLocks noGrp="1"/>
          </p:cNvSpPr>
          <p:nvPr>
            <p:ph sz="quarter" idx="13"/>
          </p:nvPr>
        </p:nvSpPr>
        <p:spPr/>
        <p:txBody>
          <a:bodyPr/>
          <a:lstStyle/>
          <a:p>
            <a:endParaRPr lang="en-US" dirty="0"/>
          </a:p>
        </p:txBody>
      </p:sp>
      <p:sp>
        <p:nvSpPr>
          <p:cNvPr id="3" name="Text Placeholder 2">
            <a:extLst>
              <a:ext uri="{FF2B5EF4-FFF2-40B4-BE49-F238E27FC236}">
                <a16:creationId xmlns:a16="http://schemas.microsoft.com/office/drawing/2014/main" id="{DA75343F-8089-4D66-83F9-E09C13D7AAB7}"/>
              </a:ext>
            </a:extLst>
          </p:cNvPr>
          <p:cNvSpPr>
            <a:spLocks noGrp="1"/>
          </p:cNvSpPr>
          <p:nvPr>
            <p:ph type="body" sz="quarter" idx="14"/>
          </p:nvPr>
        </p:nvSpPr>
        <p:spPr/>
        <p:txBody>
          <a:bodyPr/>
          <a:lstStyle/>
          <a:p>
            <a:r>
              <a:rPr lang="en-US" sz="1600" dirty="0"/>
              <a:t>Vericiguat is initiated at a dose of 2.5 mg od* and doubled approximately every 2 weeks to a target dose of 10 mg od*</a:t>
            </a:r>
            <a:r>
              <a:rPr lang="en-US" baseline="30000" dirty="0"/>
              <a:t>1</a:t>
            </a:r>
            <a:r>
              <a:rPr lang="en-US" baseline="30000" dirty="0">
                <a:cs typeface="Arial" panose="020B0604020202020204" pitchFamily="34" charset="0"/>
              </a:rPr>
              <a:t>,2</a:t>
            </a:r>
            <a:endParaRPr lang="en-US" sz="1600" baseline="30000" dirty="0"/>
          </a:p>
          <a:p>
            <a:endParaRPr lang="en-GB" dirty="0"/>
          </a:p>
        </p:txBody>
      </p:sp>
      <p:sp>
        <p:nvSpPr>
          <p:cNvPr id="7" name="Slide Number Placeholder 6">
            <a:extLst>
              <a:ext uri="{FF2B5EF4-FFF2-40B4-BE49-F238E27FC236}">
                <a16:creationId xmlns:a16="http://schemas.microsoft.com/office/drawing/2014/main" id="{FDFD8522-402C-4C47-BA9F-CBA80C88027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9C8ABDB7-292B-4C51-AA55-69540FB30DE3}"/>
              </a:ext>
            </a:extLst>
          </p:cNvPr>
          <p:cNvSpPr>
            <a:spLocks noGrp="1"/>
          </p:cNvSpPr>
          <p:nvPr>
            <p:ph type="title"/>
          </p:nvPr>
        </p:nvSpPr>
        <p:spPr/>
        <p:txBody>
          <a:bodyPr/>
          <a:lstStyle/>
          <a:p>
            <a:r>
              <a:rPr lang="en-US" dirty="0"/>
              <a:t>Vericiguat is a once-daily treatment</a:t>
            </a:r>
            <a:r>
              <a:rPr lang="en-US" b="1" baseline="30000" dirty="0"/>
              <a:t>1</a:t>
            </a:r>
            <a:r>
              <a:rPr lang="en-US" b="1" baseline="30000" dirty="0">
                <a:cs typeface="Arial" panose="020B0604020202020204" pitchFamily="34" charset="0"/>
              </a:rPr>
              <a:t>,2</a:t>
            </a:r>
            <a:endParaRPr lang="en-GB" b="1" baseline="30000" dirty="0"/>
          </a:p>
        </p:txBody>
      </p:sp>
      <p:sp>
        <p:nvSpPr>
          <p:cNvPr id="22" name="Rectangle 21">
            <a:extLst>
              <a:ext uri="{FF2B5EF4-FFF2-40B4-BE49-F238E27FC236}">
                <a16:creationId xmlns:a16="http://schemas.microsoft.com/office/drawing/2014/main" id="{EB8C1797-C350-E72F-2F6A-8A6DFCF013A8}"/>
              </a:ext>
            </a:extLst>
          </p:cNvPr>
          <p:cNvSpPr/>
          <p:nvPr/>
        </p:nvSpPr>
        <p:spPr>
          <a:xfrm>
            <a:off x="596710" y="2053146"/>
            <a:ext cx="8469232" cy="26037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Rectangle 17">
            <a:extLst>
              <a:ext uri="{FF2B5EF4-FFF2-40B4-BE49-F238E27FC236}">
                <a16:creationId xmlns:a16="http://schemas.microsoft.com/office/drawing/2014/main" id="{4AAE8020-FDD1-381C-C12B-2CB6F9EE1862}"/>
              </a:ext>
            </a:extLst>
          </p:cNvPr>
          <p:cNvSpPr/>
          <p:nvPr/>
        </p:nvSpPr>
        <p:spPr>
          <a:xfrm>
            <a:off x="1664656" y="3464694"/>
            <a:ext cx="779920" cy="315330"/>
          </a:xfrm>
          <a:prstGeom prst="rect">
            <a:avLst/>
          </a:prstGeom>
        </p:spPr>
        <p:txBody>
          <a:bodyPr wrap="square" lIns="0" tIns="34220" rIns="0" bIns="34220">
            <a:spAutoFit/>
          </a:bodyPr>
          <a:lstStyle/>
          <a:p>
            <a:pPr marL="0" marR="0" lvl="0" indent="0" algn="ctr" defTabSz="457189" rtl="0" eaLnBrk="0" fontAlgn="base" latinLnBrk="0" hangingPunct="0">
              <a:lnSpc>
                <a:spcPct val="100000"/>
              </a:lnSpc>
              <a:spcBef>
                <a:spcPct val="0"/>
              </a:spcBef>
              <a:spcAft>
                <a:spcPct val="0"/>
              </a:spcAft>
              <a:buClr>
                <a:srgbClr val="9E001B"/>
              </a:buClr>
              <a:buSzTx/>
              <a:buFontTx/>
              <a:buNone/>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S PGothic" charset="0"/>
                <a:cs typeface="Arial" panose="020B0604020202020204" pitchFamily="34" charset="0"/>
              </a:rPr>
              <a:t>2.5 mg</a:t>
            </a:r>
            <a:endPar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25" name="Rectangle 18">
            <a:extLst>
              <a:ext uri="{FF2B5EF4-FFF2-40B4-BE49-F238E27FC236}">
                <a16:creationId xmlns:a16="http://schemas.microsoft.com/office/drawing/2014/main" id="{A0DBE00D-7A13-F25A-D2CA-0B7310F44528}"/>
              </a:ext>
            </a:extLst>
          </p:cNvPr>
          <p:cNvSpPr/>
          <p:nvPr/>
        </p:nvSpPr>
        <p:spPr>
          <a:xfrm>
            <a:off x="3243327" y="2959555"/>
            <a:ext cx="688818" cy="315330"/>
          </a:xfrm>
          <a:prstGeom prst="rect">
            <a:avLst/>
          </a:prstGeom>
        </p:spPr>
        <p:txBody>
          <a:bodyPr wrap="square" lIns="0" tIns="34220" rIns="0" bIns="34220">
            <a:spAutoFit/>
          </a:bodyPr>
          <a:lstStyle/>
          <a:p>
            <a:pPr marL="0" marR="0" lvl="0" indent="0" algn="ctr" defTabSz="457189" rtl="0" eaLnBrk="0" fontAlgn="base" latinLnBrk="0" hangingPunct="0">
              <a:lnSpc>
                <a:spcPct val="100000"/>
              </a:lnSpc>
              <a:spcBef>
                <a:spcPct val="0"/>
              </a:spcBef>
              <a:spcAft>
                <a:spcPct val="0"/>
              </a:spcAft>
              <a:buClr>
                <a:srgbClr val="9E001B"/>
              </a:buClr>
              <a:buSzTx/>
              <a:buFontTx/>
              <a:buNone/>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S PGothic" charset="0"/>
                <a:cs typeface="Arial" panose="020B0604020202020204" pitchFamily="34" charset="0"/>
              </a:rPr>
              <a:t>5 mg</a:t>
            </a:r>
            <a:endPar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26" name="Rectangle 19">
            <a:extLst>
              <a:ext uri="{FF2B5EF4-FFF2-40B4-BE49-F238E27FC236}">
                <a16:creationId xmlns:a16="http://schemas.microsoft.com/office/drawing/2014/main" id="{78E39CB5-16A1-C83B-0C7A-0A65256AA92D}"/>
              </a:ext>
            </a:extLst>
          </p:cNvPr>
          <p:cNvSpPr/>
          <p:nvPr/>
        </p:nvSpPr>
        <p:spPr>
          <a:xfrm>
            <a:off x="6316475" y="2535698"/>
            <a:ext cx="655200" cy="315330"/>
          </a:xfrm>
          <a:prstGeom prst="rect">
            <a:avLst/>
          </a:prstGeom>
        </p:spPr>
        <p:txBody>
          <a:bodyPr wrap="square" lIns="0" tIns="34220" rIns="0" bIns="34220">
            <a:spAutoFit/>
          </a:bodyPr>
          <a:lstStyle/>
          <a:p>
            <a:pPr marL="0" marR="0" lvl="0" indent="0" algn="l" defTabSz="457189" rtl="0" eaLnBrk="0" fontAlgn="base" latinLnBrk="0" hangingPunct="0">
              <a:lnSpc>
                <a:spcPct val="100000"/>
              </a:lnSpc>
              <a:spcBef>
                <a:spcPct val="0"/>
              </a:spcBef>
              <a:spcAft>
                <a:spcPct val="0"/>
              </a:spcAft>
              <a:buClr>
                <a:srgbClr val="9E001B"/>
              </a:buClr>
              <a:buSzTx/>
              <a:buFontTx/>
              <a:buNone/>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S PGothic" charset="0"/>
                <a:cs typeface="Arial" panose="020B0604020202020204" pitchFamily="34" charset="0"/>
              </a:rPr>
              <a:t>10 mg</a:t>
            </a:r>
            <a:endPar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27" name="Rectangle 11">
            <a:extLst>
              <a:ext uri="{FF2B5EF4-FFF2-40B4-BE49-F238E27FC236}">
                <a16:creationId xmlns:a16="http://schemas.microsoft.com/office/drawing/2014/main" id="{985FFCC3-AD0D-8A72-022D-C866A4D669B1}"/>
              </a:ext>
            </a:extLst>
          </p:cNvPr>
          <p:cNvSpPr/>
          <p:nvPr/>
        </p:nvSpPr>
        <p:spPr>
          <a:xfrm>
            <a:off x="1495998" y="3950181"/>
            <a:ext cx="1117237" cy="315330"/>
          </a:xfrm>
          <a:prstGeom prst="rect">
            <a:avLst/>
          </a:prstGeom>
        </p:spPr>
        <p:txBody>
          <a:bodyPr wrap="square" lIns="68441" tIns="34220" rIns="68441" bIns="34220">
            <a:spAutoFit/>
          </a:bodyPr>
          <a:lstStyle/>
          <a:p>
            <a:pPr marL="0" marR="0" lvl="0" indent="0" algn="ctr" defTabSz="457189" rtl="0" eaLnBrk="0" fontAlgn="base" latinLnBrk="0" hangingPunct="0">
              <a:lnSpc>
                <a:spcPct val="100000"/>
              </a:lnSpc>
              <a:spcBef>
                <a:spcPct val="50000"/>
              </a:spcBef>
              <a:spcAft>
                <a:spcPct val="0"/>
              </a:spcAft>
              <a:buClr>
                <a:srgbClr val="9E001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2 weeks</a:t>
            </a: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endParaRPr>
          </a:p>
        </p:txBody>
      </p:sp>
      <p:sp>
        <p:nvSpPr>
          <p:cNvPr id="28" name="Rectangle 11">
            <a:extLst>
              <a:ext uri="{FF2B5EF4-FFF2-40B4-BE49-F238E27FC236}">
                <a16:creationId xmlns:a16="http://schemas.microsoft.com/office/drawing/2014/main" id="{43D7649C-9D58-A1E0-E5C6-8253A381AEA7}"/>
              </a:ext>
            </a:extLst>
          </p:cNvPr>
          <p:cNvSpPr/>
          <p:nvPr/>
        </p:nvSpPr>
        <p:spPr>
          <a:xfrm>
            <a:off x="3029118" y="3449889"/>
            <a:ext cx="1117237" cy="315330"/>
          </a:xfrm>
          <a:prstGeom prst="rect">
            <a:avLst/>
          </a:prstGeom>
        </p:spPr>
        <p:txBody>
          <a:bodyPr wrap="square" lIns="68441" tIns="34220" rIns="68441" bIns="34220">
            <a:spAutoFit/>
          </a:bodyPr>
          <a:lstStyle/>
          <a:p>
            <a:pPr marL="0" marR="0" lvl="0" indent="0" algn="ctr" defTabSz="457189" rtl="0" eaLnBrk="0" fontAlgn="base" latinLnBrk="0" hangingPunct="0">
              <a:lnSpc>
                <a:spcPct val="100000"/>
              </a:lnSpc>
              <a:spcBef>
                <a:spcPct val="50000"/>
              </a:spcBef>
              <a:spcAft>
                <a:spcPct val="0"/>
              </a:spcAft>
              <a:buClr>
                <a:srgbClr val="9E001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2 weeks</a:t>
            </a: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endParaRPr>
          </a:p>
        </p:txBody>
      </p:sp>
      <p:pic>
        <p:nvPicPr>
          <p:cNvPr id="30" name="Picture 29">
            <a:extLst>
              <a:ext uri="{FF2B5EF4-FFF2-40B4-BE49-F238E27FC236}">
                <a16:creationId xmlns:a16="http://schemas.microsoft.com/office/drawing/2014/main" id="{2700303F-D593-D732-817D-2348409263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325" y="2984028"/>
            <a:ext cx="521237" cy="505980"/>
          </a:xfrm>
          <a:prstGeom prst="rect">
            <a:avLst/>
          </a:prstGeom>
        </p:spPr>
      </p:pic>
      <p:pic>
        <p:nvPicPr>
          <p:cNvPr id="31" name="Picture 30" descr="Icon&#10;&#10;Description automatically generated">
            <a:extLst>
              <a:ext uri="{FF2B5EF4-FFF2-40B4-BE49-F238E27FC236}">
                <a16:creationId xmlns:a16="http://schemas.microsoft.com/office/drawing/2014/main" id="{87B9FE65-22D1-26F8-1E76-81BDD7552D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4784" y="2103603"/>
            <a:ext cx="521237" cy="505980"/>
          </a:xfrm>
          <a:prstGeom prst="rect">
            <a:avLst/>
          </a:prstGeom>
        </p:spPr>
      </p:pic>
      <p:pic>
        <p:nvPicPr>
          <p:cNvPr id="32" name="Picture 31">
            <a:extLst>
              <a:ext uri="{FF2B5EF4-FFF2-40B4-BE49-F238E27FC236}">
                <a16:creationId xmlns:a16="http://schemas.microsoft.com/office/drawing/2014/main" id="{488ACF85-A4B3-EC42-E9AB-F51D105A9B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8445" y="2503999"/>
            <a:ext cx="521237" cy="505980"/>
          </a:xfrm>
          <a:prstGeom prst="rect">
            <a:avLst/>
          </a:prstGeom>
        </p:spPr>
      </p:pic>
      <p:sp>
        <p:nvSpPr>
          <p:cNvPr id="41" name="TextBox 40">
            <a:extLst>
              <a:ext uri="{FF2B5EF4-FFF2-40B4-BE49-F238E27FC236}">
                <a16:creationId xmlns:a16="http://schemas.microsoft.com/office/drawing/2014/main" id="{61E6FBF8-FD6D-44E5-8422-807C5E31BF69}"/>
              </a:ext>
            </a:extLst>
          </p:cNvPr>
          <p:cNvSpPr txBox="1"/>
          <p:nvPr/>
        </p:nvSpPr>
        <p:spPr>
          <a:xfrm>
            <a:off x="4575851" y="3013275"/>
            <a:ext cx="409320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Vericiguat 10 mg target dose od + </a:t>
            </a:r>
            <a:b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background HF therapies</a:t>
            </a:r>
            <a:r>
              <a:rPr kumimoji="0" lang="en-GB" sz="1400" b="0" i="0" u="none" strike="noStrike" kern="1200" cap="none" spc="0" normalizeH="0" baseline="30000" noProof="0" dirty="0">
                <a:ln>
                  <a:noFill/>
                </a:ln>
                <a:solidFill>
                  <a:srgbClr val="000000"/>
                </a:solidFill>
                <a:effectLst/>
                <a:uLnTx/>
                <a:uFillTx/>
                <a:latin typeface="Arial" panose="020B0604020202020204"/>
                <a:ea typeface="+mn-ea"/>
                <a:cs typeface="+mn-cs"/>
              </a:rPr>
              <a:t>1,2</a:t>
            </a:r>
          </a:p>
        </p:txBody>
      </p:sp>
      <p:sp>
        <p:nvSpPr>
          <p:cNvPr id="29" name="Freeform 44">
            <a:extLst>
              <a:ext uri="{FF2B5EF4-FFF2-40B4-BE49-F238E27FC236}">
                <a16:creationId xmlns:a16="http://schemas.microsoft.com/office/drawing/2014/main" id="{2F0CBB91-45F1-E7D1-00C0-CBAB7E45622F}"/>
              </a:ext>
            </a:extLst>
          </p:cNvPr>
          <p:cNvSpPr/>
          <p:nvPr/>
        </p:nvSpPr>
        <p:spPr>
          <a:xfrm>
            <a:off x="1240416" y="2878787"/>
            <a:ext cx="7722503" cy="1618070"/>
          </a:xfrm>
          <a:custGeom>
            <a:avLst/>
            <a:gdLst>
              <a:gd name="connsiteX0" fmla="*/ 0 w 6579476"/>
              <a:gd name="connsiteY0" fmla="*/ 840828 h 840828"/>
              <a:gd name="connsiteX1" fmla="*/ 0 w 6579476"/>
              <a:gd name="connsiteY1" fmla="*/ 451945 h 840828"/>
              <a:gd name="connsiteX2" fmla="*/ 809297 w 6579476"/>
              <a:gd name="connsiteY2" fmla="*/ 451945 h 840828"/>
              <a:gd name="connsiteX3" fmla="*/ 809297 w 6579476"/>
              <a:gd name="connsiteY3" fmla="*/ 241738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809297 w 6579476"/>
              <a:gd name="connsiteY2" fmla="*/ 451945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595023 w 6579476"/>
              <a:gd name="connsiteY2" fmla="*/ 467113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623216 w 6579476"/>
              <a:gd name="connsiteY2" fmla="*/ 451945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606301 w 6579476"/>
              <a:gd name="connsiteY2" fmla="*/ 451945 h 840828"/>
              <a:gd name="connsiteX3" fmla="*/ 606301 w 6579476"/>
              <a:gd name="connsiteY3" fmla="*/ 246794 h 840828"/>
              <a:gd name="connsiteX4" fmla="*/ 1681655 w 6579476"/>
              <a:gd name="connsiteY4" fmla="*/ 241738 h 840828"/>
              <a:gd name="connsiteX5" fmla="*/ 1681655 w 6579476"/>
              <a:gd name="connsiteY5" fmla="*/ 0 h 840828"/>
              <a:gd name="connsiteX6" fmla="*/ 6579476 w 6579476"/>
              <a:gd name="connsiteY6" fmla="*/ 0 h 840828"/>
              <a:gd name="connsiteX0" fmla="*/ 0 w 6579476"/>
              <a:gd name="connsiteY0" fmla="*/ 840828 h 840828"/>
              <a:gd name="connsiteX1" fmla="*/ 0 w 6579476"/>
              <a:gd name="connsiteY1" fmla="*/ 451945 h 840828"/>
              <a:gd name="connsiteX2" fmla="*/ 606301 w 6579476"/>
              <a:gd name="connsiteY2" fmla="*/ 451945 h 840828"/>
              <a:gd name="connsiteX3" fmla="*/ 606301 w 6579476"/>
              <a:gd name="connsiteY3" fmla="*/ 244266 h 840828"/>
              <a:gd name="connsiteX4" fmla="*/ 1681655 w 6579476"/>
              <a:gd name="connsiteY4" fmla="*/ 241738 h 840828"/>
              <a:gd name="connsiteX5" fmla="*/ 1681655 w 6579476"/>
              <a:gd name="connsiteY5" fmla="*/ 0 h 840828"/>
              <a:gd name="connsiteX6" fmla="*/ 6579476 w 6579476"/>
              <a:gd name="connsiteY6" fmla="*/ 0 h 840828"/>
              <a:gd name="connsiteX0" fmla="*/ 242467 w 6821943"/>
              <a:gd name="connsiteY0" fmla="*/ 840828 h 840828"/>
              <a:gd name="connsiteX1" fmla="*/ 0 w 6821943"/>
              <a:gd name="connsiteY1" fmla="*/ 451945 h 840828"/>
              <a:gd name="connsiteX2" fmla="*/ 848768 w 6821943"/>
              <a:gd name="connsiteY2" fmla="*/ 451945 h 840828"/>
              <a:gd name="connsiteX3" fmla="*/ 848768 w 6821943"/>
              <a:gd name="connsiteY3" fmla="*/ 244266 h 840828"/>
              <a:gd name="connsiteX4" fmla="*/ 1924122 w 6821943"/>
              <a:gd name="connsiteY4" fmla="*/ 241738 h 840828"/>
              <a:gd name="connsiteX5" fmla="*/ 1924122 w 6821943"/>
              <a:gd name="connsiteY5" fmla="*/ 0 h 840828"/>
              <a:gd name="connsiteX6" fmla="*/ 6821943 w 6821943"/>
              <a:gd name="connsiteY6" fmla="*/ 0 h 840828"/>
              <a:gd name="connsiteX0" fmla="*/ 0 w 6833222"/>
              <a:gd name="connsiteY0" fmla="*/ 833244 h 833244"/>
              <a:gd name="connsiteX1" fmla="*/ 11279 w 6833222"/>
              <a:gd name="connsiteY1" fmla="*/ 451945 h 833244"/>
              <a:gd name="connsiteX2" fmla="*/ 860047 w 6833222"/>
              <a:gd name="connsiteY2" fmla="*/ 451945 h 833244"/>
              <a:gd name="connsiteX3" fmla="*/ 860047 w 6833222"/>
              <a:gd name="connsiteY3" fmla="*/ 244266 h 833244"/>
              <a:gd name="connsiteX4" fmla="*/ 1935401 w 6833222"/>
              <a:gd name="connsiteY4" fmla="*/ 241738 h 833244"/>
              <a:gd name="connsiteX5" fmla="*/ 1935401 w 6833222"/>
              <a:gd name="connsiteY5" fmla="*/ 0 h 833244"/>
              <a:gd name="connsiteX6" fmla="*/ 6833222 w 6833222"/>
              <a:gd name="connsiteY6" fmla="*/ 0 h 833244"/>
              <a:gd name="connsiteX0" fmla="*/ 8457 w 6821943"/>
              <a:gd name="connsiteY0" fmla="*/ 833244 h 833244"/>
              <a:gd name="connsiteX1" fmla="*/ 0 w 6821943"/>
              <a:gd name="connsiteY1" fmla="*/ 451945 h 833244"/>
              <a:gd name="connsiteX2" fmla="*/ 848768 w 6821943"/>
              <a:gd name="connsiteY2" fmla="*/ 451945 h 833244"/>
              <a:gd name="connsiteX3" fmla="*/ 848768 w 6821943"/>
              <a:gd name="connsiteY3" fmla="*/ 244266 h 833244"/>
              <a:gd name="connsiteX4" fmla="*/ 1924122 w 6821943"/>
              <a:gd name="connsiteY4" fmla="*/ 241738 h 833244"/>
              <a:gd name="connsiteX5" fmla="*/ 1924122 w 6821943"/>
              <a:gd name="connsiteY5" fmla="*/ 0 h 833244"/>
              <a:gd name="connsiteX6" fmla="*/ 6821943 w 6821943"/>
              <a:gd name="connsiteY6" fmla="*/ 0 h 833244"/>
              <a:gd name="connsiteX0" fmla="*/ 8457 w 6821943"/>
              <a:gd name="connsiteY0" fmla="*/ 834508 h 834508"/>
              <a:gd name="connsiteX1" fmla="*/ 0 w 6821943"/>
              <a:gd name="connsiteY1" fmla="*/ 451945 h 834508"/>
              <a:gd name="connsiteX2" fmla="*/ 848768 w 6821943"/>
              <a:gd name="connsiteY2" fmla="*/ 451945 h 834508"/>
              <a:gd name="connsiteX3" fmla="*/ 848768 w 6821943"/>
              <a:gd name="connsiteY3" fmla="*/ 244266 h 834508"/>
              <a:gd name="connsiteX4" fmla="*/ 1924122 w 6821943"/>
              <a:gd name="connsiteY4" fmla="*/ 241738 h 834508"/>
              <a:gd name="connsiteX5" fmla="*/ 1924122 w 6821943"/>
              <a:gd name="connsiteY5" fmla="*/ 0 h 834508"/>
              <a:gd name="connsiteX6" fmla="*/ 6821943 w 6821943"/>
              <a:gd name="connsiteY6" fmla="*/ 0 h 834508"/>
              <a:gd name="connsiteX0" fmla="*/ 0 w 6821944"/>
              <a:gd name="connsiteY0" fmla="*/ 834508 h 834508"/>
              <a:gd name="connsiteX1" fmla="*/ 1 w 6821944"/>
              <a:gd name="connsiteY1" fmla="*/ 451945 h 834508"/>
              <a:gd name="connsiteX2" fmla="*/ 848769 w 6821944"/>
              <a:gd name="connsiteY2" fmla="*/ 451945 h 834508"/>
              <a:gd name="connsiteX3" fmla="*/ 848769 w 6821944"/>
              <a:gd name="connsiteY3" fmla="*/ 244266 h 834508"/>
              <a:gd name="connsiteX4" fmla="*/ 1924123 w 6821944"/>
              <a:gd name="connsiteY4" fmla="*/ 241738 h 834508"/>
              <a:gd name="connsiteX5" fmla="*/ 1924123 w 6821944"/>
              <a:gd name="connsiteY5" fmla="*/ 0 h 834508"/>
              <a:gd name="connsiteX6" fmla="*/ 6821944 w 6821944"/>
              <a:gd name="connsiteY6" fmla="*/ 0 h 834508"/>
              <a:gd name="connsiteX0" fmla="*/ 127811 w 6949755"/>
              <a:gd name="connsiteY0" fmla="*/ 834508 h 834508"/>
              <a:gd name="connsiteX1" fmla="*/ 0 w 6949755"/>
              <a:gd name="connsiteY1" fmla="*/ 448574 h 834508"/>
              <a:gd name="connsiteX2" fmla="*/ 976580 w 6949755"/>
              <a:gd name="connsiteY2" fmla="*/ 451945 h 834508"/>
              <a:gd name="connsiteX3" fmla="*/ 976580 w 6949755"/>
              <a:gd name="connsiteY3" fmla="*/ 244266 h 834508"/>
              <a:gd name="connsiteX4" fmla="*/ 2051934 w 6949755"/>
              <a:gd name="connsiteY4" fmla="*/ 241738 h 834508"/>
              <a:gd name="connsiteX5" fmla="*/ 2051934 w 6949755"/>
              <a:gd name="connsiteY5" fmla="*/ 0 h 834508"/>
              <a:gd name="connsiteX6" fmla="*/ 6949755 w 6949755"/>
              <a:gd name="connsiteY6" fmla="*/ 0 h 834508"/>
              <a:gd name="connsiteX0" fmla="*/ 11276 w 6949755"/>
              <a:gd name="connsiteY0" fmla="*/ 829452 h 829452"/>
              <a:gd name="connsiteX1" fmla="*/ 0 w 6949755"/>
              <a:gd name="connsiteY1" fmla="*/ 448574 h 829452"/>
              <a:gd name="connsiteX2" fmla="*/ 976580 w 6949755"/>
              <a:gd name="connsiteY2" fmla="*/ 451945 h 829452"/>
              <a:gd name="connsiteX3" fmla="*/ 976580 w 6949755"/>
              <a:gd name="connsiteY3" fmla="*/ 244266 h 829452"/>
              <a:gd name="connsiteX4" fmla="*/ 2051934 w 6949755"/>
              <a:gd name="connsiteY4" fmla="*/ 241738 h 829452"/>
              <a:gd name="connsiteX5" fmla="*/ 2051934 w 6949755"/>
              <a:gd name="connsiteY5" fmla="*/ 0 h 829452"/>
              <a:gd name="connsiteX6" fmla="*/ 6949755 w 6949755"/>
              <a:gd name="connsiteY6" fmla="*/ 0 h 829452"/>
              <a:gd name="connsiteX0" fmla="*/ 0 w 6953515"/>
              <a:gd name="connsiteY0" fmla="*/ 829452 h 829452"/>
              <a:gd name="connsiteX1" fmla="*/ 3760 w 6953515"/>
              <a:gd name="connsiteY1" fmla="*/ 448574 h 829452"/>
              <a:gd name="connsiteX2" fmla="*/ 980340 w 6953515"/>
              <a:gd name="connsiteY2" fmla="*/ 451945 h 829452"/>
              <a:gd name="connsiteX3" fmla="*/ 980340 w 6953515"/>
              <a:gd name="connsiteY3" fmla="*/ 244266 h 829452"/>
              <a:gd name="connsiteX4" fmla="*/ 2055694 w 6953515"/>
              <a:gd name="connsiteY4" fmla="*/ 241738 h 829452"/>
              <a:gd name="connsiteX5" fmla="*/ 2055694 w 6953515"/>
              <a:gd name="connsiteY5" fmla="*/ 0 h 829452"/>
              <a:gd name="connsiteX6" fmla="*/ 6953515 w 6953515"/>
              <a:gd name="connsiteY6" fmla="*/ 0 h 829452"/>
              <a:gd name="connsiteX0" fmla="*/ 0 w 6953515"/>
              <a:gd name="connsiteY0" fmla="*/ 829452 h 829452"/>
              <a:gd name="connsiteX1" fmla="*/ 3760 w 6953515"/>
              <a:gd name="connsiteY1" fmla="*/ 448574 h 829452"/>
              <a:gd name="connsiteX2" fmla="*/ 1002895 w 6953515"/>
              <a:gd name="connsiteY2" fmla="*/ 492394 h 829452"/>
              <a:gd name="connsiteX3" fmla="*/ 980340 w 6953515"/>
              <a:gd name="connsiteY3" fmla="*/ 244266 h 829452"/>
              <a:gd name="connsiteX4" fmla="*/ 2055694 w 6953515"/>
              <a:gd name="connsiteY4" fmla="*/ 241738 h 829452"/>
              <a:gd name="connsiteX5" fmla="*/ 2055694 w 6953515"/>
              <a:gd name="connsiteY5" fmla="*/ 0 h 829452"/>
              <a:gd name="connsiteX6" fmla="*/ 6953515 w 6953515"/>
              <a:gd name="connsiteY6" fmla="*/ 0 h 829452"/>
              <a:gd name="connsiteX0" fmla="*/ 7517 w 6961032"/>
              <a:gd name="connsiteY0" fmla="*/ 829452 h 829452"/>
              <a:gd name="connsiteX1" fmla="*/ 0 w 6961032"/>
              <a:gd name="connsiteY1" fmla="*/ 496607 h 829452"/>
              <a:gd name="connsiteX2" fmla="*/ 1010412 w 6961032"/>
              <a:gd name="connsiteY2" fmla="*/ 492394 h 829452"/>
              <a:gd name="connsiteX3" fmla="*/ 987857 w 6961032"/>
              <a:gd name="connsiteY3" fmla="*/ 244266 h 829452"/>
              <a:gd name="connsiteX4" fmla="*/ 2063211 w 6961032"/>
              <a:gd name="connsiteY4" fmla="*/ 241738 h 829452"/>
              <a:gd name="connsiteX5" fmla="*/ 2063211 w 6961032"/>
              <a:gd name="connsiteY5" fmla="*/ 0 h 829452"/>
              <a:gd name="connsiteX6" fmla="*/ 6961032 w 6961032"/>
              <a:gd name="connsiteY6" fmla="*/ 0 h 829452"/>
              <a:gd name="connsiteX0" fmla="*/ 7517 w 6961032"/>
              <a:gd name="connsiteY0" fmla="*/ 829452 h 829452"/>
              <a:gd name="connsiteX1" fmla="*/ 0 w 6961032"/>
              <a:gd name="connsiteY1" fmla="*/ 496607 h 829452"/>
              <a:gd name="connsiteX2" fmla="*/ 993495 w 6961032"/>
              <a:gd name="connsiteY2" fmla="*/ 494922 h 829452"/>
              <a:gd name="connsiteX3" fmla="*/ 987857 w 6961032"/>
              <a:gd name="connsiteY3" fmla="*/ 244266 h 829452"/>
              <a:gd name="connsiteX4" fmla="*/ 2063211 w 6961032"/>
              <a:gd name="connsiteY4" fmla="*/ 241738 h 829452"/>
              <a:gd name="connsiteX5" fmla="*/ 2063211 w 6961032"/>
              <a:gd name="connsiteY5" fmla="*/ 0 h 829452"/>
              <a:gd name="connsiteX6" fmla="*/ 6961032 w 6961032"/>
              <a:gd name="connsiteY6" fmla="*/ 0 h 829452"/>
              <a:gd name="connsiteX0" fmla="*/ 0 w 6961973"/>
              <a:gd name="connsiteY0" fmla="*/ 829452 h 829452"/>
              <a:gd name="connsiteX1" fmla="*/ 941 w 6961973"/>
              <a:gd name="connsiteY1" fmla="*/ 496607 h 829452"/>
              <a:gd name="connsiteX2" fmla="*/ 994436 w 6961973"/>
              <a:gd name="connsiteY2" fmla="*/ 494922 h 829452"/>
              <a:gd name="connsiteX3" fmla="*/ 988798 w 6961973"/>
              <a:gd name="connsiteY3" fmla="*/ 244266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994436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57949 w 6961973"/>
              <a:gd name="connsiteY2" fmla="*/ 508467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78067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68008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0 w 6961973"/>
              <a:gd name="connsiteY0" fmla="*/ 829452 h 829452"/>
              <a:gd name="connsiteX1" fmla="*/ 941 w 6961973"/>
              <a:gd name="connsiteY1" fmla="*/ 496607 h 829452"/>
              <a:gd name="connsiteX2" fmla="*/ 455434 w 6961973"/>
              <a:gd name="connsiteY2" fmla="*/ 494922 h 829452"/>
              <a:gd name="connsiteX3" fmla="*/ 445605 w 6961973"/>
              <a:gd name="connsiteY3" fmla="*/ 241557 h 829452"/>
              <a:gd name="connsiteX4" fmla="*/ 2064152 w 6961973"/>
              <a:gd name="connsiteY4" fmla="*/ 241738 h 829452"/>
              <a:gd name="connsiteX5" fmla="*/ 2064152 w 6961973"/>
              <a:gd name="connsiteY5" fmla="*/ 0 h 829452"/>
              <a:gd name="connsiteX6" fmla="*/ 6961973 w 6961973"/>
              <a:gd name="connsiteY6" fmla="*/ 0 h 829452"/>
              <a:gd name="connsiteX0" fmla="*/ 650388 w 7612361"/>
              <a:gd name="connsiteY0" fmla="*/ 829452 h 829452"/>
              <a:gd name="connsiteX1" fmla="*/ 0 w 7612361"/>
              <a:gd name="connsiteY1" fmla="*/ 492543 h 829452"/>
              <a:gd name="connsiteX2" fmla="*/ 1105822 w 7612361"/>
              <a:gd name="connsiteY2" fmla="*/ 494922 h 829452"/>
              <a:gd name="connsiteX3" fmla="*/ 1095993 w 7612361"/>
              <a:gd name="connsiteY3" fmla="*/ 241557 h 829452"/>
              <a:gd name="connsiteX4" fmla="*/ 2714540 w 7612361"/>
              <a:gd name="connsiteY4" fmla="*/ 241738 h 829452"/>
              <a:gd name="connsiteX5" fmla="*/ 2714540 w 7612361"/>
              <a:gd name="connsiteY5" fmla="*/ 0 h 829452"/>
              <a:gd name="connsiteX6" fmla="*/ 7612361 w 7612361"/>
              <a:gd name="connsiteY6" fmla="*/ 0 h 829452"/>
              <a:gd name="connsiteX0" fmla="*/ 0 w 7618332"/>
              <a:gd name="connsiteY0" fmla="*/ 814213 h 814213"/>
              <a:gd name="connsiteX1" fmla="*/ 5971 w 7618332"/>
              <a:gd name="connsiteY1" fmla="*/ 492543 h 814213"/>
              <a:gd name="connsiteX2" fmla="*/ 1111793 w 7618332"/>
              <a:gd name="connsiteY2" fmla="*/ 494922 h 814213"/>
              <a:gd name="connsiteX3" fmla="*/ 1101964 w 7618332"/>
              <a:gd name="connsiteY3" fmla="*/ 241557 h 814213"/>
              <a:gd name="connsiteX4" fmla="*/ 2720511 w 7618332"/>
              <a:gd name="connsiteY4" fmla="*/ 241738 h 814213"/>
              <a:gd name="connsiteX5" fmla="*/ 2720511 w 7618332"/>
              <a:gd name="connsiteY5" fmla="*/ 0 h 814213"/>
              <a:gd name="connsiteX6" fmla="*/ 7618332 w 7618332"/>
              <a:gd name="connsiteY6" fmla="*/ 0 h 814213"/>
              <a:gd name="connsiteX0" fmla="*/ 0 w 7618332"/>
              <a:gd name="connsiteY0" fmla="*/ 814213 h 814213"/>
              <a:gd name="connsiteX1" fmla="*/ 5971 w 7618332"/>
              <a:gd name="connsiteY1" fmla="*/ 492543 h 814213"/>
              <a:gd name="connsiteX2" fmla="*/ 1111793 w 7618332"/>
              <a:gd name="connsiteY2" fmla="*/ 494922 h 814213"/>
              <a:gd name="connsiteX3" fmla="*/ 1101964 w 7618332"/>
              <a:gd name="connsiteY3" fmla="*/ 241557 h 814213"/>
              <a:gd name="connsiteX4" fmla="*/ 2720511 w 7618332"/>
              <a:gd name="connsiteY4" fmla="*/ 241738 h 814213"/>
              <a:gd name="connsiteX5" fmla="*/ 2720511 w 7618332"/>
              <a:gd name="connsiteY5" fmla="*/ 0 h 814213"/>
              <a:gd name="connsiteX6" fmla="*/ 7618332 w 7618332"/>
              <a:gd name="connsiteY6" fmla="*/ 0 h 814213"/>
              <a:gd name="connsiteX0" fmla="*/ 1573 w 7612361"/>
              <a:gd name="connsiteY0" fmla="*/ 815229 h 815229"/>
              <a:gd name="connsiteX1" fmla="*/ 0 w 7612361"/>
              <a:gd name="connsiteY1" fmla="*/ 492543 h 815229"/>
              <a:gd name="connsiteX2" fmla="*/ 1105822 w 7612361"/>
              <a:gd name="connsiteY2" fmla="*/ 494922 h 815229"/>
              <a:gd name="connsiteX3" fmla="*/ 1095993 w 7612361"/>
              <a:gd name="connsiteY3" fmla="*/ 241557 h 815229"/>
              <a:gd name="connsiteX4" fmla="*/ 2714540 w 7612361"/>
              <a:gd name="connsiteY4" fmla="*/ 241738 h 815229"/>
              <a:gd name="connsiteX5" fmla="*/ 2714540 w 7612361"/>
              <a:gd name="connsiteY5" fmla="*/ 0 h 815229"/>
              <a:gd name="connsiteX6" fmla="*/ 7612361 w 7612361"/>
              <a:gd name="connsiteY6" fmla="*/ 0 h 815229"/>
              <a:gd name="connsiteX0" fmla="*/ 1573 w 7612361"/>
              <a:gd name="connsiteY0" fmla="*/ 815229 h 815229"/>
              <a:gd name="connsiteX1" fmla="*/ 0 w 7612361"/>
              <a:gd name="connsiteY1" fmla="*/ 492543 h 815229"/>
              <a:gd name="connsiteX2" fmla="*/ 1098277 w 7612361"/>
              <a:gd name="connsiteY2" fmla="*/ 494922 h 815229"/>
              <a:gd name="connsiteX3" fmla="*/ 1095993 w 7612361"/>
              <a:gd name="connsiteY3" fmla="*/ 241557 h 815229"/>
              <a:gd name="connsiteX4" fmla="*/ 2714540 w 7612361"/>
              <a:gd name="connsiteY4" fmla="*/ 241738 h 815229"/>
              <a:gd name="connsiteX5" fmla="*/ 2714540 w 7612361"/>
              <a:gd name="connsiteY5" fmla="*/ 0 h 815229"/>
              <a:gd name="connsiteX6" fmla="*/ 7612361 w 7612361"/>
              <a:gd name="connsiteY6" fmla="*/ 0 h 815229"/>
              <a:gd name="connsiteX0" fmla="*/ 92105 w 7702893"/>
              <a:gd name="connsiteY0" fmla="*/ 815229 h 815229"/>
              <a:gd name="connsiteX1" fmla="*/ 0 w 7702893"/>
              <a:gd name="connsiteY1" fmla="*/ 492543 h 815229"/>
              <a:gd name="connsiteX2" fmla="*/ 1188809 w 7702893"/>
              <a:gd name="connsiteY2" fmla="*/ 494922 h 815229"/>
              <a:gd name="connsiteX3" fmla="*/ 1186525 w 7702893"/>
              <a:gd name="connsiteY3" fmla="*/ 241557 h 815229"/>
              <a:gd name="connsiteX4" fmla="*/ 2805072 w 7702893"/>
              <a:gd name="connsiteY4" fmla="*/ 241738 h 815229"/>
              <a:gd name="connsiteX5" fmla="*/ 2805072 w 7702893"/>
              <a:gd name="connsiteY5" fmla="*/ 0 h 815229"/>
              <a:gd name="connsiteX6" fmla="*/ 7702893 w 7702893"/>
              <a:gd name="connsiteY6" fmla="*/ 0 h 815229"/>
              <a:gd name="connsiteX0" fmla="*/ 162519 w 7773307"/>
              <a:gd name="connsiteY0" fmla="*/ 815229 h 815229"/>
              <a:gd name="connsiteX1" fmla="*/ 0 w 7773307"/>
              <a:gd name="connsiteY1" fmla="*/ 492543 h 815229"/>
              <a:gd name="connsiteX2" fmla="*/ 1259223 w 7773307"/>
              <a:gd name="connsiteY2" fmla="*/ 494922 h 815229"/>
              <a:gd name="connsiteX3" fmla="*/ 1256939 w 7773307"/>
              <a:gd name="connsiteY3" fmla="*/ 241557 h 815229"/>
              <a:gd name="connsiteX4" fmla="*/ 2875486 w 7773307"/>
              <a:gd name="connsiteY4" fmla="*/ 241738 h 815229"/>
              <a:gd name="connsiteX5" fmla="*/ 2875486 w 7773307"/>
              <a:gd name="connsiteY5" fmla="*/ 0 h 815229"/>
              <a:gd name="connsiteX6" fmla="*/ 7773307 w 7773307"/>
              <a:gd name="connsiteY6" fmla="*/ 0 h 815229"/>
              <a:gd name="connsiteX0" fmla="*/ 1572 w 7773307"/>
              <a:gd name="connsiteY0" fmla="*/ 816245 h 816245"/>
              <a:gd name="connsiteX1" fmla="*/ 0 w 7773307"/>
              <a:gd name="connsiteY1" fmla="*/ 492543 h 816245"/>
              <a:gd name="connsiteX2" fmla="*/ 1259223 w 7773307"/>
              <a:gd name="connsiteY2" fmla="*/ 494922 h 816245"/>
              <a:gd name="connsiteX3" fmla="*/ 1256939 w 7773307"/>
              <a:gd name="connsiteY3" fmla="*/ 241557 h 816245"/>
              <a:gd name="connsiteX4" fmla="*/ 2875486 w 7773307"/>
              <a:gd name="connsiteY4" fmla="*/ 241738 h 816245"/>
              <a:gd name="connsiteX5" fmla="*/ 2875486 w 7773307"/>
              <a:gd name="connsiteY5" fmla="*/ 0 h 816245"/>
              <a:gd name="connsiteX6" fmla="*/ 7773307 w 7773307"/>
              <a:gd name="connsiteY6" fmla="*/ 0 h 816245"/>
              <a:gd name="connsiteX0" fmla="*/ 182636 w 7954371"/>
              <a:gd name="connsiteY0" fmla="*/ 816245 h 816245"/>
              <a:gd name="connsiteX1" fmla="*/ 0 w 7954371"/>
              <a:gd name="connsiteY1" fmla="*/ 492543 h 816245"/>
              <a:gd name="connsiteX2" fmla="*/ 1440287 w 7954371"/>
              <a:gd name="connsiteY2" fmla="*/ 494922 h 816245"/>
              <a:gd name="connsiteX3" fmla="*/ 1438003 w 7954371"/>
              <a:gd name="connsiteY3" fmla="*/ 241557 h 816245"/>
              <a:gd name="connsiteX4" fmla="*/ 3056550 w 7954371"/>
              <a:gd name="connsiteY4" fmla="*/ 241738 h 816245"/>
              <a:gd name="connsiteX5" fmla="*/ 3056550 w 7954371"/>
              <a:gd name="connsiteY5" fmla="*/ 0 h 816245"/>
              <a:gd name="connsiteX6" fmla="*/ 7954371 w 7954371"/>
              <a:gd name="connsiteY6" fmla="*/ 0 h 816245"/>
              <a:gd name="connsiteX0" fmla="*/ 8278 w 7954371"/>
              <a:gd name="connsiteY0" fmla="*/ 840627 h 840627"/>
              <a:gd name="connsiteX1" fmla="*/ 0 w 7954371"/>
              <a:gd name="connsiteY1" fmla="*/ 492543 h 840627"/>
              <a:gd name="connsiteX2" fmla="*/ 1440287 w 7954371"/>
              <a:gd name="connsiteY2" fmla="*/ 494922 h 840627"/>
              <a:gd name="connsiteX3" fmla="*/ 1438003 w 7954371"/>
              <a:gd name="connsiteY3" fmla="*/ 241557 h 840627"/>
              <a:gd name="connsiteX4" fmla="*/ 3056550 w 7954371"/>
              <a:gd name="connsiteY4" fmla="*/ 241738 h 840627"/>
              <a:gd name="connsiteX5" fmla="*/ 3056550 w 7954371"/>
              <a:gd name="connsiteY5" fmla="*/ 0 h 840627"/>
              <a:gd name="connsiteX6" fmla="*/ 7954371 w 7954371"/>
              <a:gd name="connsiteY6" fmla="*/ 0 h 840627"/>
              <a:gd name="connsiteX0" fmla="*/ 8278 w 7954371"/>
              <a:gd name="connsiteY0" fmla="*/ 832500 h 832500"/>
              <a:gd name="connsiteX1" fmla="*/ 0 w 7954371"/>
              <a:gd name="connsiteY1" fmla="*/ 492543 h 832500"/>
              <a:gd name="connsiteX2" fmla="*/ 1440287 w 7954371"/>
              <a:gd name="connsiteY2" fmla="*/ 494922 h 832500"/>
              <a:gd name="connsiteX3" fmla="*/ 1438003 w 7954371"/>
              <a:gd name="connsiteY3" fmla="*/ 241557 h 832500"/>
              <a:gd name="connsiteX4" fmla="*/ 3056550 w 7954371"/>
              <a:gd name="connsiteY4" fmla="*/ 241738 h 832500"/>
              <a:gd name="connsiteX5" fmla="*/ 3056550 w 7954371"/>
              <a:gd name="connsiteY5" fmla="*/ 0 h 832500"/>
              <a:gd name="connsiteX6" fmla="*/ 7954371 w 7954371"/>
              <a:gd name="connsiteY6" fmla="*/ 0 h 832500"/>
              <a:gd name="connsiteX0" fmla="*/ 1571 w 7954371"/>
              <a:gd name="connsiteY0" fmla="*/ 832500 h 832500"/>
              <a:gd name="connsiteX1" fmla="*/ 0 w 7954371"/>
              <a:gd name="connsiteY1" fmla="*/ 492543 h 832500"/>
              <a:gd name="connsiteX2" fmla="*/ 1440287 w 7954371"/>
              <a:gd name="connsiteY2" fmla="*/ 494922 h 832500"/>
              <a:gd name="connsiteX3" fmla="*/ 1438003 w 7954371"/>
              <a:gd name="connsiteY3" fmla="*/ 241557 h 832500"/>
              <a:gd name="connsiteX4" fmla="*/ 3056550 w 7954371"/>
              <a:gd name="connsiteY4" fmla="*/ 241738 h 832500"/>
              <a:gd name="connsiteX5" fmla="*/ 3056550 w 7954371"/>
              <a:gd name="connsiteY5" fmla="*/ 0 h 832500"/>
              <a:gd name="connsiteX6" fmla="*/ 7954371 w 7954371"/>
              <a:gd name="connsiteY6" fmla="*/ 0 h 832500"/>
              <a:gd name="connsiteX0" fmla="*/ 226225 w 8179025"/>
              <a:gd name="connsiteY0" fmla="*/ 832500 h 832500"/>
              <a:gd name="connsiteX1" fmla="*/ 0 w 8179025"/>
              <a:gd name="connsiteY1" fmla="*/ 491189 h 832500"/>
              <a:gd name="connsiteX2" fmla="*/ 1664941 w 8179025"/>
              <a:gd name="connsiteY2" fmla="*/ 494922 h 832500"/>
              <a:gd name="connsiteX3" fmla="*/ 1662657 w 8179025"/>
              <a:gd name="connsiteY3" fmla="*/ 241557 h 832500"/>
              <a:gd name="connsiteX4" fmla="*/ 3281204 w 8179025"/>
              <a:gd name="connsiteY4" fmla="*/ 241738 h 832500"/>
              <a:gd name="connsiteX5" fmla="*/ 3281204 w 8179025"/>
              <a:gd name="connsiteY5" fmla="*/ 0 h 832500"/>
              <a:gd name="connsiteX6" fmla="*/ 8179025 w 8179025"/>
              <a:gd name="connsiteY6" fmla="*/ 0 h 832500"/>
              <a:gd name="connsiteX0" fmla="*/ 8278 w 8179025"/>
              <a:gd name="connsiteY0" fmla="*/ 829791 h 829791"/>
              <a:gd name="connsiteX1" fmla="*/ 0 w 8179025"/>
              <a:gd name="connsiteY1" fmla="*/ 491189 h 829791"/>
              <a:gd name="connsiteX2" fmla="*/ 1664941 w 8179025"/>
              <a:gd name="connsiteY2" fmla="*/ 494922 h 829791"/>
              <a:gd name="connsiteX3" fmla="*/ 1662657 w 8179025"/>
              <a:gd name="connsiteY3" fmla="*/ 241557 h 829791"/>
              <a:gd name="connsiteX4" fmla="*/ 3281204 w 8179025"/>
              <a:gd name="connsiteY4" fmla="*/ 241738 h 829791"/>
              <a:gd name="connsiteX5" fmla="*/ 3281204 w 8179025"/>
              <a:gd name="connsiteY5" fmla="*/ 0 h 829791"/>
              <a:gd name="connsiteX6" fmla="*/ 8179025 w 8179025"/>
              <a:gd name="connsiteY6" fmla="*/ 0 h 829791"/>
              <a:gd name="connsiteX0" fmla="*/ 0 w 8170747"/>
              <a:gd name="connsiteY0" fmla="*/ 829791 h 829791"/>
              <a:gd name="connsiteX1" fmla="*/ 5134 w 8170747"/>
              <a:gd name="connsiteY1" fmla="*/ 493898 h 829791"/>
              <a:gd name="connsiteX2" fmla="*/ 1656663 w 8170747"/>
              <a:gd name="connsiteY2" fmla="*/ 494922 h 829791"/>
              <a:gd name="connsiteX3" fmla="*/ 1654379 w 8170747"/>
              <a:gd name="connsiteY3" fmla="*/ 241557 h 829791"/>
              <a:gd name="connsiteX4" fmla="*/ 3272926 w 8170747"/>
              <a:gd name="connsiteY4" fmla="*/ 241738 h 829791"/>
              <a:gd name="connsiteX5" fmla="*/ 3272926 w 8170747"/>
              <a:gd name="connsiteY5" fmla="*/ 0 h 829791"/>
              <a:gd name="connsiteX6" fmla="*/ 8170747 w 8170747"/>
              <a:gd name="connsiteY6" fmla="*/ 0 h 829791"/>
              <a:gd name="connsiteX0" fmla="*/ 0 w 8170747"/>
              <a:gd name="connsiteY0" fmla="*/ 829791 h 829791"/>
              <a:gd name="connsiteX1" fmla="*/ 15193 w 8170747"/>
              <a:gd name="connsiteY1" fmla="*/ 495253 h 829791"/>
              <a:gd name="connsiteX2" fmla="*/ 1656663 w 8170747"/>
              <a:gd name="connsiteY2" fmla="*/ 494922 h 829791"/>
              <a:gd name="connsiteX3" fmla="*/ 1654379 w 8170747"/>
              <a:gd name="connsiteY3" fmla="*/ 241557 h 829791"/>
              <a:gd name="connsiteX4" fmla="*/ 3272926 w 8170747"/>
              <a:gd name="connsiteY4" fmla="*/ 241738 h 829791"/>
              <a:gd name="connsiteX5" fmla="*/ 3272926 w 8170747"/>
              <a:gd name="connsiteY5" fmla="*/ 0 h 829791"/>
              <a:gd name="connsiteX6" fmla="*/ 8170747 w 8170747"/>
              <a:gd name="connsiteY6" fmla="*/ 0 h 829791"/>
              <a:gd name="connsiteX0" fmla="*/ 8278 w 8155554"/>
              <a:gd name="connsiteY0" fmla="*/ 829791 h 829791"/>
              <a:gd name="connsiteX1" fmla="*/ 0 w 8155554"/>
              <a:gd name="connsiteY1" fmla="*/ 495253 h 829791"/>
              <a:gd name="connsiteX2" fmla="*/ 1641470 w 8155554"/>
              <a:gd name="connsiteY2" fmla="*/ 494922 h 829791"/>
              <a:gd name="connsiteX3" fmla="*/ 1639186 w 8155554"/>
              <a:gd name="connsiteY3" fmla="*/ 241557 h 829791"/>
              <a:gd name="connsiteX4" fmla="*/ 3257733 w 8155554"/>
              <a:gd name="connsiteY4" fmla="*/ 241738 h 829791"/>
              <a:gd name="connsiteX5" fmla="*/ 3257733 w 8155554"/>
              <a:gd name="connsiteY5" fmla="*/ 0 h 829791"/>
              <a:gd name="connsiteX6" fmla="*/ 8155554 w 8155554"/>
              <a:gd name="connsiteY6" fmla="*/ 0 h 82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5554" h="829791">
                <a:moveTo>
                  <a:pt x="8278" y="829791"/>
                </a:moveTo>
                <a:cubicBezTo>
                  <a:pt x="8278" y="702270"/>
                  <a:pt x="0" y="622774"/>
                  <a:pt x="0" y="495253"/>
                </a:cubicBezTo>
                <a:lnTo>
                  <a:pt x="1641470" y="494922"/>
                </a:lnTo>
                <a:cubicBezTo>
                  <a:pt x="1640709" y="410467"/>
                  <a:pt x="1639947" y="326012"/>
                  <a:pt x="1639186" y="241557"/>
                </a:cubicBezTo>
                <a:lnTo>
                  <a:pt x="3257733" y="241738"/>
                </a:lnTo>
                <a:lnTo>
                  <a:pt x="3257733" y="0"/>
                </a:lnTo>
                <a:lnTo>
                  <a:pt x="8155554" y="0"/>
                </a:lnTo>
              </a:path>
            </a:pathLst>
          </a:custGeom>
          <a:noFill/>
          <a:ln w="76200" cap="flat" cmpd="sng" algn="ctr">
            <a:solidFill>
              <a:schemeClr val="accent1"/>
            </a:solidFill>
            <a:prstDash val="solid"/>
            <a:tailEnd type="arrow"/>
          </a:ln>
          <a:effectLst/>
        </p:spPr>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21" name="TextBox 20">
            <a:extLst>
              <a:ext uri="{FF2B5EF4-FFF2-40B4-BE49-F238E27FC236}">
                <a16:creationId xmlns:a16="http://schemas.microsoft.com/office/drawing/2014/main" id="{F15A6EA7-746C-3E49-919B-6329A48A65FC}"/>
              </a:ext>
            </a:extLst>
          </p:cNvPr>
          <p:cNvSpPr txBox="1"/>
          <p:nvPr/>
        </p:nvSpPr>
        <p:spPr>
          <a:xfrm>
            <a:off x="9136648" y="2064470"/>
            <a:ext cx="1914300" cy="3171054"/>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defPPr>
              <a:defRPr lang="hu-HU"/>
            </a:defPPr>
            <a:lvl1pPr marR="0" lvl="0" indent="0" algn="ctr" fontAlgn="auto">
              <a:lnSpc>
                <a:spcPct val="110000"/>
              </a:lnSpc>
              <a:spcBef>
                <a:spcPts val="0"/>
              </a:spcBef>
              <a:spcAft>
                <a:spcPts val="0"/>
              </a:spcAft>
              <a:buClrTx/>
              <a:buSzTx/>
              <a:buFontTx/>
              <a:buNone/>
              <a:tabLst/>
              <a:defRPr kumimoji="0" sz="1600" b="0" i="0" u="none" strike="noStrike" cap="none" spc="0" normalizeH="0" baseline="0">
                <a:ln>
                  <a:noFill/>
                </a:ln>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ue to the potential increased risk for symptomatic hypotension, </a:t>
            </a:r>
            <a:r>
              <a:rPr kumimoji="0" lang="en-US" sz="1400" b="1" i="0" u="none" strike="noStrike" kern="1200" cap="none" spc="0" normalizeH="0" baseline="0" noProof="0" dirty="0">
                <a:ln>
                  <a:noFill/>
                </a:ln>
                <a:solidFill>
                  <a:srgbClr val="000000"/>
                </a:solidFill>
                <a:effectLst/>
                <a:uLnTx/>
                <a:uFillTx/>
                <a:latin typeface="Arial"/>
                <a:ea typeface="+mn-ea"/>
                <a:cs typeface="+mn-cs"/>
              </a:rPr>
              <a:t>use is not recommended in conjunction with PDE-5 inhibitors (e.g. sildenafil). </a:t>
            </a:r>
            <a:br>
              <a:rPr kumimoji="0" lang="en-US" sz="1400" b="1" i="0" u="none" strike="noStrike" kern="1200" cap="none" spc="0" normalizeH="0" baseline="0" noProof="0" dirty="0">
                <a:ln>
                  <a:noFill/>
                </a:ln>
                <a:solidFill>
                  <a:srgbClr val="000000"/>
                </a:solidFill>
                <a:effectLst/>
                <a:uLnTx/>
                <a:uFillTx/>
                <a:latin typeface="Arial"/>
                <a:ea typeface="+mn-ea"/>
                <a:cs typeface="+mn-cs"/>
              </a:rPr>
            </a:br>
            <a:r>
              <a:rPr kumimoji="0" lang="en-US" sz="1400" b="1" i="0" u="none" strike="noStrike" kern="1200" cap="none" spc="0" normalizeH="0" baseline="0" noProof="0" dirty="0">
                <a:ln>
                  <a:noFill/>
                </a:ln>
                <a:solidFill>
                  <a:srgbClr val="000000"/>
                </a:solidFill>
                <a:effectLst/>
                <a:uLnTx/>
                <a:uFillTx/>
                <a:latin typeface="Arial"/>
                <a:ea typeface="+mn-ea"/>
                <a:cs typeface="+mn-cs"/>
              </a:rPr>
              <a:t>Use of other sGC stimulators is contraindicated</a:t>
            </a:r>
            <a:r>
              <a:rPr kumimoji="0" lang="en-US" sz="1400" b="0" i="0" u="none" strike="noStrike" kern="1200" cap="none" spc="0" normalizeH="0" baseline="30000" noProof="0" dirty="0">
                <a:ln>
                  <a:noFill/>
                </a:ln>
                <a:solidFill>
                  <a:srgbClr val="000000"/>
                </a:solidFill>
                <a:effectLst/>
                <a:uLnTx/>
                <a:uFillTx/>
                <a:latin typeface="Arial"/>
                <a:ea typeface="+mn-ea"/>
                <a:cs typeface="+mn-cs"/>
              </a:rPr>
              <a:t>#1,2</a:t>
            </a:r>
          </a:p>
        </p:txBody>
      </p:sp>
      <p:sp>
        <p:nvSpPr>
          <p:cNvPr id="44" name="TextBox 43">
            <a:extLst>
              <a:ext uri="{FF2B5EF4-FFF2-40B4-BE49-F238E27FC236}">
                <a16:creationId xmlns:a16="http://schemas.microsoft.com/office/drawing/2014/main" id="{EF306928-4048-427D-80D1-90EF42FB83D9}"/>
              </a:ext>
            </a:extLst>
          </p:cNvPr>
          <p:cNvSpPr txBox="1"/>
          <p:nvPr/>
        </p:nvSpPr>
        <p:spPr>
          <a:xfrm>
            <a:off x="587726" y="4710389"/>
            <a:ext cx="8469233" cy="525135"/>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defPPr>
              <a:defRPr lang="hu-HU"/>
            </a:defPPr>
            <a:lvl1pPr marR="0" lvl="0" indent="0" algn="ctr" fontAlgn="auto">
              <a:lnSpc>
                <a:spcPct val="110000"/>
              </a:lnSpc>
              <a:spcBef>
                <a:spcPts val="0"/>
              </a:spcBef>
              <a:spcAft>
                <a:spcPts val="0"/>
              </a:spcAft>
              <a:buClrTx/>
              <a:buSzTx/>
              <a:buFontTx/>
              <a:buNone/>
              <a:tabLst/>
              <a:defRPr kumimoji="0" sz="1400" b="0" i="0" u="none" strike="noStrike" cap="none" spc="0" normalizeH="0" baseline="0">
                <a:ln>
                  <a:noFill/>
                </a:ln>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ssess your patient’s tolerability</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oceed with uptitration in the absence of symptomatic hypotension or SBP &lt;90 mmHg</a:t>
            </a:r>
            <a:r>
              <a:rPr kumimoji="0" lang="en-US" sz="1400" b="0" i="0" u="none" strike="noStrike" kern="1200" cap="none" spc="0" normalizeH="0" baseline="30000" noProof="0" dirty="0">
                <a:ln>
                  <a:noFill/>
                </a:ln>
                <a:solidFill>
                  <a:srgbClr val="000000"/>
                </a:solidFill>
                <a:effectLst/>
                <a:uLnTx/>
                <a:uFillTx/>
                <a:latin typeface="Arial"/>
                <a:ea typeface="+mn-ea"/>
                <a:cs typeface="+mn-cs"/>
              </a:rPr>
              <a:t>1</a:t>
            </a:r>
            <a:endParaRPr kumimoji="0" lang="en-GB" sz="1400" b="0" i="0" u="none" strike="noStrike" kern="1200" cap="none" spc="0" normalizeH="0" baseline="30000" noProof="0" dirty="0">
              <a:ln>
                <a:noFill/>
              </a:ln>
              <a:solidFill>
                <a:srgbClr val="000000"/>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9A56491B-DF94-CCE8-400B-D91580B16441}"/>
              </a:ext>
            </a:extLst>
          </p:cNvPr>
          <p:cNvCxnSpPr>
            <a:cxnSpLocks/>
          </p:cNvCxnSpPr>
          <p:nvPr/>
        </p:nvCxnSpPr>
        <p:spPr>
          <a:xfrm>
            <a:off x="2793689" y="3900554"/>
            <a:ext cx="0" cy="596303"/>
          </a:xfrm>
          <a:prstGeom prst="line">
            <a:avLst/>
          </a:prstGeom>
          <a:ln w="158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C4D3AC2-4281-69FA-2DE5-5CB87466C214}"/>
              </a:ext>
            </a:extLst>
          </p:cNvPr>
          <p:cNvCxnSpPr>
            <a:cxnSpLocks/>
          </p:cNvCxnSpPr>
          <p:nvPr/>
        </p:nvCxnSpPr>
        <p:spPr>
          <a:xfrm>
            <a:off x="4314884" y="3420531"/>
            <a:ext cx="0" cy="1076326"/>
          </a:xfrm>
          <a:prstGeom prst="line">
            <a:avLst/>
          </a:prstGeom>
          <a:ln w="158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Footer Placeholder 5">
            <a:extLst>
              <a:ext uri="{FF2B5EF4-FFF2-40B4-BE49-F238E27FC236}">
                <a16:creationId xmlns:a16="http://schemas.microsoft.com/office/drawing/2014/main" id="{FFF79E26-86E4-4700-BED9-B7CC70BF2E4E}"/>
              </a:ext>
            </a:extLst>
          </p:cNvPr>
          <p:cNvSpPr>
            <a:spLocks noGrp="1"/>
          </p:cNvSpPr>
          <p:nvPr>
            <p:ph type="ftr" sz="quarter" idx="17"/>
          </p:nvPr>
        </p:nvSpPr>
        <p:spPr>
          <a:xfrm>
            <a:off x="600073" y="6031629"/>
            <a:ext cx="992505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To be taken with food.</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1,2 </a:t>
            </a:r>
            <a:b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Concomitant use of short-acting nitrates is well tolerated, but there is limited experience with long-acting nitrates in patients with HF. For full information regarding contraindications and precautions related to vericiguat use, please refer to the relevant local Prescribing Information.</a:t>
            </a: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1,2</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a:r>
            <a:b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HF, heart failure; od, once daily;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DE-5,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phosphodiesterase; sGC, soluble guanylate cyclase.</a:t>
            </a:r>
            <a:b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References: 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Bayer AG. Verquvo</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vericiguat) SmPC. https://www.ema.europa.eu/documents/product-information/verquvo-epar-product-information_en.pdf;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2.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Merck Sharp &amp; Dohme Corp</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VERQUVO™ (Vericiguat): Highlights of prescribing information.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hlinkClick r:id="rId6"/>
              </a:rPr>
              <a:t>https://www.merck.com/product/usa/pi_circulars/v/verquvo/verquvo_pi.pdf</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098D58E4-C71F-457E-A46A-FA056EFB2510}"/>
              </a:ext>
            </a:extLst>
          </p:cNvPr>
          <p:cNvGrpSpPr/>
          <p:nvPr/>
        </p:nvGrpSpPr>
        <p:grpSpPr>
          <a:xfrm>
            <a:off x="5440102" y="3765219"/>
            <a:ext cx="3228958" cy="561906"/>
            <a:chOff x="9771788" y="3989534"/>
            <a:chExt cx="3809583" cy="622602"/>
          </a:xfrm>
        </p:grpSpPr>
        <p:sp>
          <p:nvSpPr>
            <p:cNvPr id="37" name="Rectangle: Rounded Corners 36">
              <a:extLst>
                <a:ext uri="{FF2B5EF4-FFF2-40B4-BE49-F238E27FC236}">
                  <a16:creationId xmlns:a16="http://schemas.microsoft.com/office/drawing/2014/main" id="{0DFB99F8-7281-4121-992E-997DADEA6706}"/>
                </a:ext>
              </a:extLst>
            </p:cNvPr>
            <p:cNvSpPr/>
            <p:nvPr/>
          </p:nvSpPr>
          <p:spPr>
            <a:xfrm>
              <a:off x="9771788" y="3989534"/>
              <a:ext cx="3809582" cy="622602"/>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8" name="Graphic 37" descr="Fork and knife outline">
              <a:extLst>
                <a:ext uri="{FF2B5EF4-FFF2-40B4-BE49-F238E27FC236}">
                  <a16:creationId xmlns:a16="http://schemas.microsoft.com/office/drawing/2014/main" id="{FEE0EE3C-F7F7-4681-A4D0-780116F15E5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45267" y="4091769"/>
              <a:ext cx="434335" cy="434334"/>
            </a:xfrm>
            <a:prstGeom prst="rect">
              <a:avLst/>
            </a:prstGeom>
          </p:spPr>
        </p:pic>
        <p:sp>
          <p:nvSpPr>
            <p:cNvPr id="39" name="TextBox 38">
              <a:extLst>
                <a:ext uri="{FF2B5EF4-FFF2-40B4-BE49-F238E27FC236}">
                  <a16:creationId xmlns:a16="http://schemas.microsoft.com/office/drawing/2014/main" id="{0E5A0617-60E3-464C-A85E-BFB6D1B9FB8E}"/>
                </a:ext>
              </a:extLst>
            </p:cNvPr>
            <p:cNvSpPr txBox="1"/>
            <p:nvPr/>
          </p:nvSpPr>
          <p:spPr>
            <a:xfrm>
              <a:off x="10279602" y="4185300"/>
              <a:ext cx="3301769" cy="3069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Vericiguat should be taken with food</a:t>
              </a:r>
              <a:r>
                <a:rPr kumimoji="0" lang="en-US" sz="1200" b="0" i="0" u="none" strike="noStrike" kern="1200" cap="none" spc="0" normalizeH="0" baseline="30000" noProof="0" dirty="0">
                  <a:ln>
                    <a:noFill/>
                  </a:ln>
                  <a:solidFill>
                    <a:srgbClr val="000000"/>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2111889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descr="Users">
            <a:extLst>
              <a:ext uri="{FF2B5EF4-FFF2-40B4-BE49-F238E27FC236}">
                <a16:creationId xmlns:a16="http://schemas.microsoft.com/office/drawing/2014/main" id="{D9320F67-821C-41CC-BCA0-53B87E85BFE6}"/>
              </a:ext>
            </a:extLst>
          </p:cNvPr>
          <p:cNvPicPr>
            <a:picLocks noGrp="1" noChangeAspect="1"/>
          </p:cNvPicPr>
          <p:nvPr>
            <p:ph sz="quarter" idx="13"/>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03812" y="3170237"/>
            <a:ext cx="914400" cy="914400"/>
          </a:xfrm>
        </p:spPr>
      </p:pic>
      <p:sp>
        <p:nvSpPr>
          <p:cNvPr id="2" name="Title 1">
            <a:extLst>
              <a:ext uri="{FF2B5EF4-FFF2-40B4-BE49-F238E27FC236}">
                <a16:creationId xmlns:a16="http://schemas.microsoft.com/office/drawing/2014/main" id="{EFB362D2-1324-41F7-BC48-F3C9CCABB62A}"/>
              </a:ext>
            </a:extLst>
          </p:cNvPr>
          <p:cNvSpPr>
            <a:spLocks noGrp="1"/>
          </p:cNvSpPr>
          <p:nvPr>
            <p:ph type="title"/>
          </p:nvPr>
        </p:nvSpPr>
        <p:spPr/>
        <p:txBody>
          <a:bodyPr/>
          <a:lstStyle/>
          <a:p>
            <a:r>
              <a:rPr lang="en-US" dirty="0"/>
              <a:t>Vericiguat can be initiated pre-discharge to improve CV outcomes in patients following a worsening HF event</a:t>
            </a:r>
            <a:r>
              <a:rPr lang="en-US" baseline="30000" dirty="0"/>
              <a:t>1</a:t>
            </a:r>
            <a:endParaRPr lang="en-US" dirty="0"/>
          </a:p>
        </p:txBody>
      </p:sp>
      <p:sp>
        <p:nvSpPr>
          <p:cNvPr id="3" name="Slide Number Placeholder 2">
            <a:extLst>
              <a:ext uri="{FF2B5EF4-FFF2-40B4-BE49-F238E27FC236}">
                <a16:creationId xmlns:a16="http://schemas.microsoft.com/office/drawing/2014/main" id="{8C5884D1-0AC7-4B3D-8885-8F5BBA566E5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800" b="1"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03A37A55-00E3-4593-AC4D-139A4D53298E}"/>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CV, cardiovascular; HF, heart failure; HFH, heart failure hospitalization; HFrEF, heart failure with reduced ejection fraction; NNT, number needed to treat; PY, patient-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References: 1.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rmstrong PW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N Engl J M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0;382:1883–1893; 2</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Bayer AG. Verquvo® (vericiguat)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Summary of Product Characteristics. 2021. Available at: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https://www.medicines.org.uk/emc/product/12773/smpc#gref</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3</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McDonagh TA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Eur Heart J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42:3599–3726.</a:t>
            </a:r>
          </a:p>
        </p:txBody>
      </p:sp>
      <p:graphicFrame>
        <p:nvGraphicFramePr>
          <p:cNvPr id="5" name="Diagram 4">
            <a:extLst>
              <a:ext uri="{FF2B5EF4-FFF2-40B4-BE49-F238E27FC236}">
                <a16:creationId xmlns:a16="http://schemas.microsoft.com/office/drawing/2014/main" id="{8803F77B-9626-4B1A-BE71-6182B303E517}"/>
              </a:ext>
            </a:extLst>
          </p:cNvPr>
          <p:cNvGraphicFramePr/>
          <p:nvPr/>
        </p:nvGraphicFramePr>
        <p:xfrm>
          <a:off x="482851" y="1376772"/>
          <a:ext cx="10221661" cy="462116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8" name="Content Placeholder 4" descr="Hospital">
            <a:extLst>
              <a:ext uri="{FF2B5EF4-FFF2-40B4-BE49-F238E27FC236}">
                <a16:creationId xmlns:a16="http://schemas.microsoft.com/office/drawing/2014/main" id="{9BD7F719-BC06-4E55-BA37-18D1EB597DF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648656" y="4543339"/>
            <a:ext cx="965838" cy="965838"/>
          </a:xfrm>
          <a:prstGeom prst="rect">
            <a:avLst/>
          </a:prstGeom>
        </p:spPr>
      </p:pic>
      <p:pic>
        <p:nvPicPr>
          <p:cNvPr id="13" name="Graphic 12" descr="Bullseye">
            <a:extLst>
              <a:ext uri="{FF2B5EF4-FFF2-40B4-BE49-F238E27FC236}">
                <a16:creationId xmlns:a16="http://schemas.microsoft.com/office/drawing/2014/main" id="{33CD5ADC-D2DF-40C9-B4AA-E8EA0C39C9D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7540" y="3180522"/>
            <a:ext cx="1008000" cy="1008000"/>
          </a:xfrm>
          <a:prstGeom prst="rect">
            <a:avLst/>
          </a:prstGeom>
        </p:spPr>
      </p:pic>
      <p:pic>
        <p:nvPicPr>
          <p:cNvPr id="9" name="Content Placeholder 10" descr="Users">
            <a:extLst>
              <a:ext uri="{FF2B5EF4-FFF2-40B4-BE49-F238E27FC236}">
                <a16:creationId xmlns:a16="http://schemas.microsoft.com/office/drawing/2014/main" id="{8FD36A6D-F907-4B65-AD23-F713878A6E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3504" y="1812370"/>
            <a:ext cx="1008000" cy="1008000"/>
          </a:xfrm>
          <a:prstGeom prst="rect">
            <a:avLst/>
          </a:prstGeom>
        </p:spPr>
      </p:pic>
    </p:spTree>
    <p:extLst>
      <p:ext uri="{BB962C8B-B14F-4D97-AF65-F5344CB8AC3E}">
        <p14:creationId xmlns:p14="http://schemas.microsoft.com/office/powerpoint/2010/main" val="23833663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822CF90-730D-4604-9BDA-009A36E93277}"/>
              </a:ext>
            </a:extLst>
          </p:cNvPr>
          <p:cNvSpPr>
            <a:spLocks noGrp="1"/>
          </p:cNvSpPr>
          <p:nvPr>
            <p:ph type="title"/>
          </p:nvPr>
        </p:nvSpPr>
        <p:spPr/>
        <p:txBody>
          <a:bodyPr/>
          <a:lstStyle/>
          <a:p>
            <a:r>
              <a:rPr lang="en-US" dirty="0"/>
              <a:t>Case 2: Abhishek Shukla</a:t>
            </a:r>
          </a:p>
        </p:txBody>
      </p:sp>
      <p:sp>
        <p:nvSpPr>
          <p:cNvPr id="4" name="Slide Number Placeholder 3">
            <a:extLst>
              <a:ext uri="{FF2B5EF4-FFF2-40B4-BE49-F238E27FC236}">
                <a16:creationId xmlns:a16="http://schemas.microsoft.com/office/drawing/2014/main" id="{43CF7243-047E-4945-B641-D189E5FA16E4}"/>
              </a:ext>
            </a:extLst>
          </p:cNvPr>
          <p:cNvSpPr>
            <a:spLocks noGrp="1"/>
          </p:cNvSpPr>
          <p:nvPr>
            <p:ph type="sldNum" sz="quarter" idx="4294967295"/>
          </p:nvPr>
        </p:nvSpPr>
        <p:spPr>
          <a:xfrm>
            <a:off x="11710988" y="6340475"/>
            <a:ext cx="4810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44140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8067E0B-03A3-4DF4-AEAA-332707C155EB}"/>
              </a:ext>
            </a:extLst>
          </p:cNvPr>
          <p:cNvGrpSpPr/>
          <p:nvPr/>
        </p:nvGrpSpPr>
        <p:grpSpPr>
          <a:xfrm>
            <a:off x="767652" y="2168557"/>
            <a:ext cx="2196000" cy="3003899"/>
            <a:chOff x="475281" y="2084969"/>
            <a:chExt cx="2390444" cy="3003899"/>
          </a:xfrm>
        </p:grpSpPr>
        <p:graphicFrame>
          <p:nvGraphicFramePr>
            <p:cNvPr id="62" name="Chart 61">
              <a:extLst>
                <a:ext uri="{FF2B5EF4-FFF2-40B4-BE49-F238E27FC236}">
                  <a16:creationId xmlns:a16="http://schemas.microsoft.com/office/drawing/2014/main" id="{C20284C3-FB90-499B-92D5-46D1041CDC54}"/>
                </a:ext>
              </a:extLst>
            </p:cNvPr>
            <p:cNvGraphicFramePr/>
            <p:nvPr/>
          </p:nvGraphicFramePr>
          <p:xfrm>
            <a:off x="475281" y="2084969"/>
            <a:ext cx="2390444" cy="3003899"/>
          </p:xfrm>
          <a:graphic>
            <a:graphicData uri="http://schemas.openxmlformats.org/drawingml/2006/chart">
              <c:chart xmlns:c="http://schemas.openxmlformats.org/drawingml/2006/chart" xmlns:r="http://schemas.openxmlformats.org/officeDocument/2006/relationships" r:id="rId3"/>
            </a:graphicData>
          </a:graphic>
        </p:graphicFrame>
        <p:grpSp>
          <p:nvGrpSpPr>
            <p:cNvPr id="104" name="Group 103">
              <a:extLst>
                <a:ext uri="{FF2B5EF4-FFF2-40B4-BE49-F238E27FC236}">
                  <a16:creationId xmlns:a16="http://schemas.microsoft.com/office/drawing/2014/main" id="{BD452090-02DD-49A9-A462-2C4624EC5D3F}"/>
                </a:ext>
              </a:extLst>
            </p:cNvPr>
            <p:cNvGrpSpPr/>
            <p:nvPr/>
          </p:nvGrpSpPr>
          <p:grpSpPr>
            <a:xfrm>
              <a:off x="1306942" y="3324728"/>
              <a:ext cx="893500" cy="382486"/>
              <a:chOff x="5813178" y="1483448"/>
              <a:chExt cx="641118" cy="420280"/>
            </a:xfrm>
          </p:grpSpPr>
          <p:cxnSp>
            <p:nvCxnSpPr>
              <p:cNvPr id="105" name="Straight Connector 104">
                <a:extLst>
                  <a:ext uri="{FF2B5EF4-FFF2-40B4-BE49-F238E27FC236}">
                    <a16:creationId xmlns:a16="http://schemas.microsoft.com/office/drawing/2014/main" id="{42F7A237-2887-41E4-8850-952D011AF0EE}"/>
                  </a:ext>
                </a:extLst>
              </p:cNvPr>
              <p:cNvCxnSpPr/>
              <p:nvPr/>
            </p:nvCxnSpPr>
            <p:spPr>
              <a:xfrm>
                <a:off x="5813178" y="1483448"/>
                <a:ext cx="641118" cy="0"/>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106" name="Straight Connector 105">
                <a:extLst>
                  <a:ext uri="{FF2B5EF4-FFF2-40B4-BE49-F238E27FC236}">
                    <a16:creationId xmlns:a16="http://schemas.microsoft.com/office/drawing/2014/main" id="{CB867358-3AA1-4E06-BC49-A3251E473E1F}"/>
                  </a:ext>
                </a:extLst>
              </p:cNvPr>
              <p:cNvCxnSpPr>
                <a:cxnSpLocks/>
              </p:cNvCxnSpPr>
              <p:nvPr/>
            </p:nvCxnSpPr>
            <p:spPr>
              <a:xfrm flipV="1">
                <a:off x="6452350" y="1483453"/>
                <a:ext cx="0" cy="420275"/>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110" name="Straight Connector 109">
                <a:extLst>
                  <a:ext uri="{FF2B5EF4-FFF2-40B4-BE49-F238E27FC236}">
                    <a16:creationId xmlns:a16="http://schemas.microsoft.com/office/drawing/2014/main" id="{6701EBFC-1DAE-4CB6-9536-44674D54B03C}"/>
                  </a:ext>
                </a:extLst>
              </p:cNvPr>
              <p:cNvCxnSpPr>
                <a:cxnSpLocks/>
              </p:cNvCxnSpPr>
              <p:nvPr/>
            </p:nvCxnSpPr>
            <p:spPr>
              <a:xfrm flipV="1">
                <a:off x="5816905" y="1483449"/>
                <a:ext cx="0" cy="161480"/>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grpSp>
      </p:grpSp>
      <p:sp>
        <p:nvSpPr>
          <p:cNvPr id="59" name="Slide Number Placeholder 2">
            <a:extLst>
              <a:ext uri="{FF2B5EF4-FFF2-40B4-BE49-F238E27FC236}">
                <a16:creationId xmlns:a16="http://schemas.microsoft.com/office/drawing/2014/main" id="{83C0F32B-5D59-4B05-A6D4-B4D9C9DDD6C9}"/>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5E63FBB-E142-411B-9A8C-70B4299FF365}"/>
              </a:ext>
            </a:extLst>
          </p:cNvPr>
          <p:cNvSpPr>
            <a:spLocks noGrp="1"/>
          </p:cNvSpPr>
          <p:nvPr>
            <p:ph type="title"/>
          </p:nvPr>
        </p:nvSpPr>
        <p:spPr/>
        <p:txBody>
          <a:bodyPr/>
          <a:lstStyle/>
          <a:p>
            <a:r>
              <a:rPr lang="en-GB"/>
              <a:t>Residual risk in </a:t>
            </a:r>
            <a:r>
              <a:rPr lang="en-GB" err="1"/>
              <a:t>HFrEF</a:t>
            </a:r>
            <a:r>
              <a:rPr lang="en-GB"/>
              <a:t> remains despite the use of HF medications</a:t>
            </a:r>
            <a:endParaRPr lang="en-GB" noProof="0"/>
          </a:p>
        </p:txBody>
      </p:sp>
      <p:sp>
        <p:nvSpPr>
          <p:cNvPr id="61" name="Footer Placeholder 3">
            <a:extLst>
              <a:ext uri="{FF2B5EF4-FFF2-40B4-BE49-F238E27FC236}">
                <a16:creationId xmlns:a16="http://schemas.microsoft.com/office/drawing/2014/main" id="{B4A8C819-ACB7-48F9-BE9B-6A7904237906}"/>
              </a:ext>
            </a:extLst>
          </p:cNvPr>
          <p:cNvSpPr>
            <a:spLocks noGrp="1"/>
          </p:cNvSpPr>
          <p:nvPr>
            <p:ph type="ftr"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Major medical therapies listed. Each HF study was conducted independently, and no head-to-head HF studies have been completed that allow for direct comparis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ACEi, angiotensin-converting enzyme inhibitor; ARB, angiotensin receptor blocker; ARNi, angiotensin receptor–neprilysin inhibitor; ARR, absolute rate reduction; CV, cardiovascular; HF, heart failure; HFH, heart failure hospitalization; HFrEF, heart failure with reduced ejection fraction; MRA, mineralocorticoid receptor antagonist; PY, patient-years; RRR, relative risk reduction; SGLT2i, sodium–glucose cotransporter 2 inhibitor; SoC, standard of c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References: 1. </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McMurray JJV </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N </a:t>
            </a:r>
            <a:r>
              <a:rPr kumimoji="0" lang="en-GB" alt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Engl</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J Med</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4;371:993–1004; </a:t>
            </a:r>
            <a:r>
              <a:rPr kumimoji="0" lang="en-GB" alt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2. </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Butler J </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Eur J Heart Fail</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20;22:1991–1993; </a:t>
            </a:r>
            <a:r>
              <a:rPr kumimoji="0" lang="en-GB" alt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3. </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McMurray JJV </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N </a:t>
            </a:r>
            <a:r>
              <a:rPr kumimoji="0" lang="en-GB" alt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Engl</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J Med</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9;381:1995–2008;</a:t>
            </a:r>
            <a:b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br>
            <a:r>
              <a:rPr kumimoji="0" lang="en-GB" alt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4. </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Packer M </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N </a:t>
            </a:r>
            <a:r>
              <a:rPr kumimoji="0" lang="en-GB" alt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Engl</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J Med </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2020;383:1413–1424; </a:t>
            </a:r>
            <a:r>
              <a:rPr kumimoji="0" lang="en-GB" alt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5. </a:t>
            </a:r>
            <a:r>
              <a:rPr kumimoji="0" lang="en-GB" alt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Teerlink</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JR </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N </a:t>
            </a:r>
            <a:r>
              <a:rPr kumimoji="0" lang="en-GB" alt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Engl</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 J Med</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21;384:105–116;</a:t>
            </a:r>
            <a:r>
              <a:rPr kumimoji="0" lang="en-GB" alt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 6. </a:t>
            </a:r>
            <a:r>
              <a:rPr kumimoji="0" lang="en-GB" altLang="en-US" sz="800" b="0" i="0" u="none" strike="noStrike" kern="1200" cap="none" spc="0" normalizeH="0" baseline="0" noProof="0" err="1">
                <a:ln>
                  <a:noFill/>
                </a:ln>
                <a:solidFill>
                  <a:srgbClr val="000000">
                    <a:tint val="75000"/>
                  </a:srgbClr>
                </a:solidFill>
                <a:effectLst/>
                <a:uLnTx/>
                <a:uFillTx/>
                <a:latin typeface="Arial" panose="020B0604020202020204"/>
                <a:ea typeface="+mn-ea"/>
                <a:cs typeface="+mn-cs"/>
              </a:rPr>
              <a:t>Teerlink</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JR </a:t>
            </a:r>
            <a:r>
              <a:rPr kumimoji="0" lang="en-GB" alt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Eur J Heart Fail</a:t>
            </a:r>
            <a:r>
              <a:rPr kumimoji="0" lang="en-GB" alt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20;22:2160‒2171. </a:t>
            </a:r>
            <a:endPar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6" name="Rectangle 1">
            <a:extLst>
              <a:ext uri="{FF2B5EF4-FFF2-40B4-BE49-F238E27FC236}">
                <a16:creationId xmlns:a16="http://schemas.microsoft.com/office/drawing/2014/main" id="{21DE2FBC-2489-4C09-8642-CEF59B3435A8}"/>
              </a:ext>
            </a:extLst>
          </p:cNvPr>
          <p:cNvSpPr>
            <a:spLocks noChangeArrowheads="1"/>
          </p:cNvSpPr>
          <p:nvPr/>
        </p:nvSpPr>
        <p:spPr bwMode="auto">
          <a:xfrm>
            <a:off x="0" y="-138499"/>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3" name="Rectangle 20">
            <a:extLst>
              <a:ext uri="{FF2B5EF4-FFF2-40B4-BE49-F238E27FC236}">
                <a16:creationId xmlns:a16="http://schemas.microsoft.com/office/drawing/2014/main" id="{5010840A-6407-4038-A6B1-3FAD66B756CC}"/>
              </a:ext>
            </a:extLst>
          </p:cNvPr>
          <p:cNvSpPr>
            <a:spLocks noChangeArrowheads="1"/>
          </p:cNvSpPr>
          <p:nvPr/>
        </p:nvSpPr>
        <p:spPr bwMode="auto">
          <a:xfrm rot="16200000">
            <a:off x="-433732" y="3550224"/>
            <a:ext cx="2298696" cy="253916"/>
          </a:xfrm>
          <a:prstGeom prst="rect">
            <a:avLst/>
          </a:prstGeom>
          <a:noFill/>
          <a:ln>
            <a:noFill/>
          </a:ln>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ct val="0"/>
              </a:spcAft>
              <a:buClrTx/>
              <a:buSzTx/>
              <a:buFont typeface="Wingdings" pitchFamily="2" charset="2"/>
              <a:buNone/>
              <a:tabLst/>
              <a:defRPr/>
            </a:pPr>
            <a:r>
              <a:rPr kumimoji="0" lang="en-GB" altLang="en-US" sz="1050" b="1" i="0" u="none" strike="noStrike" kern="1200" cap="none" spc="0" normalizeH="0" baseline="0" noProof="0">
                <a:ln>
                  <a:noFill/>
                </a:ln>
                <a:solidFill>
                  <a:srgbClr val="000000"/>
                </a:solidFill>
                <a:effectLst/>
                <a:uLnTx/>
                <a:uFillTx/>
                <a:latin typeface="Arial" pitchFamily="34" charset="0"/>
                <a:ea typeface="MS PGothic" charset="0"/>
                <a:cs typeface="+mn-cs"/>
              </a:rPr>
              <a:t>HFH or CV death (events/100 PY)</a:t>
            </a:r>
          </a:p>
        </p:txBody>
      </p:sp>
      <p:sp>
        <p:nvSpPr>
          <p:cNvPr id="64" name="TextBox 63">
            <a:extLst>
              <a:ext uri="{FF2B5EF4-FFF2-40B4-BE49-F238E27FC236}">
                <a16:creationId xmlns:a16="http://schemas.microsoft.com/office/drawing/2014/main" id="{7597DCC6-3F60-44EE-A19B-BB93982768D3}"/>
              </a:ext>
            </a:extLst>
          </p:cNvPr>
          <p:cNvSpPr txBox="1"/>
          <p:nvPr/>
        </p:nvSpPr>
        <p:spPr>
          <a:xfrm>
            <a:off x="957997" y="2708920"/>
            <a:ext cx="1990016" cy="707874"/>
          </a:xfrm>
          <a:prstGeom prst="rect">
            <a:avLst/>
          </a:prstGeom>
        </p:spPr>
        <p:txBody>
          <a:bodyPr vert="horz" wrap="square" lIns="91428" tIns="45714" rIns="91428" bIns="45714" rtlCol="0">
            <a:spAutoFit/>
          </a:bodyPr>
          <a:lstStyle/>
          <a:p>
            <a:pPr marL="0" marR="0" lvl="0" indent="0" algn="ctr" defTabSz="609524"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20" normalizeH="0" baseline="0" noProof="0">
                <a:ln>
                  <a:noFill/>
                </a:ln>
                <a:solidFill>
                  <a:srgbClr val="000000"/>
                </a:solidFill>
                <a:effectLst/>
                <a:uLnTx/>
                <a:uFillTx/>
                <a:latin typeface="Arial" panose="020B0604020202020204"/>
                <a:ea typeface="MS PGothic" charset="0"/>
                <a:cs typeface="+mn-cs"/>
              </a:rPr>
              <a:t>N=8,442</a:t>
            </a:r>
          </a:p>
          <a:p>
            <a:pPr marL="0" marR="0" lvl="0" indent="0" algn="ctr" defTabSz="60952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20" normalizeH="0" baseline="0" noProof="0">
                <a:ln>
                  <a:noFill/>
                </a:ln>
                <a:solidFill>
                  <a:srgbClr val="000000"/>
                </a:solidFill>
                <a:effectLst/>
                <a:uLnTx/>
                <a:uFillTx/>
                <a:latin typeface="Arial" panose="020B0604020202020204"/>
                <a:ea typeface="MS PGothic" charset="0"/>
                <a:cs typeface="+mn-cs"/>
              </a:rPr>
              <a:t>ARR 2.7; RRR 20%</a:t>
            </a:r>
          </a:p>
          <a:p>
            <a:pPr marL="0" marR="0" lvl="0" indent="0" algn="ctr" defTabSz="60952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20" normalizeH="0" baseline="0" noProof="0">
                <a:ln>
                  <a:noFill/>
                </a:ln>
                <a:solidFill>
                  <a:srgbClr val="000000"/>
                </a:solidFill>
                <a:effectLst/>
                <a:uLnTx/>
                <a:uFillTx/>
                <a:latin typeface="Arial" panose="020B0604020202020204"/>
                <a:ea typeface="MS PGothic" charset="0"/>
                <a:cs typeface="+mn-cs"/>
              </a:rPr>
              <a:t>p&lt;0.001</a:t>
            </a:r>
            <a:br>
              <a:rPr kumimoji="0" lang="en-GB" sz="1000" b="0" i="0" u="none" strike="noStrike" kern="1200" cap="none" spc="-2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20" normalizeH="0" baseline="0" noProof="0">
                <a:ln>
                  <a:noFill/>
                </a:ln>
                <a:solidFill>
                  <a:srgbClr val="000000"/>
                </a:solidFill>
                <a:effectLst/>
                <a:uLnTx/>
                <a:uFillTx/>
                <a:latin typeface="Arial" panose="020B0604020202020204"/>
                <a:ea typeface="+mn-ea"/>
                <a:cs typeface="+mn-cs"/>
              </a:rPr>
              <a:t>Median follow-up: 27 months</a:t>
            </a:r>
            <a:endParaRPr kumimoji="0" lang="en-GB" sz="1000" b="0" i="0" u="none" strike="noStrike" kern="1200" cap="none" spc="-40" normalizeH="0" baseline="0" noProof="0">
              <a:ln>
                <a:noFill/>
              </a:ln>
              <a:solidFill>
                <a:srgbClr val="000000"/>
              </a:solidFill>
              <a:effectLst/>
              <a:uLnTx/>
              <a:uFillTx/>
              <a:latin typeface="Arial" panose="020B0604020202020204"/>
              <a:ea typeface="MS PGothic" charset="0"/>
              <a:cs typeface="+mn-cs"/>
            </a:endParaRPr>
          </a:p>
        </p:txBody>
      </p:sp>
      <p:sp>
        <p:nvSpPr>
          <p:cNvPr id="65" name="Text Box 8">
            <a:extLst>
              <a:ext uri="{FF2B5EF4-FFF2-40B4-BE49-F238E27FC236}">
                <a16:creationId xmlns:a16="http://schemas.microsoft.com/office/drawing/2014/main" id="{39B0598D-1051-4A9A-B7C6-B3E0A9E7CFEF}"/>
              </a:ext>
            </a:extLst>
          </p:cNvPr>
          <p:cNvSpPr txBox="1">
            <a:spLocks noChangeArrowheads="1"/>
          </p:cNvSpPr>
          <p:nvPr/>
        </p:nvSpPr>
        <p:spPr bwMode="auto">
          <a:xfrm>
            <a:off x="4379459" y="4858552"/>
            <a:ext cx="109426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uretic</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gitalis</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CE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ARB or ARN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1"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Dapagliflozin</a:t>
            </a:r>
          </a:p>
        </p:txBody>
      </p:sp>
      <p:sp>
        <p:nvSpPr>
          <p:cNvPr id="68" name="Text Box 8">
            <a:extLst>
              <a:ext uri="{FF2B5EF4-FFF2-40B4-BE49-F238E27FC236}">
                <a16:creationId xmlns:a16="http://schemas.microsoft.com/office/drawing/2014/main" id="{420DAA6C-A1B6-491A-8E9B-FD805C0A9124}"/>
              </a:ext>
            </a:extLst>
          </p:cNvPr>
          <p:cNvSpPr txBox="1">
            <a:spLocks noChangeArrowheads="1"/>
          </p:cNvSpPr>
          <p:nvPr/>
        </p:nvSpPr>
        <p:spPr bwMode="auto">
          <a:xfrm>
            <a:off x="3650818" y="4858552"/>
            <a:ext cx="96901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uretic</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gitalis</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CE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ARB or ARNi</a:t>
            </a:r>
          </a:p>
        </p:txBody>
      </p:sp>
      <p:sp>
        <p:nvSpPr>
          <p:cNvPr id="71" name="TextBox 70">
            <a:extLst>
              <a:ext uri="{FF2B5EF4-FFF2-40B4-BE49-F238E27FC236}">
                <a16:creationId xmlns:a16="http://schemas.microsoft.com/office/drawing/2014/main" id="{0C6CFDEF-87ED-4A92-A324-BE7EB20E7AC5}"/>
              </a:ext>
            </a:extLst>
          </p:cNvPr>
          <p:cNvSpPr txBox="1"/>
          <p:nvPr/>
        </p:nvSpPr>
        <p:spPr>
          <a:xfrm>
            <a:off x="6166789" y="2073054"/>
            <a:ext cx="1893632" cy="707874"/>
          </a:xfrm>
          <a:prstGeom prst="rect">
            <a:avLst/>
          </a:prstGeom>
        </p:spPr>
        <p:txBody>
          <a:bodyPr vert="horz" wrap="square" lIns="91428" tIns="45714" rIns="91428" bIns="45714" rtlCol="0">
            <a:spAutoFit/>
          </a:bodyPr>
          <a:lstStyle/>
          <a:p>
            <a:pPr marL="0" marR="0" lvl="0" indent="0" algn="ctr" defTabSz="609524" rtl="0" eaLnBrk="0" fontAlgn="base" latinLnBrk="0" hangingPunct="0">
              <a:lnSpc>
                <a:spcPct val="100000"/>
              </a:lnSpc>
              <a:spcBef>
                <a:spcPts val="600"/>
              </a:spcBef>
              <a:spcAft>
                <a:spcPct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N=3,730</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ARR 5.2; RRR 25%</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20" normalizeH="0" baseline="0" noProof="0">
                <a:ln>
                  <a:noFill/>
                </a:ln>
                <a:solidFill>
                  <a:srgbClr val="000000"/>
                </a:solidFill>
                <a:effectLst/>
                <a:uLnTx/>
                <a:uFillTx/>
                <a:latin typeface="Arial"/>
                <a:ea typeface="MS PGothic" charset="0"/>
                <a:cs typeface="+mn-cs"/>
              </a:rPr>
              <a:t>p&lt;0.001</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Median follow-up: 16 months </a:t>
            </a:r>
          </a:p>
        </p:txBody>
      </p:sp>
      <p:sp>
        <p:nvSpPr>
          <p:cNvPr id="72" name="Text Box 8">
            <a:extLst>
              <a:ext uri="{FF2B5EF4-FFF2-40B4-BE49-F238E27FC236}">
                <a16:creationId xmlns:a16="http://schemas.microsoft.com/office/drawing/2014/main" id="{4119C113-65D5-4ED8-9696-C1DF9C11D002}"/>
              </a:ext>
            </a:extLst>
          </p:cNvPr>
          <p:cNvSpPr txBox="1">
            <a:spLocks noChangeArrowheads="1"/>
          </p:cNvSpPr>
          <p:nvPr/>
        </p:nvSpPr>
        <p:spPr bwMode="auto">
          <a:xfrm>
            <a:off x="6243106" y="4858552"/>
            <a:ext cx="96901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uretic</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CEi or ARB</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RN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p>
        </p:txBody>
      </p:sp>
      <p:sp>
        <p:nvSpPr>
          <p:cNvPr id="73" name="Text Box 8">
            <a:extLst>
              <a:ext uri="{FF2B5EF4-FFF2-40B4-BE49-F238E27FC236}">
                <a16:creationId xmlns:a16="http://schemas.microsoft.com/office/drawing/2014/main" id="{4063B68C-6E77-4246-BBC4-F06A50DCE89E}"/>
              </a:ext>
            </a:extLst>
          </p:cNvPr>
          <p:cNvSpPr txBox="1">
            <a:spLocks noChangeArrowheads="1"/>
          </p:cNvSpPr>
          <p:nvPr/>
        </p:nvSpPr>
        <p:spPr bwMode="auto">
          <a:xfrm>
            <a:off x="6960096" y="4858552"/>
            <a:ext cx="96901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uretic</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CEi or ARB</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RN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1"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Empagliflozin</a:t>
            </a:r>
          </a:p>
        </p:txBody>
      </p:sp>
      <p:sp>
        <p:nvSpPr>
          <p:cNvPr id="74" name="TextBox 73">
            <a:extLst>
              <a:ext uri="{FF2B5EF4-FFF2-40B4-BE49-F238E27FC236}">
                <a16:creationId xmlns:a16="http://schemas.microsoft.com/office/drawing/2014/main" id="{21FA15C5-00EE-4838-B441-D556BD654DDD}"/>
              </a:ext>
            </a:extLst>
          </p:cNvPr>
          <p:cNvSpPr txBox="1"/>
          <p:nvPr/>
        </p:nvSpPr>
        <p:spPr>
          <a:xfrm>
            <a:off x="8518448" y="1644494"/>
            <a:ext cx="2398685" cy="707874"/>
          </a:xfrm>
          <a:prstGeom prst="rect">
            <a:avLst/>
          </a:prstGeom>
        </p:spPr>
        <p:txBody>
          <a:bodyPr vert="horz" wrap="square" lIns="91428" tIns="45714" rIns="91428" bIns="45714" rtlCol="0">
            <a:spAutoFit/>
          </a:bodyPr>
          <a:lstStyle/>
          <a:p>
            <a:pPr marL="0" marR="0" lvl="0" indent="0" algn="ctr" defTabSz="609524" rtl="0" eaLnBrk="0" fontAlgn="base" latinLnBrk="0" hangingPunct="0">
              <a:lnSpc>
                <a:spcPct val="100000"/>
              </a:lnSpc>
              <a:spcBef>
                <a:spcPts val="600"/>
              </a:spcBef>
              <a:spcAft>
                <a:spcPct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N=8,256</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ARR 2.1; RRR 8%</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p=0.03 </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Median follow-up: 21.8 months </a:t>
            </a:r>
          </a:p>
        </p:txBody>
      </p:sp>
      <p:sp>
        <p:nvSpPr>
          <p:cNvPr id="75" name="Text Box 8">
            <a:extLst>
              <a:ext uri="{FF2B5EF4-FFF2-40B4-BE49-F238E27FC236}">
                <a16:creationId xmlns:a16="http://schemas.microsoft.com/office/drawing/2014/main" id="{BB4D0238-01FC-4556-9679-201648AB8B1E}"/>
              </a:ext>
            </a:extLst>
          </p:cNvPr>
          <p:cNvSpPr txBox="1">
            <a:spLocks noChangeArrowheads="1"/>
          </p:cNvSpPr>
          <p:nvPr/>
        </p:nvSpPr>
        <p:spPr bwMode="auto">
          <a:xfrm>
            <a:off x="8711587" y="4858552"/>
            <a:ext cx="109426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gitalis</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CE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ARB or ARN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SGLT2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Ivabradine</a:t>
            </a:r>
          </a:p>
        </p:txBody>
      </p:sp>
      <p:sp>
        <p:nvSpPr>
          <p:cNvPr id="77" name="Text Box 8">
            <a:extLst>
              <a:ext uri="{FF2B5EF4-FFF2-40B4-BE49-F238E27FC236}">
                <a16:creationId xmlns:a16="http://schemas.microsoft.com/office/drawing/2014/main" id="{AF5E17BB-81CE-452C-9EE0-C1DD591C31F6}"/>
              </a:ext>
            </a:extLst>
          </p:cNvPr>
          <p:cNvSpPr txBox="1">
            <a:spLocks noChangeArrowheads="1"/>
          </p:cNvSpPr>
          <p:nvPr/>
        </p:nvSpPr>
        <p:spPr bwMode="auto">
          <a:xfrm>
            <a:off x="9424605" y="4858552"/>
            <a:ext cx="120789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gitalis</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ACE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ARB or ARN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SGLT2i</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Ivabradine</a:t>
            </a:r>
          </a:p>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1"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Omecamtiv mecarbil</a:t>
            </a:r>
          </a:p>
        </p:txBody>
      </p:sp>
      <p:sp>
        <p:nvSpPr>
          <p:cNvPr id="78" name="Text Box 8">
            <a:extLst>
              <a:ext uri="{FF2B5EF4-FFF2-40B4-BE49-F238E27FC236}">
                <a16:creationId xmlns:a16="http://schemas.microsoft.com/office/drawing/2014/main" id="{C42A4066-9881-4FC4-A054-FB48D1E99A53}"/>
              </a:ext>
            </a:extLst>
          </p:cNvPr>
          <p:cNvSpPr txBox="1">
            <a:spLocks noChangeArrowheads="1"/>
          </p:cNvSpPr>
          <p:nvPr/>
        </p:nvSpPr>
        <p:spPr bwMode="auto">
          <a:xfrm>
            <a:off x="1094535" y="4858552"/>
            <a:ext cx="96901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ts val="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uretic</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gitalis</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ACEi</a:t>
            </a:r>
          </a:p>
        </p:txBody>
      </p:sp>
      <p:sp>
        <p:nvSpPr>
          <p:cNvPr id="79" name="Text Box 8">
            <a:extLst>
              <a:ext uri="{FF2B5EF4-FFF2-40B4-BE49-F238E27FC236}">
                <a16:creationId xmlns:a16="http://schemas.microsoft.com/office/drawing/2014/main" id="{6C0FFBEA-DCBB-4FB8-AB76-9FA895BC6E21}"/>
              </a:ext>
            </a:extLst>
          </p:cNvPr>
          <p:cNvSpPr txBox="1">
            <a:spLocks noChangeArrowheads="1"/>
          </p:cNvSpPr>
          <p:nvPr/>
        </p:nvSpPr>
        <p:spPr bwMode="auto">
          <a:xfrm>
            <a:off x="1811524" y="4858552"/>
            <a:ext cx="102212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ct val="20000"/>
              </a:spcAft>
              <a:buClrTx/>
              <a:buSzTx/>
              <a:buFont typeface="Wingdings" pitchFamily="2" charset="2"/>
              <a:buNone/>
              <a:tabLst/>
              <a:defRPr/>
            </a:pP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uretic</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t>Digitalis</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Beta blocker</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MRA</a:t>
            </a:r>
            <a:br>
              <a:rPr kumimoji="0" lang="en-GB" altLang="en-US" sz="800" b="0"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br>
            <a:r>
              <a:rPr kumimoji="0" lang="en-GB" altLang="en-US" sz="800" b="1" i="0" u="none" strike="noStrike" kern="1200" cap="none" spc="0" normalizeH="0" baseline="0" noProof="0">
                <a:ln>
                  <a:noFill/>
                </a:ln>
                <a:solidFill>
                  <a:srgbClr val="000000"/>
                </a:solidFill>
                <a:effectLst/>
                <a:uLnTx/>
                <a:uFillTx/>
                <a:latin typeface="Arial" pitchFamily="34" charset="0"/>
                <a:ea typeface="MS PGothic" charset="0"/>
                <a:cs typeface="+mn-cs"/>
                <a:sym typeface="Symbol" pitchFamily="18" charset="2"/>
              </a:rPr>
              <a:t>ARNi</a:t>
            </a:r>
          </a:p>
        </p:txBody>
      </p:sp>
      <p:sp>
        <p:nvSpPr>
          <p:cNvPr id="83" name="Rectangle 82">
            <a:extLst>
              <a:ext uri="{FF2B5EF4-FFF2-40B4-BE49-F238E27FC236}">
                <a16:creationId xmlns:a16="http://schemas.microsoft.com/office/drawing/2014/main" id="{1674C6B3-A920-4F46-B2B0-662E4CB1B571}"/>
              </a:ext>
            </a:extLst>
          </p:cNvPr>
          <p:cNvSpPr/>
          <p:nvPr/>
        </p:nvSpPr>
        <p:spPr>
          <a:xfrm>
            <a:off x="787019" y="1429035"/>
            <a:ext cx="2343427" cy="307777"/>
          </a:xfrm>
          <a:prstGeom prst="rect">
            <a:avLst/>
          </a:prstGeom>
        </p:spPr>
        <p:txBody>
          <a:bodyPr wrap="square">
            <a:spAutoFit/>
          </a:bodyPr>
          <a:lstStyle/>
          <a:p>
            <a:pPr marL="0" marR="0" lvl="0" indent="0" algn="ctr" defTabSz="609524"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20" normalizeH="0" baseline="0" noProof="0">
                <a:ln>
                  <a:noFill/>
                </a:ln>
                <a:solidFill>
                  <a:srgbClr val="704F8A"/>
                </a:solidFill>
                <a:effectLst/>
                <a:uLnTx/>
                <a:uFillTx/>
                <a:latin typeface="Arial"/>
                <a:ea typeface="MS PGothic" charset="0"/>
                <a:cs typeface="+mn-cs"/>
              </a:rPr>
              <a:t>PARADIGM-HF (2014)</a:t>
            </a:r>
            <a:r>
              <a:rPr kumimoji="0" lang="en-GB" sz="1400" b="1" i="0" u="none" strike="noStrike" kern="1200" cap="none" spc="-20" normalizeH="0" baseline="30000" noProof="0">
                <a:ln>
                  <a:noFill/>
                </a:ln>
                <a:solidFill>
                  <a:srgbClr val="704F8A"/>
                </a:solidFill>
                <a:effectLst/>
                <a:uLnTx/>
                <a:uFillTx/>
                <a:latin typeface="Arial"/>
                <a:ea typeface="MS PGothic" charset="0"/>
                <a:cs typeface="+mn-cs"/>
              </a:rPr>
              <a:t>1,2 </a:t>
            </a:r>
            <a:endParaRPr kumimoji="0" lang="en-GB" sz="1200" b="0" i="0" u="none" strike="noStrike" kern="1200" cap="none" spc="-20" normalizeH="0" baseline="0" noProof="0">
              <a:ln>
                <a:noFill/>
              </a:ln>
              <a:solidFill>
                <a:srgbClr val="704F8A"/>
              </a:solidFill>
              <a:effectLst/>
              <a:uLnTx/>
              <a:uFillTx/>
              <a:latin typeface="Arial"/>
              <a:ea typeface="MS PGothic" charset="0"/>
              <a:cs typeface="+mn-cs"/>
            </a:endParaRPr>
          </a:p>
        </p:txBody>
      </p:sp>
      <p:sp>
        <p:nvSpPr>
          <p:cNvPr id="84" name="Rectangle 83">
            <a:extLst>
              <a:ext uri="{FF2B5EF4-FFF2-40B4-BE49-F238E27FC236}">
                <a16:creationId xmlns:a16="http://schemas.microsoft.com/office/drawing/2014/main" id="{1B31F54F-6ADC-4DD7-9B4D-9BC47413ED95}"/>
              </a:ext>
            </a:extLst>
          </p:cNvPr>
          <p:cNvSpPr/>
          <p:nvPr/>
        </p:nvSpPr>
        <p:spPr>
          <a:xfrm>
            <a:off x="5693412" y="1429035"/>
            <a:ext cx="2668304" cy="307777"/>
          </a:xfrm>
          <a:prstGeom prst="rect">
            <a:avLst/>
          </a:prstGeom>
        </p:spPr>
        <p:txBody>
          <a:bodyPr wrap="square">
            <a:spAutoFit/>
          </a:bodyPr>
          <a:lstStyle/>
          <a:p>
            <a:pPr marL="0" marR="0" lvl="0" indent="0" algn="ctr" defTabSz="609524"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704F8A"/>
                </a:solidFill>
                <a:effectLst/>
                <a:uLnTx/>
                <a:uFillTx/>
                <a:latin typeface="Arial"/>
                <a:ea typeface="MS PGothic" charset="0"/>
                <a:cs typeface="+mn-cs"/>
              </a:rPr>
              <a:t>EMPEROR-Reduced (2020)</a:t>
            </a:r>
            <a:r>
              <a:rPr kumimoji="0" lang="en-GB" sz="1400" b="1" i="0" u="none" strike="noStrike" kern="1200" cap="none" spc="0" normalizeH="0" baseline="30000" noProof="0">
                <a:ln>
                  <a:noFill/>
                </a:ln>
                <a:solidFill>
                  <a:srgbClr val="704F8A"/>
                </a:solidFill>
                <a:effectLst/>
                <a:uLnTx/>
                <a:uFillTx/>
                <a:latin typeface="Arial"/>
                <a:ea typeface="MS PGothic" charset="0"/>
                <a:cs typeface="+mn-cs"/>
              </a:rPr>
              <a:t>2,4</a:t>
            </a:r>
            <a:endParaRPr kumimoji="0" lang="en-GB" sz="1200" b="0" i="0" u="none" strike="noStrike" kern="1200" cap="none" spc="-20" normalizeH="0" baseline="0" noProof="0">
              <a:ln>
                <a:noFill/>
              </a:ln>
              <a:solidFill>
                <a:srgbClr val="704F8A"/>
              </a:solidFill>
              <a:effectLst/>
              <a:uLnTx/>
              <a:uFillTx/>
              <a:latin typeface="Arial"/>
              <a:ea typeface="MS PGothic" charset="0"/>
              <a:cs typeface="+mn-cs"/>
            </a:endParaRPr>
          </a:p>
        </p:txBody>
      </p:sp>
      <p:sp>
        <p:nvSpPr>
          <p:cNvPr id="85" name="Rectangle 84">
            <a:extLst>
              <a:ext uri="{FF2B5EF4-FFF2-40B4-BE49-F238E27FC236}">
                <a16:creationId xmlns:a16="http://schemas.microsoft.com/office/drawing/2014/main" id="{8089CFC9-09AD-44E0-991F-5740494EFE11}"/>
              </a:ext>
            </a:extLst>
          </p:cNvPr>
          <p:cNvSpPr/>
          <p:nvPr/>
        </p:nvSpPr>
        <p:spPr>
          <a:xfrm>
            <a:off x="8184232" y="1429035"/>
            <a:ext cx="2917932" cy="307777"/>
          </a:xfrm>
          <a:prstGeom prst="rect">
            <a:avLst/>
          </a:prstGeom>
        </p:spPr>
        <p:txBody>
          <a:bodyPr wrap="square">
            <a:spAutoFit/>
          </a:bodyPr>
          <a:lstStyle/>
          <a:p>
            <a:pPr marL="0" marR="0" lvl="0" indent="0" algn="ctr" defTabSz="609524"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704F8A"/>
                </a:solidFill>
                <a:effectLst/>
                <a:uLnTx/>
                <a:uFillTx/>
                <a:latin typeface="Arial"/>
                <a:ea typeface="MS PGothic" charset="0"/>
                <a:cs typeface="+mn-cs"/>
              </a:rPr>
              <a:t>GALACTIC-HF (2020)</a:t>
            </a:r>
            <a:r>
              <a:rPr kumimoji="0" lang="en-GB" sz="1400" b="1" i="0" u="none" strike="noStrike" kern="1200" cap="none" spc="0" normalizeH="0" baseline="30000" noProof="0">
                <a:ln>
                  <a:noFill/>
                </a:ln>
                <a:solidFill>
                  <a:srgbClr val="704F8A"/>
                </a:solidFill>
                <a:effectLst/>
                <a:uLnTx/>
                <a:uFillTx/>
                <a:latin typeface="Arial"/>
                <a:ea typeface="MS PGothic" charset="0"/>
                <a:cs typeface="+mn-cs"/>
              </a:rPr>
              <a:t>5,6</a:t>
            </a:r>
            <a:endParaRPr kumimoji="0" lang="en-GB" sz="1200" b="0" i="0" u="none" strike="noStrike" kern="1200" cap="none" spc="-20" normalizeH="0" baseline="0" noProof="0">
              <a:ln>
                <a:noFill/>
              </a:ln>
              <a:solidFill>
                <a:srgbClr val="704F8A"/>
              </a:solidFill>
              <a:effectLst/>
              <a:uLnTx/>
              <a:uFillTx/>
              <a:latin typeface="Arial"/>
              <a:ea typeface="MS PGothic" charset="0"/>
              <a:cs typeface="+mn-cs"/>
            </a:endParaRPr>
          </a:p>
        </p:txBody>
      </p:sp>
      <p:sp>
        <p:nvSpPr>
          <p:cNvPr id="86" name="Rectangle 20">
            <a:extLst>
              <a:ext uri="{FF2B5EF4-FFF2-40B4-BE49-F238E27FC236}">
                <a16:creationId xmlns:a16="http://schemas.microsoft.com/office/drawing/2014/main" id="{44762DFD-9970-47AD-B27E-BD76522BEEEA}"/>
              </a:ext>
            </a:extLst>
          </p:cNvPr>
          <p:cNvSpPr>
            <a:spLocks noChangeArrowheads="1"/>
          </p:cNvSpPr>
          <p:nvPr/>
        </p:nvSpPr>
        <p:spPr bwMode="auto">
          <a:xfrm rot="16200000">
            <a:off x="1510975" y="3550225"/>
            <a:ext cx="3405700" cy="253916"/>
          </a:xfrm>
          <a:prstGeom prst="rect">
            <a:avLst/>
          </a:prstGeom>
          <a:noFill/>
          <a:ln>
            <a:noFill/>
          </a:ln>
        </p:spPr>
        <p:txBody>
          <a:bodyPr wrap="squar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ct val="0"/>
              </a:spcAft>
              <a:buClrTx/>
              <a:buSzTx/>
              <a:buFont typeface="Wingdings" pitchFamily="2" charset="2"/>
              <a:buNone/>
              <a:tabLst/>
              <a:defRPr/>
            </a:pPr>
            <a:r>
              <a:rPr kumimoji="0" lang="en-GB" altLang="en-US" sz="1050" b="1" i="0" u="none" strike="noStrike" kern="1200" cap="none" spc="0" normalizeH="0" baseline="0" noProof="0">
                <a:ln>
                  <a:noFill/>
                </a:ln>
                <a:solidFill>
                  <a:srgbClr val="000000"/>
                </a:solidFill>
                <a:effectLst/>
                <a:uLnTx/>
                <a:uFillTx/>
                <a:latin typeface="Arial" pitchFamily="34" charset="0"/>
                <a:ea typeface="MS PGothic" charset="0"/>
                <a:cs typeface="+mn-cs"/>
              </a:rPr>
              <a:t>Worsening HF or CV death (events/100 PY)</a:t>
            </a:r>
          </a:p>
        </p:txBody>
      </p:sp>
      <p:grpSp>
        <p:nvGrpSpPr>
          <p:cNvPr id="10" name="Group 9">
            <a:extLst>
              <a:ext uri="{FF2B5EF4-FFF2-40B4-BE49-F238E27FC236}">
                <a16:creationId xmlns:a16="http://schemas.microsoft.com/office/drawing/2014/main" id="{99941762-C209-4E71-8007-BF9D5C7FB937}"/>
              </a:ext>
            </a:extLst>
          </p:cNvPr>
          <p:cNvGrpSpPr/>
          <p:nvPr/>
        </p:nvGrpSpPr>
        <p:grpSpPr>
          <a:xfrm>
            <a:off x="8472264" y="2202692"/>
            <a:ext cx="2160000" cy="2969764"/>
            <a:chOff x="9168094" y="2132211"/>
            <a:chExt cx="2398686" cy="2969764"/>
          </a:xfrm>
        </p:grpSpPr>
        <p:graphicFrame>
          <p:nvGraphicFramePr>
            <p:cNvPr id="82" name="Chart 81">
              <a:extLst>
                <a:ext uri="{FF2B5EF4-FFF2-40B4-BE49-F238E27FC236}">
                  <a16:creationId xmlns:a16="http://schemas.microsoft.com/office/drawing/2014/main" id="{3E8B81E1-1FE9-43C2-B8F1-0E04C1F3FAB2}"/>
                </a:ext>
              </a:extLst>
            </p:cNvPr>
            <p:cNvGraphicFramePr/>
            <p:nvPr/>
          </p:nvGraphicFramePr>
          <p:xfrm>
            <a:off x="9168094" y="2132211"/>
            <a:ext cx="2398686" cy="2969764"/>
          </p:xfrm>
          <a:graphic>
            <a:graphicData uri="http://schemas.openxmlformats.org/drawingml/2006/chart">
              <c:chart xmlns:c="http://schemas.openxmlformats.org/drawingml/2006/chart" xmlns:r="http://schemas.openxmlformats.org/officeDocument/2006/relationships" r:id="rId4"/>
            </a:graphicData>
          </a:graphic>
        </p:graphicFrame>
        <p:grpSp>
          <p:nvGrpSpPr>
            <p:cNvPr id="87" name="Group 86">
              <a:extLst>
                <a:ext uri="{FF2B5EF4-FFF2-40B4-BE49-F238E27FC236}">
                  <a16:creationId xmlns:a16="http://schemas.microsoft.com/office/drawing/2014/main" id="{FA24C4EC-B84C-432E-9140-FF6F73E2DD02}"/>
                </a:ext>
              </a:extLst>
            </p:cNvPr>
            <p:cNvGrpSpPr/>
            <p:nvPr/>
          </p:nvGrpSpPr>
          <p:grpSpPr>
            <a:xfrm>
              <a:off x="10019093" y="2292848"/>
              <a:ext cx="871167" cy="234328"/>
              <a:chOff x="5841696" y="995619"/>
              <a:chExt cx="643605" cy="4643491"/>
            </a:xfrm>
          </p:grpSpPr>
          <p:cxnSp>
            <p:nvCxnSpPr>
              <p:cNvPr id="88" name="Straight Connector 87">
                <a:extLst>
                  <a:ext uri="{FF2B5EF4-FFF2-40B4-BE49-F238E27FC236}">
                    <a16:creationId xmlns:a16="http://schemas.microsoft.com/office/drawing/2014/main" id="{F47AAFC0-8D23-4083-9A48-FB23A91757C1}"/>
                  </a:ext>
                </a:extLst>
              </p:cNvPr>
              <p:cNvCxnSpPr/>
              <p:nvPr/>
            </p:nvCxnSpPr>
            <p:spPr>
              <a:xfrm>
                <a:off x="5841696" y="995619"/>
                <a:ext cx="641118" cy="0"/>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94" name="Straight Connector 93">
                <a:extLst>
                  <a:ext uri="{FF2B5EF4-FFF2-40B4-BE49-F238E27FC236}">
                    <a16:creationId xmlns:a16="http://schemas.microsoft.com/office/drawing/2014/main" id="{7278E8EE-E9AE-4144-9465-BF00C2BCF0BD}"/>
                  </a:ext>
                </a:extLst>
              </p:cNvPr>
              <p:cNvCxnSpPr>
                <a:cxnSpLocks/>
              </p:cNvCxnSpPr>
              <p:nvPr/>
            </p:nvCxnSpPr>
            <p:spPr>
              <a:xfrm flipV="1">
                <a:off x="6485301" y="995639"/>
                <a:ext cx="0" cy="4643471"/>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95" name="Straight Connector 94">
                <a:extLst>
                  <a:ext uri="{FF2B5EF4-FFF2-40B4-BE49-F238E27FC236}">
                    <a16:creationId xmlns:a16="http://schemas.microsoft.com/office/drawing/2014/main" id="{CB8E2047-E160-4D9E-B87A-C0A563C144B5}"/>
                  </a:ext>
                </a:extLst>
              </p:cNvPr>
              <p:cNvCxnSpPr>
                <a:cxnSpLocks/>
              </p:cNvCxnSpPr>
              <p:nvPr/>
            </p:nvCxnSpPr>
            <p:spPr>
              <a:xfrm>
                <a:off x="5841696" y="995619"/>
                <a:ext cx="0" cy="1674826"/>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grpSp>
      </p:grpSp>
      <p:grpSp>
        <p:nvGrpSpPr>
          <p:cNvPr id="9" name="Group 8">
            <a:extLst>
              <a:ext uri="{FF2B5EF4-FFF2-40B4-BE49-F238E27FC236}">
                <a16:creationId xmlns:a16="http://schemas.microsoft.com/office/drawing/2014/main" id="{51BA4410-F581-4B23-9EAD-69BFF0ECE374}"/>
              </a:ext>
            </a:extLst>
          </p:cNvPr>
          <p:cNvGrpSpPr/>
          <p:nvPr/>
        </p:nvGrpSpPr>
        <p:grpSpPr>
          <a:xfrm>
            <a:off x="5916060" y="2215799"/>
            <a:ext cx="2160000" cy="2956657"/>
            <a:chOff x="6240705" y="2132211"/>
            <a:chExt cx="2490002" cy="2956657"/>
          </a:xfrm>
        </p:grpSpPr>
        <p:graphicFrame>
          <p:nvGraphicFramePr>
            <p:cNvPr id="81" name="Chart 80">
              <a:extLst>
                <a:ext uri="{FF2B5EF4-FFF2-40B4-BE49-F238E27FC236}">
                  <a16:creationId xmlns:a16="http://schemas.microsoft.com/office/drawing/2014/main" id="{D9C0803A-0EA3-4738-8FAC-DADD2C541CF0}"/>
                </a:ext>
              </a:extLst>
            </p:cNvPr>
            <p:cNvGraphicFramePr/>
            <p:nvPr/>
          </p:nvGraphicFramePr>
          <p:xfrm>
            <a:off x="6240705" y="2132211"/>
            <a:ext cx="2490002" cy="2956657"/>
          </p:xfrm>
          <a:graphic>
            <a:graphicData uri="http://schemas.openxmlformats.org/drawingml/2006/chart">
              <c:chart xmlns:c="http://schemas.openxmlformats.org/drawingml/2006/chart" xmlns:r="http://schemas.openxmlformats.org/officeDocument/2006/relationships" r:id="rId5"/>
            </a:graphicData>
          </a:graphic>
        </p:graphicFrame>
        <p:grpSp>
          <p:nvGrpSpPr>
            <p:cNvPr id="96" name="Group 95">
              <a:extLst>
                <a:ext uri="{FF2B5EF4-FFF2-40B4-BE49-F238E27FC236}">
                  <a16:creationId xmlns:a16="http://schemas.microsoft.com/office/drawing/2014/main" id="{038685EE-8CE4-4C6C-B3C7-C84DFDE0C09A}"/>
                </a:ext>
              </a:extLst>
            </p:cNvPr>
            <p:cNvGrpSpPr/>
            <p:nvPr/>
          </p:nvGrpSpPr>
          <p:grpSpPr>
            <a:xfrm>
              <a:off x="7114317" y="2696187"/>
              <a:ext cx="908913" cy="552021"/>
              <a:chOff x="5841696" y="995619"/>
              <a:chExt cx="641118" cy="1000749"/>
            </a:xfrm>
          </p:grpSpPr>
          <p:cxnSp>
            <p:nvCxnSpPr>
              <p:cNvPr id="97" name="Straight Connector 96">
                <a:extLst>
                  <a:ext uri="{FF2B5EF4-FFF2-40B4-BE49-F238E27FC236}">
                    <a16:creationId xmlns:a16="http://schemas.microsoft.com/office/drawing/2014/main" id="{582FD71C-E18C-4E81-BDC4-EB6643280433}"/>
                  </a:ext>
                </a:extLst>
              </p:cNvPr>
              <p:cNvCxnSpPr/>
              <p:nvPr/>
            </p:nvCxnSpPr>
            <p:spPr>
              <a:xfrm>
                <a:off x="5841696" y="995619"/>
                <a:ext cx="641118" cy="0"/>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98" name="Straight Connector 97">
                <a:extLst>
                  <a:ext uri="{FF2B5EF4-FFF2-40B4-BE49-F238E27FC236}">
                    <a16:creationId xmlns:a16="http://schemas.microsoft.com/office/drawing/2014/main" id="{4581376C-ACDA-4621-B266-4E75EF27DB88}"/>
                  </a:ext>
                </a:extLst>
              </p:cNvPr>
              <p:cNvCxnSpPr>
                <a:cxnSpLocks/>
              </p:cNvCxnSpPr>
              <p:nvPr/>
            </p:nvCxnSpPr>
            <p:spPr>
              <a:xfrm flipV="1">
                <a:off x="6479726" y="998126"/>
                <a:ext cx="0" cy="998242"/>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99" name="Straight Connector 98">
                <a:extLst>
                  <a:ext uri="{FF2B5EF4-FFF2-40B4-BE49-F238E27FC236}">
                    <a16:creationId xmlns:a16="http://schemas.microsoft.com/office/drawing/2014/main" id="{1D75BC16-81C3-40EF-BD6C-C98332F08AA1}"/>
                  </a:ext>
                </a:extLst>
              </p:cNvPr>
              <p:cNvCxnSpPr>
                <a:cxnSpLocks/>
              </p:cNvCxnSpPr>
              <p:nvPr/>
            </p:nvCxnSpPr>
            <p:spPr>
              <a:xfrm flipV="1">
                <a:off x="5842442" y="996875"/>
                <a:ext cx="0" cy="196647"/>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grpSp>
      </p:grpSp>
      <p:grpSp>
        <p:nvGrpSpPr>
          <p:cNvPr id="8" name="Group 7">
            <a:extLst>
              <a:ext uri="{FF2B5EF4-FFF2-40B4-BE49-F238E27FC236}">
                <a16:creationId xmlns:a16="http://schemas.microsoft.com/office/drawing/2014/main" id="{B2F0ADE1-3CE4-4EC0-9CD7-1AA8AB3338F7}"/>
              </a:ext>
            </a:extLst>
          </p:cNvPr>
          <p:cNvGrpSpPr/>
          <p:nvPr/>
        </p:nvGrpSpPr>
        <p:grpSpPr>
          <a:xfrm>
            <a:off x="3359856" y="2168557"/>
            <a:ext cx="2160000" cy="3003899"/>
            <a:chOff x="3234540" y="2112610"/>
            <a:chExt cx="2556633" cy="3003899"/>
          </a:xfrm>
        </p:grpSpPr>
        <p:graphicFrame>
          <p:nvGraphicFramePr>
            <p:cNvPr id="80" name="Chart 79">
              <a:extLst>
                <a:ext uri="{FF2B5EF4-FFF2-40B4-BE49-F238E27FC236}">
                  <a16:creationId xmlns:a16="http://schemas.microsoft.com/office/drawing/2014/main" id="{F6AC23DE-FB2E-4089-B5C3-274AABD90CB1}"/>
                </a:ext>
              </a:extLst>
            </p:cNvPr>
            <p:cNvGraphicFramePr/>
            <p:nvPr/>
          </p:nvGraphicFramePr>
          <p:xfrm>
            <a:off x="3234540" y="2112610"/>
            <a:ext cx="2556633" cy="3003899"/>
          </p:xfrm>
          <a:graphic>
            <a:graphicData uri="http://schemas.openxmlformats.org/drawingml/2006/chart">
              <c:chart xmlns:c="http://schemas.openxmlformats.org/drawingml/2006/chart" xmlns:r="http://schemas.openxmlformats.org/officeDocument/2006/relationships" r:id="rId6"/>
            </a:graphicData>
          </a:graphic>
        </p:graphicFrame>
        <p:grpSp>
          <p:nvGrpSpPr>
            <p:cNvPr id="100" name="Group 99">
              <a:extLst>
                <a:ext uri="{FF2B5EF4-FFF2-40B4-BE49-F238E27FC236}">
                  <a16:creationId xmlns:a16="http://schemas.microsoft.com/office/drawing/2014/main" id="{69457535-747A-4286-A147-C2066A6BC3CD}"/>
                </a:ext>
              </a:extLst>
            </p:cNvPr>
            <p:cNvGrpSpPr/>
            <p:nvPr/>
          </p:nvGrpSpPr>
          <p:grpSpPr>
            <a:xfrm>
              <a:off x="4143098" y="3102059"/>
              <a:ext cx="918766" cy="487018"/>
              <a:chOff x="5813178" y="1483448"/>
              <a:chExt cx="590062" cy="690875"/>
            </a:xfrm>
          </p:grpSpPr>
          <p:cxnSp>
            <p:nvCxnSpPr>
              <p:cNvPr id="101" name="Straight Connector 100">
                <a:extLst>
                  <a:ext uri="{FF2B5EF4-FFF2-40B4-BE49-F238E27FC236}">
                    <a16:creationId xmlns:a16="http://schemas.microsoft.com/office/drawing/2014/main" id="{52645DB2-6A59-49CB-B147-4C480E68C082}"/>
                  </a:ext>
                </a:extLst>
              </p:cNvPr>
              <p:cNvCxnSpPr>
                <a:cxnSpLocks/>
              </p:cNvCxnSpPr>
              <p:nvPr/>
            </p:nvCxnSpPr>
            <p:spPr>
              <a:xfrm>
                <a:off x="5813178" y="1483448"/>
                <a:ext cx="589894" cy="0"/>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102" name="Straight Connector 101">
                <a:extLst>
                  <a:ext uri="{FF2B5EF4-FFF2-40B4-BE49-F238E27FC236}">
                    <a16:creationId xmlns:a16="http://schemas.microsoft.com/office/drawing/2014/main" id="{732B4344-FBE0-4715-B86D-DB6D1C93BC54}"/>
                  </a:ext>
                </a:extLst>
              </p:cNvPr>
              <p:cNvCxnSpPr>
                <a:cxnSpLocks/>
              </p:cNvCxnSpPr>
              <p:nvPr/>
            </p:nvCxnSpPr>
            <p:spPr>
              <a:xfrm flipV="1">
                <a:off x="6403240" y="1483451"/>
                <a:ext cx="0" cy="690872"/>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cxnSp>
            <p:nvCxnSpPr>
              <p:cNvPr id="103" name="Straight Connector 102">
                <a:extLst>
                  <a:ext uri="{FF2B5EF4-FFF2-40B4-BE49-F238E27FC236}">
                    <a16:creationId xmlns:a16="http://schemas.microsoft.com/office/drawing/2014/main" id="{B7952659-F157-4EAB-8902-D80077C0762C}"/>
                  </a:ext>
                </a:extLst>
              </p:cNvPr>
              <p:cNvCxnSpPr>
                <a:cxnSpLocks/>
              </p:cNvCxnSpPr>
              <p:nvPr/>
            </p:nvCxnSpPr>
            <p:spPr>
              <a:xfrm flipV="1">
                <a:off x="5814556" y="1483449"/>
                <a:ext cx="0" cy="189171"/>
              </a:xfrm>
              <a:prstGeom prst="line">
                <a:avLst/>
              </a:prstGeom>
              <a:ln w="12700">
                <a:solidFill>
                  <a:schemeClr val="tx1"/>
                </a:solidFill>
              </a:ln>
              <a:effectLst/>
            </p:spPr>
            <p:style>
              <a:lnRef idx="3">
                <a:schemeClr val="dk1"/>
              </a:lnRef>
              <a:fillRef idx="0">
                <a:schemeClr val="dk1"/>
              </a:fillRef>
              <a:effectRef idx="2">
                <a:schemeClr val="dk1"/>
              </a:effectRef>
              <a:fontRef idx="minor">
                <a:schemeClr val="tx1"/>
              </a:fontRef>
            </p:style>
          </p:cxnSp>
        </p:grpSp>
      </p:grpSp>
      <p:sp>
        <p:nvSpPr>
          <p:cNvPr id="111" name="Rectangle 20">
            <a:extLst>
              <a:ext uri="{FF2B5EF4-FFF2-40B4-BE49-F238E27FC236}">
                <a16:creationId xmlns:a16="http://schemas.microsoft.com/office/drawing/2014/main" id="{82C54489-F5C4-4641-9FC2-585586CA3236}"/>
              </a:ext>
            </a:extLst>
          </p:cNvPr>
          <p:cNvSpPr>
            <a:spLocks noChangeArrowheads="1"/>
          </p:cNvSpPr>
          <p:nvPr/>
        </p:nvSpPr>
        <p:spPr bwMode="auto">
          <a:xfrm rot="16200000">
            <a:off x="4699419" y="3550224"/>
            <a:ext cx="2287807" cy="253916"/>
          </a:xfrm>
          <a:prstGeom prst="rect">
            <a:avLst/>
          </a:prstGeom>
          <a:noFill/>
          <a:ln>
            <a:noFill/>
          </a:ln>
        </p:spPr>
        <p:txBody>
          <a:bodyPr wrap="non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ct val="0"/>
              </a:spcAft>
              <a:buClrTx/>
              <a:buSzTx/>
              <a:buFont typeface="Wingdings" pitchFamily="2" charset="2"/>
              <a:buNone/>
              <a:tabLst/>
              <a:defRPr/>
            </a:pPr>
            <a:r>
              <a:rPr kumimoji="0" lang="en-GB" altLang="en-US" sz="1050" b="1" i="0" u="none" strike="noStrike" kern="1200" cap="none" spc="0" normalizeH="0" baseline="0" noProof="0">
                <a:ln>
                  <a:noFill/>
                </a:ln>
                <a:solidFill>
                  <a:srgbClr val="000000"/>
                </a:solidFill>
                <a:effectLst/>
                <a:uLnTx/>
                <a:uFillTx/>
                <a:latin typeface="Arial" pitchFamily="34" charset="0"/>
                <a:ea typeface="MS PGothic" charset="0"/>
                <a:cs typeface="+mn-cs"/>
              </a:rPr>
              <a:t>HFH or CV death (events/100 PY)</a:t>
            </a:r>
          </a:p>
        </p:txBody>
      </p:sp>
      <p:sp>
        <p:nvSpPr>
          <p:cNvPr id="123" name="Rectangle 20">
            <a:extLst>
              <a:ext uri="{FF2B5EF4-FFF2-40B4-BE49-F238E27FC236}">
                <a16:creationId xmlns:a16="http://schemas.microsoft.com/office/drawing/2014/main" id="{46528215-3A56-47F0-B7A9-146B8E0E26BF}"/>
              </a:ext>
            </a:extLst>
          </p:cNvPr>
          <p:cNvSpPr>
            <a:spLocks noChangeArrowheads="1"/>
          </p:cNvSpPr>
          <p:nvPr/>
        </p:nvSpPr>
        <p:spPr bwMode="auto">
          <a:xfrm rot="16200000">
            <a:off x="7239013" y="3550224"/>
            <a:ext cx="2287807" cy="253916"/>
          </a:xfrm>
          <a:prstGeom prst="rect">
            <a:avLst/>
          </a:prstGeom>
          <a:noFill/>
          <a:ln>
            <a:noFill/>
          </a:ln>
        </p:spPr>
        <p:txBody>
          <a:bodyPr wrap="none">
            <a:spAutoFit/>
          </a:bodyP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marL="0" marR="0" lvl="0" indent="0" algn="ctr" defTabSz="609524" rtl="0" eaLnBrk="1" fontAlgn="base" latinLnBrk="0" hangingPunct="1">
              <a:lnSpc>
                <a:spcPct val="100000"/>
              </a:lnSpc>
              <a:spcBef>
                <a:spcPct val="0"/>
              </a:spcBef>
              <a:spcAft>
                <a:spcPct val="0"/>
              </a:spcAft>
              <a:buClrTx/>
              <a:buSzTx/>
              <a:buFont typeface="Wingdings" pitchFamily="2" charset="2"/>
              <a:buNone/>
              <a:tabLst/>
              <a:defRPr/>
            </a:pPr>
            <a:r>
              <a:rPr kumimoji="0" lang="en-GB" altLang="en-US" sz="1050" b="1" i="0" u="none" strike="noStrike" kern="1200" cap="none" spc="0" normalizeH="0" baseline="0" noProof="0">
                <a:ln>
                  <a:noFill/>
                </a:ln>
                <a:solidFill>
                  <a:srgbClr val="000000"/>
                </a:solidFill>
                <a:effectLst/>
                <a:uLnTx/>
                <a:uFillTx/>
                <a:latin typeface="Arial" pitchFamily="34" charset="0"/>
                <a:ea typeface="MS PGothic" charset="0"/>
                <a:cs typeface="+mn-cs"/>
              </a:rPr>
              <a:t>HFH or CV death (events/100 PY)</a:t>
            </a:r>
          </a:p>
        </p:txBody>
      </p:sp>
      <p:sp>
        <p:nvSpPr>
          <p:cNvPr id="124" name="TextBox 123">
            <a:extLst>
              <a:ext uri="{FF2B5EF4-FFF2-40B4-BE49-F238E27FC236}">
                <a16:creationId xmlns:a16="http://schemas.microsoft.com/office/drawing/2014/main" id="{302930F9-22C6-4D60-9DC7-0350D791D82E}"/>
              </a:ext>
            </a:extLst>
          </p:cNvPr>
          <p:cNvSpPr txBox="1"/>
          <p:nvPr/>
        </p:nvSpPr>
        <p:spPr>
          <a:xfrm>
            <a:off x="3537291" y="2433094"/>
            <a:ext cx="2052102" cy="707874"/>
          </a:xfrm>
          <a:prstGeom prst="rect">
            <a:avLst/>
          </a:prstGeom>
        </p:spPr>
        <p:txBody>
          <a:bodyPr vert="horz" wrap="square" lIns="91428" tIns="45714" rIns="91428" bIns="45714" rtlCol="0">
            <a:spAutoFit/>
          </a:bodyPr>
          <a:lstStyle/>
          <a:p>
            <a:pPr marL="0" marR="0" lvl="0" indent="0" algn="ctr" defTabSz="609524" rtl="0" eaLnBrk="0" fontAlgn="base" latinLnBrk="0" hangingPunct="0">
              <a:lnSpc>
                <a:spcPct val="100000"/>
              </a:lnSpc>
              <a:spcBef>
                <a:spcPts val="600"/>
              </a:spcBef>
              <a:spcAft>
                <a:spcPct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N=4,744</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ARR 4.0; RRR 26%</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20" normalizeH="0" baseline="0" noProof="0">
                <a:ln>
                  <a:noFill/>
                </a:ln>
                <a:solidFill>
                  <a:srgbClr val="000000"/>
                </a:solidFill>
                <a:effectLst/>
                <a:uLnTx/>
                <a:uFillTx/>
                <a:latin typeface="Arial"/>
                <a:ea typeface="MS PGothic" charset="0"/>
                <a:cs typeface="+mn-cs"/>
              </a:rPr>
              <a:t>p&lt;0.001</a:t>
            </a: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 </a:t>
            </a:r>
            <a:b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br>
            <a:r>
              <a:rPr kumimoji="0" lang="en-GB" sz="1000" b="0" i="0" u="none" strike="noStrike" kern="1200" cap="none" spc="0" normalizeH="0" baseline="0" noProof="0">
                <a:ln>
                  <a:noFill/>
                </a:ln>
                <a:solidFill>
                  <a:srgbClr val="000000"/>
                </a:solidFill>
                <a:effectLst/>
                <a:uLnTx/>
                <a:uFillTx/>
                <a:latin typeface="Arial" panose="020B0604020202020204"/>
                <a:ea typeface="MS PGothic" charset="0"/>
                <a:cs typeface="+mn-cs"/>
              </a:rPr>
              <a:t>Median follow-up: 18.2 months </a:t>
            </a:r>
          </a:p>
        </p:txBody>
      </p:sp>
      <p:sp>
        <p:nvSpPr>
          <p:cNvPr id="125" name="Rectangle 124">
            <a:extLst>
              <a:ext uri="{FF2B5EF4-FFF2-40B4-BE49-F238E27FC236}">
                <a16:creationId xmlns:a16="http://schemas.microsoft.com/office/drawing/2014/main" id="{F088EF1D-41CA-4CFA-A1C5-71C649243685}"/>
              </a:ext>
            </a:extLst>
          </p:cNvPr>
          <p:cNvSpPr/>
          <p:nvPr/>
        </p:nvSpPr>
        <p:spPr>
          <a:xfrm>
            <a:off x="2952963" y="1429035"/>
            <a:ext cx="2917932" cy="307777"/>
          </a:xfrm>
          <a:prstGeom prst="rect">
            <a:avLst/>
          </a:prstGeom>
        </p:spPr>
        <p:txBody>
          <a:bodyPr wrap="square">
            <a:spAutoFit/>
          </a:bodyPr>
          <a:lstStyle/>
          <a:p>
            <a:pPr marL="0" marR="0" lvl="0" indent="0" algn="ctr" defTabSz="609524"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704F8A"/>
                </a:solidFill>
                <a:effectLst/>
                <a:uLnTx/>
                <a:uFillTx/>
                <a:latin typeface="Arial"/>
                <a:ea typeface="MS PGothic" charset="0"/>
                <a:cs typeface="+mn-cs"/>
              </a:rPr>
              <a:t>DAPA-HF (2019)</a:t>
            </a:r>
            <a:r>
              <a:rPr kumimoji="0" lang="en-GB" sz="1400" b="1" i="0" u="none" strike="noStrike" kern="1200" cap="none" spc="0" normalizeH="0" baseline="30000" noProof="0">
                <a:ln>
                  <a:noFill/>
                </a:ln>
                <a:solidFill>
                  <a:srgbClr val="704F8A"/>
                </a:solidFill>
                <a:effectLst/>
                <a:uLnTx/>
                <a:uFillTx/>
                <a:latin typeface="Arial"/>
                <a:ea typeface="MS PGothic" charset="0"/>
                <a:cs typeface="+mn-cs"/>
              </a:rPr>
              <a:t>2,3</a:t>
            </a:r>
            <a:endParaRPr kumimoji="0" lang="en-GB" sz="1200" b="0" i="0" u="none" strike="noStrike" kern="1200" cap="none" spc="-20" normalizeH="0" baseline="0" noProof="0">
              <a:ln>
                <a:noFill/>
              </a:ln>
              <a:solidFill>
                <a:srgbClr val="704F8A"/>
              </a:solidFill>
              <a:effectLst/>
              <a:uLnTx/>
              <a:uFillTx/>
              <a:latin typeface="Arial"/>
              <a:ea typeface="MS PGothic" charset="0"/>
              <a:cs typeface="+mn-cs"/>
            </a:endParaRPr>
          </a:p>
        </p:txBody>
      </p:sp>
    </p:spTree>
    <p:extLst>
      <p:ext uri="{BB962C8B-B14F-4D97-AF65-F5344CB8AC3E}">
        <p14:creationId xmlns:p14="http://schemas.microsoft.com/office/powerpoint/2010/main" val="38936017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E26237-F8CD-46AC-8523-1E41F72EE47D}"/>
              </a:ext>
            </a:extLst>
          </p:cNvPr>
          <p:cNvSpPr>
            <a:spLocks noGrp="1"/>
          </p:cNvSpPr>
          <p:nvPr>
            <p:ph sz="quarter" idx="13"/>
          </p:nvPr>
        </p:nvSpPr>
        <p:spPr>
          <a:xfrm>
            <a:off x="596710" y="1412874"/>
            <a:ext cx="3318947" cy="4564257"/>
          </a:xfrm>
          <a:solidFill>
            <a:schemeClr val="bg1">
              <a:lumMod val="95000"/>
            </a:schemeClr>
          </a:solidFill>
          <a:ln w="28575">
            <a:solidFill>
              <a:schemeClr val="accent1"/>
            </a:solidFill>
          </a:ln>
        </p:spPr>
        <p:txBody>
          <a:bodyPr tIns="144000" rIns="90000"/>
          <a:lstStyle/>
          <a:p>
            <a:pPr marL="285750" lvl="0" indent="-285750">
              <a:spcBef>
                <a:spcPts val="1200"/>
              </a:spcBef>
              <a:defRPr/>
            </a:pPr>
            <a:endParaRPr lang="en-GB" sz="1400" dirty="0"/>
          </a:p>
          <a:p>
            <a:pPr marL="0" lvl="0" indent="0">
              <a:spcBef>
                <a:spcPts val="1200"/>
              </a:spcBef>
              <a:buNone/>
              <a:defRPr/>
            </a:pPr>
            <a:endParaRPr lang="en-GB" sz="1400" dirty="0"/>
          </a:p>
          <a:p>
            <a:pPr marL="0" lvl="0" indent="0">
              <a:spcBef>
                <a:spcPts val="1200"/>
              </a:spcBef>
              <a:buNone/>
              <a:defRPr/>
            </a:pPr>
            <a:endParaRPr lang="en-GB" sz="1400" dirty="0"/>
          </a:p>
          <a:p>
            <a:pPr marL="0" lvl="0" indent="0">
              <a:spcBef>
                <a:spcPts val="1200"/>
              </a:spcBef>
              <a:buNone/>
              <a:defRPr/>
            </a:pPr>
            <a:endParaRPr lang="en-GB" sz="200" dirty="0"/>
          </a:p>
          <a:p>
            <a:pPr lvl="0">
              <a:defRPr/>
            </a:pPr>
            <a:r>
              <a:rPr lang="en-GB" sz="1400" dirty="0"/>
              <a:t>She was diagnosed with HFrEF following a first HFH 12 months ago</a:t>
            </a:r>
          </a:p>
          <a:p>
            <a:pPr lvl="0">
              <a:defRPr/>
            </a:pPr>
            <a:r>
              <a:rPr lang="en-GB" sz="1400" dirty="0"/>
              <a:t>She was rehospitalized with a worsening HF event 2 weeks ago, where she was successfully stabilized </a:t>
            </a:r>
          </a:p>
          <a:p>
            <a:pPr lvl="0">
              <a:defRPr/>
            </a:pPr>
            <a:r>
              <a:rPr lang="en-GB" sz="1400" dirty="0"/>
              <a:t>She was discharged on uptitrated GDMT</a:t>
            </a:r>
          </a:p>
          <a:p>
            <a:pPr lvl="0">
              <a:defRPr/>
            </a:pPr>
            <a:r>
              <a:rPr lang="en-GB" sz="1400" dirty="0"/>
              <a:t>Following uptitration of GDMT, she returned to the first follow-up visit with her cardiologist, presenting with decreased renal function and elevated potassium levels</a:t>
            </a:r>
          </a:p>
        </p:txBody>
      </p:sp>
      <p:sp>
        <p:nvSpPr>
          <p:cNvPr id="4" name="Title 3">
            <a:extLst>
              <a:ext uri="{FF2B5EF4-FFF2-40B4-BE49-F238E27FC236}">
                <a16:creationId xmlns:a16="http://schemas.microsoft.com/office/drawing/2014/main" id="{70B7E317-B2BD-4B84-A581-0EFC0D736E0A}"/>
              </a:ext>
            </a:extLst>
          </p:cNvPr>
          <p:cNvSpPr>
            <a:spLocks noGrp="1"/>
          </p:cNvSpPr>
          <p:nvPr>
            <p:ph type="title"/>
          </p:nvPr>
        </p:nvSpPr>
        <p:spPr/>
        <p:txBody>
          <a:bodyPr/>
          <a:lstStyle/>
          <a:p>
            <a:r>
              <a:rPr lang="en-GB" dirty="0"/>
              <a:t>Clinical scenario: 59-year-old woman with HFrEF*</a:t>
            </a:r>
            <a:endParaRPr lang="en-US" b="1" dirty="0"/>
          </a:p>
        </p:txBody>
      </p:sp>
      <p:sp>
        <p:nvSpPr>
          <p:cNvPr id="5" name="Slide Number Placeholder 4">
            <a:extLst>
              <a:ext uri="{FF2B5EF4-FFF2-40B4-BE49-F238E27FC236}">
                <a16:creationId xmlns:a16="http://schemas.microsoft.com/office/drawing/2014/main" id="{80C4AEF3-2146-4B1F-BD9A-E803077685B3}"/>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AF327E08-A648-4093-8F64-FEC62D4C7985}"/>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Fictitious case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bid, twice daily; bpm, beats per minute; CKD, chronic kidney disease; eGFR, estimated glomerular filtration rate; GDMT, guideline-directed medical therapy; HF, heart failure; HFH, heart failure hospitalization; HFrEF, heart failure with reduced ejection fraction; LVEF, left ventricular ejection fraction; NT‑proBNP, N‑terminal pro-brain natriuretic peptide; NYHA, New York Heart Association; od, once daily; SBP, systolic blood pressure; T2D, type 2 diabetes.</a:t>
            </a:r>
          </a:p>
        </p:txBody>
      </p:sp>
      <p:graphicFrame>
        <p:nvGraphicFramePr>
          <p:cNvPr id="12" name="Table 6">
            <a:extLst>
              <a:ext uri="{FF2B5EF4-FFF2-40B4-BE49-F238E27FC236}">
                <a16:creationId xmlns:a16="http://schemas.microsoft.com/office/drawing/2014/main" id="{2A271869-C4E7-4C23-8061-EDE1E8E3BD48}"/>
              </a:ext>
            </a:extLst>
          </p:cNvPr>
          <p:cNvGraphicFramePr>
            <a:graphicFrameLocks/>
          </p:cNvGraphicFramePr>
          <p:nvPr/>
        </p:nvGraphicFramePr>
        <p:xfrm>
          <a:off x="7608168" y="1412874"/>
          <a:ext cx="2916957" cy="2340176"/>
        </p:xfrm>
        <a:graphic>
          <a:graphicData uri="http://schemas.openxmlformats.org/drawingml/2006/table">
            <a:tbl>
              <a:tblPr firstRow="1" bandRow="1">
                <a:tableStyleId>{74C1A8A3-306A-4EB7-A6B1-4F7E0EB9C5D6}</a:tableStyleId>
              </a:tblPr>
              <a:tblGrid>
                <a:gridCol w="1763172">
                  <a:extLst>
                    <a:ext uri="{9D8B030D-6E8A-4147-A177-3AD203B41FA5}">
                      <a16:colId xmlns:a16="http://schemas.microsoft.com/office/drawing/2014/main" val="447229383"/>
                    </a:ext>
                  </a:extLst>
                </a:gridCol>
                <a:gridCol w="1153785">
                  <a:extLst>
                    <a:ext uri="{9D8B030D-6E8A-4147-A177-3AD203B41FA5}">
                      <a16:colId xmlns:a16="http://schemas.microsoft.com/office/drawing/2014/main" val="3793298042"/>
                    </a:ext>
                  </a:extLst>
                </a:gridCol>
              </a:tblGrid>
              <a:tr h="540041">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r>
                        <a:rPr lang="en-GB" sz="1200" dirty="0">
                          <a:latin typeface="+mn-lt"/>
                        </a:rPr>
                        <a:t>HF medications</a:t>
                      </a:r>
                      <a:br>
                        <a:rPr lang="en-GB" sz="1200" dirty="0">
                          <a:latin typeface="+mn-lt"/>
                        </a:rPr>
                      </a:br>
                      <a:r>
                        <a:rPr lang="en-GB" sz="1200" u="sng" dirty="0">
                          <a:latin typeface="+mn-lt"/>
                        </a:rPr>
                        <a:t>at presentation</a:t>
                      </a:r>
                      <a:endParaRPr lang="en-GB" sz="1200" b="1" u="sng" kern="1200" noProof="0" dirty="0">
                        <a:solidFill>
                          <a:schemeClr val="bg1"/>
                        </a:solidFill>
                        <a:latin typeface="+mn-lt"/>
                        <a:ea typeface="+mn-ea"/>
                        <a:cs typeface="+mn-cs"/>
                      </a:endParaRPr>
                    </a:p>
                  </a:txBody>
                  <a:tcPr anchor="ct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rPr>
                        <a:t>Dose</a:t>
                      </a:r>
                      <a:endParaRPr lang="en-US" sz="1200" b="1" dirty="0">
                        <a:solidFill>
                          <a:schemeClr val="bg1"/>
                        </a:solidFill>
                        <a:latin typeface="+mn-lt"/>
                      </a:endParaRPr>
                    </a:p>
                  </a:txBody>
                  <a:tcPr marL="60960" marR="60960" marT="60960" marB="60960" anchor="ctr"/>
                </a:tc>
                <a:extLst>
                  <a:ext uri="{0D108BD9-81ED-4DB2-BD59-A6C34878D82A}">
                    <a16:rowId xmlns:a16="http://schemas.microsoft.com/office/drawing/2014/main" val="2669082152"/>
                  </a:ext>
                </a:extLst>
              </a:tr>
              <a:tr h="36002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Sacubitril/valsartan</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rgbClr val="000000"/>
                          </a:solidFill>
                          <a:effectLst/>
                          <a:uLnTx/>
                          <a:uFillTx/>
                          <a:latin typeface="+mn-lt"/>
                          <a:ea typeface="+mn-ea"/>
                          <a:cs typeface="+mn-cs"/>
                        </a:rPr>
                        <a:t>49/51 mg bid </a:t>
                      </a:r>
                      <a:endParaRPr lang="en-US" sz="1200" b="0" i="0" u="none" strike="noStrike" baseline="0" dirty="0">
                        <a:solidFill>
                          <a:schemeClr val="tx2"/>
                        </a:solidFill>
                        <a:latin typeface="+mn-lt"/>
                      </a:endParaRPr>
                    </a:p>
                  </a:txBody>
                  <a:tcPr marL="60960" marR="60960" marT="60960" marB="60960" anchor="ctr"/>
                </a:tc>
                <a:extLst>
                  <a:ext uri="{0D108BD9-81ED-4DB2-BD59-A6C34878D82A}">
                    <a16:rowId xmlns:a16="http://schemas.microsoft.com/office/drawing/2014/main" val="1677165708"/>
                  </a:ext>
                </a:extLst>
              </a:tr>
              <a:tr h="36002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Metoprolol</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rgbClr val="000000"/>
                          </a:solidFill>
                          <a:effectLst/>
                          <a:uLnTx/>
                          <a:uFillTx/>
                          <a:latin typeface="+mn-lt"/>
                          <a:ea typeface="+mn-ea"/>
                          <a:cs typeface="+mn-cs"/>
                        </a:rPr>
                        <a:t>100 mg od</a:t>
                      </a:r>
                      <a:endParaRPr lang="en-US" sz="1200" b="0" i="0" u="none" strike="noStrike" baseline="0" dirty="0">
                        <a:solidFill>
                          <a:schemeClr val="tx2"/>
                        </a:solidFill>
                        <a:latin typeface="+mn-lt"/>
                      </a:endParaRPr>
                    </a:p>
                  </a:txBody>
                  <a:tcPr marL="60960" marR="60960" marT="60960" marB="60960" anchor="ctr"/>
                </a:tc>
                <a:extLst>
                  <a:ext uri="{0D108BD9-81ED-4DB2-BD59-A6C34878D82A}">
                    <a16:rowId xmlns:a16="http://schemas.microsoft.com/office/drawing/2014/main" val="323996343"/>
                  </a:ext>
                </a:extLst>
              </a:tr>
              <a:tr h="36002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Eplerenone</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rgbClr val="000000"/>
                          </a:solidFill>
                          <a:effectLst/>
                          <a:uLnTx/>
                          <a:uFillTx/>
                          <a:latin typeface="+mn-lt"/>
                          <a:ea typeface="+mn-ea"/>
                          <a:cs typeface="+mn-cs"/>
                        </a:rPr>
                        <a:t>25 mg od</a:t>
                      </a:r>
                      <a:endParaRPr lang="en-US" sz="1200" b="0" i="0" u="none" strike="noStrike" baseline="0" dirty="0">
                        <a:solidFill>
                          <a:schemeClr val="tx2"/>
                        </a:solidFill>
                        <a:latin typeface="+mn-lt"/>
                      </a:endParaRPr>
                    </a:p>
                  </a:txBody>
                  <a:tcPr marL="60960" marR="60960" marT="60960" marB="60960" anchor="ctr"/>
                </a:tc>
                <a:extLst>
                  <a:ext uri="{0D108BD9-81ED-4DB2-BD59-A6C34878D82A}">
                    <a16:rowId xmlns:a16="http://schemas.microsoft.com/office/drawing/2014/main" val="4047705455"/>
                  </a:ext>
                </a:extLst>
              </a:tr>
              <a:tr h="36002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Dapagliflozin</a:t>
                      </a:r>
                    </a:p>
                  </a:txBody>
                  <a:tcPr anchor="ctr"/>
                </a:tc>
                <a:tc>
                  <a:txBody>
                    <a:bodyPr/>
                    <a:lstStyle/>
                    <a:p>
                      <a:pPr algn="ctr"/>
                      <a:r>
                        <a:rPr kumimoji="0" lang="en-US" sz="1200" b="0" i="0" u="none" strike="noStrike" kern="1200" cap="none" spc="0" normalizeH="0" baseline="0" dirty="0">
                          <a:ln>
                            <a:noFill/>
                          </a:ln>
                          <a:solidFill>
                            <a:srgbClr val="000000"/>
                          </a:solidFill>
                          <a:effectLst/>
                          <a:uLnTx/>
                          <a:uFillTx/>
                          <a:latin typeface="+mn-lt"/>
                          <a:ea typeface="+mn-ea"/>
                          <a:cs typeface="+mn-cs"/>
                        </a:rPr>
                        <a:t>10 mg od</a:t>
                      </a:r>
                    </a:p>
                  </a:txBody>
                  <a:tcPr marL="60960" marR="60960" marT="60960" marB="60960" anchor="ctr"/>
                </a:tc>
                <a:extLst>
                  <a:ext uri="{0D108BD9-81ED-4DB2-BD59-A6C34878D82A}">
                    <a16:rowId xmlns:a16="http://schemas.microsoft.com/office/drawing/2014/main" val="3620584111"/>
                  </a:ext>
                </a:extLst>
              </a:tr>
              <a:tr h="36002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Furosemide</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kumimoji="0" lang="en-US" sz="1200" b="0" i="0" u="none" strike="noStrike" kern="1200" cap="none" spc="0" normalizeH="0" baseline="0" noProof="0" dirty="0">
                          <a:ln>
                            <a:noFill/>
                          </a:ln>
                          <a:solidFill>
                            <a:srgbClr val="000000"/>
                          </a:solidFill>
                          <a:effectLst/>
                          <a:uLnTx/>
                          <a:uFillTx/>
                          <a:latin typeface="+mn-lt"/>
                          <a:ea typeface="+mn-ea"/>
                          <a:cs typeface="+mn-cs"/>
                        </a:rPr>
                        <a:t>60 mg od</a:t>
                      </a:r>
                      <a:endParaRPr lang="en-US" sz="1200" b="0" i="0" u="none" strike="noStrike" baseline="0" dirty="0">
                        <a:solidFill>
                          <a:schemeClr val="tx2"/>
                        </a:solidFill>
                        <a:latin typeface="+mn-lt"/>
                      </a:endParaRPr>
                    </a:p>
                  </a:txBody>
                  <a:tcPr marL="60960" marR="60960" marT="60960" marB="60960" anchor="ctr"/>
                </a:tc>
                <a:extLst>
                  <a:ext uri="{0D108BD9-81ED-4DB2-BD59-A6C34878D82A}">
                    <a16:rowId xmlns:a16="http://schemas.microsoft.com/office/drawing/2014/main" val="420605132"/>
                  </a:ext>
                </a:extLst>
              </a:tr>
            </a:tbl>
          </a:graphicData>
        </a:graphic>
      </p:graphicFrame>
      <p:pic>
        <p:nvPicPr>
          <p:cNvPr id="7" name="Graphic 6" descr="Female Profile with solid fill">
            <a:extLst>
              <a:ext uri="{FF2B5EF4-FFF2-40B4-BE49-F238E27FC236}">
                <a16:creationId xmlns:a16="http://schemas.microsoft.com/office/drawing/2014/main" id="{3D47FBD2-4673-47E3-8C24-6F3899D8D4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63199" y="1412776"/>
            <a:ext cx="1385967" cy="1385967"/>
          </a:xfrm>
          <a:prstGeom prst="rect">
            <a:avLst/>
          </a:prstGeom>
        </p:spPr>
      </p:pic>
      <p:graphicFrame>
        <p:nvGraphicFramePr>
          <p:cNvPr id="11" name="Table 22">
            <a:extLst>
              <a:ext uri="{FF2B5EF4-FFF2-40B4-BE49-F238E27FC236}">
                <a16:creationId xmlns:a16="http://schemas.microsoft.com/office/drawing/2014/main" id="{12320F45-4DBF-4E27-B317-C811F0C70091}"/>
              </a:ext>
            </a:extLst>
          </p:cNvPr>
          <p:cNvGraphicFramePr>
            <a:graphicFrameLocks/>
          </p:cNvGraphicFramePr>
          <p:nvPr/>
        </p:nvGraphicFramePr>
        <p:xfrm>
          <a:off x="4130330" y="1430964"/>
          <a:ext cx="3263165" cy="4546168"/>
        </p:xfrm>
        <a:graphic>
          <a:graphicData uri="http://schemas.openxmlformats.org/drawingml/2006/table">
            <a:tbl>
              <a:tblPr firstRow="1" bandRow="1">
                <a:tableStyleId>{6E25E649-3F16-4E02-A733-19D2CDBF48F0}</a:tableStyleId>
              </a:tblPr>
              <a:tblGrid>
                <a:gridCol w="1774997">
                  <a:extLst>
                    <a:ext uri="{9D8B030D-6E8A-4147-A177-3AD203B41FA5}">
                      <a16:colId xmlns:a16="http://schemas.microsoft.com/office/drawing/2014/main" val="3995594229"/>
                    </a:ext>
                  </a:extLst>
                </a:gridCol>
                <a:gridCol w="1488168">
                  <a:extLst>
                    <a:ext uri="{9D8B030D-6E8A-4147-A177-3AD203B41FA5}">
                      <a16:colId xmlns:a16="http://schemas.microsoft.com/office/drawing/2014/main" val="738866976"/>
                    </a:ext>
                  </a:extLst>
                </a:gridCol>
              </a:tblGrid>
              <a:tr h="528824">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r>
                        <a:rPr lang="en-US" sz="1200" dirty="0">
                          <a:latin typeface="Arial" panose="020B0604020202020204" pitchFamily="34" charset="0"/>
                          <a:cs typeface="Arial" panose="020B0604020202020204" pitchFamily="34" charset="0"/>
                        </a:rPr>
                        <a:t>Characteristics</a:t>
                      </a:r>
                      <a:endParaRPr lang="en-GB" sz="1200" b="1" kern="1200" noProof="0" dirty="0">
                        <a:solidFill>
                          <a:schemeClr val="bg1"/>
                        </a:solidFill>
                        <a:latin typeface="Arial" panose="020B0604020202020204" pitchFamily="34" charset="0"/>
                        <a:ea typeface="+mn-ea"/>
                        <a:cs typeface="Arial" panose="020B0604020202020204" pitchFamily="34" charset="0"/>
                      </a:endParaRPr>
                    </a:p>
                  </a:txBody>
                  <a:tcPr anchor="ctr">
                    <a:solidFill>
                      <a:srgbClr val="704F8A"/>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Value</a:t>
                      </a:r>
                      <a:endParaRPr lang="en-US" sz="1200" b="1" dirty="0">
                        <a:solidFill>
                          <a:schemeClr val="bg1"/>
                        </a:solidFill>
                        <a:latin typeface="Arial" panose="020B0604020202020204" pitchFamily="34" charset="0"/>
                        <a:cs typeface="Arial" panose="020B0604020202020204" pitchFamily="34" charset="0"/>
                      </a:endParaRPr>
                    </a:p>
                  </a:txBody>
                  <a:tcPr marL="60960" marR="60960" marT="60960" marB="60960" anchor="ctr">
                    <a:solidFill>
                      <a:srgbClr val="704F8A"/>
                    </a:solidFill>
                  </a:tcPr>
                </a:tc>
                <a:extLst>
                  <a:ext uri="{0D108BD9-81ED-4DB2-BD59-A6C34878D82A}">
                    <a16:rowId xmlns:a16="http://schemas.microsoft.com/office/drawing/2014/main" val="3725758793"/>
                  </a:ext>
                </a:extLst>
              </a:tr>
              <a:tr h="36500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t>Age, years</a:t>
                      </a:r>
                      <a:endParaRPr lang="en-US" sz="1200" b="0" i="0" u="none" strike="noStrike" baseline="0" dirty="0">
                        <a:solidFill>
                          <a:schemeClr val="tx2"/>
                        </a:solidFill>
                        <a:latin typeface="+mj-lt"/>
                      </a:endParaRPr>
                    </a:p>
                  </a:txBody>
                  <a:tcPr anchor="ctr"/>
                </a:tc>
                <a:tc>
                  <a:txBody>
                    <a:bodyPr/>
                    <a:lstStyle/>
                    <a:p>
                      <a:pPr algn="ctr"/>
                      <a:r>
                        <a:rPr lang="en-US" sz="1200" b="0" i="0" u="none" strike="noStrike" baseline="0" dirty="0">
                          <a:solidFill>
                            <a:schemeClr val="tx1"/>
                          </a:solidFill>
                          <a:latin typeface="Arial" panose="020B0604020202020204" pitchFamily="34" charset="0"/>
                          <a:cs typeface="Arial" panose="020B0604020202020204" pitchFamily="34" charset="0"/>
                        </a:rPr>
                        <a:t>59</a:t>
                      </a:r>
                    </a:p>
                  </a:txBody>
                  <a:tcPr marL="60960" marR="60960" marT="60960" marB="60960" anchor="ctr"/>
                </a:tc>
                <a:extLst>
                  <a:ext uri="{0D108BD9-81ED-4DB2-BD59-A6C34878D82A}">
                    <a16:rowId xmlns:a16="http://schemas.microsoft.com/office/drawing/2014/main" val="2398060556"/>
                  </a:ext>
                </a:extLst>
              </a:tr>
              <a:tr h="36500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t>NYHA class</a:t>
                      </a:r>
                      <a:endParaRPr lang="en-US" sz="1200" b="0" i="0" u="none" strike="noStrike" baseline="0" dirty="0">
                        <a:solidFill>
                          <a:schemeClr val="tx2"/>
                        </a:solidFill>
                        <a:latin typeface="+mj-lt"/>
                      </a:endParaRPr>
                    </a:p>
                  </a:txBody>
                  <a:tcPr anchor="ctr"/>
                </a:tc>
                <a:tc>
                  <a:txBody>
                    <a:bodyPr/>
                    <a:lstStyle/>
                    <a:p>
                      <a:pPr algn="ctr"/>
                      <a:r>
                        <a:rPr lang="en-US" sz="1200" b="0" i="0" u="none" strike="noStrike" baseline="0" dirty="0">
                          <a:solidFill>
                            <a:schemeClr val="tx1"/>
                          </a:solidFill>
                          <a:latin typeface="Arial" panose="020B0604020202020204" pitchFamily="34" charset="0"/>
                          <a:cs typeface="Arial" panose="020B0604020202020204" pitchFamily="34" charset="0"/>
                        </a:rPr>
                        <a:t>III</a:t>
                      </a:r>
                    </a:p>
                  </a:txBody>
                  <a:tcPr marL="60960" marR="60960" marT="60960" marB="60960" anchor="ctr"/>
                </a:tc>
                <a:extLst>
                  <a:ext uri="{0D108BD9-81ED-4DB2-BD59-A6C34878D82A}">
                    <a16:rowId xmlns:a16="http://schemas.microsoft.com/office/drawing/2014/main" val="4097398016"/>
                  </a:ext>
                </a:extLst>
              </a:tr>
              <a:tr h="35254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latin typeface="Arial" panose="020B0604020202020204" pitchFamily="34" charset="0"/>
                          <a:cs typeface="Arial" panose="020B0604020202020204" pitchFamily="34" charset="0"/>
                        </a:rPr>
                        <a:t>LVEF, %</a:t>
                      </a:r>
                      <a:endParaRPr lang="en-US" sz="1200" b="0" i="0" u="none" strike="noStrike" baseline="0" dirty="0">
                        <a:solidFill>
                          <a:schemeClr val="tx2"/>
                        </a:solidFill>
                        <a:latin typeface="Arial" panose="020B0604020202020204" pitchFamily="34"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i="0" u="none" strike="noStrike" baseline="0" dirty="0">
                          <a:solidFill>
                            <a:schemeClr val="tx1"/>
                          </a:solidFill>
                          <a:latin typeface="Arial" panose="020B0604020202020204" pitchFamily="34" charset="0"/>
                          <a:cs typeface="Arial" panose="020B0604020202020204" pitchFamily="34" charset="0"/>
                        </a:rPr>
                        <a:t>32</a:t>
                      </a:r>
                    </a:p>
                  </a:txBody>
                  <a:tcPr marL="60960" marR="60960" marT="60960" marB="60960" anchor="ctr"/>
                </a:tc>
                <a:extLst>
                  <a:ext uri="{0D108BD9-81ED-4DB2-BD59-A6C34878D82A}">
                    <a16:rowId xmlns:a16="http://schemas.microsoft.com/office/drawing/2014/main" val="1430727038"/>
                  </a:ext>
                </a:extLst>
              </a:tr>
              <a:tr h="35254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latin typeface="Arial" panose="020B0604020202020204" pitchFamily="34" charset="0"/>
                          <a:cs typeface="Arial" panose="020B0604020202020204" pitchFamily="34" charset="0"/>
                        </a:rPr>
                        <a:t>NT-proBNP, pg/ml</a:t>
                      </a:r>
                      <a:endParaRPr lang="en-US" sz="1200" b="0" i="0" u="none" strike="noStrike" baseline="0" dirty="0">
                        <a:solidFill>
                          <a:schemeClr val="tx2"/>
                        </a:solidFill>
                        <a:latin typeface="Arial" panose="020B0604020202020204" pitchFamily="34"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i="0" u="none" strike="noStrike" baseline="0" dirty="0">
                          <a:solidFill>
                            <a:schemeClr val="tx1"/>
                          </a:solidFill>
                          <a:latin typeface="Arial" panose="020B0604020202020204" pitchFamily="34" charset="0"/>
                          <a:cs typeface="Arial" panose="020B0604020202020204" pitchFamily="34" charset="0"/>
                        </a:rPr>
                        <a:t>1,970</a:t>
                      </a:r>
                    </a:p>
                  </a:txBody>
                  <a:tcPr marL="60960" marR="60960" marT="60960" marB="60960" anchor="ctr"/>
                </a:tc>
                <a:extLst>
                  <a:ext uri="{0D108BD9-81ED-4DB2-BD59-A6C34878D82A}">
                    <a16:rowId xmlns:a16="http://schemas.microsoft.com/office/drawing/2014/main" val="1394552355"/>
                  </a:ext>
                </a:extLst>
              </a:tr>
              <a:tr h="35254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panose="020B0604020202020204" pitchFamily="34" charset="0"/>
                          <a:cs typeface="Arial" panose="020B0604020202020204" pitchFamily="34" charset="0"/>
                        </a:rPr>
                        <a:t>Current SBP, mmHg</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0</a:t>
                      </a:r>
                    </a:p>
                  </a:txBody>
                  <a:tcPr marL="60960" marR="60960" marT="60960" marB="60960" anchor="ctr"/>
                </a:tc>
                <a:extLst>
                  <a:ext uri="{0D108BD9-81ED-4DB2-BD59-A6C34878D82A}">
                    <a16:rowId xmlns:a16="http://schemas.microsoft.com/office/drawing/2014/main" val="903369940"/>
                  </a:ext>
                </a:extLst>
              </a:tr>
              <a:tr h="35254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kern="1200" baseline="0" dirty="0">
                          <a:latin typeface="Arial" panose="020B0604020202020204" pitchFamily="34" charset="0"/>
                          <a:cs typeface="Arial" panose="020B0604020202020204" pitchFamily="34" charset="0"/>
                        </a:rPr>
                        <a:t>Heart rate, bpm</a:t>
                      </a:r>
                      <a:endParaRPr lang="en-US" sz="1200" b="0" i="0" u="none" strike="noStrike" kern="1200" baseline="0" dirty="0">
                        <a:solidFill>
                          <a:schemeClr val="tx2"/>
                        </a:solidFill>
                        <a:latin typeface="Arial" panose="020B0604020202020204" pitchFamily="34" charset="0"/>
                        <a:ea typeface="+mn-ea"/>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8</a:t>
                      </a:r>
                    </a:p>
                  </a:txBody>
                  <a:tcPr marL="60960" marR="60960" marT="60960" marB="60960" anchor="ctr"/>
                </a:tc>
                <a:extLst>
                  <a:ext uri="{0D108BD9-81ED-4DB2-BD59-A6C34878D82A}">
                    <a16:rowId xmlns:a16="http://schemas.microsoft.com/office/drawing/2014/main" val="248242486"/>
                  </a:ext>
                </a:extLst>
              </a:tr>
              <a:tr h="352549">
                <a:tc>
                  <a:txBody>
                    <a:bodyPr/>
                    <a:lstStyle/>
                    <a:p>
                      <a:pPr algn="l"/>
                      <a:r>
                        <a:rPr kumimoji="0" lang="en-US" sz="1200" u="none" strike="noStrike" kern="1200" cap="none" spc="0" normalizeH="0" baseline="0" dirty="0">
                          <a:ln>
                            <a:noFill/>
                          </a:ln>
                          <a:solidFill>
                            <a:schemeClr val="dk1"/>
                          </a:solidFill>
                          <a:effectLst/>
                          <a:uLnTx/>
                          <a:uFillTx/>
                          <a:latin typeface="Arial" panose="020B0604020202020204" pitchFamily="34" charset="0"/>
                          <a:ea typeface="+mn-ea"/>
                          <a:cs typeface="Arial" panose="020B0604020202020204" pitchFamily="34" charset="0"/>
                        </a:rPr>
                        <a:t>Comorbidities</a:t>
                      </a:r>
                    </a:p>
                  </a:txBody>
                  <a:tcPr anchor="ctr"/>
                </a:tc>
                <a:tc>
                  <a:txBody>
                    <a:bodyPr/>
                    <a:lstStyle/>
                    <a:p>
                      <a:pPr algn="ctr"/>
                      <a:r>
                        <a:rPr lang="en-US" sz="1200" b="0" i="0" u="none" strike="noStrike" baseline="0" dirty="0">
                          <a:solidFill>
                            <a:schemeClr val="tx1"/>
                          </a:solidFill>
                          <a:latin typeface="Arial" panose="020B0604020202020204" pitchFamily="34" charset="0"/>
                          <a:cs typeface="Arial" panose="020B0604020202020204" pitchFamily="34" charset="0"/>
                        </a:rPr>
                        <a:t>CKD, hypertension, T2D, obesity</a:t>
                      </a:r>
                    </a:p>
                  </a:txBody>
                  <a:tcPr marL="60960" marR="60960" marT="60960" marB="60960" anchor="ctr"/>
                </a:tc>
                <a:extLst>
                  <a:ext uri="{0D108BD9-81ED-4DB2-BD59-A6C34878D82A}">
                    <a16:rowId xmlns:a16="http://schemas.microsoft.com/office/drawing/2014/main" val="2382581405"/>
                  </a:ext>
                </a:extLst>
              </a:tr>
              <a:tr h="35254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1200" u="none" strike="noStrike" baseline="0" dirty="0">
                          <a:latin typeface="Arial" panose="020B0604020202020204" pitchFamily="34" charset="0"/>
                          <a:cs typeface="Arial" panose="020B0604020202020204" pitchFamily="34" charset="0"/>
                        </a:rPr>
                        <a:t>eGFR, ml/min/1.73 m</a:t>
                      </a:r>
                      <a:r>
                        <a:rPr lang="en-US" sz="1200" u="none" strike="noStrike" baseline="30000" dirty="0">
                          <a:latin typeface="Arial" panose="020B0604020202020204" pitchFamily="34" charset="0"/>
                          <a:cs typeface="Arial" panose="020B0604020202020204" pitchFamily="34" charset="0"/>
                        </a:rPr>
                        <a:t>2</a:t>
                      </a:r>
                      <a:endParaRPr lang="en-US" sz="1200" b="0" i="0" u="none" strike="noStrike" baseline="0" dirty="0">
                        <a:solidFill>
                          <a:schemeClr val="tx2"/>
                        </a:solidFill>
                        <a:latin typeface="Arial" panose="020B0604020202020204" pitchFamily="34"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i="0" u="none" strike="noStrike" baseline="0" dirty="0">
                          <a:solidFill>
                            <a:schemeClr val="tx1"/>
                          </a:solidFill>
                          <a:latin typeface="Arial" panose="020B0604020202020204" pitchFamily="34" charset="0"/>
                          <a:cs typeface="Arial" panose="020B0604020202020204" pitchFamily="34" charset="0"/>
                        </a:rPr>
                        <a:t>25</a:t>
                      </a:r>
                    </a:p>
                  </a:txBody>
                  <a:tcPr marL="60960" marR="60960" marT="60960" marB="60960" anchor="ctr"/>
                </a:tc>
                <a:extLst>
                  <a:ext uri="{0D108BD9-81ED-4DB2-BD59-A6C34878D82A}">
                    <a16:rowId xmlns:a16="http://schemas.microsoft.com/office/drawing/2014/main" val="1806835918"/>
                  </a:ext>
                </a:extLst>
              </a:tr>
              <a:tr h="331819">
                <a:tc>
                  <a:txBody>
                    <a:bodyPr/>
                    <a:lstStyle/>
                    <a:p>
                      <a:pPr marL="0" algn="l" defTabSz="914400" rtl="0" eaLnBrk="1" latinLnBrk="0" hangingPunct="1"/>
                      <a:r>
                        <a:rPr lang="en-US" sz="1200" u="none" strike="noStrike" kern="1200" baseline="0" dirty="0">
                          <a:solidFill>
                            <a:schemeClr val="dk1"/>
                          </a:solidFill>
                          <a:latin typeface="Arial" panose="020B0604020202020204" pitchFamily="34" charset="0"/>
                          <a:cs typeface="Arial" panose="020B0604020202020204" pitchFamily="34" charset="0"/>
                        </a:rPr>
                        <a:t>Creatinine, mg/dl</a:t>
                      </a:r>
                      <a:endParaRPr lang="en-US" sz="1200" u="none" strike="noStrike" kern="1200" baseline="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200" u="none" strike="noStrike" kern="1200" baseline="0" dirty="0">
                          <a:solidFill>
                            <a:schemeClr val="dk1"/>
                          </a:solidFill>
                          <a:latin typeface="Arial" panose="020B0604020202020204" pitchFamily="34" charset="0"/>
                          <a:ea typeface="+mn-ea"/>
                          <a:cs typeface="Arial" panose="020B0604020202020204" pitchFamily="34" charset="0"/>
                        </a:rPr>
                        <a:t>2.2</a:t>
                      </a:r>
                    </a:p>
                  </a:txBody>
                  <a:tcPr marL="60960" marR="60960" marT="60960" marB="60960" anchor="ctr"/>
                </a:tc>
                <a:extLst>
                  <a:ext uri="{0D108BD9-81ED-4DB2-BD59-A6C34878D82A}">
                    <a16:rowId xmlns:a16="http://schemas.microsoft.com/office/drawing/2014/main" val="2123830373"/>
                  </a:ext>
                </a:extLst>
              </a:tr>
              <a:tr h="352549">
                <a:tc>
                  <a:txBody>
                    <a:bodyPr/>
                    <a:lstStyle/>
                    <a:p>
                      <a:r>
                        <a:rPr lang="en-US" sz="1200" dirty="0">
                          <a:latin typeface="Arial" panose="020B0604020202020204" pitchFamily="34" charset="0"/>
                          <a:cs typeface="Arial" panose="020B0604020202020204" pitchFamily="34" charset="0"/>
                        </a:rPr>
                        <a:t>Potassium, nmol/l</a:t>
                      </a:r>
                      <a:endParaRPr lang="en-GB" sz="1200" dirty="0">
                        <a:latin typeface="Arial" panose="020B0604020202020204" pitchFamily="34" charset="0"/>
                        <a:cs typeface="Arial" panose="020B0604020202020204" pitchFamily="34" charset="0"/>
                      </a:endParaRPr>
                    </a:p>
                  </a:txBody>
                  <a:tcPr anchor="ctr"/>
                </a:tc>
                <a:tc>
                  <a:txBody>
                    <a:bodyPr/>
                    <a:lstStyle/>
                    <a:p>
                      <a:pPr algn="ctr"/>
                      <a:r>
                        <a:rPr lang="en-US" sz="1200" b="0" dirty="0">
                          <a:latin typeface="Arial" panose="020B0604020202020204" pitchFamily="34" charset="0"/>
                          <a:cs typeface="Arial" panose="020B0604020202020204" pitchFamily="34" charset="0"/>
                        </a:rPr>
                        <a:t>5.7</a:t>
                      </a:r>
                      <a:endParaRPr lang="en-GB" sz="1200" b="0" dirty="0">
                        <a:latin typeface="Arial" panose="020B0604020202020204" pitchFamily="34" charset="0"/>
                        <a:cs typeface="Arial" panose="020B0604020202020204" pitchFamily="34" charset="0"/>
                      </a:endParaRPr>
                    </a:p>
                  </a:txBody>
                  <a:tcPr marL="60960" marR="60960" marT="60960" marB="60960" anchor="ctr"/>
                </a:tc>
                <a:extLst>
                  <a:ext uri="{0D108BD9-81ED-4DB2-BD59-A6C34878D82A}">
                    <a16:rowId xmlns:a16="http://schemas.microsoft.com/office/drawing/2014/main" val="3066202675"/>
                  </a:ext>
                </a:extLst>
              </a:tr>
              <a:tr h="352549">
                <a:tc>
                  <a:txBody>
                    <a:bodyPr/>
                    <a:lstStyle/>
                    <a:p>
                      <a:r>
                        <a:rPr lang="en-US" sz="1200" dirty="0">
                          <a:latin typeface="Arial" panose="020B0604020202020204" pitchFamily="34" charset="0"/>
                          <a:cs typeface="Arial" panose="020B0604020202020204" pitchFamily="34" charset="0"/>
                        </a:rPr>
                        <a:t>Sodium, nmol/l</a:t>
                      </a:r>
                      <a:endParaRPr lang="en-GB" sz="1200" dirty="0">
                        <a:latin typeface="Arial" panose="020B0604020202020204" pitchFamily="34" charset="0"/>
                        <a:cs typeface="Arial" panose="020B0604020202020204" pitchFamily="34" charset="0"/>
                      </a:endParaRPr>
                    </a:p>
                  </a:txBody>
                  <a:tcPr anchor="ctr"/>
                </a:tc>
                <a:tc>
                  <a:txBody>
                    <a:bodyPr/>
                    <a:lstStyle/>
                    <a:p>
                      <a:pPr algn="ctr"/>
                      <a:r>
                        <a:rPr lang="en-US" sz="1200" dirty="0">
                          <a:latin typeface="Arial" panose="020B0604020202020204" pitchFamily="34" charset="0"/>
                          <a:cs typeface="Arial" panose="020B0604020202020204" pitchFamily="34" charset="0"/>
                        </a:rPr>
                        <a:t>136</a:t>
                      </a:r>
                      <a:endParaRPr lang="en-GB" sz="1200" dirty="0">
                        <a:latin typeface="Arial" panose="020B0604020202020204" pitchFamily="34" charset="0"/>
                        <a:cs typeface="Arial" panose="020B0604020202020204" pitchFamily="34" charset="0"/>
                      </a:endParaRPr>
                    </a:p>
                  </a:txBody>
                  <a:tcPr marL="60960" marR="60960" marT="60960" marB="60960" anchor="ctr"/>
                </a:tc>
                <a:extLst>
                  <a:ext uri="{0D108BD9-81ED-4DB2-BD59-A6C34878D82A}">
                    <a16:rowId xmlns:a16="http://schemas.microsoft.com/office/drawing/2014/main" val="448110087"/>
                  </a:ext>
                </a:extLst>
              </a:tr>
            </a:tbl>
          </a:graphicData>
        </a:graphic>
      </p:graphicFrame>
    </p:spTree>
    <p:extLst>
      <p:ext uri="{BB962C8B-B14F-4D97-AF65-F5344CB8AC3E}">
        <p14:creationId xmlns:p14="http://schemas.microsoft.com/office/powerpoint/2010/main" val="1821366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7043739" cy="1001168"/>
          </a:xfrm>
        </p:spPr>
        <p:txBody>
          <a:bodyPr/>
          <a:lstStyle/>
          <a:p>
            <a:r>
              <a:rPr lang="en-GB" dirty="0"/>
              <a:t>Managing therapies in a</a:t>
            </a:r>
            <a:br>
              <a:rPr lang="en-GB" dirty="0"/>
            </a:br>
            <a:r>
              <a:rPr lang="en-GB" dirty="0"/>
              <a:t>complex patient</a:t>
            </a:r>
          </a:p>
        </p:txBody>
      </p:sp>
    </p:spTree>
    <p:extLst>
      <p:ext uri="{BB962C8B-B14F-4D97-AF65-F5344CB8AC3E}">
        <p14:creationId xmlns:p14="http://schemas.microsoft.com/office/powerpoint/2010/main" val="6151598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686551" cy="1001168"/>
          </a:xfrm>
        </p:spPr>
        <p:txBody>
          <a:bodyPr/>
          <a:lstStyle/>
          <a:p>
            <a:r>
              <a:rPr lang="en-GB" dirty="0"/>
              <a:t>Tolerability issues with existing HFrEF therapies</a:t>
            </a:r>
          </a:p>
        </p:txBody>
      </p:sp>
    </p:spTree>
    <p:extLst>
      <p:ext uri="{BB962C8B-B14F-4D97-AF65-F5344CB8AC3E}">
        <p14:creationId xmlns:p14="http://schemas.microsoft.com/office/powerpoint/2010/main" val="5736129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0C34836-E005-E949-B332-28DFBA993899}"/>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 Placeholder 8">
            <a:extLst>
              <a:ext uri="{FF2B5EF4-FFF2-40B4-BE49-F238E27FC236}">
                <a16:creationId xmlns:a16="http://schemas.microsoft.com/office/drawing/2014/main" id="{49238594-83D0-F34B-9FE6-C1A18F660D46}"/>
              </a:ext>
            </a:extLst>
          </p:cNvPr>
          <p:cNvSpPr>
            <a:spLocks noGrp="1"/>
          </p:cNvSpPr>
          <p:nvPr>
            <p:ph type="body" sz="quarter" idx="14"/>
          </p:nvPr>
        </p:nvSpPr>
        <p:spPr>
          <a:xfrm>
            <a:off x="596709" y="1419177"/>
            <a:ext cx="9709096" cy="317635"/>
          </a:xfrm>
        </p:spPr>
        <p:txBody>
          <a:bodyPr/>
          <a:lstStyle/>
          <a:p>
            <a:r>
              <a:rPr lang="en-GB" dirty="0"/>
              <a:t>Retrospective observational study using Medicare Fee-For-Service beneficiaries (N=353,642)</a:t>
            </a:r>
          </a:p>
        </p:txBody>
      </p:sp>
      <p:sp>
        <p:nvSpPr>
          <p:cNvPr id="7" name="Title 6">
            <a:extLst>
              <a:ext uri="{FF2B5EF4-FFF2-40B4-BE49-F238E27FC236}">
                <a16:creationId xmlns:a16="http://schemas.microsoft.com/office/drawing/2014/main" id="{902D5BD8-0007-0A4F-A5C2-ED3B7AB20B9A}"/>
              </a:ext>
            </a:extLst>
          </p:cNvPr>
          <p:cNvSpPr>
            <a:spLocks noGrp="1"/>
          </p:cNvSpPr>
          <p:nvPr>
            <p:ph type="title"/>
          </p:nvPr>
        </p:nvSpPr>
        <p:spPr>
          <a:xfrm>
            <a:off x="600074" y="164567"/>
            <a:ext cx="10104438" cy="929127"/>
          </a:xfrm>
        </p:spPr>
        <p:txBody>
          <a:bodyPr/>
          <a:lstStyle/>
          <a:p>
            <a:r>
              <a:rPr lang="en-US" dirty="0"/>
              <a:t>Although the use of GDMT increases following a worsening HF event, this is often not sustained</a:t>
            </a:r>
            <a:r>
              <a:rPr lang="en-US" baseline="30000" dirty="0"/>
              <a:t>1</a:t>
            </a:r>
          </a:p>
        </p:txBody>
      </p:sp>
      <p:sp>
        <p:nvSpPr>
          <p:cNvPr id="6" name="Footer Placeholder 5">
            <a:extLst>
              <a:ext uri="{FF2B5EF4-FFF2-40B4-BE49-F238E27FC236}">
                <a16:creationId xmlns:a16="http://schemas.microsoft.com/office/drawing/2014/main" id="{91094B1E-D987-7B4B-900B-2917212D56A0}"/>
              </a:ext>
            </a:extLst>
          </p:cNvPr>
          <p:cNvSpPr>
            <a:spLocks noGrp="1"/>
          </p:cNvSpPr>
          <p:nvPr>
            <p:ph type="ftr" sz="quarter" idx="2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dapted from Mentz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2021.</a:t>
            </a:r>
            <a:r>
              <a:rPr kumimoji="0" lang="en-US" sz="800" b="0" i="0" u="none" strike="noStrike" kern="1200" cap="none" spc="0" normalizeH="0" baseline="30000" noProof="0" dirty="0">
                <a:ln>
                  <a:noFill/>
                </a:ln>
                <a:solidFill>
                  <a:srgbClr val="000000"/>
                </a:solidFill>
                <a:effectLst/>
                <a:uLnTx/>
                <a:uFillTx/>
                <a:latin typeface="Arial" panose="020B0604020202020204"/>
                <a:ea typeface="+mn-ea"/>
                <a:cs typeface="+mn-cs"/>
              </a:rPr>
              <a:t>1</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onotherapy is defined as the use of one HF drug class (BBs, MRAs or ACEis/ARBs/ARNis); dual therapy is the use of two drug classes (MRA + BB; or ACEi/ARB/ARNi + BB; or ACEi/ARB/ARNi + MRA); triple therapy is the use of three drug classes (ACEi/ARB/ARNi + BB + MRA).</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CEi, angiotensin-converting enzyme inhibitor; ARB, angiotensin receptor blocker;</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RNi, angiotensin receptor–neprilysin inhibitor;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BB, beta blocker; GDMT, guideline-directed medical therapy; HF, heart failure;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MRA, mineralocorticoid receptor antagonis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Reference: 1.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ntz RJ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J Cardiac Fail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http://doi.org/10.1016/j.cardfail.2021.11.013</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grpSp>
        <p:nvGrpSpPr>
          <p:cNvPr id="77" name="Group 76">
            <a:extLst>
              <a:ext uri="{FF2B5EF4-FFF2-40B4-BE49-F238E27FC236}">
                <a16:creationId xmlns:a16="http://schemas.microsoft.com/office/drawing/2014/main" id="{3CB623BB-23EA-264D-8CC8-059D6B0ED432}"/>
              </a:ext>
            </a:extLst>
          </p:cNvPr>
          <p:cNvGrpSpPr/>
          <p:nvPr/>
        </p:nvGrpSpPr>
        <p:grpSpPr>
          <a:xfrm>
            <a:off x="1904918" y="5738837"/>
            <a:ext cx="2874365" cy="153888"/>
            <a:chOff x="1375413" y="5913427"/>
            <a:chExt cx="2874365" cy="157701"/>
          </a:xfrm>
        </p:grpSpPr>
        <p:grpSp>
          <p:nvGrpSpPr>
            <p:cNvPr id="96" name="Group 95">
              <a:extLst>
                <a:ext uri="{FF2B5EF4-FFF2-40B4-BE49-F238E27FC236}">
                  <a16:creationId xmlns:a16="http://schemas.microsoft.com/office/drawing/2014/main" id="{A2D728A9-BE91-7243-AB52-53520E303AAA}"/>
                </a:ext>
              </a:extLst>
            </p:cNvPr>
            <p:cNvGrpSpPr/>
            <p:nvPr/>
          </p:nvGrpSpPr>
          <p:grpSpPr>
            <a:xfrm>
              <a:off x="1375413" y="5913427"/>
              <a:ext cx="530076" cy="157701"/>
              <a:chOff x="2133600" y="5896961"/>
              <a:chExt cx="530076" cy="157701"/>
            </a:xfrm>
          </p:grpSpPr>
          <p:sp>
            <p:nvSpPr>
              <p:cNvPr id="103" name="TextBox 102">
                <a:extLst>
                  <a:ext uri="{FF2B5EF4-FFF2-40B4-BE49-F238E27FC236}">
                    <a16:creationId xmlns:a16="http://schemas.microsoft.com/office/drawing/2014/main" id="{5414BC24-4D40-914C-8A5C-63A155757788}"/>
                  </a:ext>
                </a:extLst>
              </p:cNvPr>
              <p:cNvSpPr txBox="1"/>
              <p:nvPr/>
            </p:nvSpPr>
            <p:spPr>
              <a:xfrm>
                <a:off x="2389356" y="5896961"/>
                <a:ext cx="274320"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BB</a:t>
                </a:r>
              </a:p>
            </p:txBody>
          </p:sp>
          <p:cxnSp>
            <p:nvCxnSpPr>
              <p:cNvPr id="104" name="Straight Connector 103">
                <a:extLst>
                  <a:ext uri="{FF2B5EF4-FFF2-40B4-BE49-F238E27FC236}">
                    <a16:creationId xmlns:a16="http://schemas.microsoft.com/office/drawing/2014/main" id="{60B5DB98-C77F-8446-87E3-72CF28A869F6}"/>
                  </a:ext>
                </a:extLst>
              </p:cNvPr>
              <p:cNvCxnSpPr/>
              <p:nvPr/>
            </p:nvCxnSpPr>
            <p:spPr>
              <a:xfrm>
                <a:off x="2133600" y="5972175"/>
                <a:ext cx="18288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56A26E14-0BE0-9C4F-84DA-B94D87A97244}"/>
                </a:ext>
              </a:extLst>
            </p:cNvPr>
            <p:cNvGrpSpPr/>
            <p:nvPr/>
          </p:nvGrpSpPr>
          <p:grpSpPr>
            <a:xfrm>
              <a:off x="2047656" y="5913427"/>
              <a:ext cx="727000" cy="157701"/>
              <a:chOff x="2895600" y="5896961"/>
              <a:chExt cx="727000" cy="157701"/>
            </a:xfrm>
          </p:grpSpPr>
          <p:sp>
            <p:nvSpPr>
              <p:cNvPr id="101" name="TextBox 100">
                <a:extLst>
                  <a:ext uri="{FF2B5EF4-FFF2-40B4-BE49-F238E27FC236}">
                    <a16:creationId xmlns:a16="http://schemas.microsoft.com/office/drawing/2014/main" id="{04A9E21B-F319-AE45-AF57-627239F1B82E}"/>
                  </a:ext>
                </a:extLst>
              </p:cNvPr>
              <p:cNvSpPr txBox="1"/>
              <p:nvPr/>
            </p:nvSpPr>
            <p:spPr>
              <a:xfrm>
                <a:off x="3135406" y="5896961"/>
                <a:ext cx="487194"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MRA</a:t>
                </a:r>
              </a:p>
            </p:txBody>
          </p:sp>
          <p:cxnSp>
            <p:nvCxnSpPr>
              <p:cNvPr id="102" name="Straight Connector 101">
                <a:extLst>
                  <a:ext uri="{FF2B5EF4-FFF2-40B4-BE49-F238E27FC236}">
                    <a16:creationId xmlns:a16="http://schemas.microsoft.com/office/drawing/2014/main" id="{DEFFF310-034A-2249-AE8F-DB19BC71E171}"/>
                  </a:ext>
                </a:extLst>
              </p:cNvPr>
              <p:cNvCxnSpPr/>
              <p:nvPr/>
            </p:nvCxnSpPr>
            <p:spPr>
              <a:xfrm>
                <a:off x="2895600" y="5972175"/>
                <a:ext cx="18288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24F78EDD-85E9-A042-B480-7A40EA987E6A}"/>
                </a:ext>
              </a:extLst>
            </p:cNvPr>
            <p:cNvGrpSpPr/>
            <p:nvPr/>
          </p:nvGrpSpPr>
          <p:grpSpPr>
            <a:xfrm>
              <a:off x="2821028" y="5913427"/>
              <a:ext cx="1428750" cy="157701"/>
              <a:chOff x="3914775" y="5896961"/>
              <a:chExt cx="1428750" cy="157701"/>
            </a:xfrm>
          </p:grpSpPr>
          <p:sp>
            <p:nvSpPr>
              <p:cNvPr id="99" name="TextBox 98">
                <a:extLst>
                  <a:ext uri="{FF2B5EF4-FFF2-40B4-BE49-F238E27FC236}">
                    <a16:creationId xmlns:a16="http://schemas.microsoft.com/office/drawing/2014/main" id="{8350D444-4BE3-1C40-A0ED-64CC109AECC6}"/>
                  </a:ext>
                </a:extLst>
              </p:cNvPr>
              <p:cNvSpPr txBox="1"/>
              <p:nvPr/>
            </p:nvSpPr>
            <p:spPr>
              <a:xfrm>
                <a:off x="4151481" y="5896961"/>
                <a:ext cx="1192044"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ACEi/ARB/ARNi</a:t>
                </a:r>
              </a:p>
            </p:txBody>
          </p:sp>
          <p:cxnSp>
            <p:nvCxnSpPr>
              <p:cNvPr id="100" name="Straight Connector 99">
                <a:extLst>
                  <a:ext uri="{FF2B5EF4-FFF2-40B4-BE49-F238E27FC236}">
                    <a16:creationId xmlns:a16="http://schemas.microsoft.com/office/drawing/2014/main" id="{89640248-0F5C-2D47-96A3-ECCAD6B67D93}"/>
                  </a:ext>
                </a:extLst>
              </p:cNvPr>
              <p:cNvCxnSpPr/>
              <p:nvPr/>
            </p:nvCxnSpPr>
            <p:spPr>
              <a:xfrm>
                <a:off x="3914775" y="5972175"/>
                <a:ext cx="18288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grpSp>
        <p:nvGrpSpPr>
          <p:cNvPr id="242" name="Group 241">
            <a:extLst>
              <a:ext uri="{FF2B5EF4-FFF2-40B4-BE49-F238E27FC236}">
                <a16:creationId xmlns:a16="http://schemas.microsoft.com/office/drawing/2014/main" id="{4AB55036-93D6-2A45-A342-5198A8B5C139}"/>
              </a:ext>
            </a:extLst>
          </p:cNvPr>
          <p:cNvGrpSpPr/>
          <p:nvPr/>
        </p:nvGrpSpPr>
        <p:grpSpPr>
          <a:xfrm>
            <a:off x="5699956" y="5739348"/>
            <a:ext cx="1353036" cy="153888"/>
            <a:chOff x="2133600" y="5911754"/>
            <a:chExt cx="1353036" cy="157701"/>
          </a:xfrm>
        </p:grpSpPr>
        <p:sp>
          <p:nvSpPr>
            <p:cNvPr id="252" name="TextBox 251">
              <a:extLst>
                <a:ext uri="{FF2B5EF4-FFF2-40B4-BE49-F238E27FC236}">
                  <a16:creationId xmlns:a16="http://schemas.microsoft.com/office/drawing/2014/main" id="{B7C92A6E-BC2B-FD42-8FFC-7C72483AAE26}"/>
                </a:ext>
              </a:extLst>
            </p:cNvPr>
            <p:cNvSpPr txBox="1"/>
            <p:nvPr/>
          </p:nvSpPr>
          <p:spPr>
            <a:xfrm>
              <a:off x="2389356" y="5911754"/>
              <a:ext cx="1097280"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No HF medication</a:t>
              </a:r>
            </a:p>
          </p:txBody>
        </p:sp>
        <p:cxnSp>
          <p:nvCxnSpPr>
            <p:cNvPr id="253" name="Straight Connector 252">
              <a:extLst>
                <a:ext uri="{FF2B5EF4-FFF2-40B4-BE49-F238E27FC236}">
                  <a16:creationId xmlns:a16="http://schemas.microsoft.com/office/drawing/2014/main" id="{2E4FE864-7C2A-4747-859C-1B52D7787FC4}"/>
                </a:ext>
              </a:extLst>
            </p:cNvPr>
            <p:cNvCxnSpPr/>
            <p:nvPr/>
          </p:nvCxnSpPr>
          <p:spPr>
            <a:xfrm>
              <a:off x="2133600" y="5985546"/>
              <a:ext cx="18288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832748A3-B5F4-1542-A6F7-B2FFE11D39F9}"/>
              </a:ext>
            </a:extLst>
          </p:cNvPr>
          <p:cNvGrpSpPr/>
          <p:nvPr/>
        </p:nvGrpSpPr>
        <p:grpSpPr>
          <a:xfrm>
            <a:off x="7145984" y="5739349"/>
            <a:ext cx="1353036" cy="153888"/>
            <a:chOff x="2133600" y="5911755"/>
            <a:chExt cx="1353036" cy="157701"/>
          </a:xfrm>
        </p:grpSpPr>
        <p:sp>
          <p:nvSpPr>
            <p:cNvPr id="250" name="TextBox 249">
              <a:extLst>
                <a:ext uri="{FF2B5EF4-FFF2-40B4-BE49-F238E27FC236}">
                  <a16:creationId xmlns:a16="http://schemas.microsoft.com/office/drawing/2014/main" id="{0D8CDCF2-7428-5A49-8A5C-9F382F1DCA12}"/>
                </a:ext>
              </a:extLst>
            </p:cNvPr>
            <p:cNvSpPr txBox="1"/>
            <p:nvPr/>
          </p:nvSpPr>
          <p:spPr>
            <a:xfrm>
              <a:off x="2389356" y="5911755"/>
              <a:ext cx="1097280"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Monotherapy</a:t>
              </a:r>
            </a:p>
          </p:txBody>
        </p:sp>
        <p:cxnSp>
          <p:nvCxnSpPr>
            <p:cNvPr id="251" name="Straight Connector 250">
              <a:extLst>
                <a:ext uri="{FF2B5EF4-FFF2-40B4-BE49-F238E27FC236}">
                  <a16:creationId xmlns:a16="http://schemas.microsoft.com/office/drawing/2014/main" id="{A420517C-3638-FA4F-A557-C7325A9BD291}"/>
                </a:ext>
              </a:extLst>
            </p:cNvPr>
            <p:cNvCxnSpPr/>
            <p:nvPr/>
          </p:nvCxnSpPr>
          <p:spPr>
            <a:xfrm>
              <a:off x="2133600" y="5985546"/>
              <a:ext cx="18288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F3406188-8ECA-2B48-9D9C-A2BF6A0A7DD9}"/>
              </a:ext>
            </a:extLst>
          </p:cNvPr>
          <p:cNvGrpSpPr/>
          <p:nvPr/>
        </p:nvGrpSpPr>
        <p:grpSpPr>
          <a:xfrm>
            <a:off x="8384678" y="5739349"/>
            <a:ext cx="1353036" cy="153888"/>
            <a:chOff x="2133600" y="5911755"/>
            <a:chExt cx="1353036" cy="157701"/>
          </a:xfrm>
        </p:grpSpPr>
        <p:sp>
          <p:nvSpPr>
            <p:cNvPr id="248" name="TextBox 247">
              <a:extLst>
                <a:ext uri="{FF2B5EF4-FFF2-40B4-BE49-F238E27FC236}">
                  <a16:creationId xmlns:a16="http://schemas.microsoft.com/office/drawing/2014/main" id="{CD0C3A01-512D-3B4F-920C-DFEEB3616259}"/>
                </a:ext>
              </a:extLst>
            </p:cNvPr>
            <p:cNvSpPr txBox="1"/>
            <p:nvPr/>
          </p:nvSpPr>
          <p:spPr>
            <a:xfrm>
              <a:off x="2389356" y="5911755"/>
              <a:ext cx="1097280"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Dual therapy</a:t>
              </a:r>
            </a:p>
          </p:txBody>
        </p:sp>
        <p:cxnSp>
          <p:nvCxnSpPr>
            <p:cNvPr id="249" name="Straight Connector 248">
              <a:extLst>
                <a:ext uri="{FF2B5EF4-FFF2-40B4-BE49-F238E27FC236}">
                  <a16:creationId xmlns:a16="http://schemas.microsoft.com/office/drawing/2014/main" id="{A1C7DD09-1ABF-CD43-AE7E-AA92D90A6EAB}"/>
                </a:ext>
              </a:extLst>
            </p:cNvPr>
            <p:cNvCxnSpPr/>
            <p:nvPr/>
          </p:nvCxnSpPr>
          <p:spPr>
            <a:xfrm>
              <a:off x="2133600" y="5985546"/>
              <a:ext cx="18288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5" name="Group 244">
            <a:extLst>
              <a:ext uri="{FF2B5EF4-FFF2-40B4-BE49-F238E27FC236}">
                <a16:creationId xmlns:a16="http://schemas.microsoft.com/office/drawing/2014/main" id="{EC9A9A78-D81D-DB4B-BD61-43455206914D}"/>
              </a:ext>
            </a:extLst>
          </p:cNvPr>
          <p:cNvGrpSpPr/>
          <p:nvPr/>
        </p:nvGrpSpPr>
        <p:grpSpPr>
          <a:xfrm>
            <a:off x="9532993" y="5739349"/>
            <a:ext cx="1353036" cy="153888"/>
            <a:chOff x="2133600" y="5911755"/>
            <a:chExt cx="1353036" cy="157701"/>
          </a:xfrm>
        </p:grpSpPr>
        <p:sp>
          <p:nvSpPr>
            <p:cNvPr id="246" name="TextBox 245">
              <a:extLst>
                <a:ext uri="{FF2B5EF4-FFF2-40B4-BE49-F238E27FC236}">
                  <a16:creationId xmlns:a16="http://schemas.microsoft.com/office/drawing/2014/main" id="{6693B8B2-9EC9-804D-8B3F-107F58DB99A2}"/>
                </a:ext>
              </a:extLst>
            </p:cNvPr>
            <p:cNvSpPr txBox="1"/>
            <p:nvPr/>
          </p:nvSpPr>
          <p:spPr>
            <a:xfrm>
              <a:off x="2389356" y="5911755"/>
              <a:ext cx="1097280" cy="15770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Triple therapy</a:t>
              </a:r>
            </a:p>
          </p:txBody>
        </p:sp>
        <p:cxnSp>
          <p:nvCxnSpPr>
            <p:cNvPr id="247" name="Straight Connector 246">
              <a:extLst>
                <a:ext uri="{FF2B5EF4-FFF2-40B4-BE49-F238E27FC236}">
                  <a16:creationId xmlns:a16="http://schemas.microsoft.com/office/drawing/2014/main" id="{9E507012-B1E4-444E-A36F-AB95012E1D28}"/>
                </a:ext>
              </a:extLst>
            </p:cNvPr>
            <p:cNvCxnSpPr/>
            <p:nvPr/>
          </p:nvCxnSpPr>
          <p:spPr>
            <a:xfrm>
              <a:off x="2133600" y="5985546"/>
              <a:ext cx="18288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534BF90-79CD-4757-B861-3A7E51BFC7A2}"/>
              </a:ext>
            </a:extLst>
          </p:cNvPr>
          <p:cNvGrpSpPr/>
          <p:nvPr/>
        </p:nvGrpSpPr>
        <p:grpSpPr>
          <a:xfrm>
            <a:off x="5773061" y="2268586"/>
            <a:ext cx="4827948" cy="3460381"/>
            <a:chOff x="5773061" y="2019000"/>
            <a:chExt cx="4827948" cy="3842047"/>
          </a:xfrm>
        </p:grpSpPr>
        <p:sp>
          <p:nvSpPr>
            <p:cNvPr id="193" name="TextBox 192">
              <a:extLst>
                <a:ext uri="{FF2B5EF4-FFF2-40B4-BE49-F238E27FC236}">
                  <a16:creationId xmlns:a16="http://schemas.microsoft.com/office/drawing/2014/main" id="{834A8A6A-EF0E-B849-B675-0B6807602606}"/>
                </a:ext>
              </a:extLst>
            </p:cNvPr>
            <p:cNvSpPr txBox="1"/>
            <p:nvPr/>
          </p:nvSpPr>
          <p:spPr>
            <a:xfrm>
              <a:off x="7334017" y="5584049"/>
              <a:ext cx="2301800" cy="276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With worsening HF event </a:t>
              </a:r>
            </a:p>
          </p:txBody>
        </p:sp>
        <p:sp>
          <p:nvSpPr>
            <p:cNvPr id="196" name="Rectangle 195">
              <a:extLst>
                <a:ext uri="{FF2B5EF4-FFF2-40B4-BE49-F238E27FC236}">
                  <a16:creationId xmlns:a16="http://schemas.microsoft.com/office/drawing/2014/main" id="{B84B75D7-1305-D545-9962-DF7B82E3E975}"/>
                </a:ext>
              </a:extLst>
            </p:cNvPr>
            <p:cNvSpPr/>
            <p:nvPr/>
          </p:nvSpPr>
          <p:spPr>
            <a:xfrm>
              <a:off x="7338033" y="2019000"/>
              <a:ext cx="616226" cy="3264936"/>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7" name="TextBox 196">
              <a:extLst>
                <a:ext uri="{FF2B5EF4-FFF2-40B4-BE49-F238E27FC236}">
                  <a16:creationId xmlns:a16="http://schemas.microsoft.com/office/drawing/2014/main" id="{923AE4D4-9637-BC47-A1CF-0675AA9A1D57}"/>
                </a:ext>
              </a:extLst>
            </p:cNvPr>
            <p:cNvSpPr txBox="1"/>
            <p:nvPr/>
          </p:nvSpPr>
          <p:spPr>
            <a:xfrm rot="16200000">
              <a:off x="5379203" y="3565692"/>
              <a:ext cx="106471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a:t>
              </a:r>
            </a:p>
          </p:txBody>
        </p:sp>
        <p:sp>
          <p:nvSpPr>
            <p:cNvPr id="223" name="TextBox 222">
              <a:extLst>
                <a:ext uri="{FF2B5EF4-FFF2-40B4-BE49-F238E27FC236}">
                  <a16:creationId xmlns:a16="http://schemas.microsoft.com/office/drawing/2014/main" id="{62154892-239F-9D45-A332-10018A65DCE0}"/>
                </a:ext>
              </a:extLst>
            </p:cNvPr>
            <p:cNvSpPr txBox="1"/>
            <p:nvPr/>
          </p:nvSpPr>
          <p:spPr>
            <a:xfrm>
              <a:off x="6150770" y="2031505"/>
              <a:ext cx="141064" cy="170861"/>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50</a:t>
              </a:r>
            </a:p>
          </p:txBody>
        </p:sp>
        <p:sp>
          <p:nvSpPr>
            <p:cNvPr id="224" name="TextBox 223">
              <a:extLst>
                <a:ext uri="{FF2B5EF4-FFF2-40B4-BE49-F238E27FC236}">
                  <a16:creationId xmlns:a16="http://schemas.microsoft.com/office/drawing/2014/main" id="{303FB4CD-E4DB-3E41-B89B-09DC75A10320}"/>
                </a:ext>
              </a:extLst>
            </p:cNvPr>
            <p:cNvSpPr txBox="1"/>
            <p:nvPr/>
          </p:nvSpPr>
          <p:spPr>
            <a:xfrm>
              <a:off x="6150770" y="2648707"/>
              <a:ext cx="157094" cy="187948"/>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40</a:t>
              </a:r>
            </a:p>
          </p:txBody>
        </p:sp>
        <p:sp>
          <p:nvSpPr>
            <p:cNvPr id="225" name="TextBox 224">
              <a:extLst>
                <a:ext uri="{FF2B5EF4-FFF2-40B4-BE49-F238E27FC236}">
                  <a16:creationId xmlns:a16="http://schemas.microsoft.com/office/drawing/2014/main" id="{B8EDE963-820A-ED4A-8478-7C14A7281C9A}"/>
                </a:ext>
              </a:extLst>
            </p:cNvPr>
            <p:cNvSpPr txBox="1"/>
            <p:nvPr/>
          </p:nvSpPr>
          <p:spPr>
            <a:xfrm>
              <a:off x="6150770" y="3295693"/>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30</a:t>
              </a:r>
            </a:p>
          </p:txBody>
        </p:sp>
        <p:sp>
          <p:nvSpPr>
            <p:cNvPr id="226" name="TextBox 225">
              <a:extLst>
                <a:ext uri="{FF2B5EF4-FFF2-40B4-BE49-F238E27FC236}">
                  <a16:creationId xmlns:a16="http://schemas.microsoft.com/office/drawing/2014/main" id="{D9040442-5FEF-2242-BBEB-3F347470E29A}"/>
                </a:ext>
              </a:extLst>
            </p:cNvPr>
            <p:cNvSpPr txBox="1"/>
            <p:nvPr/>
          </p:nvSpPr>
          <p:spPr>
            <a:xfrm>
              <a:off x="6150770" y="3936623"/>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20</a:t>
              </a:r>
            </a:p>
          </p:txBody>
        </p:sp>
        <p:sp>
          <p:nvSpPr>
            <p:cNvPr id="235" name="Freeform: Shape 235">
              <a:extLst>
                <a:ext uri="{FF2B5EF4-FFF2-40B4-BE49-F238E27FC236}">
                  <a16:creationId xmlns:a16="http://schemas.microsoft.com/office/drawing/2014/main" id="{7CA260B4-F332-D44F-A0CC-7645F5E0CD4E}"/>
                </a:ext>
              </a:extLst>
            </p:cNvPr>
            <p:cNvSpPr/>
            <p:nvPr/>
          </p:nvSpPr>
          <p:spPr>
            <a:xfrm>
              <a:off x="6409819" y="2114910"/>
              <a:ext cx="4108326" cy="3169285"/>
            </a:xfrm>
            <a:custGeom>
              <a:avLst/>
              <a:gdLst>
                <a:gd name="connsiteX0" fmla="*/ 0 w 5442858"/>
                <a:gd name="connsiteY0" fmla="*/ 0 h 3274423"/>
                <a:gd name="connsiteX1" fmla="*/ 0 w 5442858"/>
                <a:gd name="connsiteY1" fmla="*/ 3274423 h 3274423"/>
                <a:gd name="connsiteX2" fmla="*/ 5442858 w 5442858"/>
                <a:gd name="connsiteY2" fmla="*/ 3274423 h 3274423"/>
              </a:gdLst>
              <a:ahLst/>
              <a:cxnLst>
                <a:cxn ang="0">
                  <a:pos x="connsiteX0" y="connsiteY0"/>
                </a:cxn>
                <a:cxn ang="0">
                  <a:pos x="connsiteX1" y="connsiteY1"/>
                </a:cxn>
                <a:cxn ang="0">
                  <a:pos x="connsiteX2" y="connsiteY2"/>
                </a:cxn>
              </a:cxnLst>
              <a:rect l="l" t="t" r="r" b="b"/>
              <a:pathLst>
                <a:path w="5442858" h="3274423">
                  <a:moveTo>
                    <a:pt x="0" y="0"/>
                  </a:moveTo>
                  <a:lnTo>
                    <a:pt x="0" y="3274423"/>
                  </a:lnTo>
                  <a:lnTo>
                    <a:pt x="5442858" y="3274423"/>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36" name="Straight Connector 235">
              <a:extLst>
                <a:ext uri="{FF2B5EF4-FFF2-40B4-BE49-F238E27FC236}">
                  <a16:creationId xmlns:a16="http://schemas.microsoft.com/office/drawing/2014/main" id="{410969C2-B406-674A-AF6E-CD4BF3BBCE60}"/>
                </a:ext>
              </a:extLst>
            </p:cNvPr>
            <p:cNvCxnSpPr/>
            <p:nvPr/>
          </p:nvCxnSpPr>
          <p:spPr>
            <a:xfrm>
              <a:off x="6367765" y="2116936"/>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87C7CFC1-EC90-8740-8050-81B5A4127D74}"/>
                </a:ext>
              </a:extLst>
            </p:cNvPr>
            <p:cNvCxnSpPr/>
            <p:nvPr/>
          </p:nvCxnSpPr>
          <p:spPr>
            <a:xfrm>
              <a:off x="6365189" y="5284195"/>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DDD7C8A0-01A3-874B-A38F-137C194E22B2}"/>
                </a:ext>
              </a:extLst>
            </p:cNvPr>
            <p:cNvCxnSpPr/>
            <p:nvPr/>
          </p:nvCxnSpPr>
          <p:spPr>
            <a:xfrm>
              <a:off x="6365189" y="2742680"/>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10AD2E9F-405E-C747-A8AB-4BE2CB4835B2}"/>
                </a:ext>
              </a:extLst>
            </p:cNvPr>
            <p:cNvCxnSpPr/>
            <p:nvPr/>
          </p:nvCxnSpPr>
          <p:spPr>
            <a:xfrm>
              <a:off x="6365189" y="3381123"/>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693ED32-70AB-F648-8D72-0F94614C1D24}"/>
                </a:ext>
              </a:extLst>
            </p:cNvPr>
            <p:cNvCxnSpPr/>
            <p:nvPr/>
          </p:nvCxnSpPr>
          <p:spPr>
            <a:xfrm>
              <a:off x="6365189" y="4021928"/>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1328AF8B-E9A4-CC40-B80E-134333243BAF}"/>
                </a:ext>
              </a:extLst>
            </p:cNvPr>
            <p:cNvCxnSpPr/>
            <p:nvPr/>
          </p:nvCxnSpPr>
          <p:spPr>
            <a:xfrm>
              <a:off x="6365189" y="4653334"/>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8" name="TextBox 227">
              <a:extLst>
                <a:ext uri="{FF2B5EF4-FFF2-40B4-BE49-F238E27FC236}">
                  <a16:creationId xmlns:a16="http://schemas.microsoft.com/office/drawing/2014/main" id="{8B76FDBE-9927-6D4F-BD84-88EB4A97F8D9}"/>
                </a:ext>
              </a:extLst>
            </p:cNvPr>
            <p:cNvSpPr txBox="1"/>
            <p:nvPr/>
          </p:nvSpPr>
          <p:spPr>
            <a:xfrm>
              <a:off x="6150770" y="4564583"/>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10</a:t>
              </a:r>
            </a:p>
          </p:txBody>
        </p:sp>
        <p:sp>
          <p:nvSpPr>
            <p:cNvPr id="229" name="TextBox 228">
              <a:extLst>
                <a:ext uri="{FF2B5EF4-FFF2-40B4-BE49-F238E27FC236}">
                  <a16:creationId xmlns:a16="http://schemas.microsoft.com/office/drawing/2014/main" id="{79798B53-3D6C-7C49-ACEB-A067B0975658}"/>
                </a:ext>
              </a:extLst>
            </p:cNvPr>
            <p:cNvSpPr txBox="1"/>
            <p:nvPr/>
          </p:nvSpPr>
          <p:spPr>
            <a:xfrm>
              <a:off x="6150770" y="5198510"/>
              <a:ext cx="169918" cy="170861"/>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0</a:t>
              </a:r>
            </a:p>
          </p:txBody>
        </p:sp>
        <p:sp>
          <p:nvSpPr>
            <p:cNvPr id="230" name="TextBox 229">
              <a:extLst>
                <a:ext uri="{FF2B5EF4-FFF2-40B4-BE49-F238E27FC236}">
                  <a16:creationId xmlns:a16="http://schemas.microsoft.com/office/drawing/2014/main" id="{AEC1DA65-6B8D-1D41-B079-C36951364873}"/>
                </a:ext>
              </a:extLst>
            </p:cNvPr>
            <p:cNvSpPr txBox="1"/>
            <p:nvPr/>
          </p:nvSpPr>
          <p:spPr>
            <a:xfrm>
              <a:off x="6373020" y="5340527"/>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3 month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e–index date</a:t>
              </a:r>
            </a:p>
          </p:txBody>
        </p:sp>
        <p:sp>
          <p:nvSpPr>
            <p:cNvPr id="231" name="TextBox 230">
              <a:extLst>
                <a:ext uri="{FF2B5EF4-FFF2-40B4-BE49-F238E27FC236}">
                  <a16:creationId xmlns:a16="http://schemas.microsoft.com/office/drawing/2014/main" id="{D79B3923-E52C-7948-99F8-2EE2D3FB046E}"/>
                </a:ext>
              </a:extLst>
            </p:cNvPr>
            <p:cNvSpPr txBox="1"/>
            <p:nvPr/>
          </p:nvSpPr>
          <p:spPr>
            <a:xfrm>
              <a:off x="7269220" y="5340527"/>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3 month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232" name="TextBox 231">
              <a:extLst>
                <a:ext uri="{FF2B5EF4-FFF2-40B4-BE49-F238E27FC236}">
                  <a16:creationId xmlns:a16="http://schemas.microsoft.com/office/drawing/2014/main" id="{70DA0F3D-6561-7B4B-9197-05E2BABB9D95}"/>
                </a:ext>
              </a:extLst>
            </p:cNvPr>
            <p:cNvSpPr txBox="1"/>
            <p:nvPr/>
          </p:nvSpPr>
          <p:spPr>
            <a:xfrm>
              <a:off x="8087738" y="5340527"/>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4–6 months</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233" name="TextBox 232">
              <a:extLst>
                <a:ext uri="{FF2B5EF4-FFF2-40B4-BE49-F238E27FC236}">
                  <a16:creationId xmlns:a16="http://schemas.microsoft.com/office/drawing/2014/main" id="{6D226E06-103D-BF4A-879B-ACC7AB245572}"/>
                </a:ext>
              </a:extLst>
            </p:cNvPr>
            <p:cNvSpPr txBox="1"/>
            <p:nvPr/>
          </p:nvSpPr>
          <p:spPr>
            <a:xfrm>
              <a:off x="8906256" y="5340527"/>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7–9 months</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234" name="TextBox 233">
              <a:extLst>
                <a:ext uri="{FF2B5EF4-FFF2-40B4-BE49-F238E27FC236}">
                  <a16:creationId xmlns:a16="http://schemas.microsoft.com/office/drawing/2014/main" id="{EA96D5DC-526D-694B-8761-08B656954099}"/>
                </a:ext>
              </a:extLst>
            </p:cNvPr>
            <p:cNvSpPr txBox="1"/>
            <p:nvPr/>
          </p:nvSpPr>
          <p:spPr>
            <a:xfrm>
              <a:off x="9647090" y="5340527"/>
              <a:ext cx="9539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10–12 month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199" name="Freeform: Shape 199">
              <a:extLst>
                <a:ext uri="{FF2B5EF4-FFF2-40B4-BE49-F238E27FC236}">
                  <a16:creationId xmlns:a16="http://schemas.microsoft.com/office/drawing/2014/main" id="{ABD2D732-F0D8-9F4A-9F2A-F2B61825B565}"/>
                </a:ext>
              </a:extLst>
            </p:cNvPr>
            <p:cNvSpPr/>
            <p:nvPr/>
          </p:nvSpPr>
          <p:spPr>
            <a:xfrm>
              <a:off x="6813033" y="4521230"/>
              <a:ext cx="3318672" cy="520216"/>
            </a:xfrm>
            <a:custGeom>
              <a:avLst/>
              <a:gdLst>
                <a:gd name="connsiteX0" fmla="*/ 0 w 3318672"/>
                <a:gd name="connsiteY0" fmla="*/ 533106 h 533106"/>
                <a:gd name="connsiteX1" fmla="*/ 836729 w 3318672"/>
                <a:gd name="connsiteY1" fmla="*/ 0 h 533106"/>
                <a:gd name="connsiteX2" fmla="*/ 1662866 w 3318672"/>
                <a:gd name="connsiteY2" fmla="*/ 137690 h 533106"/>
                <a:gd name="connsiteX3" fmla="*/ 2460760 w 3318672"/>
                <a:gd name="connsiteY3" fmla="*/ 197709 h 533106"/>
                <a:gd name="connsiteX4" fmla="*/ 3318672 w 3318672"/>
                <a:gd name="connsiteY4" fmla="*/ 201239 h 53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672" h="533106">
                  <a:moveTo>
                    <a:pt x="0" y="533106"/>
                  </a:moveTo>
                  <a:lnTo>
                    <a:pt x="836729" y="0"/>
                  </a:lnTo>
                  <a:lnTo>
                    <a:pt x="1662866" y="137690"/>
                  </a:lnTo>
                  <a:lnTo>
                    <a:pt x="2460760" y="197709"/>
                  </a:lnTo>
                  <a:lnTo>
                    <a:pt x="3318672" y="201239"/>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0" name="Freeform: Shape 200">
              <a:extLst>
                <a:ext uri="{FF2B5EF4-FFF2-40B4-BE49-F238E27FC236}">
                  <a16:creationId xmlns:a16="http://schemas.microsoft.com/office/drawing/2014/main" id="{BA132711-FB5F-0E43-A4CB-C205316754EA}"/>
                </a:ext>
              </a:extLst>
            </p:cNvPr>
            <p:cNvSpPr/>
            <p:nvPr/>
          </p:nvSpPr>
          <p:spPr>
            <a:xfrm>
              <a:off x="6816563" y="4331747"/>
              <a:ext cx="3319495" cy="448309"/>
            </a:xfrm>
            <a:custGeom>
              <a:avLst/>
              <a:gdLst>
                <a:gd name="connsiteX0" fmla="*/ 0 w 3311611"/>
                <a:gd name="connsiteY0" fmla="*/ 0 h 462496"/>
                <a:gd name="connsiteX1" fmla="*/ 840260 w 3311611"/>
                <a:gd name="connsiteY1" fmla="*/ 462496 h 462496"/>
                <a:gd name="connsiteX2" fmla="*/ 1662867 w 3311611"/>
                <a:gd name="connsiteY2" fmla="*/ 261257 h 462496"/>
                <a:gd name="connsiteX3" fmla="*/ 3311611 w 3311611"/>
                <a:gd name="connsiteY3" fmla="*/ 130628 h 462496"/>
                <a:gd name="connsiteX0" fmla="*/ 0 w 3311611"/>
                <a:gd name="connsiteY0" fmla="*/ 0 h 459417"/>
                <a:gd name="connsiteX1" fmla="*/ 831024 w 3311611"/>
                <a:gd name="connsiteY1" fmla="*/ 459417 h 459417"/>
                <a:gd name="connsiteX2" fmla="*/ 1662867 w 3311611"/>
                <a:gd name="connsiteY2" fmla="*/ 261257 h 459417"/>
                <a:gd name="connsiteX3" fmla="*/ 3311611 w 3311611"/>
                <a:gd name="connsiteY3" fmla="*/ 130628 h 459417"/>
                <a:gd name="connsiteX0" fmla="*/ 0 w 3311611"/>
                <a:gd name="connsiteY0" fmla="*/ 0 h 459417"/>
                <a:gd name="connsiteX1" fmla="*/ 831024 w 3311611"/>
                <a:gd name="connsiteY1" fmla="*/ 459417 h 459417"/>
                <a:gd name="connsiteX2" fmla="*/ 1653630 w 3311611"/>
                <a:gd name="connsiteY2" fmla="*/ 264336 h 459417"/>
                <a:gd name="connsiteX3" fmla="*/ 3311611 w 3311611"/>
                <a:gd name="connsiteY3" fmla="*/ 130628 h 459417"/>
                <a:gd name="connsiteX0" fmla="*/ 0 w 3311611"/>
                <a:gd name="connsiteY0" fmla="*/ 0 h 459417"/>
                <a:gd name="connsiteX1" fmla="*/ 831024 w 3311611"/>
                <a:gd name="connsiteY1" fmla="*/ 459417 h 459417"/>
                <a:gd name="connsiteX2" fmla="*/ 1650552 w 3311611"/>
                <a:gd name="connsiteY2" fmla="*/ 270493 h 459417"/>
                <a:gd name="connsiteX3" fmla="*/ 3311611 w 3311611"/>
                <a:gd name="connsiteY3" fmla="*/ 130628 h 459417"/>
                <a:gd name="connsiteX0" fmla="*/ 0 w 3308532"/>
                <a:gd name="connsiteY0" fmla="*/ 0 h 459417"/>
                <a:gd name="connsiteX1" fmla="*/ 831024 w 3308532"/>
                <a:gd name="connsiteY1" fmla="*/ 459417 h 459417"/>
                <a:gd name="connsiteX2" fmla="*/ 1650552 w 3308532"/>
                <a:gd name="connsiteY2" fmla="*/ 270493 h 459417"/>
                <a:gd name="connsiteX3" fmla="*/ 3308532 w 3308532"/>
                <a:gd name="connsiteY3" fmla="*/ 139864 h 459417"/>
                <a:gd name="connsiteX0" fmla="*/ 0 w 3302375"/>
                <a:gd name="connsiteY0" fmla="*/ 0 h 459417"/>
                <a:gd name="connsiteX1" fmla="*/ 831024 w 3302375"/>
                <a:gd name="connsiteY1" fmla="*/ 459417 h 459417"/>
                <a:gd name="connsiteX2" fmla="*/ 1650552 w 3302375"/>
                <a:gd name="connsiteY2" fmla="*/ 270493 h 459417"/>
                <a:gd name="connsiteX3" fmla="*/ 3302375 w 3302375"/>
                <a:gd name="connsiteY3" fmla="*/ 136785 h 459417"/>
                <a:gd name="connsiteX0" fmla="*/ 0 w 3302375"/>
                <a:gd name="connsiteY0" fmla="*/ 0 h 459417"/>
                <a:gd name="connsiteX1" fmla="*/ 831024 w 3302375"/>
                <a:gd name="connsiteY1" fmla="*/ 459417 h 459417"/>
                <a:gd name="connsiteX2" fmla="*/ 1638237 w 3302375"/>
                <a:gd name="connsiteY2" fmla="*/ 270493 h 459417"/>
                <a:gd name="connsiteX3" fmla="*/ 3302375 w 3302375"/>
                <a:gd name="connsiteY3" fmla="*/ 136785 h 459417"/>
                <a:gd name="connsiteX0" fmla="*/ 0 w 3307400"/>
                <a:gd name="connsiteY0" fmla="*/ 0 h 459417"/>
                <a:gd name="connsiteX1" fmla="*/ 831024 w 3307400"/>
                <a:gd name="connsiteY1" fmla="*/ 459417 h 459417"/>
                <a:gd name="connsiteX2" fmla="*/ 1638237 w 3307400"/>
                <a:gd name="connsiteY2" fmla="*/ 270493 h 459417"/>
                <a:gd name="connsiteX3" fmla="*/ 3307400 w 3307400"/>
                <a:gd name="connsiteY3" fmla="*/ 136785 h 459417"/>
                <a:gd name="connsiteX0" fmla="*/ 0 w 3319495"/>
                <a:gd name="connsiteY0" fmla="*/ 0 h 459417"/>
                <a:gd name="connsiteX1" fmla="*/ 831024 w 3319495"/>
                <a:gd name="connsiteY1" fmla="*/ 459417 h 459417"/>
                <a:gd name="connsiteX2" fmla="*/ 1638237 w 3319495"/>
                <a:gd name="connsiteY2" fmla="*/ 270493 h 459417"/>
                <a:gd name="connsiteX3" fmla="*/ 3319495 w 3319495"/>
                <a:gd name="connsiteY3" fmla="*/ 134366 h 459417"/>
                <a:gd name="connsiteX0" fmla="*/ 0 w 3319495"/>
                <a:gd name="connsiteY0" fmla="*/ 0 h 459417"/>
                <a:gd name="connsiteX1" fmla="*/ 831024 w 3319495"/>
                <a:gd name="connsiteY1" fmla="*/ 459417 h 459417"/>
                <a:gd name="connsiteX2" fmla="*/ 1647913 w 3319495"/>
                <a:gd name="connsiteY2" fmla="*/ 265654 h 459417"/>
                <a:gd name="connsiteX3" fmla="*/ 3319495 w 3319495"/>
                <a:gd name="connsiteY3" fmla="*/ 134366 h 459417"/>
              </a:gdLst>
              <a:ahLst/>
              <a:cxnLst>
                <a:cxn ang="0">
                  <a:pos x="connsiteX0" y="connsiteY0"/>
                </a:cxn>
                <a:cxn ang="0">
                  <a:pos x="connsiteX1" y="connsiteY1"/>
                </a:cxn>
                <a:cxn ang="0">
                  <a:pos x="connsiteX2" y="connsiteY2"/>
                </a:cxn>
                <a:cxn ang="0">
                  <a:pos x="connsiteX3" y="connsiteY3"/>
                </a:cxn>
              </a:cxnLst>
              <a:rect l="l" t="t" r="r" b="b"/>
              <a:pathLst>
                <a:path w="3319495" h="459417">
                  <a:moveTo>
                    <a:pt x="0" y="0"/>
                  </a:moveTo>
                  <a:lnTo>
                    <a:pt x="831024" y="459417"/>
                  </a:lnTo>
                  <a:lnTo>
                    <a:pt x="1647913" y="265654"/>
                  </a:lnTo>
                  <a:lnTo>
                    <a:pt x="3319495" y="134366"/>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1" name="Freeform: Shape 201">
              <a:extLst>
                <a:ext uri="{FF2B5EF4-FFF2-40B4-BE49-F238E27FC236}">
                  <a16:creationId xmlns:a16="http://schemas.microsoft.com/office/drawing/2014/main" id="{E2507A4F-388E-E544-8C88-4C80394DA0D2}"/>
                </a:ext>
              </a:extLst>
            </p:cNvPr>
            <p:cNvSpPr/>
            <p:nvPr/>
          </p:nvSpPr>
          <p:spPr>
            <a:xfrm>
              <a:off x="6814636" y="2236732"/>
              <a:ext cx="3315012" cy="445463"/>
            </a:xfrm>
            <a:custGeom>
              <a:avLst/>
              <a:gdLst>
                <a:gd name="connsiteX0" fmla="*/ 0 w 3303539"/>
                <a:gd name="connsiteY0" fmla="*/ 452582 h 455661"/>
                <a:gd name="connsiteX1" fmla="*/ 828194 w 3303539"/>
                <a:gd name="connsiteY1" fmla="*/ 0 h 455661"/>
                <a:gd name="connsiteX2" fmla="*/ 1650230 w 3303539"/>
                <a:gd name="connsiteY2" fmla="*/ 326352 h 455661"/>
                <a:gd name="connsiteX3" fmla="*/ 2478424 w 3303539"/>
                <a:gd name="connsiteY3" fmla="*/ 391006 h 455661"/>
                <a:gd name="connsiteX4" fmla="*/ 3303539 w 3303539"/>
                <a:gd name="connsiteY4" fmla="*/ 455661 h 455661"/>
                <a:gd name="connsiteX0" fmla="*/ 0 w 3309696"/>
                <a:gd name="connsiteY0" fmla="*/ 461818 h 461818"/>
                <a:gd name="connsiteX1" fmla="*/ 834351 w 3309696"/>
                <a:gd name="connsiteY1" fmla="*/ 0 h 461818"/>
                <a:gd name="connsiteX2" fmla="*/ 1656387 w 3309696"/>
                <a:gd name="connsiteY2" fmla="*/ 326352 h 461818"/>
                <a:gd name="connsiteX3" fmla="*/ 2484581 w 3309696"/>
                <a:gd name="connsiteY3" fmla="*/ 391006 h 461818"/>
                <a:gd name="connsiteX4" fmla="*/ 3309696 w 3309696"/>
                <a:gd name="connsiteY4" fmla="*/ 455661 h 461818"/>
                <a:gd name="connsiteX0" fmla="*/ 0 w 3315012"/>
                <a:gd name="connsiteY0" fmla="*/ 456501 h 456501"/>
                <a:gd name="connsiteX1" fmla="*/ 839667 w 3315012"/>
                <a:gd name="connsiteY1" fmla="*/ 0 h 456501"/>
                <a:gd name="connsiteX2" fmla="*/ 1661703 w 3315012"/>
                <a:gd name="connsiteY2" fmla="*/ 326352 h 456501"/>
                <a:gd name="connsiteX3" fmla="*/ 2489897 w 3315012"/>
                <a:gd name="connsiteY3" fmla="*/ 391006 h 456501"/>
                <a:gd name="connsiteX4" fmla="*/ 3315012 w 3315012"/>
                <a:gd name="connsiteY4" fmla="*/ 455661 h 456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5012" h="456501">
                  <a:moveTo>
                    <a:pt x="0" y="456501"/>
                  </a:moveTo>
                  <a:lnTo>
                    <a:pt x="839667" y="0"/>
                  </a:lnTo>
                  <a:lnTo>
                    <a:pt x="1661703" y="326352"/>
                  </a:lnTo>
                  <a:lnTo>
                    <a:pt x="2489897" y="391006"/>
                  </a:lnTo>
                  <a:lnTo>
                    <a:pt x="3315012" y="45566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2" name="Freeform: Shape 202">
              <a:extLst>
                <a:ext uri="{FF2B5EF4-FFF2-40B4-BE49-F238E27FC236}">
                  <a16:creationId xmlns:a16="http://schemas.microsoft.com/office/drawing/2014/main" id="{F42E02D6-80D3-1F47-A422-4645D91A5996}"/>
                </a:ext>
              </a:extLst>
            </p:cNvPr>
            <p:cNvSpPr/>
            <p:nvPr/>
          </p:nvSpPr>
          <p:spPr>
            <a:xfrm>
              <a:off x="6819951" y="2678371"/>
              <a:ext cx="3309697" cy="447647"/>
            </a:xfrm>
            <a:custGeom>
              <a:avLst/>
              <a:gdLst>
                <a:gd name="connsiteX0" fmla="*/ 0 w 3303539"/>
                <a:gd name="connsiteY0" fmla="*/ 0 h 458739"/>
                <a:gd name="connsiteX1" fmla="*/ 834352 w 3303539"/>
                <a:gd name="connsiteY1" fmla="*/ 458739 h 458739"/>
                <a:gd name="connsiteX2" fmla="*/ 1631758 w 3303539"/>
                <a:gd name="connsiteY2" fmla="*/ 200121 h 458739"/>
                <a:gd name="connsiteX3" fmla="*/ 2463030 w 3303539"/>
                <a:gd name="connsiteY3" fmla="*/ 132388 h 458739"/>
                <a:gd name="connsiteX4" fmla="*/ 3303539 w 3303539"/>
                <a:gd name="connsiteY4" fmla="*/ 135467 h 458739"/>
                <a:gd name="connsiteX0" fmla="*/ 0 w 3309697"/>
                <a:gd name="connsiteY0" fmla="*/ 0 h 458739"/>
                <a:gd name="connsiteX1" fmla="*/ 834352 w 3309697"/>
                <a:gd name="connsiteY1" fmla="*/ 458739 h 458739"/>
                <a:gd name="connsiteX2" fmla="*/ 1631758 w 3309697"/>
                <a:gd name="connsiteY2" fmla="*/ 200121 h 458739"/>
                <a:gd name="connsiteX3" fmla="*/ 2463030 w 3309697"/>
                <a:gd name="connsiteY3" fmla="*/ 132388 h 458739"/>
                <a:gd name="connsiteX4" fmla="*/ 3309697 w 3309697"/>
                <a:gd name="connsiteY4" fmla="*/ 135467 h 458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697" h="458739">
                  <a:moveTo>
                    <a:pt x="0" y="0"/>
                  </a:moveTo>
                  <a:lnTo>
                    <a:pt x="834352" y="458739"/>
                  </a:lnTo>
                  <a:lnTo>
                    <a:pt x="1631758" y="200121"/>
                  </a:lnTo>
                  <a:lnTo>
                    <a:pt x="2463030" y="132388"/>
                  </a:lnTo>
                  <a:lnTo>
                    <a:pt x="3309697" y="135467"/>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3" name="TextBox 202">
              <a:extLst>
                <a:ext uri="{FF2B5EF4-FFF2-40B4-BE49-F238E27FC236}">
                  <a16:creationId xmlns:a16="http://schemas.microsoft.com/office/drawing/2014/main" id="{D4244C60-5314-E24B-9420-36760D84BDFA}"/>
                </a:ext>
              </a:extLst>
            </p:cNvPr>
            <p:cNvSpPr txBox="1"/>
            <p:nvPr/>
          </p:nvSpPr>
          <p:spPr>
            <a:xfrm>
              <a:off x="6743207" y="482661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4</a:t>
              </a:r>
            </a:p>
          </p:txBody>
        </p:sp>
        <p:sp>
          <p:nvSpPr>
            <p:cNvPr id="204" name="TextBox 203">
              <a:extLst>
                <a:ext uri="{FF2B5EF4-FFF2-40B4-BE49-F238E27FC236}">
                  <a16:creationId xmlns:a16="http://schemas.microsoft.com/office/drawing/2014/main" id="{A15819B1-F000-C448-AD49-27DA436F0505}"/>
                </a:ext>
              </a:extLst>
            </p:cNvPr>
            <p:cNvSpPr txBox="1"/>
            <p:nvPr/>
          </p:nvSpPr>
          <p:spPr>
            <a:xfrm>
              <a:off x="7555057" y="482661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28DB2"/>
                  </a:solidFill>
                  <a:effectLst/>
                  <a:uLnTx/>
                  <a:uFillTx/>
                  <a:latin typeface="Arial" panose="020B0604020202020204"/>
                  <a:ea typeface="+mn-ea"/>
                  <a:cs typeface="+mn-cs"/>
                </a:rPr>
                <a:t>8</a:t>
              </a:r>
            </a:p>
          </p:txBody>
        </p:sp>
        <p:sp>
          <p:nvSpPr>
            <p:cNvPr id="205" name="TextBox 204">
              <a:extLst>
                <a:ext uri="{FF2B5EF4-FFF2-40B4-BE49-F238E27FC236}">
                  <a16:creationId xmlns:a16="http://schemas.microsoft.com/office/drawing/2014/main" id="{E426291B-3EE0-6346-AC2A-EAB7B9E10651}"/>
                </a:ext>
              </a:extLst>
            </p:cNvPr>
            <p:cNvSpPr txBox="1"/>
            <p:nvPr/>
          </p:nvSpPr>
          <p:spPr>
            <a:xfrm>
              <a:off x="8383999" y="4726538"/>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10</a:t>
              </a:r>
            </a:p>
          </p:txBody>
        </p:sp>
        <p:sp>
          <p:nvSpPr>
            <p:cNvPr id="206" name="TextBox 205">
              <a:extLst>
                <a:ext uri="{FF2B5EF4-FFF2-40B4-BE49-F238E27FC236}">
                  <a16:creationId xmlns:a16="http://schemas.microsoft.com/office/drawing/2014/main" id="{F5266374-B114-1347-AC3A-C38175857890}"/>
                </a:ext>
              </a:extLst>
            </p:cNvPr>
            <p:cNvSpPr txBox="1"/>
            <p:nvPr/>
          </p:nvSpPr>
          <p:spPr>
            <a:xfrm>
              <a:off x="9187304" y="4743217"/>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9</a:t>
              </a:r>
            </a:p>
          </p:txBody>
        </p:sp>
        <p:sp>
          <p:nvSpPr>
            <p:cNvPr id="207" name="TextBox 206">
              <a:extLst>
                <a:ext uri="{FF2B5EF4-FFF2-40B4-BE49-F238E27FC236}">
                  <a16:creationId xmlns:a16="http://schemas.microsoft.com/office/drawing/2014/main" id="{A7A7EE8E-63C7-0F4E-A856-20C5A6B92D9D}"/>
                </a:ext>
              </a:extLst>
            </p:cNvPr>
            <p:cNvSpPr txBox="1"/>
            <p:nvPr/>
          </p:nvSpPr>
          <p:spPr>
            <a:xfrm>
              <a:off x="10135887" y="4618126"/>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9</a:t>
              </a:r>
            </a:p>
          </p:txBody>
        </p:sp>
        <p:sp>
          <p:nvSpPr>
            <p:cNvPr id="208" name="TextBox 207">
              <a:extLst>
                <a:ext uri="{FF2B5EF4-FFF2-40B4-BE49-F238E27FC236}">
                  <a16:creationId xmlns:a16="http://schemas.microsoft.com/office/drawing/2014/main" id="{47257CB4-D076-4C49-84DA-18483E460061}"/>
                </a:ext>
              </a:extLst>
            </p:cNvPr>
            <p:cNvSpPr txBox="1"/>
            <p:nvPr/>
          </p:nvSpPr>
          <p:spPr>
            <a:xfrm>
              <a:off x="10135887" y="4363186"/>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28DB2"/>
                  </a:solidFill>
                  <a:effectLst/>
                  <a:uLnTx/>
                  <a:uFillTx/>
                  <a:latin typeface="Arial" panose="020B0604020202020204"/>
                  <a:ea typeface="+mn-ea"/>
                  <a:cs typeface="+mn-cs"/>
                </a:rPr>
                <a:t>13</a:t>
              </a:r>
            </a:p>
          </p:txBody>
        </p:sp>
        <p:sp>
          <p:nvSpPr>
            <p:cNvPr id="209" name="TextBox 208">
              <a:extLst>
                <a:ext uri="{FF2B5EF4-FFF2-40B4-BE49-F238E27FC236}">
                  <a16:creationId xmlns:a16="http://schemas.microsoft.com/office/drawing/2014/main" id="{C32D16BE-98BF-924B-90F7-7A1B77E2B69D}"/>
                </a:ext>
              </a:extLst>
            </p:cNvPr>
            <p:cNvSpPr txBox="1"/>
            <p:nvPr/>
          </p:nvSpPr>
          <p:spPr>
            <a:xfrm>
              <a:off x="9187304" y="432291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28DB2"/>
                  </a:solidFill>
                  <a:effectLst/>
                  <a:uLnTx/>
                  <a:uFillTx/>
                  <a:latin typeface="Arial" panose="020B0604020202020204"/>
                  <a:ea typeface="+mn-ea"/>
                  <a:cs typeface="+mn-cs"/>
                </a:rPr>
                <a:t>12</a:t>
              </a:r>
            </a:p>
          </p:txBody>
        </p:sp>
        <p:sp>
          <p:nvSpPr>
            <p:cNvPr id="210" name="TextBox 209">
              <a:extLst>
                <a:ext uri="{FF2B5EF4-FFF2-40B4-BE49-F238E27FC236}">
                  <a16:creationId xmlns:a16="http://schemas.microsoft.com/office/drawing/2014/main" id="{D8EE2A8C-C0D8-AB47-9F1E-6110772F8125}"/>
                </a:ext>
              </a:extLst>
            </p:cNvPr>
            <p:cNvSpPr txBox="1"/>
            <p:nvPr/>
          </p:nvSpPr>
          <p:spPr>
            <a:xfrm>
              <a:off x="8383999" y="4326902"/>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28DB2"/>
                  </a:solidFill>
                  <a:effectLst/>
                  <a:uLnTx/>
                  <a:uFillTx/>
                  <a:latin typeface="Arial" panose="020B0604020202020204"/>
                  <a:ea typeface="+mn-ea"/>
                  <a:cs typeface="+mn-cs"/>
                </a:rPr>
                <a:t>11</a:t>
              </a:r>
            </a:p>
          </p:txBody>
        </p:sp>
        <p:sp>
          <p:nvSpPr>
            <p:cNvPr id="211" name="TextBox 210">
              <a:extLst>
                <a:ext uri="{FF2B5EF4-FFF2-40B4-BE49-F238E27FC236}">
                  <a16:creationId xmlns:a16="http://schemas.microsoft.com/office/drawing/2014/main" id="{F470D6C6-6EF8-7541-99D5-6C8FCB7BDF44}"/>
                </a:ext>
              </a:extLst>
            </p:cNvPr>
            <p:cNvSpPr txBox="1"/>
            <p:nvPr/>
          </p:nvSpPr>
          <p:spPr>
            <a:xfrm>
              <a:off x="7555057" y="4306394"/>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12</a:t>
              </a:r>
            </a:p>
          </p:txBody>
        </p:sp>
        <p:sp>
          <p:nvSpPr>
            <p:cNvPr id="212" name="TextBox 211">
              <a:extLst>
                <a:ext uri="{FF2B5EF4-FFF2-40B4-BE49-F238E27FC236}">
                  <a16:creationId xmlns:a16="http://schemas.microsoft.com/office/drawing/2014/main" id="{C2B0AF3E-D9F5-EA41-AD2B-F25D9CAD7869}"/>
                </a:ext>
              </a:extLst>
            </p:cNvPr>
            <p:cNvSpPr txBox="1"/>
            <p:nvPr/>
          </p:nvSpPr>
          <p:spPr>
            <a:xfrm>
              <a:off x="6743207" y="4378741"/>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28DB2"/>
                  </a:solidFill>
                  <a:effectLst/>
                  <a:uLnTx/>
                  <a:uFillTx/>
                  <a:latin typeface="Arial" panose="020B0604020202020204"/>
                  <a:ea typeface="+mn-ea"/>
                  <a:cs typeface="+mn-cs"/>
                </a:rPr>
                <a:t>15</a:t>
              </a:r>
            </a:p>
          </p:txBody>
        </p:sp>
        <p:sp>
          <p:nvSpPr>
            <p:cNvPr id="213" name="TextBox 212">
              <a:extLst>
                <a:ext uri="{FF2B5EF4-FFF2-40B4-BE49-F238E27FC236}">
                  <a16:creationId xmlns:a16="http://schemas.microsoft.com/office/drawing/2014/main" id="{315FDFBA-F82E-5143-B974-A9A54F4A83B0}"/>
                </a:ext>
              </a:extLst>
            </p:cNvPr>
            <p:cNvSpPr txBox="1"/>
            <p:nvPr/>
          </p:nvSpPr>
          <p:spPr>
            <a:xfrm>
              <a:off x="10022907" y="2843874"/>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39</a:t>
              </a:r>
            </a:p>
          </p:txBody>
        </p:sp>
        <p:sp>
          <p:nvSpPr>
            <p:cNvPr id="214" name="TextBox 213">
              <a:extLst>
                <a:ext uri="{FF2B5EF4-FFF2-40B4-BE49-F238E27FC236}">
                  <a16:creationId xmlns:a16="http://schemas.microsoft.com/office/drawing/2014/main" id="{A278B2E5-D33E-5942-9DE1-0B7253ACA333}"/>
                </a:ext>
              </a:extLst>
            </p:cNvPr>
            <p:cNvSpPr txBox="1"/>
            <p:nvPr/>
          </p:nvSpPr>
          <p:spPr>
            <a:xfrm>
              <a:off x="9187304" y="2838044"/>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39</a:t>
              </a:r>
            </a:p>
          </p:txBody>
        </p:sp>
        <p:sp>
          <p:nvSpPr>
            <p:cNvPr id="215" name="TextBox 214">
              <a:extLst>
                <a:ext uri="{FF2B5EF4-FFF2-40B4-BE49-F238E27FC236}">
                  <a16:creationId xmlns:a16="http://schemas.microsoft.com/office/drawing/2014/main" id="{050362DD-E9CF-8340-84D2-3137099E1317}"/>
                </a:ext>
              </a:extLst>
            </p:cNvPr>
            <p:cNvSpPr txBox="1"/>
            <p:nvPr/>
          </p:nvSpPr>
          <p:spPr>
            <a:xfrm>
              <a:off x="8383999" y="290750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38</a:t>
              </a:r>
            </a:p>
          </p:txBody>
        </p:sp>
        <p:sp>
          <p:nvSpPr>
            <p:cNvPr id="216" name="TextBox 215">
              <a:extLst>
                <a:ext uri="{FF2B5EF4-FFF2-40B4-BE49-F238E27FC236}">
                  <a16:creationId xmlns:a16="http://schemas.microsoft.com/office/drawing/2014/main" id="{D385EC7E-401E-DE4D-8797-D88F809CCEF2}"/>
                </a:ext>
              </a:extLst>
            </p:cNvPr>
            <p:cNvSpPr txBox="1"/>
            <p:nvPr/>
          </p:nvSpPr>
          <p:spPr>
            <a:xfrm>
              <a:off x="7555057" y="3155719"/>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34</a:t>
              </a:r>
            </a:p>
          </p:txBody>
        </p:sp>
        <p:sp>
          <p:nvSpPr>
            <p:cNvPr id="217" name="TextBox 216">
              <a:extLst>
                <a:ext uri="{FF2B5EF4-FFF2-40B4-BE49-F238E27FC236}">
                  <a16:creationId xmlns:a16="http://schemas.microsoft.com/office/drawing/2014/main" id="{15732713-8053-3949-B789-BF4CE9C9FC23}"/>
                </a:ext>
              </a:extLst>
            </p:cNvPr>
            <p:cNvSpPr txBox="1"/>
            <p:nvPr/>
          </p:nvSpPr>
          <p:spPr>
            <a:xfrm>
              <a:off x="6743207" y="2711284"/>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41</a:t>
              </a:r>
            </a:p>
          </p:txBody>
        </p:sp>
        <p:sp>
          <p:nvSpPr>
            <p:cNvPr id="218" name="TextBox 217">
              <a:extLst>
                <a:ext uri="{FF2B5EF4-FFF2-40B4-BE49-F238E27FC236}">
                  <a16:creationId xmlns:a16="http://schemas.microsoft.com/office/drawing/2014/main" id="{B76EE667-F614-944F-B74C-5159A2C1AE01}"/>
                </a:ext>
              </a:extLst>
            </p:cNvPr>
            <p:cNvSpPr txBox="1"/>
            <p:nvPr/>
          </p:nvSpPr>
          <p:spPr>
            <a:xfrm>
              <a:off x="10022907" y="247869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41</a:t>
              </a:r>
            </a:p>
          </p:txBody>
        </p:sp>
        <p:sp>
          <p:nvSpPr>
            <p:cNvPr id="219" name="TextBox 218">
              <a:extLst>
                <a:ext uri="{FF2B5EF4-FFF2-40B4-BE49-F238E27FC236}">
                  <a16:creationId xmlns:a16="http://schemas.microsoft.com/office/drawing/2014/main" id="{C37DDFA6-73CB-E446-92A0-FFF7E333D59E}"/>
                </a:ext>
              </a:extLst>
            </p:cNvPr>
            <p:cNvSpPr txBox="1"/>
            <p:nvPr/>
          </p:nvSpPr>
          <p:spPr>
            <a:xfrm>
              <a:off x="6743207" y="2470125"/>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41</a:t>
              </a:r>
            </a:p>
          </p:txBody>
        </p:sp>
        <p:sp>
          <p:nvSpPr>
            <p:cNvPr id="220" name="TextBox 219">
              <a:extLst>
                <a:ext uri="{FF2B5EF4-FFF2-40B4-BE49-F238E27FC236}">
                  <a16:creationId xmlns:a16="http://schemas.microsoft.com/office/drawing/2014/main" id="{95C6DFE8-14CC-964C-8C13-F05931C8B957}"/>
                </a:ext>
              </a:extLst>
            </p:cNvPr>
            <p:cNvSpPr txBox="1"/>
            <p:nvPr/>
          </p:nvSpPr>
          <p:spPr>
            <a:xfrm>
              <a:off x="9201428" y="241085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42</a:t>
              </a:r>
            </a:p>
          </p:txBody>
        </p:sp>
        <p:sp>
          <p:nvSpPr>
            <p:cNvPr id="221" name="TextBox 220">
              <a:extLst>
                <a:ext uri="{FF2B5EF4-FFF2-40B4-BE49-F238E27FC236}">
                  <a16:creationId xmlns:a16="http://schemas.microsoft.com/office/drawing/2014/main" id="{D5B32747-4112-6E4C-BACC-7D801E140A3D}"/>
                </a:ext>
              </a:extLst>
            </p:cNvPr>
            <p:cNvSpPr txBox="1"/>
            <p:nvPr/>
          </p:nvSpPr>
          <p:spPr>
            <a:xfrm>
              <a:off x="8383999" y="2339051"/>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43</a:t>
              </a:r>
            </a:p>
          </p:txBody>
        </p:sp>
        <p:sp>
          <p:nvSpPr>
            <p:cNvPr id="222" name="TextBox 221">
              <a:extLst>
                <a:ext uri="{FF2B5EF4-FFF2-40B4-BE49-F238E27FC236}">
                  <a16:creationId xmlns:a16="http://schemas.microsoft.com/office/drawing/2014/main" id="{D4FF0074-3B60-1D46-BF2F-6DF330CAFD48}"/>
                </a:ext>
              </a:extLst>
            </p:cNvPr>
            <p:cNvSpPr txBox="1"/>
            <p:nvPr/>
          </p:nvSpPr>
          <p:spPr>
            <a:xfrm>
              <a:off x="7555057" y="2028098"/>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48</a:t>
              </a:r>
            </a:p>
          </p:txBody>
        </p:sp>
      </p:grpSp>
      <p:grpSp>
        <p:nvGrpSpPr>
          <p:cNvPr id="3" name="Group 2">
            <a:extLst>
              <a:ext uri="{FF2B5EF4-FFF2-40B4-BE49-F238E27FC236}">
                <a16:creationId xmlns:a16="http://schemas.microsoft.com/office/drawing/2014/main" id="{8A3ADB1B-84E9-447C-84EE-436A372CC1ED}"/>
              </a:ext>
            </a:extLst>
          </p:cNvPr>
          <p:cNvGrpSpPr/>
          <p:nvPr/>
        </p:nvGrpSpPr>
        <p:grpSpPr>
          <a:xfrm>
            <a:off x="547972" y="2269847"/>
            <a:ext cx="4827948" cy="3471821"/>
            <a:chOff x="547972" y="2019000"/>
            <a:chExt cx="4827948" cy="3854749"/>
          </a:xfrm>
        </p:grpSpPr>
        <p:sp>
          <p:nvSpPr>
            <p:cNvPr id="73" name="Rectangle 72">
              <a:extLst>
                <a:ext uri="{FF2B5EF4-FFF2-40B4-BE49-F238E27FC236}">
                  <a16:creationId xmlns:a16="http://schemas.microsoft.com/office/drawing/2014/main" id="{9037D813-DEBF-0F48-95CB-73CD751EEDF6}"/>
                </a:ext>
              </a:extLst>
            </p:cNvPr>
            <p:cNvSpPr/>
            <p:nvPr/>
          </p:nvSpPr>
          <p:spPr>
            <a:xfrm>
              <a:off x="2126836" y="2019000"/>
              <a:ext cx="616226" cy="3264937"/>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9904F762-512F-184E-BC3E-BF0F3D64DC7C}"/>
                </a:ext>
              </a:extLst>
            </p:cNvPr>
            <p:cNvSpPr txBox="1"/>
            <p:nvPr/>
          </p:nvSpPr>
          <p:spPr>
            <a:xfrm rot="16200000">
              <a:off x="154114" y="3565692"/>
              <a:ext cx="106471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a:t>
              </a:r>
            </a:p>
          </p:txBody>
        </p:sp>
        <p:sp>
          <p:nvSpPr>
            <p:cNvPr id="75" name="TextBox 74">
              <a:extLst>
                <a:ext uri="{FF2B5EF4-FFF2-40B4-BE49-F238E27FC236}">
                  <a16:creationId xmlns:a16="http://schemas.microsoft.com/office/drawing/2014/main" id="{5F85B097-51BC-C444-90CF-8B73847E784A}"/>
                </a:ext>
              </a:extLst>
            </p:cNvPr>
            <p:cNvSpPr txBox="1"/>
            <p:nvPr/>
          </p:nvSpPr>
          <p:spPr>
            <a:xfrm>
              <a:off x="2079348" y="5596750"/>
              <a:ext cx="23018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With worsening HF event </a:t>
              </a:r>
            </a:p>
          </p:txBody>
        </p:sp>
        <p:sp>
          <p:nvSpPr>
            <p:cNvPr id="105" name="TextBox 104">
              <a:extLst>
                <a:ext uri="{FF2B5EF4-FFF2-40B4-BE49-F238E27FC236}">
                  <a16:creationId xmlns:a16="http://schemas.microsoft.com/office/drawing/2014/main" id="{51FADA12-8AE5-CD45-A341-B8CA94582628}"/>
                </a:ext>
              </a:extLst>
            </p:cNvPr>
            <p:cNvSpPr txBox="1"/>
            <p:nvPr/>
          </p:nvSpPr>
          <p:spPr>
            <a:xfrm>
              <a:off x="925681" y="2031505"/>
              <a:ext cx="141064" cy="170861"/>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80</a:t>
              </a:r>
            </a:p>
          </p:txBody>
        </p:sp>
        <p:sp>
          <p:nvSpPr>
            <p:cNvPr id="106" name="TextBox 105">
              <a:extLst>
                <a:ext uri="{FF2B5EF4-FFF2-40B4-BE49-F238E27FC236}">
                  <a16:creationId xmlns:a16="http://schemas.microsoft.com/office/drawing/2014/main" id="{318B04AA-CED6-A04B-9F88-542EFCEE3627}"/>
                </a:ext>
              </a:extLst>
            </p:cNvPr>
            <p:cNvSpPr txBox="1"/>
            <p:nvPr/>
          </p:nvSpPr>
          <p:spPr>
            <a:xfrm>
              <a:off x="925681" y="2426123"/>
              <a:ext cx="141064" cy="170861"/>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70</a:t>
              </a:r>
            </a:p>
          </p:txBody>
        </p:sp>
        <p:sp>
          <p:nvSpPr>
            <p:cNvPr id="107" name="TextBox 106">
              <a:extLst>
                <a:ext uri="{FF2B5EF4-FFF2-40B4-BE49-F238E27FC236}">
                  <a16:creationId xmlns:a16="http://schemas.microsoft.com/office/drawing/2014/main" id="{19AA3FBB-515E-2A4E-9785-4AA0D6DF63EF}"/>
                </a:ext>
              </a:extLst>
            </p:cNvPr>
            <p:cNvSpPr txBox="1"/>
            <p:nvPr/>
          </p:nvSpPr>
          <p:spPr>
            <a:xfrm>
              <a:off x="925681" y="2823256"/>
              <a:ext cx="141064" cy="170861"/>
            </a:xfrm>
            <a:prstGeom prst="rect">
              <a:avLst/>
            </a:prstGeom>
            <a:noFill/>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60</a:t>
              </a:r>
            </a:p>
          </p:txBody>
        </p:sp>
        <p:sp>
          <p:nvSpPr>
            <p:cNvPr id="108" name="TextBox 107">
              <a:extLst>
                <a:ext uri="{FF2B5EF4-FFF2-40B4-BE49-F238E27FC236}">
                  <a16:creationId xmlns:a16="http://schemas.microsoft.com/office/drawing/2014/main" id="{424E89A2-958A-AF41-95E4-A8B2408E52C0}"/>
                </a:ext>
              </a:extLst>
            </p:cNvPr>
            <p:cNvSpPr txBox="1"/>
            <p:nvPr/>
          </p:nvSpPr>
          <p:spPr>
            <a:xfrm>
              <a:off x="925681" y="3217875"/>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50</a:t>
              </a:r>
            </a:p>
          </p:txBody>
        </p:sp>
        <p:sp>
          <p:nvSpPr>
            <p:cNvPr id="109" name="TextBox 108">
              <a:extLst>
                <a:ext uri="{FF2B5EF4-FFF2-40B4-BE49-F238E27FC236}">
                  <a16:creationId xmlns:a16="http://schemas.microsoft.com/office/drawing/2014/main" id="{BB567459-8FC2-8849-AA0C-D1373243F4D2}"/>
                </a:ext>
              </a:extLst>
            </p:cNvPr>
            <p:cNvSpPr txBox="1"/>
            <p:nvPr/>
          </p:nvSpPr>
          <p:spPr>
            <a:xfrm>
              <a:off x="925681" y="3612492"/>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40</a:t>
              </a:r>
            </a:p>
          </p:txBody>
        </p:sp>
        <p:sp>
          <p:nvSpPr>
            <p:cNvPr id="110" name="TextBox 109">
              <a:extLst>
                <a:ext uri="{FF2B5EF4-FFF2-40B4-BE49-F238E27FC236}">
                  <a16:creationId xmlns:a16="http://schemas.microsoft.com/office/drawing/2014/main" id="{DF1C7448-CDF6-5845-98AD-47F96FA75D0A}"/>
                </a:ext>
              </a:extLst>
            </p:cNvPr>
            <p:cNvSpPr txBox="1"/>
            <p:nvPr/>
          </p:nvSpPr>
          <p:spPr>
            <a:xfrm>
              <a:off x="925681" y="4002083"/>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30</a:t>
              </a:r>
            </a:p>
          </p:txBody>
        </p:sp>
        <p:sp>
          <p:nvSpPr>
            <p:cNvPr id="111" name="TextBox 110">
              <a:extLst>
                <a:ext uri="{FF2B5EF4-FFF2-40B4-BE49-F238E27FC236}">
                  <a16:creationId xmlns:a16="http://schemas.microsoft.com/office/drawing/2014/main" id="{AE401985-8515-0545-BF49-2B09067DA070}"/>
                </a:ext>
              </a:extLst>
            </p:cNvPr>
            <p:cNvSpPr txBox="1"/>
            <p:nvPr/>
          </p:nvSpPr>
          <p:spPr>
            <a:xfrm>
              <a:off x="925681" y="4404244"/>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20</a:t>
              </a:r>
            </a:p>
          </p:txBody>
        </p:sp>
        <p:sp>
          <p:nvSpPr>
            <p:cNvPr id="120" name="Freeform: Shape 182">
              <a:extLst>
                <a:ext uri="{FF2B5EF4-FFF2-40B4-BE49-F238E27FC236}">
                  <a16:creationId xmlns:a16="http://schemas.microsoft.com/office/drawing/2014/main" id="{3CAF9F27-6A6A-1949-9486-902F2BD588D8}"/>
                </a:ext>
              </a:extLst>
            </p:cNvPr>
            <p:cNvSpPr/>
            <p:nvPr/>
          </p:nvSpPr>
          <p:spPr>
            <a:xfrm>
              <a:off x="1184730" y="2114910"/>
              <a:ext cx="4108326" cy="3169286"/>
            </a:xfrm>
            <a:custGeom>
              <a:avLst/>
              <a:gdLst>
                <a:gd name="connsiteX0" fmla="*/ 0 w 5442858"/>
                <a:gd name="connsiteY0" fmla="*/ 0 h 3274423"/>
                <a:gd name="connsiteX1" fmla="*/ 0 w 5442858"/>
                <a:gd name="connsiteY1" fmla="*/ 3274423 h 3274423"/>
                <a:gd name="connsiteX2" fmla="*/ 5442858 w 5442858"/>
                <a:gd name="connsiteY2" fmla="*/ 3274423 h 3274423"/>
              </a:gdLst>
              <a:ahLst/>
              <a:cxnLst>
                <a:cxn ang="0">
                  <a:pos x="connsiteX0" y="connsiteY0"/>
                </a:cxn>
                <a:cxn ang="0">
                  <a:pos x="connsiteX1" y="connsiteY1"/>
                </a:cxn>
                <a:cxn ang="0">
                  <a:pos x="connsiteX2" y="connsiteY2"/>
                </a:cxn>
              </a:cxnLst>
              <a:rect l="l" t="t" r="r" b="b"/>
              <a:pathLst>
                <a:path w="5442858" h="3274423">
                  <a:moveTo>
                    <a:pt x="0" y="0"/>
                  </a:moveTo>
                  <a:lnTo>
                    <a:pt x="0" y="3274423"/>
                  </a:lnTo>
                  <a:lnTo>
                    <a:pt x="5442858" y="3274423"/>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121" name="Straight Connector 120">
              <a:extLst>
                <a:ext uri="{FF2B5EF4-FFF2-40B4-BE49-F238E27FC236}">
                  <a16:creationId xmlns:a16="http://schemas.microsoft.com/office/drawing/2014/main" id="{AEE33A9C-37C0-0343-8D16-B9ED079F4635}"/>
                </a:ext>
              </a:extLst>
            </p:cNvPr>
            <p:cNvCxnSpPr/>
            <p:nvPr/>
          </p:nvCxnSpPr>
          <p:spPr>
            <a:xfrm>
              <a:off x="1142676" y="2116936"/>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80416BC-521D-9649-BD66-1E47D33F6320}"/>
                </a:ext>
              </a:extLst>
            </p:cNvPr>
            <p:cNvCxnSpPr/>
            <p:nvPr/>
          </p:nvCxnSpPr>
          <p:spPr>
            <a:xfrm>
              <a:off x="1140100" y="2511554"/>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874C494A-C294-C144-B032-CD1B1AAE01EA}"/>
                </a:ext>
              </a:extLst>
            </p:cNvPr>
            <p:cNvCxnSpPr/>
            <p:nvPr/>
          </p:nvCxnSpPr>
          <p:spPr>
            <a:xfrm>
              <a:off x="1140100" y="3701243"/>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738BB44-3E2C-E54A-93A1-0622A112E490}"/>
                </a:ext>
              </a:extLst>
            </p:cNvPr>
            <p:cNvCxnSpPr/>
            <p:nvPr/>
          </p:nvCxnSpPr>
          <p:spPr>
            <a:xfrm>
              <a:off x="1140100" y="5284196"/>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B5DF1F7-0A7E-414F-8A53-D54D08AAD47F}"/>
                </a:ext>
              </a:extLst>
            </p:cNvPr>
            <p:cNvCxnSpPr/>
            <p:nvPr/>
          </p:nvCxnSpPr>
          <p:spPr>
            <a:xfrm>
              <a:off x="1140100" y="2908687"/>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01BCFE0-0FBB-4048-98F4-22B2F80615C2}"/>
                </a:ext>
              </a:extLst>
            </p:cNvPr>
            <p:cNvCxnSpPr/>
            <p:nvPr/>
          </p:nvCxnSpPr>
          <p:spPr>
            <a:xfrm>
              <a:off x="1140100" y="3303306"/>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C56F5DF-9C9D-F746-B625-37753A62A200}"/>
                </a:ext>
              </a:extLst>
            </p:cNvPr>
            <p:cNvCxnSpPr/>
            <p:nvPr/>
          </p:nvCxnSpPr>
          <p:spPr>
            <a:xfrm>
              <a:off x="1140100" y="4090835"/>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ADD0FEE-8787-0F42-A7E5-356C68F631BB}"/>
                </a:ext>
              </a:extLst>
            </p:cNvPr>
            <p:cNvCxnSpPr/>
            <p:nvPr/>
          </p:nvCxnSpPr>
          <p:spPr>
            <a:xfrm>
              <a:off x="1140100" y="4492994"/>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883BC7CE-E178-6844-80AD-2BFD1AA2C6B8}"/>
                </a:ext>
              </a:extLst>
            </p:cNvPr>
            <p:cNvCxnSpPr/>
            <p:nvPr/>
          </p:nvCxnSpPr>
          <p:spPr>
            <a:xfrm>
              <a:off x="1140100" y="4887613"/>
              <a:ext cx="457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B8A32EAF-5861-B045-BAEA-EA1EBA650525}"/>
                </a:ext>
              </a:extLst>
            </p:cNvPr>
            <p:cNvSpPr txBox="1"/>
            <p:nvPr/>
          </p:nvSpPr>
          <p:spPr>
            <a:xfrm>
              <a:off x="925681" y="4798864"/>
              <a:ext cx="169918" cy="170861"/>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10</a:t>
              </a:r>
            </a:p>
          </p:txBody>
        </p:sp>
        <p:sp>
          <p:nvSpPr>
            <p:cNvPr id="114" name="TextBox 113">
              <a:extLst>
                <a:ext uri="{FF2B5EF4-FFF2-40B4-BE49-F238E27FC236}">
                  <a16:creationId xmlns:a16="http://schemas.microsoft.com/office/drawing/2014/main" id="{9636C240-519E-B14D-9230-DDA8A8B7F4F1}"/>
                </a:ext>
              </a:extLst>
            </p:cNvPr>
            <p:cNvSpPr txBox="1"/>
            <p:nvPr/>
          </p:nvSpPr>
          <p:spPr>
            <a:xfrm>
              <a:off x="925681" y="5198510"/>
              <a:ext cx="169918" cy="170861"/>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0</a:t>
              </a:r>
            </a:p>
          </p:txBody>
        </p:sp>
        <p:sp>
          <p:nvSpPr>
            <p:cNvPr id="115" name="TextBox 114">
              <a:extLst>
                <a:ext uri="{FF2B5EF4-FFF2-40B4-BE49-F238E27FC236}">
                  <a16:creationId xmlns:a16="http://schemas.microsoft.com/office/drawing/2014/main" id="{2CB0D6E5-D6F3-C74A-A1E1-47C17BA0857F}"/>
                </a:ext>
              </a:extLst>
            </p:cNvPr>
            <p:cNvSpPr txBox="1"/>
            <p:nvPr/>
          </p:nvSpPr>
          <p:spPr>
            <a:xfrm>
              <a:off x="1147931" y="5340528"/>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3 month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e–index date</a:t>
              </a:r>
            </a:p>
          </p:txBody>
        </p:sp>
        <p:sp>
          <p:nvSpPr>
            <p:cNvPr id="116" name="TextBox 115">
              <a:extLst>
                <a:ext uri="{FF2B5EF4-FFF2-40B4-BE49-F238E27FC236}">
                  <a16:creationId xmlns:a16="http://schemas.microsoft.com/office/drawing/2014/main" id="{49725562-C7E7-EA40-8D93-7CFA15147046}"/>
                </a:ext>
              </a:extLst>
            </p:cNvPr>
            <p:cNvSpPr txBox="1"/>
            <p:nvPr/>
          </p:nvSpPr>
          <p:spPr>
            <a:xfrm>
              <a:off x="2022945" y="5340528"/>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3 month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117" name="TextBox 116">
              <a:extLst>
                <a:ext uri="{FF2B5EF4-FFF2-40B4-BE49-F238E27FC236}">
                  <a16:creationId xmlns:a16="http://schemas.microsoft.com/office/drawing/2014/main" id="{31FBF409-71C2-E34A-B708-EC1E895EE133}"/>
                </a:ext>
              </a:extLst>
            </p:cNvPr>
            <p:cNvSpPr txBox="1"/>
            <p:nvPr/>
          </p:nvSpPr>
          <p:spPr>
            <a:xfrm>
              <a:off x="2841463" y="5340528"/>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4–6 months</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118" name="TextBox 117">
              <a:extLst>
                <a:ext uri="{FF2B5EF4-FFF2-40B4-BE49-F238E27FC236}">
                  <a16:creationId xmlns:a16="http://schemas.microsoft.com/office/drawing/2014/main" id="{7E33A6E8-CD87-764D-A725-023BB2000913}"/>
                </a:ext>
              </a:extLst>
            </p:cNvPr>
            <p:cNvSpPr txBox="1"/>
            <p:nvPr/>
          </p:nvSpPr>
          <p:spPr>
            <a:xfrm>
              <a:off x="3659981" y="5340528"/>
              <a:ext cx="7380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7–9 months post index date</a:t>
              </a:r>
            </a:p>
          </p:txBody>
        </p:sp>
        <p:sp>
          <p:nvSpPr>
            <p:cNvPr id="119" name="TextBox 118">
              <a:extLst>
                <a:ext uri="{FF2B5EF4-FFF2-40B4-BE49-F238E27FC236}">
                  <a16:creationId xmlns:a16="http://schemas.microsoft.com/office/drawing/2014/main" id="{08D3060C-2B75-E64C-8547-ABE9302518F5}"/>
                </a:ext>
              </a:extLst>
            </p:cNvPr>
            <p:cNvSpPr txBox="1"/>
            <p:nvPr/>
          </p:nvSpPr>
          <p:spPr>
            <a:xfrm>
              <a:off x="4422001" y="5340528"/>
              <a:ext cx="953919" cy="24622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10–12 month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ost index date</a:t>
              </a:r>
            </a:p>
          </p:txBody>
        </p:sp>
        <p:sp>
          <p:nvSpPr>
            <p:cNvPr id="78" name="Freeform: Shape 140">
              <a:extLst>
                <a:ext uri="{FF2B5EF4-FFF2-40B4-BE49-F238E27FC236}">
                  <a16:creationId xmlns:a16="http://schemas.microsoft.com/office/drawing/2014/main" id="{B8AB618D-30DE-C74E-B8F8-0AEEC0FA5FB9}"/>
                </a:ext>
              </a:extLst>
            </p:cNvPr>
            <p:cNvSpPr/>
            <p:nvPr/>
          </p:nvSpPr>
          <p:spPr>
            <a:xfrm>
              <a:off x="1586443" y="4570037"/>
              <a:ext cx="3316514" cy="363526"/>
            </a:xfrm>
            <a:custGeom>
              <a:avLst/>
              <a:gdLst>
                <a:gd name="connsiteX0" fmla="*/ 0 w 3309257"/>
                <a:gd name="connsiteY0" fmla="*/ 372533 h 372533"/>
                <a:gd name="connsiteX1" fmla="*/ 841828 w 3309257"/>
                <a:gd name="connsiteY1" fmla="*/ 0 h 372533"/>
                <a:gd name="connsiteX2" fmla="*/ 1647371 w 3309257"/>
                <a:gd name="connsiteY2" fmla="*/ 77409 h 372533"/>
                <a:gd name="connsiteX3" fmla="*/ 3309257 w 3309257"/>
                <a:gd name="connsiteY3" fmla="*/ 84667 h 372533"/>
                <a:gd name="connsiteX0" fmla="*/ 0 w 3316514"/>
                <a:gd name="connsiteY0" fmla="*/ 372533 h 372533"/>
                <a:gd name="connsiteX1" fmla="*/ 841828 w 3316514"/>
                <a:gd name="connsiteY1" fmla="*/ 0 h 372533"/>
                <a:gd name="connsiteX2" fmla="*/ 1647371 w 3316514"/>
                <a:gd name="connsiteY2" fmla="*/ 77409 h 372533"/>
                <a:gd name="connsiteX3" fmla="*/ 3316514 w 3316514"/>
                <a:gd name="connsiteY3" fmla="*/ 79829 h 372533"/>
              </a:gdLst>
              <a:ahLst/>
              <a:cxnLst>
                <a:cxn ang="0">
                  <a:pos x="connsiteX0" y="connsiteY0"/>
                </a:cxn>
                <a:cxn ang="0">
                  <a:pos x="connsiteX1" y="connsiteY1"/>
                </a:cxn>
                <a:cxn ang="0">
                  <a:pos x="connsiteX2" y="connsiteY2"/>
                </a:cxn>
                <a:cxn ang="0">
                  <a:pos x="connsiteX3" y="connsiteY3"/>
                </a:cxn>
              </a:cxnLst>
              <a:rect l="l" t="t" r="r" b="b"/>
              <a:pathLst>
                <a:path w="3316514" h="372533">
                  <a:moveTo>
                    <a:pt x="0" y="372533"/>
                  </a:moveTo>
                  <a:lnTo>
                    <a:pt x="841828" y="0"/>
                  </a:lnTo>
                  <a:lnTo>
                    <a:pt x="1647371" y="77409"/>
                  </a:lnTo>
                  <a:lnTo>
                    <a:pt x="3316514" y="79829"/>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9" name="Freeform: Shape 141">
              <a:extLst>
                <a:ext uri="{FF2B5EF4-FFF2-40B4-BE49-F238E27FC236}">
                  <a16:creationId xmlns:a16="http://schemas.microsoft.com/office/drawing/2014/main" id="{83D29603-2B0C-594C-9230-CC3E95A390AB}"/>
                </a:ext>
              </a:extLst>
            </p:cNvPr>
            <p:cNvSpPr/>
            <p:nvPr/>
          </p:nvSpPr>
          <p:spPr>
            <a:xfrm>
              <a:off x="1581604" y="3061640"/>
              <a:ext cx="3323771" cy="283267"/>
            </a:xfrm>
            <a:custGeom>
              <a:avLst/>
              <a:gdLst>
                <a:gd name="connsiteX0" fmla="*/ 0 w 3323771"/>
                <a:gd name="connsiteY0" fmla="*/ 166915 h 290286"/>
                <a:gd name="connsiteX1" fmla="*/ 839409 w 3323771"/>
                <a:gd name="connsiteY1" fmla="*/ 0 h 290286"/>
                <a:gd name="connsiteX2" fmla="*/ 1644952 w 3323771"/>
                <a:gd name="connsiteY2" fmla="*/ 198362 h 290286"/>
                <a:gd name="connsiteX3" fmla="*/ 3323771 w 3323771"/>
                <a:gd name="connsiteY3" fmla="*/ 290286 h 290286"/>
              </a:gdLst>
              <a:ahLst/>
              <a:cxnLst>
                <a:cxn ang="0">
                  <a:pos x="connsiteX0" y="connsiteY0"/>
                </a:cxn>
                <a:cxn ang="0">
                  <a:pos x="connsiteX1" y="connsiteY1"/>
                </a:cxn>
                <a:cxn ang="0">
                  <a:pos x="connsiteX2" y="connsiteY2"/>
                </a:cxn>
                <a:cxn ang="0">
                  <a:pos x="connsiteX3" y="connsiteY3"/>
                </a:cxn>
              </a:cxnLst>
              <a:rect l="l" t="t" r="r" b="b"/>
              <a:pathLst>
                <a:path w="3323771" h="290286">
                  <a:moveTo>
                    <a:pt x="0" y="166915"/>
                  </a:moveTo>
                  <a:lnTo>
                    <a:pt x="839409" y="0"/>
                  </a:lnTo>
                  <a:lnTo>
                    <a:pt x="1644952" y="198362"/>
                  </a:lnTo>
                  <a:lnTo>
                    <a:pt x="3323771" y="290286"/>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A9992"/>
                </a:solidFill>
                <a:effectLst/>
                <a:uLnTx/>
                <a:uFillTx/>
                <a:latin typeface="Arial" panose="020B0604020202020204"/>
                <a:ea typeface="+mn-ea"/>
                <a:cs typeface="+mn-cs"/>
              </a:endParaRPr>
            </a:p>
          </p:txBody>
        </p:sp>
        <p:sp>
          <p:nvSpPr>
            <p:cNvPr id="80" name="Freeform: Shape 142">
              <a:extLst>
                <a:ext uri="{FF2B5EF4-FFF2-40B4-BE49-F238E27FC236}">
                  <a16:creationId xmlns:a16="http://schemas.microsoft.com/office/drawing/2014/main" id="{0E8603E6-DEA8-B142-90EC-BAFC94CFC800}"/>
                </a:ext>
              </a:extLst>
            </p:cNvPr>
            <p:cNvSpPr/>
            <p:nvPr/>
          </p:nvSpPr>
          <p:spPr>
            <a:xfrm>
              <a:off x="1588861" y="2266132"/>
              <a:ext cx="3311676" cy="203008"/>
            </a:xfrm>
            <a:custGeom>
              <a:avLst/>
              <a:gdLst>
                <a:gd name="connsiteX0" fmla="*/ 0 w 3311676"/>
                <a:gd name="connsiteY0" fmla="*/ 174172 h 208038"/>
                <a:gd name="connsiteX1" fmla="*/ 834571 w 3311676"/>
                <a:gd name="connsiteY1" fmla="*/ 0 h 208038"/>
                <a:gd name="connsiteX2" fmla="*/ 1664304 w 3311676"/>
                <a:gd name="connsiteY2" fmla="*/ 133048 h 208038"/>
                <a:gd name="connsiteX3" fmla="*/ 2462590 w 3311676"/>
                <a:gd name="connsiteY3" fmla="*/ 208038 h 208038"/>
                <a:gd name="connsiteX4" fmla="*/ 3311676 w 3311676"/>
                <a:gd name="connsiteY4" fmla="*/ 208038 h 20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1676" h="208038">
                  <a:moveTo>
                    <a:pt x="0" y="174172"/>
                  </a:moveTo>
                  <a:lnTo>
                    <a:pt x="834571" y="0"/>
                  </a:lnTo>
                  <a:lnTo>
                    <a:pt x="1664304" y="133048"/>
                  </a:lnTo>
                  <a:lnTo>
                    <a:pt x="2462590" y="208038"/>
                  </a:lnTo>
                  <a:lnTo>
                    <a:pt x="3311676" y="208038"/>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C3B2D"/>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id="{F1D158AE-0F93-434B-A9FE-F72044420D00}"/>
                </a:ext>
              </a:extLst>
            </p:cNvPr>
            <p:cNvSpPr txBox="1"/>
            <p:nvPr/>
          </p:nvSpPr>
          <p:spPr>
            <a:xfrm>
              <a:off x="1513510" y="471820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9</a:t>
              </a:r>
            </a:p>
          </p:txBody>
        </p:sp>
        <p:sp>
          <p:nvSpPr>
            <p:cNvPr id="82" name="TextBox 81">
              <a:extLst>
                <a:ext uri="{FF2B5EF4-FFF2-40B4-BE49-F238E27FC236}">
                  <a16:creationId xmlns:a16="http://schemas.microsoft.com/office/drawing/2014/main" id="{4FA03995-F96F-CB4A-9165-FB17AD37D4B5}"/>
                </a:ext>
              </a:extLst>
            </p:cNvPr>
            <p:cNvSpPr txBox="1"/>
            <p:nvPr/>
          </p:nvSpPr>
          <p:spPr>
            <a:xfrm>
              <a:off x="2343243" y="4364116"/>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18</a:t>
              </a:r>
            </a:p>
          </p:txBody>
        </p:sp>
        <p:sp>
          <p:nvSpPr>
            <p:cNvPr id="83" name="TextBox 82">
              <a:extLst>
                <a:ext uri="{FF2B5EF4-FFF2-40B4-BE49-F238E27FC236}">
                  <a16:creationId xmlns:a16="http://schemas.microsoft.com/office/drawing/2014/main" id="{D10F86C3-7EC2-3346-8BF8-B8D49DB2C599}"/>
                </a:ext>
              </a:extLst>
            </p:cNvPr>
            <p:cNvSpPr txBox="1"/>
            <p:nvPr/>
          </p:nvSpPr>
          <p:spPr>
            <a:xfrm>
              <a:off x="3163300" y="4439653"/>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16</a:t>
              </a:r>
            </a:p>
          </p:txBody>
        </p:sp>
        <p:sp>
          <p:nvSpPr>
            <p:cNvPr id="84" name="TextBox 83">
              <a:extLst>
                <a:ext uri="{FF2B5EF4-FFF2-40B4-BE49-F238E27FC236}">
                  <a16:creationId xmlns:a16="http://schemas.microsoft.com/office/drawing/2014/main" id="{B045AEDB-67A0-CB47-862D-5838D8783FF9}"/>
                </a:ext>
              </a:extLst>
            </p:cNvPr>
            <p:cNvSpPr txBox="1"/>
            <p:nvPr/>
          </p:nvSpPr>
          <p:spPr>
            <a:xfrm>
              <a:off x="3988195" y="4439653"/>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16</a:t>
              </a:r>
            </a:p>
          </p:txBody>
        </p:sp>
        <p:sp>
          <p:nvSpPr>
            <p:cNvPr id="85" name="TextBox 84">
              <a:extLst>
                <a:ext uri="{FF2B5EF4-FFF2-40B4-BE49-F238E27FC236}">
                  <a16:creationId xmlns:a16="http://schemas.microsoft.com/office/drawing/2014/main" id="{D293798F-0CB0-0942-9342-408136277F53}"/>
                </a:ext>
              </a:extLst>
            </p:cNvPr>
            <p:cNvSpPr txBox="1"/>
            <p:nvPr/>
          </p:nvSpPr>
          <p:spPr>
            <a:xfrm>
              <a:off x="4805833" y="4439653"/>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C3B2D"/>
                  </a:solidFill>
                  <a:effectLst/>
                  <a:uLnTx/>
                  <a:uFillTx/>
                  <a:latin typeface="Arial" panose="020B0604020202020204"/>
                  <a:ea typeface="+mn-ea"/>
                  <a:cs typeface="+mn-cs"/>
                </a:rPr>
                <a:t>16</a:t>
              </a:r>
            </a:p>
          </p:txBody>
        </p:sp>
        <p:sp>
          <p:nvSpPr>
            <p:cNvPr id="86" name="TextBox 85">
              <a:extLst>
                <a:ext uri="{FF2B5EF4-FFF2-40B4-BE49-F238E27FC236}">
                  <a16:creationId xmlns:a16="http://schemas.microsoft.com/office/drawing/2014/main" id="{91103F69-4259-6340-9700-5F6AB7D947D4}"/>
                </a:ext>
              </a:extLst>
            </p:cNvPr>
            <p:cNvSpPr txBox="1"/>
            <p:nvPr/>
          </p:nvSpPr>
          <p:spPr>
            <a:xfrm>
              <a:off x="4805833" y="3131904"/>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49</a:t>
              </a:r>
            </a:p>
          </p:txBody>
        </p:sp>
        <p:sp>
          <p:nvSpPr>
            <p:cNvPr id="87" name="TextBox 86">
              <a:extLst>
                <a:ext uri="{FF2B5EF4-FFF2-40B4-BE49-F238E27FC236}">
                  <a16:creationId xmlns:a16="http://schemas.microsoft.com/office/drawing/2014/main" id="{91206342-6D79-7347-BDDB-8161D0ED0FBB}"/>
                </a:ext>
              </a:extLst>
            </p:cNvPr>
            <p:cNvSpPr txBox="1"/>
            <p:nvPr/>
          </p:nvSpPr>
          <p:spPr>
            <a:xfrm>
              <a:off x="4805833" y="2260859"/>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71</a:t>
              </a:r>
            </a:p>
          </p:txBody>
        </p:sp>
        <p:sp>
          <p:nvSpPr>
            <p:cNvPr id="88" name="TextBox 87">
              <a:extLst>
                <a:ext uri="{FF2B5EF4-FFF2-40B4-BE49-F238E27FC236}">
                  <a16:creationId xmlns:a16="http://schemas.microsoft.com/office/drawing/2014/main" id="{E52397A0-F6D2-A647-A35C-B5435F55590D}"/>
                </a:ext>
              </a:extLst>
            </p:cNvPr>
            <p:cNvSpPr txBox="1"/>
            <p:nvPr/>
          </p:nvSpPr>
          <p:spPr>
            <a:xfrm>
              <a:off x="3985775" y="2267939"/>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71</a:t>
              </a:r>
            </a:p>
          </p:txBody>
        </p:sp>
        <p:sp>
          <p:nvSpPr>
            <p:cNvPr id="89" name="TextBox 88">
              <a:extLst>
                <a:ext uri="{FF2B5EF4-FFF2-40B4-BE49-F238E27FC236}">
                  <a16:creationId xmlns:a16="http://schemas.microsoft.com/office/drawing/2014/main" id="{57949D7E-9C29-6042-A6EC-0B7359114BAB}"/>
                </a:ext>
              </a:extLst>
            </p:cNvPr>
            <p:cNvSpPr txBox="1"/>
            <p:nvPr/>
          </p:nvSpPr>
          <p:spPr>
            <a:xfrm>
              <a:off x="3985775" y="3094135"/>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50</a:t>
              </a:r>
            </a:p>
          </p:txBody>
        </p:sp>
        <p:sp>
          <p:nvSpPr>
            <p:cNvPr id="90" name="TextBox 89">
              <a:extLst>
                <a:ext uri="{FF2B5EF4-FFF2-40B4-BE49-F238E27FC236}">
                  <a16:creationId xmlns:a16="http://schemas.microsoft.com/office/drawing/2014/main" id="{CD88E5EE-8ED4-3241-85B2-850E53877F32}"/>
                </a:ext>
              </a:extLst>
            </p:cNvPr>
            <p:cNvSpPr txBox="1"/>
            <p:nvPr/>
          </p:nvSpPr>
          <p:spPr>
            <a:xfrm>
              <a:off x="2343243" y="2858082"/>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56</a:t>
              </a:r>
            </a:p>
          </p:txBody>
        </p:sp>
        <p:sp>
          <p:nvSpPr>
            <p:cNvPr id="91" name="TextBox 90">
              <a:extLst>
                <a:ext uri="{FF2B5EF4-FFF2-40B4-BE49-F238E27FC236}">
                  <a16:creationId xmlns:a16="http://schemas.microsoft.com/office/drawing/2014/main" id="{946C580C-E1FD-1945-9F4A-41CBE8A1BD48}"/>
                </a:ext>
              </a:extLst>
            </p:cNvPr>
            <p:cNvSpPr txBox="1"/>
            <p:nvPr/>
          </p:nvSpPr>
          <p:spPr>
            <a:xfrm>
              <a:off x="3163300" y="3061088"/>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51</a:t>
              </a:r>
            </a:p>
          </p:txBody>
        </p:sp>
        <p:sp>
          <p:nvSpPr>
            <p:cNvPr id="92" name="TextBox 91">
              <a:extLst>
                <a:ext uri="{FF2B5EF4-FFF2-40B4-BE49-F238E27FC236}">
                  <a16:creationId xmlns:a16="http://schemas.microsoft.com/office/drawing/2014/main" id="{81524517-F1E9-6C4F-8D40-25D90DADB514}"/>
                </a:ext>
              </a:extLst>
            </p:cNvPr>
            <p:cNvSpPr txBox="1"/>
            <p:nvPr/>
          </p:nvSpPr>
          <p:spPr>
            <a:xfrm>
              <a:off x="2343243" y="2067295"/>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76</a:t>
              </a:r>
            </a:p>
          </p:txBody>
        </p:sp>
        <p:sp>
          <p:nvSpPr>
            <p:cNvPr id="93" name="TextBox 92">
              <a:extLst>
                <a:ext uri="{FF2B5EF4-FFF2-40B4-BE49-F238E27FC236}">
                  <a16:creationId xmlns:a16="http://schemas.microsoft.com/office/drawing/2014/main" id="{EE8F4C12-B397-7C4C-AB9D-1EF08A368B5B}"/>
                </a:ext>
              </a:extLst>
            </p:cNvPr>
            <p:cNvSpPr txBox="1"/>
            <p:nvPr/>
          </p:nvSpPr>
          <p:spPr>
            <a:xfrm>
              <a:off x="3163300" y="2180602"/>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73</a:t>
              </a:r>
            </a:p>
          </p:txBody>
        </p:sp>
        <p:sp>
          <p:nvSpPr>
            <p:cNvPr id="94" name="TextBox 93">
              <a:extLst>
                <a:ext uri="{FF2B5EF4-FFF2-40B4-BE49-F238E27FC236}">
                  <a16:creationId xmlns:a16="http://schemas.microsoft.com/office/drawing/2014/main" id="{A758B92F-2CCB-114A-AE12-D61949586445}"/>
                </a:ext>
              </a:extLst>
            </p:cNvPr>
            <p:cNvSpPr txBox="1"/>
            <p:nvPr/>
          </p:nvSpPr>
          <p:spPr>
            <a:xfrm>
              <a:off x="1513510" y="3009155"/>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F256F"/>
                  </a:solidFill>
                  <a:effectLst/>
                  <a:uLnTx/>
                  <a:uFillTx/>
                  <a:latin typeface="Arial" panose="020B0604020202020204"/>
                  <a:ea typeface="+mn-ea"/>
                  <a:cs typeface="+mn-cs"/>
                </a:rPr>
                <a:t>52</a:t>
              </a:r>
            </a:p>
          </p:txBody>
        </p:sp>
        <p:sp>
          <p:nvSpPr>
            <p:cNvPr id="95" name="TextBox 94">
              <a:extLst>
                <a:ext uri="{FF2B5EF4-FFF2-40B4-BE49-F238E27FC236}">
                  <a16:creationId xmlns:a16="http://schemas.microsoft.com/office/drawing/2014/main" id="{812F8FB0-B581-D948-BFC5-899B555CD8FC}"/>
                </a:ext>
              </a:extLst>
            </p:cNvPr>
            <p:cNvSpPr txBox="1"/>
            <p:nvPr/>
          </p:nvSpPr>
          <p:spPr>
            <a:xfrm>
              <a:off x="1513510" y="2227810"/>
              <a:ext cx="169918" cy="170861"/>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A9992"/>
                  </a:solidFill>
                  <a:effectLst/>
                  <a:uLnTx/>
                  <a:uFillTx/>
                  <a:latin typeface="Arial" panose="020B0604020202020204"/>
                  <a:ea typeface="+mn-ea"/>
                  <a:cs typeface="+mn-cs"/>
                </a:rPr>
                <a:t>72</a:t>
              </a:r>
            </a:p>
          </p:txBody>
        </p:sp>
      </p:grpSp>
      <p:sp>
        <p:nvSpPr>
          <p:cNvPr id="132" name="Text Placeholder 9">
            <a:extLst>
              <a:ext uri="{FF2B5EF4-FFF2-40B4-BE49-F238E27FC236}">
                <a16:creationId xmlns:a16="http://schemas.microsoft.com/office/drawing/2014/main" id="{FA8E3B31-FB3E-4646-B795-12257C52F06C}"/>
              </a:ext>
            </a:extLst>
          </p:cNvPr>
          <p:cNvSpPr txBox="1">
            <a:spLocks/>
          </p:cNvSpPr>
          <p:nvPr/>
        </p:nvSpPr>
        <p:spPr>
          <a:xfrm>
            <a:off x="6700239" y="1739767"/>
            <a:ext cx="3747117" cy="223184"/>
          </a:xfrm>
          <a:prstGeom prst="rect">
            <a:avLst/>
          </a:prstGeom>
        </p:spPr>
        <p:txBody>
          <a:bodyPr/>
          <a:lstStyle>
            <a:lvl1pPr marL="228607" indent="-228607" algn="l" defTabSz="914422"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18" indent="-228607" algn="l" defTabSz="91442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9" indent="-228607" algn="l" defTabSz="91442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53"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64"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7"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marR="0" lvl="0" indent="0" algn="ctr" defTabSz="914422" rtl="0" eaLnBrk="1" fontAlgn="auto" latinLnBrk="0" hangingPunct="1">
              <a:lnSpc>
                <a:spcPct val="90000"/>
              </a:lnSpc>
              <a:spcBef>
                <a:spcPts val="1001"/>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with a worsening HF event treated with combination therapies (n=111,123)</a:t>
            </a:r>
          </a:p>
        </p:txBody>
      </p:sp>
      <p:sp>
        <p:nvSpPr>
          <p:cNvPr id="133" name="Text Placeholder 8">
            <a:extLst>
              <a:ext uri="{FF2B5EF4-FFF2-40B4-BE49-F238E27FC236}">
                <a16:creationId xmlns:a16="http://schemas.microsoft.com/office/drawing/2014/main" id="{199F4AF5-4A3A-40FE-BFC4-BAACBB640DBA}"/>
              </a:ext>
            </a:extLst>
          </p:cNvPr>
          <p:cNvSpPr txBox="1">
            <a:spLocks/>
          </p:cNvSpPr>
          <p:nvPr/>
        </p:nvSpPr>
        <p:spPr>
          <a:xfrm>
            <a:off x="1321640" y="1739767"/>
            <a:ext cx="3947575" cy="233073"/>
          </a:xfrm>
          <a:prstGeom prst="rect">
            <a:avLst/>
          </a:prstGeom>
        </p:spPr>
        <p:txBody>
          <a:bodyPr/>
          <a:lstStyle>
            <a:lvl1pPr marL="228607" indent="-228607" algn="l" defTabSz="914422"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18" indent="-228607" algn="l" defTabSz="91442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9" indent="-228607" algn="l" defTabSz="91442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53"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64"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7" indent="-228607"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marR="0" lvl="0" indent="0" algn="ctr" defTabSz="914422" rtl="0" eaLnBrk="1" fontAlgn="auto" latinLnBrk="0" hangingPunct="1">
              <a:lnSpc>
                <a:spcPct val="90000"/>
              </a:lnSpc>
              <a:spcBef>
                <a:spcPts val="1001"/>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Patients with a worsening HF event treated with each HF drug class (n=111,123)</a:t>
            </a:r>
          </a:p>
        </p:txBody>
      </p:sp>
    </p:spTree>
    <p:extLst>
      <p:ext uri="{BB962C8B-B14F-4D97-AF65-F5344CB8AC3E}">
        <p14:creationId xmlns:p14="http://schemas.microsoft.com/office/powerpoint/2010/main" val="3357358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DBBDA-11A1-4755-8CF0-DF65F2DAB639}"/>
              </a:ext>
            </a:extLst>
          </p:cNvPr>
          <p:cNvSpPr>
            <a:spLocks noGrp="1"/>
          </p:cNvSpPr>
          <p:nvPr>
            <p:ph type="title"/>
          </p:nvPr>
        </p:nvSpPr>
        <p:spPr/>
        <p:txBody>
          <a:bodyPr/>
          <a:lstStyle/>
          <a:p>
            <a:r>
              <a:rPr lang="en-US" dirty="0"/>
              <a:t>Patients with HFrEF often suffer from medication </a:t>
            </a:r>
            <a:br>
              <a:rPr lang="en-US" dirty="0"/>
            </a:br>
            <a:r>
              <a:rPr lang="en-US" dirty="0"/>
              <a:t>side effects, making adherence challenging</a:t>
            </a:r>
            <a:r>
              <a:rPr lang="en-US" baseline="30000" dirty="0"/>
              <a:t>1</a:t>
            </a:r>
          </a:p>
        </p:txBody>
      </p:sp>
      <p:sp>
        <p:nvSpPr>
          <p:cNvPr id="8" name="Slide Number Placeholder 7">
            <a:extLst>
              <a:ext uri="{FF2B5EF4-FFF2-40B4-BE49-F238E27FC236}">
                <a16:creationId xmlns:a16="http://schemas.microsoft.com/office/drawing/2014/main" id="{F9E8BB82-0CC9-41E0-9B91-326C96A734F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 Placeholder 11">
            <a:extLst>
              <a:ext uri="{FF2B5EF4-FFF2-40B4-BE49-F238E27FC236}">
                <a16:creationId xmlns:a16="http://schemas.microsoft.com/office/drawing/2014/main" id="{27D414EE-764D-46A7-8881-132996DFA9F4}"/>
              </a:ext>
            </a:extLst>
          </p:cNvPr>
          <p:cNvSpPr>
            <a:spLocks noGrp="1"/>
          </p:cNvSpPr>
          <p:nvPr>
            <p:ph type="body" sz="quarter" idx="14"/>
          </p:nvPr>
        </p:nvSpPr>
        <p:spPr/>
        <p:txBody>
          <a:bodyPr/>
          <a:lstStyle/>
          <a:p>
            <a:r>
              <a:rPr lang="en-GB" dirty="0"/>
              <a:t>Patient factors commonly associated with nonuse and </a:t>
            </a:r>
            <a:r>
              <a:rPr lang="en-US" dirty="0"/>
              <a:t>subtarget dosing</a:t>
            </a:r>
            <a:r>
              <a:rPr lang="en-GB" dirty="0"/>
              <a:t> of GDMT*</a:t>
            </a:r>
            <a:r>
              <a:rPr lang="en-GB" baseline="30000" dirty="0"/>
              <a:t>1</a:t>
            </a:r>
            <a:endParaRPr lang="en-US" baseline="30000" dirty="0"/>
          </a:p>
        </p:txBody>
      </p:sp>
      <p:sp>
        <p:nvSpPr>
          <p:cNvPr id="7" name="Footer Placeholder 6">
            <a:extLst>
              <a:ext uri="{FF2B5EF4-FFF2-40B4-BE49-F238E27FC236}">
                <a16:creationId xmlns:a16="http://schemas.microsoft.com/office/drawing/2014/main" id="{55C481D6-F38B-44F6-834F-F28EF27A62BB}"/>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From a systematic review of 37 stud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GDMT, guideline-directed medical therapy; HFrEF, heart failure with reduced ejection fr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srgbClr val="000000"/>
                </a:solidFill>
                <a:effectLst/>
                <a:uLnTx/>
                <a:uFillTx/>
                <a:latin typeface="Arial" panose="020B0604020202020204"/>
                <a:ea typeface="+mn-ea"/>
                <a:cs typeface="+mn-cs"/>
              </a:rPr>
              <a:t>Reference: 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Greene SJ </a:t>
            </a:r>
            <a:r>
              <a:rPr kumimoji="0" lang="en-GB" sz="800" b="0" i="1" u="none" strike="noStrike" kern="1200" cap="none" spc="0" normalizeH="0" baseline="0" noProof="0" dirty="0">
                <a:ln>
                  <a:noFill/>
                </a:ln>
                <a:solidFill>
                  <a:srgbClr val="000000"/>
                </a:solidFill>
                <a:effectLst/>
                <a:uLnTx/>
                <a:uFillTx/>
                <a:latin typeface="Arial" panose="020B0604020202020204"/>
                <a:ea typeface="+mn-ea"/>
                <a:cs typeface="+mn-cs"/>
              </a:rPr>
              <a:t>et al. Heart Fail Rev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202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https://doi.org/10.1007/s10741-021-10077-x</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Rectangle: Rounded Corners 52">
            <a:extLst>
              <a:ext uri="{FF2B5EF4-FFF2-40B4-BE49-F238E27FC236}">
                <a16:creationId xmlns:a16="http://schemas.microsoft.com/office/drawing/2014/main" id="{B47E1B03-53E9-4764-853B-305A8697EF44}"/>
              </a:ext>
            </a:extLst>
          </p:cNvPr>
          <p:cNvSpPr/>
          <p:nvPr/>
        </p:nvSpPr>
        <p:spPr>
          <a:xfrm>
            <a:off x="5664492" y="3517489"/>
            <a:ext cx="4860000" cy="1407591"/>
          </a:xfrm>
          <a:prstGeom prst="roundRect">
            <a:avLst>
              <a:gd name="adj" fmla="val 0"/>
            </a:avLst>
          </a:prstGeom>
          <a:solidFill>
            <a:schemeClr val="tx2">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Lower body mass index</a:t>
            </a:r>
          </a:p>
        </p:txBody>
      </p:sp>
      <p:sp>
        <p:nvSpPr>
          <p:cNvPr id="50" name="Rectangle: Rounded Corners 49">
            <a:extLst>
              <a:ext uri="{FF2B5EF4-FFF2-40B4-BE49-F238E27FC236}">
                <a16:creationId xmlns:a16="http://schemas.microsoft.com/office/drawing/2014/main" id="{AE89AAA9-30C8-41A1-94FE-B92C5FCD57CB}"/>
              </a:ext>
            </a:extLst>
          </p:cNvPr>
          <p:cNvSpPr/>
          <p:nvPr/>
        </p:nvSpPr>
        <p:spPr>
          <a:xfrm>
            <a:off x="7280908" y="2006935"/>
            <a:ext cx="3240000" cy="1407591"/>
          </a:xfrm>
          <a:prstGeom prst="roundRect">
            <a:avLst>
              <a:gd name="adj" fmla="val 0"/>
            </a:avLst>
          </a:prstGeom>
          <a:solidFill>
            <a:schemeClr val="tx2">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Older age</a:t>
            </a:r>
          </a:p>
        </p:txBody>
      </p:sp>
      <p:grpSp>
        <p:nvGrpSpPr>
          <p:cNvPr id="16" name="Group 15">
            <a:extLst>
              <a:ext uri="{FF2B5EF4-FFF2-40B4-BE49-F238E27FC236}">
                <a16:creationId xmlns:a16="http://schemas.microsoft.com/office/drawing/2014/main" id="{665AA4C3-8CA6-402A-B638-43E1768CE635}"/>
              </a:ext>
            </a:extLst>
          </p:cNvPr>
          <p:cNvGrpSpPr/>
          <p:nvPr/>
        </p:nvGrpSpPr>
        <p:grpSpPr>
          <a:xfrm>
            <a:off x="7508925" y="2206730"/>
            <a:ext cx="1008000" cy="1008000"/>
            <a:chOff x="7432725" y="2207646"/>
            <a:chExt cx="1008000" cy="1008000"/>
          </a:xfrm>
        </p:grpSpPr>
        <p:sp>
          <p:nvSpPr>
            <p:cNvPr id="51" name="Oval 50">
              <a:extLst>
                <a:ext uri="{FF2B5EF4-FFF2-40B4-BE49-F238E27FC236}">
                  <a16:creationId xmlns:a16="http://schemas.microsoft.com/office/drawing/2014/main" id="{9DC7907C-D2C7-4680-8263-960A189CDE3F}"/>
                </a:ext>
              </a:extLst>
            </p:cNvPr>
            <p:cNvSpPr/>
            <p:nvPr/>
          </p:nvSpPr>
          <p:spPr>
            <a:xfrm>
              <a:off x="7432725" y="2207646"/>
              <a:ext cx="1008000" cy="100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6" name="Graphic 65" descr="User">
              <a:extLst>
                <a:ext uri="{FF2B5EF4-FFF2-40B4-BE49-F238E27FC236}">
                  <a16:creationId xmlns:a16="http://schemas.microsoft.com/office/drawing/2014/main" id="{88043D3C-9A5C-4135-B707-11427B85DC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50531" y="2279646"/>
              <a:ext cx="972389" cy="864000"/>
            </a:xfrm>
            <a:prstGeom prst="rect">
              <a:avLst/>
            </a:prstGeom>
          </p:spPr>
        </p:pic>
      </p:grpSp>
      <p:sp>
        <p:nvSpPr>
          <p:cNvPr id="40" name="Rectangle: Rounded Corners 39">
            <a:extLst>
              <a:ext uri="{FF2B5EF4-FFF2-40B4-BE49-F238E27FC236}">
                <a16:creationId xmlns:a16="http://schemas.microsoft.com/office/drawing/2014/main" id="{0EE0AA93-2361-45C4-B4D8-1FAC59609272}"/>
              </a:ext>
            </a:extLst>
          </p:cNvPr>
          <p:cNvSpPr/>
          <p:nvPr/>
        </p:nvSpPr>
        <p:spPr>
          <a:xfrm>
            <a:off x="3942600" y="2006935"/>
            <a:ext cx="3240000" cy="1407591"/>
          </a:xfrm>
          <a:prstGeom prst="roundRect">
            <a:avLst>
              <a:gd name="adj" fmla="val 0"/>
            </a:avLst>
          </a:prstGeom>
          <a:solidFill>
            <a:schemeClr val="tx2">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Worsening renal function</a:t>
            </a:r>
          </a:p>
        </p:txBody>
      </p:sp>
      <p:grpSp>
        <p:nvGrpSpPr>
          <p:cNvPr id="11" name="Group 10">
            <a:extLst>
              <a:ext uri="{FF2B5EF4-FFF2-40B4-BE49-F238E27FC236}">
                <a16:creationId xmlns:a16="http://schemas.microsoft.com/office/drawing/2014/main" id="{C0711E8D-7C12-40AD-9087-852652256422}"/>
              </a:ext>
            </a:extLst>
          </p:cNvPr>
          <p:cNvGrpSpPr/>
          <p:nvPr/>
        </p:nvGrpSpPr>
        <p:grpSpPr>
          <a:xfrm>
            <a:off x="4161380" y="2206730"/>
            <a:ext cx="1019978" cy="1008000"/>
            <a:chOff x="4066130" y="2207646"/>
            <a:chExt cx="1019978" cy="1008000"/>
          </a:xfrm>
        </p:grpSpPr>
        <p:sp>
          <p:nvSpPr>
            <p:cNvPr id="41" name="Oval 40">
              <a:extLst>
                <a:ext uri="{FF2B5EF4-FFF2-40B4-BE49-F238E27FC236}">
                  <a16:creationId xmlns:a16="http://schemas.microsoft.com/office/drawing/2014/main" id="{87031AFE-EF47-4EED-AB95-4FDB01714D98}"/>
                </a:ext>
              </a:extLst>
            </p:cNvPr>
            <p:cNvSpPr/>
            <p:nvPr/>
          </p:nvSpPr>
          <p:spPr>
            <a:xfrm>
              <a:off x="4066130" y="2207646"/>
              <a:ext cx="1008000" cy="100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7" name="Content Placeholder 18" descr="Kidneys">
              <a:extLst>
                <a:ext uri="{FF2B5EF4-FFF2-40B4-BE49-F238E27FC236}">
                  <a16:creationId xmlns:a16="http://schemas.microsoft.com/office/drawing/2014/main" id="{4FFBCC42-C854-4FF8-9F4E-3A592B892A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73202" y="2299746"/>
              <a:ext cx="1012906" cy="900000"/>
            </a:xfrm>
            <a:prstGeom prst="rect">
              <a:avLst/>
            </a:prstGeom>
          </p:spPr>
        </p:pic>
      </p:grpSp>
      <p:sp>
        <p:nvSpPr>
          <p:cNvPr id="45" name="Rectangle: Rounded Corners 44">
            <a:extLst>
              <a:ext uri="{FF2B5EF4-FFF2-40B4-BE49-F238E27FC236}">
                <a16:creationId xmlns:a16="http://schemas.microsoft.com/office/drawing/2014/main" id="{96F9EFD1-D35F-4BEC-8D95-8C5A72C191C5}"/>
              </a:ext>
            </a:extLst>
          </p:cNvPr>
          <p:cNvSpPr/>
          <p:nvPr/>
        </p:nvSpPr>
        <p:spPr>
          <a:xfrm>
            <a:off x="604290" y="3517489"/>
            <a:ext cx="4968000" cy="1407591"/>
          </a:xfrm>
          <a:prstGeom prst="roundRect">
            <a:avLst>
              <a:gd name="adj" fmla="val 0"/>
            </a:avLst>
          </a:prstGeom>
          <a:solidFill>
            <a:schemeClr val="tx2">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Hyperkalemia</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600B2FC8-64A3-4B7F-8952-0E083DD38FF4}"/>
              </a:ext>
            </a:extLst>
          </p:cNvPr>
          <p:cNvGrpSpPr/>
          <p:nvPr/>
        </p:nvGrpSpPr>
        <p:grpSpPr>
          <a:xfrm>
            <a:off x="792006" y="3717284"/>
            <a:ext cx="1019417" cy="1008000"/>
            <a:chOff x="792006" y="3716662"/>
            <a:chExt cx="1019417" cy="1008000"/>
          </a:xfrm>
        </p:grpSpPr>
        <p:sp>
          <p:nvSpPr>
            <p:cNvPr id="46" name="Oval 45">
              <a:extLst>
                <a:ext uri="{FF2B5EF4-FFF2-40B4-BE49-F238E27FC236}">
                  <a16:creationId xmlns:a16="http://schemas.microsoft.com/office/drawing/2014/main" id="{55FD7BC7-BADB-43C4-8811-80CAF0A0ADAC}"/>
                </a:ext>
              </a:extLst>
            </p:cNvPr>
            <p:cNvSpPr/>
            <p:nvPr/>
          </p:nvSpPr>
          <p:spPr>
            <a:xfrm>
              <a:off x="797714" y="3716662"/>
              <a:ext cx="1008000" cy="100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C3F07CE4-F9D8-452D-8BA8-09C0EE104349}"/>
                </a:ext>
              </a:extLst>
            </p:cNvPr>
            <p:cNvSpPr txBox="1"/>
            <p:nvPr/>
          </p:nvSpPr>
          <p:spPr>
            <a:xfrm>
              <a:off x="792006" y="3832628"/>
              <a:ext cx="101941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0000"/>
                  </a:solidFill>
                  <a:effectLst/>
                  <a:uLnTx/>
                  <a:uFillTx/>
                  <a:latin typeface="Arial" panose="020B0604020202020204"/>
                  <a:ea typeface="+mn-ea"/>
                  <a:cs typeface="+mn-cs"/>
                </a:rPr>
                <a:t>K</a:t>
              </a:r>
              <a:r>
                <a:rPr kumimoji="0" lang="en-US" sz="4800" b="1" i="0" u="none" strike="noStrike" kern="1200" cap="none" spc="0" normalizeH="0" baseline="30000" noProof="0" dirty="0">
                  <a:ln>
                    <a:noFill/>
                  </a:ln>
                  <a:solidFill>
                    <a:srgbClr val="000000"/>
                  </a:solidFill>
                  <a:effectLst/>
                  <a:uLnTx/>
                  <a:uFillTx/>
                  <a:latin typeface="Arial" panose="020B0604020202020204"/>
                  <a:ea typeface="+mn-ea"/>
                  <a:cs typeface="+mn-cs"/>
                </a:rPr>
                <a:t>+</a:t>
              </a:r>
            </a:p>
          </p:txBody>
        </p:sp>
      </p:grpSp>
      <p:sp>
        <p:nvSpPr>
          <p:cNvPr id="63" name="Rectangle: Rounded Corners 62">
            <a:extLst>
              <a:ext uri="{FF2B5EF4-FFF2-40B4-BE49-F238E27FC236}">
                <a16:creationId xmlns:a16="http://schemas.microsoft.com/office/drawing/2014/main" id="{B44BCE2E-77E9-4B4E-9FE7-FD63299BF444}"/>
              </a:ext>
            </a:extLst>
          </p:cNvPr>
          <p:cNvSpPr/>
          <p:nvPr/>
        </p:nvSpPr>
        <p:spPr>
          <a:xfrm>
            <a:off x="604292" y="2006935"/>
            <a:ext cx="3240000" cy="1407591"/>
          </a:xfrm>
          <a:prstGeom prst="roundRect">
            <a:avLst>
              <a:gd name="adj" fmla="val 0"/>
            </a:avLst>
          </a:prstGeom>
          <a:solidFill>
            <a:schemeClr val="tx2">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2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Hypotension</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2CE6EC7F-5954-4904-B705-4BACA7E28625}"/>
              </a:ext>
            </a:extLst>
          </p:cNvPr>
          <p:cNvGrpSpPr/>
          <p:nvPr/>
        </p:nvGrpSpPr>
        <p:grpSpPr>
          <a:xfrm>
            <a:off x="797714" y="2206730"/>
            <a:ext cx="1008000" cy="1008000"/>
            <a:chOff x="797714" y="2207646"/>
            <a:chExt cx="1008000" cy="1008000"/>
          </a:xfrm>
        </p:grpSpPr>
        <p:sp>
          <p:nvSpPr>
            <p:cNvPr id="64" name="Oval 63">
              <a:extLst>
                <a:ext uri="{FF2B5EF4-FFF2-40B4-BE49-F238E27FC236}">
                  <a16:creationId xmlns:a16="http://schemas.microsoft.com/office/drawing/2014/main" id="{9A4435FF-164F-4E08-BF6D-D3B17473C923}"/>
                </a:ext>
              </a:extLst>
            </p:cNvPr>
            <p:cNvSpPr/>
            <p:nvPr/>
          </p:nvSpPr>
          <p:spPr>
            <a:xfrm>
              <a:off x="797714" y="2207646"/>
              <a:ext cx="1008000" cy="100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9" name="Picture 68">
              <a:extLst>
                <a:ext uri="{FF2B5EF4-FFF2-40B4-BE49-F238E27FC236}">
                  <a16:creationId xmlns:a16="http://schemas.microsoft.com/office/drawing/2014/main" id="{5C5D427F-E0FB-46A3-B95A-CE9EC1E9DF0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709" b="95793" l="9970" r="92145">
                          <a14:foregroundMark x1="38973" y1="57282" x2="38973" y2="57282"/>
                          <a14:foregroundMark x1="77039" y1="67638" x2="77039" y2="67638"/>
                          <a14:foregroundMark x1="78852" y1="45307" x2="78852" y2="45307"/>
                          <a14:foregroundMark x1="92447" y1="23625" x2="92447" y2="23625"/>
                          <a14:foregroundMark x1="35650" y1="22654" x2="35650" y2="22654"/>
                          <a14:foregroundMark x1="16314" y1="76052" x2="16314" y2="76052"/>
                          <a14:foregroundMark x1="10876" y1="95793" x2="10876" y2="95793"/>
                          <a14:foregroundMark x1="55891" y1="89320" x2="55891" y2="89320"/>
                          <a14:foregroundMark x1="80967" y1="23625" x2="80967" y2="23625"/>
                          <a14:foregroundMark x1="87009" y1="19094" x2="87009" y2="19094"/>
                          <a14:foregroundMark x1="87613" y1="24919" x2="87613" y2="24919"/>
                          <a14:foregroundMark x1="85498" y1="33010" x2="85498" y2="33010"/>
                          <a14:foregroundMark x1="86405" y1="32039" x2="86405" y2="32039"/>
                          <a14:foregroundMark x1="78852" y1="34951" x2="78852" y2="34951"/>
                          <a14:foregroundMark x1="72205" y1="33010" x2="72205" y2="33010"/>
                          <a14:foregroundMark x1="71601" y1="26214" x2="71601" y2="26214"/>
                          <a14:foregroundMark x1="71601" y1="19741" x2="71601" y2="19741"/>
                          <a14:foregroundMark x1="74018" y1="17799" x2="74018" y2="17799"/>
                        </a14:backgroundRemoval>
                      </a14:imgEffect>
                    </a14:imgLayer>
                  </a14:imgProps>
                </a:ext>
              </a:extLst>
            </a:blip>
            <a:stretch>
              <a:fillRect/>
            </a:stretch>
          </p:blipFill>
          <p:spPr>
            <a:xfrm>
              <a:off x="903863" y="2351646"/>
              <a:ext cx="795703" cy="720000"/>
            </a:xfrm>
            <a:prstGeom prst="rect">
              <a:avLst/>
            </a:prstGeom>
          </p:spPr>
        </p:pic>
      </p:grpSp>
      <p:grpSp>
        <p:nvGrpSpPr>
          <p:cNvPr id="15" name="Group 14">
            <a:extLst>
              <a:ext uri="{FF2B5EF4-FFF2-40B4-BE49-F238E27FC236}">
                <a16:creationId xmlns:a16="http://schemas.microsoft.com/office/drawing/2014/main" id="{A6818658-9C3F-42C7-AD66-F0AC4FEF6261}"/>
              </a:ext>
            </a:extLst>
          </p:cNvPr>
          <p:cNvGrpSpPr/>
          <p:nvPr/>
        </p:nvGrpSpPr>
        <p:grpSpPr>
          <a:xfrm>
            <a:off x="5879165" y="3717284"/>
            <a:ext cx="1008000" cy="1008000"/>
            <a:chOff x="5793440" y="3713328"/>
            <a:chExt cx="1008000" cy="1008000"/>
          </a:xfrm>
        </p:grpSpPr>
        <p:sp>
          <p:nvSpPr>
            <p:cNvPr id="54" name="Oval 53">
              <a:extLst>
                <a:ext uri="{FF2B5EF4-FFF2-40B4-BE49-F238E27FC236}">
                  <a16:creationId xmlns:a16="http://schemas.microsoft.com/office/drawing/2014/main" id="{ED4B8A44-CD46-468B-9258-918D55B0B563}"/>
                </a:ext>
              </a:extLst>
            </p:cNvPr>
            <p:cNvSpPr/>
            <p:nvPr/>
          </p:nvSpPr>
          <p:spPr>
            <a:xfrm>
              <a:off x="5793440" y="3713328"/>
              <a:ext cx="1008000" cy="100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0" name="Graphic 69" descr="Scale">
              <a:extLst>
                <a:ext uri="{FF2B5EF4-FFF2-40B4-BE49-F238E27FC236}">
                  <a16:creationId xmlns:a16="http://schemas.microsoft.com/office/drawing/2014/main" id="{35A0CA1F-F6EF-448F-97C6-F78B9302E9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57600" y="3757557"/>
              <a:ext cx="879680" cy="881661"/>
            </a:xfrm>
            <a:prstGeom prst="rect">
              <a:avLst/>
            </a:prstGeom>
          </p:spPr>
        </p:pic>
      </p:grpSp>
    </p:spTree>
    <p:extLst>
      <p:ext uri="{BB962C8B-B14F-4D97-AF65-F5344CB8AC3E}">
        <p14:creationId xmlns:p14="http://schemas.microsoft.com/office/powerpoint/2010/main" val="247784221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900864" cy="1001168"/>
          </a:xfrm>
        </p:spPr>
        <p:txBody>
          <a:bodyPr/>
          <a:lstStyle/>
          <a:p>
            <a:r>
              <a:rPr lang="en-GB" dirty="0"/>
              <a:t>Key considerations when adding further therapies</a:t>
            </a:r>
          </a:p>
        </p:txBody>
      </p:sp>
    </p:spTree>
    <p:extLst>
      <p:ext uri="{BB962C8B-B14F-4D97-AF65-F5344CB8AC3E}">
        <p14:creationId xmlns:p14="http://schemas.microsoft.com/office/powerpoint/2010/main" val="32357293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515101" cy="1001168"/>
          </a:xfrm>
        </p:spPr>
        <p:txBody>
          <a:bodyPr/>
          <a:lstStyle/>
          <a:p>
            <a:r>
              <a:rPr lang="en-GB" dirty="0"/>
              <a:t>Vericiguat in patients with low renal function and elevated potassium levels</a:t>
            </a:r>
          </a:p>
        </p:txBody>
      </p:sp>
    </p:spTree>
    <p:extLst>
      <p:ext uri="{BB962C8B-B14F-4D97-AF65-F5344CB8AC3E}">
        <p14:creationId xmlns:p14="http://schemas.microsoft.com/office/powerpoint/2010/main" val="24098818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a:extLst>
              <a:ext uri="{FF2B5EF4-FFF2-40B4-BE49-F238E27FC236}">
                <a16:creationId xmlns:a16="http://schemas.microsoft.com/office/drawing/2014/main" id="{CDE15E5B-AA58-4AE0-BE29-9CAEE18A4B6D}"/>
              </a:ext>
            </a:extLst>
          </p:cNvPr>
          <p:cNvGraphicFramePr>
            <a:graphicFrameLocks noGrp="1"/>
          </p:cNvGraphicFramePr>
          <p:nvPr/>
        </p:nvGraphicFramePr>
        <p:xfrm>
          <a:off x="596709" y="1090950"/>
          <a:ext cx="9932461" cy="4429130"/>
        </p:xfrm>
        <a:graphic>
          <a:graphicData uri="http://schemas.openxmlformats.org/drawingml/2006/table">
            <a:tbl>
              <a:tblPr firstRow="1" bandRow="1">
                <a:tableStyleId>{74C1A8A3-306A-4EB7-A6B1-4F7E0EB9C5D6}</a:tableStyleId>
              </a:tblPr>
              <a:tblGrid>
                <a:gridCol w="2347318">
                  <a:extLst>
                    <a:ext uri="{9D8B030D-6E8A-4147-A177-3AD203B41FA5}">
                      <a16:colId xmlns:a16="http://schemas.microsoft.com/office/drawing/2014/main" val="276501922"/>
                    </a:ext>
                  </a:extLst>
                </a:gridCol>
                <a:gridCol w="900595">
                  <a:extLst>
                    <a:ext uri="{9D8B030D-6E8A-4147-A177-3AD203B41FA5}">
                      <a16:colId xmlns:a16="http://schemas.microsoft.com/office/drawing/2014/main" val="4036536744"/>
                    </a:ext>
                  </a:extLst>
                </a:gridCol>
                <a:gridCol w="796680">
                  <a:extLst>
                    <a:ext uri="{9D8B030D-6E8A-4147-A177-3AD203B41FA5}">
                      <a16:colId xmlns:a16="http://schemas.microsoft.com/office/drawing/2014/main" val="756712315"/>
                    </a:ext>
                  </a:extLst>
                </a:gridCol>
                <a:gridCol w="978645">
                  <a:extLst>
                    <a:ext uri="{9D8B030D-6E8A-4147-A177-3AD203B41FA5}">
                      <a16:colId xmlns:a16="http://schemas.microsoft.com/office/drawing/2014/main" val="619554512"/>
                    </a:ext>
                  </a:extLst>
                </a:gridCol>
                <a:gridCol w="933511">
                  <a:extLst>
                    <a:ext uri="{9D8B030D-6E8A-4147-A177-3AD203B41FA5}">
                      <a16:colId xmlns:a16="http://schemas.microsoft.com/office/drawing/2014/main" val="279709041"/>
                    </a:ext>
                  </a:extLst>
                </a:gridCol>
                <a:gridCol w="1829760">
                  <a:extLst>
                    <a:ext uri="{9D8B030D-6E8A-4147-A177-3AD203B41FA5}">
                      <a16:colId xmlns:a16="http://schemas.microsoft.com/office/drawing/2014/main" val="82043214"/>
                    </a:ext>
                  </a:extLst>
                </a:gridCol>
                <a:gridCol w="1560563">
                  <a:extLst>
                    <a:ext uri="{9D8B030D-6E8A-4147-A177-3AD203B41FA5}">
                      <a16:colId xmlns:a16="http://schemas.microsoft.com/office/drawing/2014/main" val="900281767"/>
                    </a:ext>
                  </a:extLst>
                </a:gridCol>
                <a:gridCol w="585389">
                  <a:extLst>
                    <a:ext uri="{9D8B030D-6E8A-4147-A177-3AD203B41FA5}">
                      <a16:colId xmlns:a16="http://schemas.microsoft.com/office/drawing/2014/main" val="3636286205"/>
                    </a:ext>
                  </a:extLst>
                </a:gridCol>
              </a:tblGrid>
              <a:tr h="445357">
                <a:tc rowSpan="2">
                  <a:txBody>
                    <a:bodyPr/>
                    <a:lstStyle/>
                    <a:p>
                      <a:pPr marL="114300" indent="0">
                        <a:lnSpc>
                          <a:spcPct val="100000"/>
                        </a:lnSpc>
                      </a:pPr>
                      <a:endParaRPr lang="en-US" sz="1100" dirty="0"/>
                    </a:p>
                  </a:txBody>
                  <a:tcPr marL="46800" marR="45720" anchor="ctr"/>
                </a:tc>
                <a:tc gridSpan="2">
                  <a:txBody>
                    <a:bodyPr/>
                    <a:lstStyle/>
                    <a:p>
                      <a:pPr marL="114300" indent="0" algn="ctr">
                        <a:lnSpc>
                          <a:spcPct val="100000"/>
                        </a:lnSpc>
                      </a:pPr>
                      <a:r>
                        <a:rPr lang="en-US" sz="1100" dirty="0"/>
                        <a:t>1-year Kaplan–Meier </a:t>
                      </a:r>
                    </a:p>
                    <a:p>
                      <a:pPr marL="114300" indent="0" algn="ctr">
                        <a:lnSpc>
                          <a:spcPct val="100000"/>
                        </a:lnSpc>
                      </a:pPr>
                      <a:r>
                        <a:rPr lang="en-US" sz="1100" dirty="0"/>
                        <a:t>event rate</a:t>
                      </a:r>
                    </a:p>
                  </a:txBody>
                  <a:tcPr marL="45720" marR="45720" anchor="ctr">
                    <a:lnB w="19050" cap="flat" cmpd="sng" algn="ctr">
                      <a:solidFill>
                        <a:schemeClr val="tx1"/>
                      </a:solidFill>
                      <a:prstDash val="solid"/>
                      <a:round/>
                      <a:headEnd type="none" w="med" len="med"/>
                      <a:tailEnd type="none" w="med" len="med"/>
                    </a:lnB>
                  </a:tcPr>
                </a:tc>
                <a:tc hMerge="1">
                  <a:txBody>
                    <a:bodyPr/>
                    <a:lstStyle/>
                    <a:p>
                      <a:pPr algn="ctr">
                        <a:lnSpc>
                          <a:spcPct val="100000"/>
                        </a:lnSpc>
                      </a:pPr>
                      <a:endParaRPr lang="en-US" sz="1800"/>
                    </a:p>
                  </a:txBody>
                  <a:tcPr marL="45720" marR="45720">
                    <a:solidFill>
                      <a:schemeClr val="accent3"/>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2-year Kaplan–Meie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event rate</a:t>
                      </a:r>
                    </a:p>
                  </a:txBody>
                  <a:tcPr marL="45720" marR="45720" anchor="ctr">
                    <a:lnB w="19050" cap="flat" cmpd="sng" algn="ctr">
                      <a:solidFill>
                        <a:schemeClr val="tx1"/>
                      </a:solidFill>
                      <a:prstDash val="solid"/>
                      <a:round/>
                      <a:headEnd type="none" w="med" len="med"/>
                      <a:tailEnd type="none" w="med" len="med"/>
                    </a:lnB>
                  </a:tcPr>
                </a:tc>
                <a:tc hMerge="1">
                  <a:txBody>
                    <a:bodyPr/>
                    <a:lstStyle/>
                    <a:p>
                      <a:endParaRPr lang="en-US"/>
                    </a:p>
                  </a:txBody>
                  <a:tcPr/>
                </a:tc>
                <a:tc rowSpan="2" gridSpan="2">
                  <a:txBody>
                    <a:bodyPr/>
                    <a:lstStyle/>
                    <a:p>
                      <a:pPr algn="ctr"/>
                      <a:r>
                        <a:rPr lang="en-US" sz="1100" dirty="0"/>
                        <a:t>Hazard ratio (95% CI)</a:t>
                      </a:r>
                      <a:endParaRPr lang="en-US" dirty="0"/>
                    </a:p>
                  </a:txBody>
                  <a:tcPr marL="45720" marR="45720" anchor="ctr"/>
                </a:tc>
                <a:tc rowSpan="2" hMerge="1">
                  <a:txBody>
                    <a:bodyPr/>
                    <a:lstStyle/>
                    <a:p>
                      <a:pPr algn="ctr">
                        <a:lnSpc>
                          <a:spcPct val="100000"/>
                        </a:lnSpc>
                      </a:pPr>
                      <a:endParaRPr lang="en-US" sz="1200"/>
                    </a:p>
                  </a:txBody>
                  <a:tcPr marL="45720" marR="45720" anchor="ctr">
                    <a:solidFill>
                      <a:schemeClr val="accent3"/>
                    </a:solidFill>
                  </a:tcPr>
                </a:tc>
                <a:tc rowSpan="2">
                  <a:txBody>
                    <a:bodyPr/>
                    <a:lstStyle/>
                    <a:p>
                      <a:pPr algn="ctr">
                        <a:lnSpc>
                          <a:spcPct val="100000"/>
                        </a:lnSpc>
                      </a:pPr>
                      <a:r>
                        <a:rPr lang="en-US" sz="1100" dirty="0"/>
                        <a:t>p-value</a:t>
                      </a:r>
                    </a:p>
                  </a:txBody>
                  <a:tcPr marL="45720" marR="45720" anchor="ctr"/>
                </a:tc>
                <a:extLst>
                  <a:ext uri="{0D108BD9-81ED-4DB2-BD59-A6C34878D82A}">
                    <a16:rowId xmlns:a16="http://schemas.microsoft.com/office/drawing/2014/main" val="581298721"/>
                  </a:ext>
                </a:extLst>
              </a:tr>
              <a:tr h="445357">
                <a:tc vMerge="1">
                  <a:txBody>
                    <a:bodyPr/>
                    <a:lstStyle/>
                    <a:p>
                      <a:endParaRPr lang="en-US"/>
                    </a:p>
                  </a:txBody>
                  <a:tcPr/>
                </a:tc>
                <a:tc>
                  <a:txBody>
                    <a:bodyPr/>
                    <a:lstStyle/>
                    <a:p>
                      <a:pPr algn="ctr"/>
                      <a:r>
                        <a:rPr lang="en-US" sz="1100" b="1" dirty="0">
                          <a:solidFill>
                            <a:schemeClr val="bg1"/>
                          </a:solidFill>
                        </a:rPr>
                        <a:t>Vericiguat (%)</a:t>
                      </a:r>
                      <a:endParaRPr lang="en-GB" sz="1100" dirty="0"/>
                    </a:p>
                  </a:txBody>
                  <a:tcPr marL="45720" marR="45720" anchor="ctr">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lnSpc>
                          <a:spcPct val="100000"/>
                        </a:lnSpc>
                      </a:pPr>
                      <a:r>
                        <a:rPr lang="en-US" sz="1100" b="1" dirty="0">
                          <a:solidFill>
                            <a:schemeClr val="bg1"/>
                          </a:solidFill>
                        </a:rPr>
                        <a:t>Placebo (%)</a:t>
                      </a:r>
                    </a:p>
                  </a:txBody>
                  <a:tcPr marL="45720" marR="45720"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Vericiguat (%)</a:t>
                      </a:r>
                      <a:endParaRPr lang="en-GB" sz="1100" dirty="0"/>
                    </a:p>
                  </a:txBody>
                  <a:tcPr marL="45720" marR="45720"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r>
                        <a:rPr lang="en-US" sz="1100" b="1" dirty="0">
                          <a:solidFill>
                            <a:schemeClr val="bg1"/>
                          </a:solidFill>
                        </a:rPr>
                        <a:t>Placebo </a:t>
                      </a:r>
                      <a:br>
                        <a:rPr lang="en-US" sz="1100" b="1" dirty="0">
                          <a:solidFill>
                            <a:schemeClr val="bg1"/>
                          </a:solidFill>
                        </a:rPr>
                      </a:br>
                      <a:r>
                        <a:rPr lang="en-US" sz="1100" b="1" dirty="0">
                          <a:solidFill>
                            <a:schemeClr val="bg1"/>
                          </a:solidFill>
                        </a:rPr>
                        <a:t>(%)</a:t>
                      </a:r>
                      <a:endParaRPr lang="en-US" dirty="0"/>
                    </a:p>
                  </a:txBody>
                  <a:tcPr marL="45720" marR="45720" anchor="ctr">
                    <a:lnR w="12700" cap="flat" cmpd="sng" algn="ctr">
                      <a:no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accent5"/>
                    </a:solidFill>
                  </a:tcPr>
                </a:tc>
                <a:tc gridSpan="2" vMerge="1">
                  <a:txBody>
                    <a:bodyPr/>
                    <a:lstStyle/>
                    <a:p>
                      <a:endParaRPr lang="en-US"/>
                    </a:p>
                  </a:txBody>
                  <a:tcPr/>
                </a:tc>
                <a:tc hMerge="1" vMerge="1">
                  <a:txBody>
                    <a:bodyPr/>
                    <a:lstStyle/>
                    <a:p>
                      <a:endParaRPr lang="en-US"/>
                    </a:p>
                  </a:txBody>
                  <a:tcPr/>
                </a:tc>
                <a:tc vMerge="1">
                  <a:txBody>
                    <a:bodyPr/>
                    <a:lstStyle/>
                    <a:p>
                      <a:endParaRPr lang="en-US"/>
                    </a:p>
                  </a:txBody>
                  <a:tcPr/>
                </a:tc>
                <a:extLst>
                  <a:ext uri="{0D108BD9-81ED-4DB2-BD59-A6C34878D82A}">
                    <a16:rowId xmlns:a16="http://schemas.microsoft.com/office/drawing/2014/main" val="1332550981"/>
                  </a:ext>
                </a:extLst>
              </a:tr>
              <a:tr h="294868">
                <a:tc gridSpan="8">
                  <a:txBody>
                    <a:bodyPr/>
                    <a:lstStyle/>
                    <a:p>
                      <a:pPr marL="0" indent="0" algn="l">
                        <a:lnSpc>
                          <a:spcPct val="100000"/>
                        </a:lnSpc>
                      </a:pPr>
                      <a:r>
                        <a:rPr lang="en-US" sz="1100" b="0" dirty="0"/>
                        <a:t>HF hospitalization or CV death </a:t>
                      </a:r>
                    </a:p>
                  </a:txBody>
                  <a:tcPr marL="90000" marR="90000" anchor="ctr">
                    <a:solidFill>
                      <a:srgbClr val="E7E7E7"/>
                    </a:solidFill>
                  </a:tcPr>
                </a:tc>
                <a:tc hMerge="1">
                  <a:txBody>
                    <a:bodyPr/>
                    <a:lstStyle/>
                    <a:p>
                      <a:pPr algn="ctr">
                        <a:lnSpc>
                          <a:spcPct val="100000"/>
                        </a:lnSpc>
                      </a:pPr>
                      <a:endParaRPr lang="en-US" sz="1200"/>
                    </a:p>
                  </a:txBody>
                  <a:tcPr marL="45720" marR="45720"/>
                </a:tc>
                <a:tc hMerge="1">
                  <a:txBody>
                    <a:bodyPr/>
                    <a:lstStyle/>
                    <a:p>
                      <a:pPr algn="ctr"/>
                      <a:endParaRPr lang="en-US" sz="1200"/>
                    </a:p>
                  </a:txBody>
                  <a:tcPr marL="45720" marR="45720"/>
                </a:tc>
                <a:tc hMerge="1">
                  <a:txBody>
                    <a:bodyPr/>
                    <a:lstStyle/>
                    <a:p>
                      <a:pPr algn="ctr">
                        <a:lnSpc>
                          <a:spcPct val="100000"/>
                        </a:lnSpc>
                      </a:pPr>
                      <a:endParaRPr lang="en-US" sz="1200"/>
                    </a:p>
                  </a:txBody>
                  <a:tcPr marL="45720" marR="45720"/>
                </a:tc>
                <a:tc hMerge="1">
                  <a:txBody>
                    <a:bodyPr/>
                    <a:lstStyle/>
                    <a:p>
                      <a:endParaRPr lang="en-US"/>
                    </a:p>
                  </a:txBody>
                  <a:tcPr>
                    <a:lnT w="1905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pPr algn="ctr">
                        <a:lnSpc>
                          <a:spcPct val="100000"/>
                        </a:lnSpc>
                      </a:pPr>
                      <a:endParaRPr lang="en-US" sz="1200"/>
                    </a:p>
                  </a:txBody>
                  <a:tcPr marL="45720" marR="45720"/>
                </a:tc>
                <a:tc hMerge="1">
                  <a:txBody>
                    <a:bodyPr/>
                    <a:lstStyle/>
                    <a:p>
                      <a:pPr algn="ctr">
                        <a:lnSpc>
                          <a:spcPct val="100000"/>
                        </a:lnSpc>
                      </a:pPr>
                      <a:endParaRPr lang="en-US" sz="1200"/>
                    </a:p>
                  </a:txBody>
                  <a:tcPr marL="45720" marR="45720" anchor="ctr"/>
                </a:tc>
                <a:extLst>
                  <a:ext uri="{0D108BD9-81ED-4DB2-BD59-A6C34878D82A}">
                    <a16:rowId xmlns:a16="http://schemas.microsoft.com/office/drawing/2014/main" val="203145442"/>
                  </a:ext>
                </a:extLst>
              </a:tr>
              <a:tr h="294868">
                <a:tc>
                  <a:txBody>
                    <a:bodyPr/>
                    <a:lstStyle/>
                    <a:p>
                      <a:pPr marL="180000" indent="0" algn="l">
                        <a:lnSpc>
                          <a:spcPct val="100000"/>
                        </a:lnSpc>
                      </a:pPr>
                      <a:r>
                        <a:rPr lang="en-US" sz="1100" b="0" dirty="0"/>
                        <a:t>eGFR ≤30</a:t>
                      </a:r>
                    </a:p>
                  </a:txBody>
                  <a:tcPr marL="90000" marR="90000" anchor="ctr">
                    <a:solidFill>
                      <a:schemeClr val="bg1"/>
                    </a:solidFill>
                  </a:tcPr>
                </a:tc>
                <a:tc>
                  <a:txBody>
                    <a:bodyPr/>
                    <a:lstStyle/>
                    <a:p>
                      <a:pPr algn="ctr">
                        <a:lnSpc>
                          <a:spcPct val="100000"/>
                        </a:lnSpc>
                      </a:pPr>
                      <a:r>
                        <a:rPr lang="en-US" sz="1100" b="0" dirty="0"/>
                        <a:t>48.0</a:t>
                      </a:r>
                    </a:p>
                  </a:txBody>
                  <a:tcPr marL="45720" marR="45720" anchor="ctr">
                    <a:solidFill>
                      <a:schemeClr val="bg1"/>
                    </a:solidFill>
                  </a:tcPr>
                </a:tc>
                <a:tc>
                  <a:txBody>
                    <a:bodyPr/>
                    <a:lstStyle/>
                    <a:p>
                      <a:pPr algn="ctr"/>
                      <a:r>
                        <a:rPr lang="en-US" sz="1100" dirty="0"/>
                        <a:t>47.9</a:t>
                      </a:r>
                    </a:p>
                  </a:txBody>
                  <a:tcPr marL="45720" marR="45720" anchor="ctr">
                    <a:solidFill>
                      <a:schemeClr val="bg1"/>
                    </a:solidFill>
                  </a:tcPr>
                </a:tc>
                <a:tc>
                  <a:txBody>
                    <a:bodyPr/>
                    <a:lstStyle/>
                    <a:p>
                      <a:pPr algn="ctr">
                        <a:lnSpc>
                          <a:spcPct val="100000"/>
                        </a:lnSpc>
                      </a:pPr>
                      <a:r>
                        <a:rPr lang="en-US" sz="1100" dirty="0"/>
                        <a:t>70.4</a:t>
                      </a:r>
                    </a:p>
                  </a:txBody>
                  <a:tcPr marL="45720" marR="45720" anchor="ctr">
                    <a:solidFill>
                      <a:schemeClr val="bg1"/>
                    </a:solidFill>
                  </a:tcPr>
                </a:tc>
                <a:tc>
                  <a:txBody>
                    <a:bodyPr/>
                    <a:lstStyle/>
                    <a:p>
                      <a:pPr algn="ctr">
                        <a:lnSpc>
                          <a:spcPct val="100000"/>
                        </a:lnSpc>
                      </a:pPr>
                      <a:r>
                        <a:rPr lang="en-US" sz="1100" dirty="0"/>
                        <a:t>62.5</a:t>
                      </a:r>
                    </a:p>
                  </a:txBody>
                  <a:tcPr marL="45720" marR="45720" anchor="ctr">
                    <a:solidFill>
                      <a:schemeClr val="bg1"/>
                    </a:solidFill>
                  </a:tcPr>
                </a:tc>
                <a:tc>
                  <a:txBody>
                    <a:bodyPr/>
                    <a:lstStyle/>
                    <a:p>
                      <a:pPr algn="ctr">
                        <a:lnSpc>
                          <a:spcPct val="100000"/>
                        </a:lnSpc>
                      </a:pPr>
                      <a:endParaRPr lang="en-US" sz="1100" dirty="0"/>
                    </a:p>
                  </a:txBody>
                  <a:tcPr marL="45720" marR="45720" anchor="ctr">
                    <a:solidFill>
                      <a:schemeClr val="bg1"/>
                    </a:solidFill>
                  </a:tcPr>
                </a:tc>
                <a:tc>
                  <a:txBody>
                    <a:bodyPr/>
                    <a:lstStyle/>
                    <a:p>
                      <a:pPr algn="ctr">
                        <a:lnSpc>
                          <a:spcPct val="100000"/>
                        </a:lnSpc>
                      </a:pPr>
                      <a:r>
                        <a:rPr lang="en-US" sz="1100" dirty="0"/>
                        <a:t>1.06 (0.84‒1.35)</a:t>
                      </a:r>
                    </a:p>
                  </a:txBody>
                  <a:tcPr marL="45720" marR="45720" anchor="ctr">
                    <a:solidFill>
                      <a:schemeClr val="bg1"/>
                    </a:solidFill>
                  </a:tcPr>
                </a:tc>
                <a:tc rowSpan="3">
                  <a:txBody>
                    <a:bodyPr/>
                    <a:lstStyle/>
                    <a:p>
                      <a:pPr algn="ctr">
                        <a:lnSpc>
                          <a:spcPct val="100000"/>
                        </a:lnSpc>
                      </a:pPr>
                      <a:r>
                        <a:rPr lang="en-US" sz="1100" dirty="0"/>
                        <a:t>0.17</a:t>
                      </a:r>
                    </a:p>
                  </a:txBody>
                  <a:tcPr marL="45720" marR="45720" anchor="ctr">
                    <a:solidFill>
                      <a:schemeClr val="bg1"/>
                    </a:solidFill>
                  </a:tcPr>
                </a:tc>
                <a:extLst>
                  <a:ext uri="{0D108BD9-81ED-4DB2-BD59-A6C34878D82A}">
                    <a16:rowId xmlns:a16="http://schemas.microsoft.com/office/drawing/2014/main" val="273386441"/>
                  </a:ext>
                </a:extLst>
              </a:tr>
              <a:tr h="294868">
                <a:tc>
                  <a:txBody>
                    <a:bodyPr/>
                    <a:lstStyle/>
                    <a:p>
                      <a:pPr marL="180000" indent="0" algn="l">
                        <a:lnSpc>
                          <a:spcPct val="100000"/>
                        </a:lnSpc>
                      </a:pPr>
                      <a:r>
                        <a:rPr lang="en-US" sz="1100" b="0" dirty="0"/>
                        <a:t>eGFR &gt;30–≤60</a:t>
                      </a:r>
                    </a:p>
                  </a:txBody>
                  <a:tcPr marL="90000" marR="90000" anchor="ctr">
                    <a:solidFill>
                      <a:srgbClr val="E7E7E7"/>
                    </a:solidFill>
                  </a:tcPr>
                </a:tc>
                <a:tc>
                  <a:txBody>
                    <a:bodyPr/>
                    <a:lstStyle/>
                    <a:p>
                      <a:pPr algn="ctr">
                        <a:lnSpc>
                          <a:spcPct val="100000"/>
                        </a:lnSpc>
                      </a:pPr>
                      <a:r>
                        <a:rPr lang="en-US" sz="1100" b="0" dirty="0"/>
                        <a:t>33.7</a:t>
                      </a:r>
                    </a:p>
                  </a:txBody>
                  <a:tcPr marL="45720" marR="45720" anchor="ctr">
                    <a:solidFill>
                      <a:srgbClr val="E7E7E7"/>
                    </a:solidFill>
                  </a:tcPr>
                </a:tc>
                <a:tc>
                  <a:txBody>
                    <a:bodyPr/>
                    <a:lstStyle/>
                    <a:p>
                      <a:pPr algn="ctr"/>
                      <a:r>
                        <a:rPr lang="en-US" sz="1100" dirty="0"/>
                        <a:t>37.7</a:t>
                      </a:r>
                    </a:p>
                  </a:txBody>
                  <a:tcPr marL="45720" marR="45720" anchor="ctr">
                    <a:solidFill>
                      <a:srgbClr val="E7E7E7"/>
                    </a:solidFill>
                  </a:tcPr>
                </a:tc>
                <a:tc>
                  <a:txBody>
                    <a:bodyPr/>
                    <a:lstStyle/>
                    <a:p>
                      <a:pPr algn="ctr">
                        <a:lnSpc>
                          <a:spcPct val="100000"/>
                        </a:lnSpc>
                      </a:pPr>
                      <a:r>
                        <a:rPr lang="en-US" sz="1100" dirty="0"/>
                        <a:t>45.1</a:t>
                      </a:r>
                    </a:p>
                  </a:txBody>
                  <a:tcPr marL="45720" marR="45720" anchor="ctr">
                    <a:solidFill>
                      <a:srgbClr val="E7E7E7"/>
                    </a:solidFill>
                  </a:tcPr>
                </a:tc>
                <a:tc>
                  <a:txBody>
                    <a:bodyPr/>
                    <a:lstStyle/>
                    <a:p>
                      <a:pPr algn="ctr"/>
                      <a:r>
                        <a:rPr lang="en-US" sz="1100" dirty="0"/>
                        <a:t>52.1</a:t>
                      </a:r>
                    </a:p>
                  </a:txBody>
                  <a:tcPr marL="45720" marR="45720" anchor="ctr">
                    <a:solidFill>
                      <a:srgbClr val="E7E7E7"/>
                    </a:solidFill>
                  </a:tcPr>
                </a:tc>
                <a:tc>
                  <a:txBody>
                    <a:bodyPr/>
                    <a:lstStyle/>
                    <a:p>
                      <a:endParaRPr lang="en-US" sz="1100" dirty="0"/>
                    </a:p>
                  </a:txBody>
                  <a:tcPr marL="45720" marR="45720" anchor="ctr">
                    <a:solidFill>
                      <a:srgbClr val="E7E7E7"/>
                    </a:solidFill>
                  </a:tcPr>
                </a:tc>
                <a:tc>
                  <a:txBody>
                    <a:bodyPr/>
                    <a:lstStyle/>
                    <a:p>
                      <a:pPr algn="ctr">
                        <a:lnSpc>
                          <a:spcPct val="100000"/>
                        </a:lnSpc>
                      </a:pPr>
                      <a:r>
                        <a:rPr lang="en-US" sz="1100" dirty="0"/>
                        <a:t>0.83 (0.72‒0.95)</a:t>
                      </a:r>
                    </a:p>
                  </a:txBody>
                  <a:tcPr marL="45720" marR="45720" anchor="ctr">
                    <a:solidFill>
                      <a:srgbClr val="E7E7E7"/>
                    </a:solidFill>
                  </a:tcPr>
                </a:tc>
                <a:tc vMerge="1">
                  <a:txBody>
                    <a:bodyPr/>
                    <a:lstStyle/>
                    <a:p>
                      <a:pPr algn="ctr">
                        <a:lnSpc>
                          <a:spcPct val="100000"/>
                        </a:lnSpc>
                      </a:pPr>
                      <a:endParaRPr lang="en-US" sz="1800"/>
                    </a:p>
                  </a:txBody>
                  <a:tcPr marL="45720" marR="45720"/>
                </a:tc>
                <a:extLst>
                  <a:ext uri="{0D108BD9-81ED-4DB2-BD59-A6C34878D82A}">
                    <a16:rowId xmlns:a16="http://schemas.microsoft.com/office/drawing/2014/main" val="1364643565"/>
                  </a:ext>
                </a:extLst>
              </a:tr>
              <a:tr h="294868">
                <a:tc>
                  <a:txBody>
                    <a:bodyPr/>
                    <a:lstStyle/>
                    <a:p>
                      <a:pPr marL="180000" indent="0" algn="l">
                        <a:lnSpc>
                          <a:spcPct val="100000"/>
                        </a:lnSpc>
                      </a:pPr>
                      <a:r>
                        <a:rPr lang="en-US" sz="1100" b="0" dirty="0"/>
                        <a:t>eGFR &gt;60</a:t>
                      </a:r>
                    </a:p>
                  </a:txBody>
                  <a:tcPr marL="90000" marR="90000" anchor="ctr">
                    <a:solidFill>
                      <a:schemeClr val="bg1"/>
                    </a:solidFill>
                  </a:tcPr>
                </a:tc>
                <a:tc>
                  <a:txBody>
                    <a:bodyPr/>
                    <a:lstStyle/>
                    <a:p>
                      <a:pPr algn="ctr">
                        <a:lnSpc>
                          <a:spcPct val="100000"/>
                        </a:lnSpc>
                      </a:pPr>
                      <a:r>
                        <a:rPr lang="en-US" sz="1100" b="0" dirty="0"/>
                        <a:t>25.3</a:t>
                      </a:r>
                    </a:p>
                  </a:txBody>
                  <a:tcPr marL="45720" marR="45720" anchor="ctr">
                    <a:solidFill>
                      <a:schemeClr val="bg1"/>
                    </a:solidFill>
                  </a:tcPr>
                </a:tc>
                <a:tc>
                  <a:txBody>
                    <a:bodyPr/>
                    <a:lstStyle/>
                    <a:p>
                      <a:pPr algn="ctr"/>
                      <a:r>
                        <a:rPr lang="en-US" sz="1100" dirty="0"/>
                        <a:t>28.9</a:t>
                      </a:r>
                    </a:p>
                  </a:txBody>
                  <a:tcPr marL="45720" marR="45720" anchor="ctr">
                    <a:solidFill>
                      <a:schemeClr val="bg1"/>
                    </a:solidFill>
                  </a:tcPr>
                </a:tc>
                <a:tc>
                  <a:txBody>
                    <a:bodyPr/>
                    <a:lstStyle/>
                    <a:p>
                      <a:pPr algn="ctr">
                        <a:lnSpc>
                          <a:spcPct val="100000"/>
                        </a:lnSpc>
                      </a:pPr>
                      <a:r>
                        <a:rPr lang="en-US" sz="1100" dirty="0"/>
                        <a:t>36.7</a:t>
                      </a:r>
                    </a:p>
                  </a:txBody>
                  <a:tcPr marL="45720" marR="45720" anchor="ctr">
                    <a:solidFill>
                      <a:schemeClr val="bg1"/>
                    </a:solidFill>
                  </a:tcPr>
                </a:tc>
                <a:tc>
                  <a:txBody>
                    <a:bodyPr/>
                    <a:lstStyle/>
                    <a:p>
                      <a:pPr algn="ctr"/>
                      <a:r>
                        <a:rPr lang="en-US" sz="1100" dirty="0"/>
                        <a:t>38.4</a:t>
                      </a:r>
                    </a:p>
                  </a:txBody>
                  <a:tcPr marL="45720" marR="45720" anchor="ctr">
                    <a:solidFill>
                      <a:schemeClr val="bg1"/>
                    </a:solidFill>
                  </a:tcPr>
                </a:tc>
                <a:tc>
                  <a:txBody>
                    <a:bodyPr/>
                    <a:lstStyle/>
                    <a:p>
                      <a:endParaRPr lang="en-US" sz="1100" dirty="0"/>
                    </a:p>
                  </a:txBody>
                  <a:tcPr marL="45720" marR="45720" anchor="ctr">
                    <a:solidFill>
                      <a:schemeClr val="bg1"/>
                    </a:solidFill>
                  </a:tcPr>
                </a:tc>
                <a:tc>
                  <a:txBody>
                    <a:bodyPr/>
                    <a:lstStyle/>
                    <a:p>
                      <a:pPr algn="ctr">
                        <a:lnSpc>
                          <a:spcPct val="100000"/>
                        </a:lnSpc>
                      </a:pPr>
                      <a:r>
                        <a:rPr lang="en-US" sz="1100" dirty="0"/>
                        <a:t>0.93 (0.80‒1.08)</a:t>
                      </a:r>
                    </a:p>
                  </a:txBody>
                  <a:tcPr marL="45720" marR="45720" anchor="ctr">
                    <a:solidFill>
                      <a:schemeClr val="bg1"/>
                    </a:solidFill>
                  </a:tcPr>
                </a:tc>
                <a:tc vMerge="1">
                  <a:txBody>
                    <a:bodyPr/>
                    <a:lstStyle/>
                    <a:p>
                      <a:pPr algn="ctr">
                        <a:lnSpc>
                          <a:spcPct val="100000"/>
                        </a:lnSpc>
                      </a:pPr>
                      <a:endParaRPr lang="en-US" sz="1800"/>
                    </a:p>
                  </a:txBody>
                  <a:tcPr marL="45720" marR="45720"/>
                </a:tc>
                <a:extLst>
                  <a:ext uri="{0D108BD9-81ED-4DB2-BD59-A6C34878D82A}">
                    <a16:rowId xmlns:a16="http://schemas.microsoft.com/office/drawing/2014/main" val="150320416"/>
                  </a:ext>
                </a:extLst>
              </a:tr>
              <a:tr h="294868">
                <a:tc grid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t>HF hospitalization or all-cause death </a:t>
                      </a:r>
                    </a:p>
                  </a:txBody>
                  <a:tcPr marL="90000" marR="90000" anchor="ctr">
                    <a:solidFill>
                      <a:srgbClr val="E7E7E7"/>
                    </a:solidFill>
                  </a:tcPr>
                </a:tc>
                <a:tc hMerge="1">
                  <a:txBody>
                    <a:bodyPr/>
                    <a:lstStyle/>
                    <a:p>
                      <a:pPr algn="ctr"/>
                      <a:endParaRPr lang="en-GB" sz="1400"/>
                    </a:p>
                  </a:txBody>
                  <a:tcPr marL="45720" marR="45720"/>
                </a:tc>
                <a:tc hMerge="1">
                  <a:txBody>
                    <a:bodyPr/>
                    <a:lstStyle/>
                    <a:p>
                      <a:pPr algn="ctr"/>
                      <a:endParaRPr lang="en-US" sz="1200"/>
                    </a:p>
                  </a:txBody>
                  <a:tcPr marL="45720" marR="45720"/>
                </a:tc>
                <a:tc hMerge="1">
                  <a:txBody>
                    <a:bodyPr/>
                    <a:lstStyle/>
                    <a:p>
                      <a:pPr algn="ctr">
                        <a:lnSpc>
                          <a:spcPct val="100000"/>
                        </a:lnSpc>
                      </a:pPr>
                      <a:endParaRPr lang="en-US" sz="1200"/>
                    </a:p>
                  </a:txBody>
                  <a:tcPr marL="45720" marR="45720"/>
                </a:tc>
                <a:tc hMerge="1">
                  <a:txBody>
                    <a:bodyPr/>
                    <a:lstStyle/>
                    <a:p>
                      <a:endParaRPr lang="en-US"/>
                    </a:p>
                  </a:txBody>
                  <a:tcPr marL="45720" marR="45720"/>
                </a:tc>
                <a:tc hMerge="1">
                  <a:txBody>
                    <a:bodyPr/>
                    <a:lstStyle/>
                    <a:p>
                      <a:endParaRPr lang="en-US"/>
                    </a:p>
                  </a:txBody>
                  <a:tcPr marL="45720" marR="45720"/>
                </a:tc>
                <a:tc hMerge="1">
                  <a:txBody>
                    <a:bodyPr/>
                    <a:lstStyle/>
                    <a:p>
                      <a:pPr algn="ctr">
                        <a:lnSpc>
                          <a:spcPct val="100000"/>
                        </a:lnSpc>
                      </a:pPr>
                      <a:endParaRPr lang="en-US" sz="1200"/>
                    </a:p>
                  </a:txBody>
                  <a:tcPr marL="45720" marR="45720"/>
                </a:tc>
                <a:tc hMerge="1">
                  <a:txBody>
                    <a:bodyPr/>
                    <a:lstStyle/>
                    <a:p>
                      <a:pPr algn="ctr">
                        <a:lnSpc>
                          <a:spcPct val="100000"/>
                        </a:lnSpc>
                      </a:pPr>
                      <a:endParaRPr lang="en-US" sz="1200"/>
                    </a:p>
                  </a:txBody>
                  <a:tcPr marL="45720" marR="45720" anchor="ctr"/>
                </a:tc>
                <a:extLst>
                  <a:ext uri="{0D108BD9-81ED-4DB2-BD59-A6C34878D82A}">
                    <a16:rowId xmlns:a16="http://schemas.microsoft.com/office/drawing/2014/main" val="1749377783"/>
                  </a:ext>
                </a:extLst>
              </a:tr>
              <a:tr h="294868">
                <a:tc>
                  <a:txBody>
                    <a:bodyPr/>
                    <a:lstStyle/>
                    <a:p>
                      <a:pPr marL="180000" indent="0" algn="l">
                        <a:lnSpc>
                          <a:spcPct val="100000"/>
                        </a:lnSpc>
                      </a:pPr>
                      <a:r>
                        <a:rPr lang="en-US" sz="1100" b="0" dirty="0"/>
                        <a:t>eGFR ≤30</a:t>
                      </a:r>
                    </a:p>
                  </a:txBody>
                  <a:tcPr marL="90000" marR="90000" anchor="ctr">
                    <a:solidFill>
                      <a:schemeClr val="bg1"/>
                    </a:solidFill>
                  </a:tcPr>
                </a:tc>
                <a:tc>
                  <a:txBody>
                    <a:bodyPr/>
                    <a:lstStyle/>
                    <a:p>
                      <a:pPr algn="ctr"/>
                      <a:r>
                        <a:rPr lang="en-GB" sz="1100" b="0" dirty="0"/>
                        <a:t>50.3</a:t>
                      </a:r>
                    </a:p>
                  </a:txBody>
                  <a:tcPr marL="45720" marR="45720" anchor="ctr">
                    <a:solidFill>
                      <a:schemeClr val="bg1"/>
                    </a:solidFill>
                  </a:tcPr>
                </a:tc>
                <a:tc>
                  <a:txBody>
                    <a:bodyPr/>
                    <a:lstStyle/>
                    <a:p>
                      <a:pPr algn="ctr"/>
                      <a:r>
                        <a:rPr lang="en-US" sz="1100" dirty="0"/>
                        <a:t>52.2</a:t>
                      </a:r>
                    </a:p>
                  </a:txBody>
                  <a:tcPr marL="45720" marR="45720" anchor="ctr">
                    <a:solidFill>
                      <a:schemeClr val="bg1"/>
                    </a:solidFill>
                  </a:tcPr>
                </a:tc>
                <a:tc>
                  <a:txBody>
                    <a:bodyPr/>
                    <a:lstStyle/>
                    <a:p>
                      <a:pPr algn="ctr">
                        <a:lnSpc>
                          <a:spcPct val="100000"/>
                        </a:lnSpc>
                      </a:pPr>
                      <a:r>
                        <a:rPr lang="en-US" sz="1100" dirty="0"/>
                        <a:t>72.9</a:t>
                      </a:r>
                    </a:p>
                  </a:txBody>
                  <a:tcPr marL="45720" marR="45720" anchor="ctr">
                    <a:solidFill>
                      <a:schemeClr val="bg1"/>
                    </a:solidFill>
                  </a:tcPr>
                </a:tc>
                <a:tc>
                  <a:txBody>
                    <a:bodyPr/>
                    <a:lstStyle/>
                    <a:p>
                      <a:pPr algn="ctr"/>
                      <a:r>
                        <a:rPr lang="en-US" sz="1100" dirty="0"/>
                        <a:t>67.8</a:t>
                      </a:r>
                    </a:p>
                  </a:txBody>
                  <a:tcPr marL="45720" marR="45720" anchor="ctr">
                    <a:solidFill>
                      <a:schemeClr val="bg1"/>
                    </a:solidFill>
                  </a:tcPr>
                </a:tc>
                <a:tc>
                  <a:txBody>
                    <a:bodyPr/>
                    <a:lstStyle/>
                    <a:p>
                      <a:endParaRPr lang="en-US" sz="1100" dirty="0"/>
                    </a:p>
                  </a:txBody>
                  <a:tcPr marL="45720" marR="45720" anchor="ctr">
                    <a:solidFill>
                      <a:schemeClr val="bg1"/>
                    </a:solidFill>
                  </a:tcPr>
                </a:tc>
                <a:tc>
                  <a:txBody>
                    <a:bodyPr/>
                    <a:lstStyle/>
                    <a:p>
                      <a:pPr algn="ctr">
                        <a:lnSpc>
                          <a:spcPct val="100000"/>
                        </a:lnSpc>
                      </a:pPr>
                      <a:r>
                        <a:rPr lang="en-US" sz="1100" dirty="0"/>
                        <a:t>1.01 (0.80‒1.26)</a:t>
                      </a:r>
                    </a:p>
                  </a:txBody>
                  <a:tcPr marL="45720" marR="45720" anchor="ctr">
                    <a:solidFill>
                      <a:schemeClr val="bg1"/>
                    </a:solidFill>
                  </a:tcPr>
                </a:tc>
                <a:tc rowSpan="3">
                  <a:txBody>
                    <a:bodyPr/>
                    <a:lstStyle/>
                    <a:p>
                      <a:pPr algn="ctr">
                        <a:lnSpc>
                          <a:spcPct val="100000"/>
                        </a:lnSpc>
                      </a:pPr>
                      <a:r>
                        <a:rPr lang="en-US" sz="1100" dirty="0"/>
                        <a:t>0.22</a:t>
                      </a:r>
                    </a:p>
                  </a:txBody>
                  <a:tcPr marL="45720" marR="45720" anchor="ctr">
                    <a:solidFill>
                      <a:schemeClr val="bg1"/>
                    </a:solidFill>
                  </a:tcPr>
                </a:tc>
                <a:extLst>
                  <a:ext uri="{0D108BD9-81ED-4DB2-BD59-A6C34878D82A}">
                    <a16:rowId xmlns:a16="http://schemas.microsoft.com/office/drawing/2014/main" val="3691844760"/>
                  </a:ext>
                </a:extLst>
              </a:tr>
              <a:tr h="294868">
                <a:tc>
                  <a:txBody>
                    <a:bodyPr/>
                    <a:lstStyle/>
                    <a:p>
                      <a:pPr marL="180000" indent="0" algn="l">
                        <a:lnSpc>
                          <a:spcPct val="100000"/>
                        </a:lnSpc>
                      </a:pPr>
                      <a:r>
                        <a:rPr lang="en-US" sz="1100" b="0" dirty="0"/>
                        <a:t>eGFR &gt;30–≤60</a:t>
                      </a:r>
                    </a:p>
                  </a:txBody>
                  <a:tcPr marL="90000" marR="90000" anchor="ctr">
                    <a:solidFill>
                      <a:srgbClr val="E7E7E7"/>
                    </a:solidFill>
                  </a:tcPr>
                </a:tc>
                <a:tc>
                  <a:txBody>
                    <a:bodyPr/>
                    <a:lstStyle/>
                    <a:p>
                      <a:pPr algn="ctr"/>
                      <a:r>
                        <a:rPr lang="en-GB" sz="1100" b="0" dirty="0"/>
                        <a:t>35.1</a:t>
                      </a:r>
                    </a:p>
                  </a:txBody>
                  <a:tcPr marL="45720" marR="45720" anchor="ctr">
                    <a:solidFill>
                      <a:srgbClr val="E7E7E7"/>
                    </a:solidFill>
                  </a:tcPr>
                </a:tc>
                <a:tc>
                  <a:txBody>
                    <a:bodyPr/>
                    <a:lstStyle/>
                    <a:p>
                      <a:pPr algn="ctr"/>
                      <a:r>
                        <a:rPr lang="en-US" sz="1100" dirty="0"/>
                        <a:t>39.1</a:t>
                      </a:r>
                    </a:p>
                  </a:txBody>
                  <a:tcPr marL="45720" marR="45720" anchor="ctr">
                    <a:solidFill>
                      <a:srgbClr val="E7E7E7"/>
                    </a:solidFill>
                  </a:tcPr>
                </a:tc>
                <a:tc>
                  <a:txBody>
                    <a:bodyPr/>
                    <a:lstStyle/>
                    <a:p>
                      <a:pPr algn="ctr">
                        <a:lnSpc>
                          <a:spcPct val="100000"/>
                        </a:lnSpc>
                      </a:pPr>
                      <a:r>
                        <a:rPr lang="en-US" sz="1100" dirty="0"/>
                        <a:t>46.9</a:t>
                      </a:r>
                    </a:p>
                  </a:txBody>
                  <a:tcPr marL="45720" marR="45720" anchor="ctr">
                    <a:solidFill>
                      <a:srgbClr val="E7E7E7"/>
                    </a:solidFill>
                  </a:tcPr>
                </a:tc>
                <a:tc>
                  <a:txBody>
                    <a:bodyPr/>
                    <a:lstStyle/>
                    <a:p>
                      <a:pPr algn="ctr"/>
                      <a:r>
                        <a:rPr lang="en-US" sz="1100" dirty="0"/>
                        <a:t>54.2</a:t>
                      </a:r>
                    </a:p>
                  </a:txBody>
                  <a:tcPr marL="45720" marR="45720" anchor="ctr">
                    <a:solidFill>
                      <a:srgbClr val="E7E7E7"/>
                    </a:solidFill>
                  </a:tcPr>
                </a:tc>
                <a:tc>
                  <a:txBody>
                    <a:bodyPr/>
                    <a:lstStyle/>
                    <a:p>
                      <a:endParaRPr lang="en-US" sz="1100" dirty="0"/>
                    </a:p>
                  </a:txBody>
                  <a:tcPr marL="45720" marR="45720" anchor="ctr">
                    <a:solidFill>
                      <a:srgbClr val="E7E7E7"/>
                    </a:solidFill>
                  </a:tcPr>
                </a:tc>
                <a:tc>
                  <a:txBody>
                    <a:bodyPr/>
                    <a:lstStyle/>
                    <a:p>
                      <a:pPr algn="ctr">
                        <a:lnSpc>
                          <a:spcPct val="100000"/>
                        </a:lnSpc>
                      </a:pPr>
                      <a:r>
                        <a:rPr lang="en-US" sz="1100" dirty="0"/>
                        <a:t>0.83 (0.73‒0.95)</a:t>
                      </a:r>
                    </a:p>
                  </a:txBody>
                  <a:tcPr marL="45720" marR="45720" anchor="ctr">
                    <a:solidFill>
                      <a:srgbClr val="E7E7E7"/>
                    </a:solidFill>
                  </a:tcPr>
                </a:tc>
                <a:tc vMerge="1">
                  <a:txBody>
                    <a:bodyPr/>
                    <a:lstStyle/>
                    <a:p>
                      <a:pPr algn="ctr">
                        <a:lnSpc>
                          <a:spcPct val="100000"/>
                        </a:lnSpc>
                      </a:pPr>
                      <a:endParaRPr lang="en-US" sz="1800"/>
                    </a:p>
                  </a:txBody>
                  <a:tcPr marL="45720" marR="45720"/>
                </a:tc>
                <a:extLst>
                  <a:ext uri="{0D108BD9-81ED-4DB2-BD59-A6C34878D82A}">
                    <a16:rowId xmlns:a16="http://schemas.microsoft.com/office/drawing/2014/main" val="719252184"/>
                  </a:ext>
                </a:extLst>
              </a:tr>
              <a:tr h="294868">
                <a:tc>
                  <a:txBody>
                    <a:bodyPr/>
                    <a:lstStyle/>
                    <a:p>
                      <a:pPr marL="180000" indent="0" algn="l">
                        <a:lnSpc>
                          <a:spcPct val="100000"/>
                        </a:lnSpc>
                      </a:pPr>
                      <a:r>
                        <a:rPr lang="en-US" sz="1100" b="0" dirty="0"/>
                        <a:t>eGFR &gt;60</a:t>
                      </a:r>
                    </a:p>
                  </a:txBody>
                  <a:tcPr marL="90000" marR="90000" anchor="ctr">
                    <a:solidFill>
                      <a:schemeClr val="bg1"/>
                    </a:solidFill>
                  </a:tcPr>
                </a:tc>
                <a:tc>
                  <a:txBody>
                    <a:bodyPr/>
                    <a:lstStyle/>
                    <a:p>
                      <a:pPr algn="ctr"/>
                      <a:r>
                        <a:rPr lang="en-GB" sz="1100" b="0" dirty="0"/>
                        <a:t>26.6</a:t>
                      </a:r>
                    </a:p>
                  </a:txBody>
                  <a:tcPr marL="45720" marR="45720" anchor="ctr">
                    <a:solidFill>
                      <a:schemeClr val="bg1"/>
                    </a:solidFill>
                  </a:tcPr>
                </a:tc>
                <a:tc>
                  <a:txBody>
                    <a:bodyPr/>
                    <a:lstStyle/>
                    <a:p>
                      <a:pPr algn="ctr"/>
                      <a:r>
                        <a:rPr lang="en-US" sz="1100" dirty="0"/>
                        <a:t>29.6</a:t>
                      </a:r>
                    </a:p>
                  </a:txBody>
                  <a:tcPr marL="45720" marR="45720" anchor="ctr">
                    <a:solidFill>
                      <a:schemeClr val="bg1"/>
                    </a:solidFill>
                  </a:tcPr>
                </a:tc>
                <a:tc>
                  <a:txBody>
                    <a:bodyPr/>
                    <a:lstStyle/>
                    <a:p>
                      <a:pPr algn="ctr">
                        <a:lnSpc>
                          <a:spcPct val="100000"/>
                        </a:lnSpc>
                      </a:pPr>
                      <a:r>
                        <a:rPr lang="en-US" sz="1100" dirty="0"/>
                        <a:t>38.9</a:t>
                      </a:r>
                    </a:p>
                  </a:txBody>
                  <a:tcPr marL="45720" marR="45720" anchor="ctr">
                    <a:solidFill>
                      <a:schemeClr val="bg1"/>
                    </a:solidFill>
                  </a:tcPr>
                </a:tc>
                <a:tc>
                  <a:txBody>
                    <a:bodyPr/>
                    <a:lstStyle/>
                    <a:p>
                      <a:pPr algn="ctr"/>
                      <a:r>
                        <a:rPr lang="en-US" sz="1100" dirty="0"/>
                        <a:t>40.2</a:t>
                      </a:r>
                    </a:p>
                  </a:txBody>
                  <a:tcPr marL="45720" marR="45720" anchor="ctr">
                    <a:solidFill>
                      <a:schemeClr val="bg1"/>
                    </a:solidFill>
                  </a:tcPr>
                </a:tc>
                <a:tc>
                  <a:txBody>
                    <a:bodyPr/>
                    <a:lstStyle/>
                    <a:p>
                      <a:endParaRPr lang="en-US" sz="1100" dirty="0"/>
                    </a:p>
                  </a:txBody>
                  <a:tcPr marL="45720" marR="45720" anchor="ctr">
                    <a:solidFill>
                      <a:schemeClr val="bg1"/>
                    </a:solidFill>
                  </a:tcPr>
                </a:tc>
                <a:tc>
                  <a:txBody>
                    <a:bodyPr/>
                    <a:lstStyle/>
                    <a:p>
                      <a:pPr algn="ctr">
                        <a:lnSpc>
                          <a:spcPct val="100000"/>
                        </a:lnSpc>
                      </a:pPr>
                      <a:r>
                        <a:rPr lang="en-US" sz="1100" dirty="0"/>
                        <a:t>0.95 (0.83‒1.10)</a:t>
                      </a:r>
                    </a:p>
                  </a:txBody>
                  <a:tcPr marL="45720" marR="45720" anchor="ctr">
                    <a:solidFill>
                      <a:schemeClr val="bg1"/>
                    </a:solidFill>
                  </a:tcPr>
                </a:tc>
                <a:tc vMerge="1">
                  <a:txBody>
                    <a:bodyPr/>
                    <a:lstStyle/>
                    <a:p>
                      <a:pPr algn="ctr">
                        <a:lnSpc>
                          <a:spcPct val="100000"/>
                        </a:lnSpc>
                      </a:pPr>
                      <a:endParaRPr lang="en-US" sz="1800"/>
                    </a:p>
                  </a:txBody>
                  <a:tcPr marL="45720" marR="45720"/>
                </a:tc>
                <a:extLst>
                  <a:ext uri="{0D108BD9-81ED-4DB2-BD59-A6C34878D82A}">
                    <a16:rowId xmlns:a16="http://schemas.microsoft.com/office/drawing/2014/main" val="3128743898"/>
                  </a:ext>
                </a:extLst>
              </a:tr>
              <a:tr h="294868">
                <a:tc gridSpan="8">
                  <a:txBody>
                    <a:bodyPr/>
                    <a:lstStyle/>
                    <a:p>
                      <a:pPr marL="0" indent="0" algn="l">
                        <a:lnSpc>
                          <a:spcPct val="100000"/>
                        </a:lnSpc>
                      </a:pPr>
                      <a:r>
                        <a:rPr lang="en-US" sz="1100" b="0" dirty="0"/>
                        <a:t>CV death</a:t>
                      </a:r>
                    </a:p>
                  </a:txBody>
                  <a:tcPr marL="90000" marR="90000" anchor="ctr">
                    <a:solidFill>
                      <a:srgbClr val="E7E7E7"/>
                    </a:solidFill>
                  </a:tcPr>
                </a:tc>
                <a:tc hMerge="1">
                  <a:txBody>
                    <a:bodyPr/>
                    <a:lstStyle/>
                    <a:p>
                      <a:pPr algn="ctr"/>
                      <a:endParaRPr lang="en-GB" sz="1200"/>
                    </a:p>
                  </a:txBody>
                  <a:tcPr marL="45720" marR="45720"/>
                </a:tc>
                <a:tc hMerge="1">
                  <a:txBody>
                    <a:bodyPr/>
                    <a:lstStyle/>
                    <a:p>
                      <a:pPr algn="ctr"/>
                      <a:endParaRPr lang="en-US" sz="1200"/>
                    </a:p>
                  </a:txBody>
                  <a:tcPr marL="45720" marR="45720"/>
                </a:tc>
                <a:tc hMerge="1">
                  <a:txBody>
                    <a:bodyPr/>
                    <a:lstStyle/>
                    <a:p>
                      <a:pPr algn="ctr">
                        <a:lnSpc>
                          <a:spcPct val="100000"/>
                        </a:lnSpc>
                      </a:pPr>
                      <a:endParaRPr lang="en-US" sz="1200"/>
                    </a:p>
                  </a:txBody>
                  <a:tcPr marL="45720" marR="45720"/>
                </a:tc>
                <a:tc hMerge="1">
                  <a:txBody>
                    <a:bodyPr/>
                    <a:lstStyle/>
                    <a:p>
                      <a:endParaRPr lang="en-US"/>
                    </a:p>
                  </a:txBody>
                  <a:tcPr marL="45720" marR="45720"/>
                </a:tc>
                <a:tc hMerge="1">
                  <a:txBody>
                    <a:bodyPr/>
                    <a:lstStyle/>
                    <a:p>
                      <a:endParaRPr lang="en-US"/>
                    </a:p>
                  </a:txBody>
                  <a:tcPr marL="45720" marR="45720"/>
                </a:tc>
                <a:tc hMerge="1">
                  <a:txBody>
                    <a:bodyPr/>
                    <a:lstStyle/>
                    <a:p>
                      <a:pPr algn="ctr">
                        <a:lnSpc>
                          <a:spcPct val="100000"/>
                        </a:lnSpc>
                      </a:pPr>
                      <a:endParaRPr lang="en-US" sz="1200"/>
                    </a:p>
                  </a:txBody>
                  <a:tcPr marL="45720" marR="45720"/>
                </a:tc>
                <a:tc hMerge="1">
                  <a:txBody>
                    <a:bodyPr/>
                    <a:lstStyle/>
                    <a:p>
                      <a:pPr algn="ctr">
                        <a:lnSpc>
                          <a:spcPct val="100000"/>
                        </a:lnSpc>
                      </a:pPr>
                      <a:endParaRPr lang="en-US" sz="1200"/>
                    </a:p>
                  </a:txBody>
                  <a:tcPr marL="45720" marR="45720" anchor="ctr"/>
                </a:tc>
                <a:extLst>
                  <a:ext uri="{0D108BD9-81ED-4DB2-BD59-A6C34878D82A}">
                    <a16:rowId xmlns:a16="http://schemas.microsoft.com/office/drawing/2014/main" val="2942133218"/>
                  </a:ext>
                </a:extLst>
              </a:tr>
              <a:tr h="294868">
                <a:tc>
                  <a:txBody>
                    <a:bodyPr/>
                    <a:lstStyle/>
                    <a:p>
                      <a:pPr marL="180000" indent="0" algn="l">
                        <a:lnSpc>
                          <a:spcPct val="100000"/>
                        </a:lnSpc>
                      </a:pPr>
                      <a:r>
                        <a:rPr lang="en-US" sz="1100" b="0" dirty="0"/>
                        <a:t>eGFR ≤30</a:t>
                      </a:r>
                    </a:p>
                  </a:txBody>
                  <a:tcPr marL="90000" marR="90000" anchor="ctr">
                    <a:solidFill>
                      <a:schemeClr val="bg1"/>
                    </a:solidFill>
                  </a:tcPr>
                </a:tc>
                <a:tc>
                  <a:txBody>
                    <a:bodyPr/>
                    <a:lstStyle/>
                    <a:p>
                      <a:pPr algn="ctr"/>
                      <a:r>
                        <a:rPr lang="en-GB" sz="1100" b="0" dirty="0"/>
                        <a:t>17.9</a:t>
                      </a:r>
                    </a:p>
                  </a:txBody>
                  <a:tcPr marL="45720" marR="45720" anchor="ctr">
                    <a:solidFill>
                      <a:schemeClr val="bg1"/>
                    </a:solidFill>
                  </a:tcPr>
                </a:tc>
                <a:tc>
                  <a:txBody>
                    <a:bodyPr/>
                    <a:lstStyle/>
                    <a:p>
                      <a:pPr algn="ctr"/>
                      <a:r>
                        <a:rPr lang="en-US" sz="1100" dirty="0"/>
                        <a:t>23.6</a:t>
                      </a:r>
                    </a:p>
                  </a:txBody>
                  <a:tcPr marL="45720" marR="45720" anchor="ctr">
                    <a:solidFill>
                      <a:schemeClr val="bg1"/>
                    </a:solidFill>
                  </a:tcPr>
                </a:tc>
                <a:tc>
                  <a:txBody>
                    <a:bodyPr/>
                    <a:lstStyle/>
                    <a:p>
                      <a:pPr algn="ctr">
                        <a:lnSpc>
                          <a:spcPct val="100000"/>
                        </a:lnSpc>
                      </a:pPr>
                      <a:r>
                        <a:rPr lang="en-US" sz="1100" dirty="0"/>
                        <a:t>37.6</a:t>
                      </a:r>
                    </a:p>
                  </a:txBody>
                  <a:tcPr marL="45720" marR="45720" anchor="ctr">
                    <a:solidFill>
                      <a:schemeClr val="bg1"/>
                    </a:solidFill>
                  </a:tcPr>
                </a:tc>
                <a:tc>
                  <a:txBody>
                    <a:bodyPr/>
                    <a:lstStyle/>
                    <a:p>
                      <a:pPr algn="ctr"/>
                      <a:r>
                        <a:rPr lang="en-US" sz="1100" dirty="0"/>
                        <a:t>36.3</a:t>
                      </a:r>
                    </a:p>
                  </a:txBody>
                  <a:tcPr marL="45720" marR="45720" anchor="ctr">
                    <a:solidFill>
                      <a:schemeClr val="bg1"/>
                    </a:solidFill>
                  </a:tcPr>
                </a:tc>
                <a:tc>
                  <a:txBody>
                    <a:bodyPr/>
                    <a:lstStyle/>
                    <a:p>
                      <a:endParaRPr lang="en-US" sz="1100" dirty="0"/>
                    </a:p>
                  </a:txBody>
                  <a:tcPr marL="45720" marR="45720" anchor="ctr">
                    <a:solidFill>
                      <a:schemeClr val="bg1"/>
                    </a:solidFill>
                  </a:tcPr>
                </a:tc>
                <a:tc>
                  <a:txBody>
                    <a:bodyPr/>
                    <a:lstStyle/>
                    <a:p>
                      <a:pPr algn="ctr">
                        <a:lnSpc>
                          <a:spcPct val="100000"/>
                        </a:lnSpc>
                      </a:pPr>
                      <a:r>
                        <a:rPr lang="en-US" sz="1100" dirty="0"/>
                        <a:t>0.90 (0.64‒1.26)</a:t>
                      </a:r>
                    </a:p>
                  </a:txBody>
                  <a:tcPr marL="45720" marR="45720" anchor="ctr">
                    <a:solidFill>
                      <a:schemeClr val="bg1"/>
                    </a:solidFill>
                  </a:tcPr>
                </a:tc>
                <a:tc rowSpan="3">
                  <a:txBody>
                    <a:bodyPr/>
                    <a:lstStyle/>
                    <a:p>
                      <a:pPr algn="ctr">
                        <a:lnSpc>
                          <a:spcPct val="100000"/>
                        </a:lnSpc>
                      </a:pPr>
                      <a:r>
                        <a:rPr lang="en-US" sz="1100" dirty="0"/>
                        <a:t>0.67</a:t>
                      </a:r>
                    </a:p>
                  </a:txBody>
                  <a:tcPr marL="45720" marR="45720" anchor="ctr">
                    <a:solidFill>
                      <a:schemeClr val="bg1"/>
                    </a:solidFill>
                  </a:tcPr>
                </a:tc>
                <a:extLst>
                  <a:ext uri="{0D108BD9-81ED-4DB2-BD59-A6C34878D82A}">
                    <a16:rowId xmlns:a16="http://schemas.microsoft.com/office/drawing/2014/main" val="2616801993"/>
                  </a:ext>
                </a:extLst>
              </a:tr>
              <a:tr h="294868">
                <a:tc>
                  <a:txBody>
                    <a:bodyPr/>
                    <a:lstStyle/>
                    <a:p>
                      <a:pPr marL="180000" indent="0" algn="l">
                        <a:lnSpc>
                          <a:spcPct val="100000"/>
                        </a:lnSpc>
                      </a:pPr>
                      <a:r>
                        <a:rPr lang="en-US" sz="1100" b="0" dirty="0"/>
                        <a:t>eGFR &gt;30–≤60</a:t>
                      </a:r>
                    </a:p>
                  </a:txBody>
                  <a:tcPr marL="90000" marR="90000" anchor="ctr">
                    <a:solidFill>
                      <a:srgbClr val="E7E7E7"/>
                    </a:solidFill>
                  </a:tcPr>
                </a:tc>
                <a:tc>
                  <a:txBody>
                    <a:bodyPr/>
                    <a:lstStyle/>
                    <a:p>
                      <a:pPr algn="ctr"/>
                      <a:r>
                        <a:rPr lang="en-GB" sz="1100" b="0" dirty="0"/>
                        <a:t>13.1</a:t>
                      </a:r>
                    </a:p>
                  </a:txBody>
                  <a:tcPr marL="45720" marR="45720" anchor="ctr">
                    <a:solidFill>
                      <a:srgbClr val="E7E7E7"/>
                    </a:solidFill>
                  </a:tcPr>
                </a:tc>
                <a:tc>
                  <a:txBody>
                    <a:bodyPr/>
                    <a:lstStyle/>
                    <a:p>
                      <a:pPr algn="ctr"/>
                      <a:r>
                        <a:rPr lang="en-US" sz="1100" dirty="0"/>
                        <a:t>14.2</a:t>
                      </a:r>
                    </a:p>
                  </a:txBody>
                  <a:tcPr marL="45720" marR="45720" anchor="ctr">
                    <a:solidFill>
                      <a:srgbClr val="E7E7E7"/>
                    </a:solidFill>
                  </a:tcPr>
                </a:tc>
                <a:tc>
                  <a:txBody>
                    <a:bodyPr/>
                    <a:lstStyle/>
                    <a:p>
                      <a:pPr algn="ctr">
                        <a:lnSpc>
                          <a:spcPct val="100000"/>
                        </a:lnSpc>
                      </a:pPr>
                      <a:r>
                        <a:rPr lang="en-US" sz="1100" dirty="0"/>
                        <a:t>23.1</a:t>
                      </a:r>
                    </a:p>
                  </a:txBody>
                  <a:tcPr marL="45720" marR="45720" anchor="ctr">
                    <a:solidFill>
                      <a:srgbClr val="E7E7E7"/>
                    </a:solidFill>
                  </a:tcPr>
                </a:tc>
                <a:tc>
                  <a:txBody>
                    <a:bodyPr/>
                    <a:lstStyle/>
                    <a:p>
                      <a:pPr algn="ctr"/>
                      <a:r>
                        <a:rPr lang="en-US" sz="1100" dirty="0"/>
                        <a:t>25.8</a:t>
                      </a:r>
                    </a:p>
                  </a:txBody>
                  <a:tcPr marL="45720" marR="45720" anchor="ctr">
                    <a:solidFill>
                      <a:srgbClr val="E7E7E7"/>
                    </a:solidFill>
                  </a:tcPr>
                </a:tc>
                <a:tc>
                  <a:txBody>
                    <a:bodyPr/>
                    <a:lstStyle/>
                    <a:p>
                      <a:endParaRPr lang="en-US" sz="1100" dirty="0"/>
                    </a:p>
                  </a:txBody>
                  <a:tcPr marL="45720" marR="45720" anchor="ctr">
                    <a:solidFill>
                      <a:srgbClr val="E7E7E7"/>
                    </a:solidFill>
                  </a:tcPr>
                </a:tc>
                <a:tc>
                  <a:txBody>
                    <a:bodyPr/>
                    <a:lstStyle/>
                    <a:p>
                      <a:pPr algn="ctr">
                        <a:lnSpc>
                          <a:spcPct val="100000"/>
                        </a:lnSpc>
                      </a:pPr>
                      <a:r>
                        <a:rPr lang="en-US" sz="1100" dirty="0"/>
                        <a:t>0.87 (0.71‒1.06)</a:t>
                      </a:r>
                    </a:p>
                  </a:txBody>
                  <a:tcPr marL="45720" marR="45720" anchor="ctr">
                    <a:solidFill>
                      <a:srgbClr val="E7E7E7"/>
                    </a:solidFill>
                  </a:tcPr>
                </a:tc>
                <a:tc vMerge="1">
                  <a:txBody>
                    <a:bodyPr/>
                    <a:lstStyle/>
                    <a:p>
                      <a:pPr algn="ctr">
                        <a:lnSpc>
                          <a:spcPct val="100000"/>
                        </a:lnSpc>
                      </a:pPr>
                      <a:endParaRPr lang="en-US" sz="1800"/>
                    </a:p>
                  </a:txBody>
                  <a:tcPr marL="45720" marR="45720"/>
                </a:tc>
                <a:extLst>
                  <a:ext uri="{0D108BD9-81ED-4DB2-BD59-A6C34878D82A}">
                    <a16:rowId xmlns:a16="http://schemas.microsoft.com/office/drawing/2014/main" val="255944710"/>
                  </a:ext>
                </a:extLst>
              </a:tr>
              <a:tr h="294868">
                <a:tc>
                  <a:txBody>
                    <a:bodyPr/>
                    <a:lstStyle/>
                    <a:p>
                      <a:pPr marL="180000" indent="0" algn="l">
                        <a:lnSpc>
                          <a:spcPct val="100000"/>
                        </a:lnSpc>
                      </a:pPr>
                      <a:r>
                        <a:rPr lang="en-US" sz="1100" dirty="0"/>
                        <a:t>eGFR &gt;60</a:t>
                      </a:r>
                      <a:endParaRPr lang="en-US" sz="1100" b="0" dirty="0"/>
                    </a:p>
                  </a:txBody>
                  <a:tcPr marL="90000" marR="90000" anchor="ctr">
                    <a:solidFill>
                      <a:schemeClr val="bg1"/>
                    </a:solidFill>
                  </a:tcPr>
                </a:tc>
                <a:tc>
                  <a:txBody>
                    <a:bodyPr/>
                    <a:lstStyle/>
                    <a:p>
                      <a:pPr algn="ctr"/>
                      <a:r>
                        <a:rPr lang="en-GB" sz="1100" dirty="0"/>
                        <a:t>10.5</a:t>
                      </a:r>
                    </a:p>
                  </a:txBody>
                  <a:tcPr marL="45720" marR="45720" anchor="ctr">
                    <a:solidFill>
                      <a:schemeClr val="bg1"/>
                    </a:solidFill>
                  </a:tcPr>
                </a:tc>
                <a:tc>
                  <a:txBody>
                    <a:bodyPr/>
                    <a:lstStyle/>
                    <a:p>
                      <a:pPr algn="ctr"/>
                      <a:r>
                        <a:rPr lang="en-US" sz="1100" dirty="0"/>
                        <a:t>10.7</a:t>
                      </a:r>
                    </a:p>
                  </a:txBody>
                  <a:tcPr marL="45720" marR="45720" anchor="ctr">
                    <a:solidFill>
                      <a:schemeClr val="bg1"/>
                    </a:solidFill>
                  </a:tcPr>
                </a:tc>
                <a:tc>
                  <a:txBody>
                    <a:bodyPr/>
                    <a:lstStyle/>
                    <a:p>
                      <a:pPr algn="ctr">
                        <a:lnSpc>
                          <a:spcPct val="100000"/>
                        </a:lnSpc>
                      </a:pPr>
                      <a:r>
                        <a:rPr lang="en-US" sz="1100" dirty="0"/>
                        <a:t>17.0</a:t>
                      </a:r>
                    </a:p>
                  </a:txBody>
                  <a:tcPr marL="45720" marR="45720" anchor="ctr">
                    <a:solidFill>
                      <a:schemeClr val="bg1"/>
                    </a:solidFill>
                  </a:tcPr>
                </a:tc>
                <a:tc>
                  <a:txBody>
                    <a:bodyPr/>
                    <a:lstStyle/>
                    <a:p>
                      <a:pPr algn="ctr"/>
                      <a:r>
                        <a:rPr lang="en-US" sz="1100" dirty="0"/>
                        <a:t>18.7</a:t>
                      </a:r>
                    </a:p>
                  </a:txBody>
                  <a:tcPr marL="45720" marR="45720" anchor="ctr">
                    <a:solidFill>
                      <a:schemeClr val="bg1"/>
                    </a:solidFill>
                  </a:tcPr>
                </a:tc>
                <a:tc>
                  <a:txBody>
                    <a:bodyPr/>
                    <a:lstStyle/>
                    <a:p>
                      <a:endParaRPr lang="en-US" sz="1100" dirty="0"/>
                    </a:p>
                  </a:txBody>
                  <a:tcPr marL="45720" marR="45720" anchor="ctr">
                    <a:solidFill>
                      <a:schemeClr val="bg1"/>
                    </a:solidFill>
                  </a:tcPr>
                </a:tc>
                <a:tc>
                  <a:txBody>
                    <a:bodyPr/>
                    <a:lstStyle/>
                    <a:p>
                      <a:pPr algn="ctr">
                        <a:lnSpc>
                          <a:spcPct val="100000"/>
                        </a:lnSpc>
                      </a:pPr>
                      <a:r>
                        <a:rPr lang="en-US" sz="1100" dirty="0"/>
                        <a:t>0.99 (0.80‒1.24)</a:t>
                      </a:r>
                    </a:p>
                  </a:txBody>
                  <a:tcPr marL="45720" marR="45720" anchor="ctr">
                    <a:solidFill>
                      <a:schemeClr val="bg1"/>
                    </a:solidFill>
                  </a:tcPr>
                </a:tc>
                <a:tc vMerge="1">
                  <a:txBody>
                    <a:bodyPr/>
                    <a:lstStyle/>
                    <a:p>
                      <a:pPr algn="ctr">
                        <a:lnSpc>
                          <a:spcPct val="100000"/>
                        </a:lnSpc>
                      </a:pPr>
                      <a:endParaRPr lang="en-US" sz="1800"/>
                    </a:p>
                  </a:txBody>
                  <a:tcPr marL="45720" marR="45720"/>
                </a:tc>
                <a:extLst>
                  <a:ext uri="{0D108BD9-81ED-4DB2-BD59-A6C34878D82A}">
                    <a16:rowId xmlns:a16="http://schemas.microsoft.com/office/drawing/2014/main" val="3150342630"/>
                  </a:ext>
                </a:extLst>
              </a:tr>
            </a:tbl>
          </a:graphicData>
        </a:graphic>
      </p:graphicFrame>
      <p:sp>
        <p:nvSpPr>
          <p:cNvPr id="3" name="Title 2">
            <a:extLst>
              <a:ext uri="{FF2B5EF4-FFF2-40B4-BE49-F238E27FC236}">
                <a16:creationId xmlns:a16="http://schemas.microsoft.com/office/drawing/2014/main" id="{D640124A-9DC4-45BC-ABA8-250870AB3585}"/>
              </a:ext>
            </a:extLst>
          </p:cNvPr>
          <p:cNvSpPr>
            <a:spLocks noGrp="1"/>
          </p:cNvSpPr>
          <p:nvPr>
            <p:ph type="title"/>
          </p:nvPr>
        </p:nvSpPr>
        <p:spPr/>
        <p:txBody>
          <a:bodyPr/>
          <a:lstStyle/>
          <a:p>
            <a:r>
              <a:rPr lang="en-GB" dirty="0"/>
              <a:t>In VICTORIA, </a:t>
            </a:r>
            <a:r>
              <a:rPr lang="en-GB" dirty="0" err="1"/>
              <a:t>vericiguat</a:t>
            </a:r>
            <a:r>
              <a:rPr lang="en-GB" dirty="0"/>
              <a:t> provided benefit in patients across eGFR categories*</a:t>
            </a:r>
            <a:r>
              <a:rPr lang="en-GB" baseline="30000" dirty="0"/>
              <a:t>1</a:t>
            </a:r>
          </a:p>
        </p:txBody>
      </p:sp>
      <p:grpSp>
        <p:nvGrpSpPr>
          <p:cNvPr id="10" name="Group 9">
            <a:extLst>
              <a:ext uri="{FF2B5EF4-FFF2-40B4-BE49-F238E27FC236}">
                <a16:creationId xmlns:a16="http://schemas.microsoft.com/office/drawing/2014/main" id="{55315F0A-81D8-412E-9E7D-8494C221F290}"/>
              </a:ext>
            </a:extLst>
          </p:cNvPr>
          <p:cNvGrpSpPr/>
          <p:nvPr/>
        </p:nvGrpSpPr>
        <p:grpSpPr>
          <a:xfrm>
            <a:off x="5420879" y="1989145"/>
            <a:ext cx="3906855" cy="4500000"/>
            <a:chOff x="5420879" y="2093920"/>
            <a:chExt cx="3906855" cy="4500000"/>
          </a:xfrm>
        </p:grpSpPr>
        <p:graphicFrame>
          <p:nvGraphicFramePr>
            <p:cNvPr id="35" name="Chart 34">
              <a:extLst>
                <a:ext uri="{FF2B5EF4-FFF2-40B4-BE49-F238E27FC236}">
                  <a16:creationId xmlns:a16="http://schemas.microsoft.com/office/drawing/2014/main" id="{3D944E50-1E83-4FD0-9B4B-81DC91B80809}"/>
                </a:ext>
              </a:extLst>
            </p:cNvPr>
            <p:cNvGraphicFramePr/>
            <p:nvPr/>
          </p:nvGraphicFramePr>
          <p:xfrm>
            <a:off x="6251427" y="2093920"/>
            <a:ext cx="2339105" cy="4500000"/>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35">
              <a:extLst>
                <a:ext uri="{FF2B5EF4-FFF2-40B4-BE49-F238E27FC236}">
                  <a16:creationId xmlns:a16="http://schemas.microsoft.com/office/drawing/2014/main" id="{274FCC00-F9B9-47AD-B567-FA5577221A9C}"/>
                </a:ext>
              </a:extLst>
            </p:cNvPr>
            <p:cNvSpPr txBox="1"/>
            <p:nvPr/>
          </p:nvSpPr>
          <p:spPr>
            <a:xfrm>
              <a:off x="5420879" y="5899258"/>
              <a:ext cx="1280361" cy="17425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S PGothic" charset="0"/>
                  <a:cs typeface="+mn-cs"/>
                </a:rPr>
                <a:t>Vericiguat</a:t>
              </a:r>
            </a:p>
          </p:txBody>
        </p:sp>
        <p:sp>
          <p:nvSpPr>
            <p:cNvPr id="37" name="TextBox 36">
              <a:extLst>
                <a:ext uri="{FF2B5EF4-FFF2-40B4-BE49-F238E27FC236}">
                  <a16:creationId xmlns:a16="http://schemas.microsoft.com/office/drawing/2014/main" id="{B7514F9D-F439-4214-BA13-7D8196552D68}"/>
                </a:ext>
              </a:extLst>
            </p:cNvPr>
            <p:cNvSpPr txBox="1"/>
            <p:nvPr/>
          </p:nvSpPr>
          <p:spPr>
            <a:xfrm>
              <a:off x="7054147" y="5899258"/>
              <a:ext cx="894436" cy="17425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S PGothic" charset="0"/>
                  <a:cs typeface="+mn-cs"/>
                </a:rPr>
                <a:t>Favors</a:t>
              </a:r>
            </a:p>
          </p:txBody>
        </p:sp>
        <p:sp>
          <p:nvSpPr>
            <p:cNvPr id="38" name="TextBox 37">
              <a:extLst>
                <a:ext uri="{FF2B5EF4-FFF2-40B4-BE49-F238E27FC236}">
                  <a16:creationId xmlns:a16="http://schemas.microsoft.com/office/drawing/2014/main" id="{989F0248-A294-4E91-BCFD-60F785778C0D}"/>
                </a:ext>
              </a:extLst>
            </p:cNvPr>
            <p:cNvSpPr txBox="1"/>
            <p:nvPr/>
          </p:nvSpPr>
          <p:spPr>
            <a:xfrm>
              <a:off x="8282131" y="5899258"/>
              <a:ext cx="1045603" cy="17425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S PGothic" charset="0"/>
                  <a:cs typeface="+mn-cs"/>
                </a:rPr>
                <a:t>Placebo</a:t>
              </a:r>
            </a:p>
          </p:txBody>
        </p:sp>
        <p:cxnSp>
          <p:nvCxnSpPr>
            <p:cNvPr id="39" name="Straight Arrow Connector 38">
              <a:extLst>
                <a:ext uri="{FF2B5EF4-FFF2-40B4-BE49-F238E27FC236}">
                  <a16:creationId xmlns:a16="http://schemas.microsoft.com/office/drawing/2014/main" id="{C945AF8E-06EB-423D-9E2F-68B448EF7BA8}"/>
                </a:ext>
              </a:extLst>
            </p:cNvPr>
            <p:cNvCxnSpPr>
              <a:cxnSpLocks/>
            </p:cNvCxnSpPr>
            <p:nvPr/>
          </p:nvCxnSpPr>
          <p:spPr>
            <a:xfrm>
              <a:off x="7948583" y="5986388"/>
              <a:ext cx="261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B2FADB49-6E5D-4FA3-8A7E-46214F18EAA4}"/>
                </a:ext>
              </a:extLst>
            </p:cNvPr>
            <p:cNvCxnSpPr>
              <a:cxnSpLocks/>
            </p:cNvCxnSpPr>
            <p:nvPr/>
          </p:nvCxnSpPr>
          <p:spPr>
            <a:xfrm flipH="1">
              <a:off x="6772888" y="5986388"/>
              <a:ext cx="28125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a:extLst>
              <a:ext uri="{FF2B5EF4-FFF2-40B4-BE49-F238E27FC236}">
                <a16:creationId xmlns:a16="http://schemas.microsoft.com/office/drawing/2014/main" id="{A70FD337-06D9-4E09-B261-00A75A8C978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11ACD8B5-D0D9-40C1-93E5-9D97B1CF272D}"/>
              </a:ext>
            </a:extLst>
          </p:cNvPr>
          <p:cNvSpPr>
            <a:spLocks noGrp="1"/>
          </p:cNvSpPr>
          <p:nvPr>
            <p:ph type="ftr" sz="quarter" idx="16"/>
          </p:nvPr>
        </p:nvSpPr>
        <p:spPr>
          <a:xfrm>
            <a:off x="600073" y="6029343"/>
            <a:ext cx="992505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Vericiguat=2,474; placebo=2,482.</a:t>
            </a:r>
            <a:br>
              <a:rPr kumimoji="0" lang="en-GB" sz="800" b="0" i="0" u="none" strike="noStrike" kern="1200" cap="none" spc="0" normalizeH="0" baseline="0" noProof="0" dirty="0">
                <a:ln>
                  <a:noFill/>
                </a:ln>
                <a:solidFill>
                  <a:srgbClr val="000000"/>
                </a:solidFill>
                <a:effectLst/>
                <a:uLnTx/>
                <a:uFillTx/>
                <a:latin typeface="Arial"/>
                <a:ea typeface="+mn-ea"/>
                <a:cs typeface="+mn-cs"/>
              </a:rPr>
            </a:br>
            <a:r>
              <a:rPr kumimoji="0" lang="en-GB" sz="800" b="0" i="0" u="none" strike="noStrike" kern="1200" cap="none" spc="0" normalizeH="0" baseline="0" noProof="0" dirty="0">
                <a:ln>
                  <a:noFill/>
                </a:ln>
                <a:solidFill>
                  <a:srgbClr val="000000"/>
                </a:solidFill>
                <a:effectLst/>
                <a:uLnTx/>
                <a:uFillTx/>
                <a:latin typeface="Arial"/>
                <a:ea typeface="+mn-ea"/>
                <a:cs typeface="+mn-cs"/>
              </a:rPr>
              <a:t>* Treatment with vericiguat is not recommended in patients with eGFR &lt;15 ml/min/1.73 m</a:t>
            </a:r>
            <a:r>
              <a:rPr kumimoji="0" lang="en-GB" sz="800" b="0" i="0" u="none" strike="noStrike" kern="1200" cap="none" spc="0" normalizeH="0" baseline="30000" noProof="0" dirty="0">
                <a:ln>
                  <a:noFill/>
                </a:ln>
                <a:solidFill>
                  <a:srgbClr val="000000"/>
                </a:solidFill>
                <a:effectLst/>
                <a:uLnTx/>
                <a:uFillTx/>
                <a:latin typeface="Arial"/>
                <a:ea typeface="+mn-ea"/>
                <a:cs typeface="+mn-cs"/>
              </a:rPr>
              <a:t>2</a:t>
            </a:r>
            <a:r>
              <a:rPr kumimoji="0" lang="en-GB" sz="800" b="0" i="0" u="none" strike="noStrike" kern="1200" cap="none" spc="0" normalizeH="0" baseline="0" noProof="0" dirty="0">
                <a:ln>
                  <a:noFill/>
                </a:ln>
                <a:solidFill>
                  <a:srgbClr val="000000"/>
                </a:solidFill>
                <a:effectLst/>
                <a:uLnTx/>
                <a:uFillTx/>
                <a:latin typeface="Arial"/>
                <a:ea typeface="+mn-ea"/>
                <a:cs typeface="+mn-cs"/>
              </a:rPr>
              <a:t> at treatment initiation</a:t>
            </a:r>
            <a:br>
              <a:rPr kumimoji="0" lang="en-GB" sz="800" b="0" i="0" u="none" strike="noStrike" kern="1200" cap="none" spc="0" normalizeH="0" baseline="0" noProof="0" dirty="0">
                <a:ln>
                  <a:noFill/>
                </a:ln>
                <a:solidFill>
                  <a:srgbClr val="000000"/>
                </a:solidFill>
                <a:effectLst/>
                <a:uLnTx/>
                <a:uFillTx/>
                <a:latin typeface="Arial"/>
                <a:ea typeface="+mn-ea"/>
                <a:cs typeface="+mn-cs"/>
              </a:rPr>
            </a:br>
            <a:r>
              <a:rPr kumimoji="0" lang="en-GB" sz="800" b="0" i="0" u="none" strike="noStrike" kern="1200" cap="none" spc="0" normalizeH="0" baseline="0" noProof="0" dirty="0">
                <a:ln>
                  <a:noFill/>
                </a:ln>
                <a:solidFill>
                  <a:srgbClr val="000000"/>
                </a:solidFill>
                <a:effectLst/>
                <a:uLnTx/>
                <a:uFillTx/>
                <a:latin typeface="Arial"/>
                <a:ea typeface="+mn-ea"/>
                <a:cs typeface="+mn-cs"/>
              </a:rPr>
              <a:t>or on dialysis. Please refer to the Summary of Product Characteristics for further information.</a:t>
            </a:r>
            <a:r>
              <a:rPr kumimoji="0" lang="en-GB" sz="800" b="0" i="0" u="none" strike="noStrike" kern="1200" cap="none" spc="0" normalizeH="0" baseline="30000" noProof="0" dirty="0">
                <a:ln>
                  <a:noFill/>
                </a:ln>
                <a:solidFill>
                  <a:srgbClr val="000000"/>
                </a:solidFill>
                <a:effectLst/>
                <a:uLnTx/>
                <a:uFillTx/>
                <a:latin typeface="Arial"/>
                <a:ea typeface="+mn-ea"/>
                <a:cs typeface="+mn-cs"/>
              </a:rPr>
              <a:t>2 </a:t>
            </a:r>
            <a:br>
              <a:rPr kumimoji="0" lang="en-GB" sz="800" b="0" i="0" u="none" strike="noStrike" kern="1200" cap="none" spc="0" normalizeH="0" baseline="30000" noProof="0" dirty="0">
                <a:ln>
                  <a:noFill/>
                </a:ln>
                <a:solidFill>
                  <a:srgbClr val="000000"/>
                </a:solidFill>
                <a:effectLst/>
                <a:uLnTx/>
                <a:uFillTx/>
                <a:latin typeface="Arial"/>
                <a:ea typeface="+mn-ea"/>
                <a:cs typeface="+mn-cs"/>
              </a:rPr>
            </a:br>
            <a:r>
              <a:rPr kumimoji="0" lang="en-GB" sz="800" b="0" i="0" u="none" strike="noStrike" kern="1200" cap="none" spc="0" normalizeH="0" baseline="0" noProof="0" dirty="0">
                <a:ln>
                  <a:noFill/>
                </a:ln>
                <a:solidFill>
                  <a:srgbClr val="000000"/>
                </a:solidFill>
                <a:effectLst/>
                <a:uLnTx/>
                <a:uFillTx/>
                <a:latin typeface="Arial"/>
                <a:ea typeface="+mn-ea"/>
                <a:cs typeface="+mn-cs"/>
              </a:rPr>
              <a:t>CI, confidence interval; CV, cardiovascular; eGFR, estimated glomerular filtration rate; HF, heart fail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References: 1. </a:t>
            </a:r>
            <a:r>
              <a:rPr kumimoji="0" lang="en-GB" sz="800" b="0" i="0" u="none" strike="noStrike" kern="1200" cap="none" spc="0" normalizeH="0" baseline="0" noProof="0" dirty="0" err="1">
                <a:ln>
                  <a:noFill/>
                </a:ln>
                <a:solidFill>
                  <a:srgbClr val="000000"/>
                </a:solidFill>
                <a:effectLst/>
                <a:uLnTx/>
                <a:uFillTx/>
                <a:latin typeface="Arial"/>
                <a:ea typeface="+mn-ea"/>
                <a:cs typeface="+mn-cs"/>
              </a:rPr>
              <a:t>Voors</a:t>
            </a:r>
            <a:r>
              <a:rPr kumimoji="0" lang="en-GB" sz="800" b="0" i="0" u="none" strike="noStrike" kern="1200" cap="none" spc="0" normalizeH="0" baseline="0" noProof="0" dirty="0">
                <a:ln>
                  <a:noFill/>
                </a:ln>
                <a:solidFill>
                  <a:srgbClr val="000000"/>
                </a:solidFill>
                <a:effectLst/>
                <a:uLnTx/>
                <a:uFillTx/>
                <a:latin typeface="Arial"/>
                <a:ea typeface="+mn-ea"/>
                <a:cs typeface="+mn-cs"/>
              </a:rPr>
              <a:t> AA </a:t>
            </a:r>
            <a:r>
              <a:rPr kumimoji="0" lang="en-GB" sz="800" b="0" i="1" u="none" strike="noStrike" kern="1200" cap="none" spc="0" normalizeH="0" baseline="0" noProof="0" dirty="0">
                <a:ln>
                  <a:noFill/>
                </a:ln>
                <a:solidFill>
                  <a:srgbClr val="000000"/>
                </a:solidFill>
                <a:effectLst/>
                <a:uLnTx/>
                <a:uFillTx/>
                <a:latin typeface="Arial"/>
                <a:ea typeface="+mn-ea"/>
                <a:cs typeface="+mn-cs"/>
              </a:rPr>
              <a:t>et al</a:t>
            </a:r>
            <a:r>
              <a:rPr kumimoji="0" lang="en-GB" sz="800" b="0" i="0" u="none" strike="noStrike" kern="1200" cap="none" spc="0" normalizeH="0" baseline="0" noProof="0" dirty="0">
                <a:ln>
                  <a:noFill/>
                </a:ln>
                <a:solidFill>
                  <a:srgbClr val="000000"/>
                </a:solidFill>
                <a:effectLst/>
                <a:uLnTx/>
                <a:uFillTx/>
                <a:latin typeface="Arial"/>
                <a:ea typeface="+mn-ea"/>
                <a:cs typeface="+mn-cs"/>
              </a:rPr>
              <a:t>. </a:t>
            </a:r>
            <a:r>
              <a:rPr kumimoji="0" lang="en-GB" sz="800" b="0" i="1" u="none" strike="noStrike" kern="1200" cap="none" spc="0" normalizeH="0" baseline="0" noProof="0" dirty="0">
                <a:ln>
                  <a:noFill/>
                </a:ln>
                <a:solidFill>
                  <a:srgbClr val="000000"/>
                </a:solidFill>
                <a:effectLst/>
                <a:uLnTx/>
                <a:uFillTx/>
                <a:latin typeface="Arial"/>
                <a:ea typeface="+mn-ea"/>
                <a:cs typeface="+mn-cs"/>
              </a:rPr>
              <a:t>Eur J Heart Fail </a:t>
            </a:r>
            <a:r>
              <a:rPr kumimoji="0" lang="en-GB" sz="800" b="0" i="0" u="none" strike="noStrike" kern="1200" cap="none" spc="0" normalizeH="0" baseline="0" noProof="0" dirty="0">
                <a:ln>
                  <a:noFill/>
                </a:ln>
                <a:solidFill>
                  <a:srgbClr val="000000"/>
                </a:solidFill>
                <a:effectLst/>
                <a:uLnTx/>
                <a:uFillTx/>
                <a:latin typeface="Arial"/>
                <a:ea typeface="+mn-ea"/>
                <a:cs typeface="+mn-cs"/>
              </a:rPr>
              <a:t>2021;23:1313–1321; </a:t>
            </a:r>
            <a:r>
              <a:rPr kumimoji="0" lang="en-GB" sz="800" b="1" i="0" u="none" strike="noStrike" kern="1200" cap="none" spc="0" normalizeH="0" baseline="0" noProof="0" dirty="0">
                <a:ln>
                  <a:noFill/>
                </a:ln>
                <a:solidFill>
                  <a:srgbClr val="000000"/>
                </a:solidFill>
                <a:effectLst/>
                <a:uLnTx/>
                <a:uFillTx/>
                <a:latin typeface="Arial"/>
                <a:ea typeface="+mn-ea"/>
                <a:cs typeface="+mn-cs"/>
              </a:rPr>
              <a:t>2. </a:t>
            </a:r>
            <a:r>
              <a:rPr kumimoji="0" lang="en-GB" sz="800" b="0" i="0" u="none" strike="noStrike" kern="1200" cap="none" spc="0" normalizeH="0" baseline="0" noProof="0" dirty="0">
                <a:ln>
                  <a:noFill/>
                </a:ln>
                <a:solidFill>
                  <a:srgbClr val="000000"/>
                </a:solidFill>
                <a:effectLst/>
                <a:uLnTx/>
                <a:uFillTx/>
                <a:latin typeface="Arial"/>
                <a:ea typeface="+mn-ea"/>
                <a:cs typeface="+mn-cs"/>
              </a:rPr>
              <a:t>Bayer AG. </a:t>
            </a:r>
            <a:r>
              <a:rPr kumimoji="0" lang="en-GB" sz="800" b="0" i="0" u="none" strike="noStrike" kern="1200" cap="none" spc="0" normalizeH="0" baseline="0" noProof="0" dirty="0" err="1">
                <a:ln>
                  <a:noFill/>
                </a:ln>
                <a:solidFill>
                  <a:srgbClr val="000000"/>
                </a:solidFill>
                <a:effectLst/>
                <a:uLnTx/>
                <a:uFillTx/>
                <a:latin typeface="Arial" panose="020B0604020202020204"/>
                <a:ea typeface="+mn-ea"/>
                <a:cs typeface="+mn-cs"/>
              </a:rPr>
              <a:t>Verquvo</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GB" sz="800" b="0" i="0" u="none" strike="noStrike" kern="1200" cap="none" spc="0" normalizeH="0" baseline="0" noProof="0" dirty="0">
                <a:ln>
                  <a:noFill/>
                </a:ln>
                <a:solidFill>
                  <a:srgbClr val="000000"/>
                </a:solidFill>
                <a:effectLst/>
                <a:uLnTx/>
                <a:uFillTx/>
                <a:latin typeface="Arial"/>
                <a:ea typeface="+mn-ea"/>
                <a:cs typeface="+mn-cs"/>
              </a:rPr>
              <a:t> (vericiguat) SmPC. 202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Link</a:t>
            </a:r>
            <a:r>
              <a:rPr kumimoji="0" lang="en-GB" sz="800" b="0" i="0" u="none" strike="noStrike" kern="1200" cap="none" spc="0" normalizeH="0" baseline="0" noProof="0" dirty="0">
                <a:ln>
                  <a:noFill/>
                </a:ln>
                <a:solidFill>
                  <a:srgbClr val="000000"/>
                </a:solidFill>
                <a:effectLst/>
                <a:uLnTx/>
                <a:uFillTx/>
                <a:latin typeface="Arial"/>
                <a:ea typeface="+mn-ea"/>
                <a:cs typeface="+mn-cs"/>
              </a:rPr>
              <a:t>].</a:t>
            </a:r>
            <a:endParaRPr kumimoji="0" lang="en-GB"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aphicFrame>
        <p:nvGraphicFramePr>
          <p:cNvPr id="15" name="Table 14">
            <a:extLst>
              <a:ext uri="{FF2B5EF4-FFF2-40B4-BE49-F238E27FC236}">
                <a16:creationId xmlns:a16="http://schemas.microsoft.com/office/drawing/2014/main" id="{620D9202-D4EB-4C1E-A8AC-5B00185CACC9}"/>
              </a:ext>
            </a:extLst>
          </p:cNvPr>
          <p:cNvGraphicFramePr>
            <a:graphicFrameLocks noGrp="1"/>
          </p:cNvGraphicFramePr>
          <p:nvPr/>
        </p:nvGraphicFramePr>
        <p:xfrm>
          <a:off x="600073" y="6386918"/>
          <a:ext cx="9925052" cy="396000"/>
        </p:xfrm>
        <a:graphic>
          <a:graphicData uri="http://schemas.openxmlformats.org/drawingml/2006/table">
            <a:tbl>
              <a:tblPr firstRow="1" firstCol="1" bandRow="1">
                <a:tableStyleId>{5C22544A-7EE6-4342-B048-85BDC9FD1C3A}</a:tableStyleId>
              </a:tblPr>
              <a:tblGrid>
                <a:gridCol w="4880770">
                  <a:extLst>
                    <a:ext uri="{9D8B030D-6E8A-4147-A177-3AD203B41FA5}">
                      <a16:colId xmlns:a16="http://schemas.microsoft.com/office/drawing/2014/main" val="98394083"/>
                    </a:ext>
                  </a:extLst>
                </a:gridCol>
                <a:gridCol w="5044282">
                  <a:extLst>
                    <a:ext uri="{9D8B030D-6E8A-4147-A177-3AD203B41FA5}">
                      <a16:colId xmlns:a16="http://schemas.microsoft.com/office/drawing/2014/main" val="1727449064"/>
                    </a:ext>
                  </a:extLst>
                </a:gridCol>
              </a:tblGrid>
              <a:tr h="264000">
                <a:tc>
                  <a:txBody>
                    <a:bodyPr/>
                    <a:lstStyle/>
                    <a:p>
                      <a:pPr>
                        <a:spcAft>
                          <a:spcPts val="0"/>
                        </a:spcAft>
                      </a:pPr>
                      <a:r>
                        <a:rPr lang="en-GB" sz="700" b="0" dirty="0">
                          <a:solidFill>
                            <a:schemeClr val="tx1"/>
                          </a:solidFill>
                          <a:effectLst/>
                        </a:rPr>
                        <a:t>▼ </a:t>
                      </a:r>
                      <a:r>
                        <a:rPr lang="es-ES" sz="700" b="0" dirty="0">
                          <a:solidFill>
                            <a:schemeClr val="tx1"/>
                          </a:solidFill>
                          <a:effectLst/>
                        </a:rPr>
                        <a:t>Vericiguat está sometido a seguimiento adicional, lo que permitirá la rápida identificación de nueva información sobre su seguridad. Se pide a los profesionales de la salud que informen sobre cualquier sospecha de reacción advers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 Vericiguat is subject to additional monitoring. This will allow quick identification of new safety information. Healthcare professionals are asked to report any suspected adverse reactions.</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57659"/>
                  </a:ext>
                </a:extLst>
              </a:tr>
              <a:tr h="132000">
                <a:tc>
                  <a:txBody>
                    <a:bodyPr/>
                    <a:lstStyle/>
                    <a:p>
                      <a:pPr>
                        <a:spcAft>
                          <a:spcPts val="0"/>
                        </a:spcAft>
                      </a:pPr>
                      <a:r>
                        <a:rPr lang="es-ES" sz="700" b="0" dirty="0">
                          <a:solidFill>
                            <a:schemeClr val="tx1"/>
                          </a:solidFill>
                          <a:effectLst/>
                        </a:rPr>
                        <a:t>Vericiguat no está comercializado en Españ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Vericiguat is not marketed in Spain.</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553355"/>
                  </a:ext>
                </a:extLst>
              </a:tr>
            </a:tbl>
          </a:graphicData>
        </a:graphic>
      </p:graphicFrame>
    </p:spTree>
    <p:extLst>
      <p:ext uri="{BB962C8B-B14F-4D97-AF65-F5344CB8AC3E}">
        <p14:creationId xmlns:p14="http://schemas.microsoft.com/office/powerpoint/2010/main" val="9427386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3">
            <a:extLst>
              <a:ext uri="{FF2B5EF4-FFF2-40B4-BE49-F238E27FC236}">
                <a16:creationId xmlns:a16="http://schemas.microsoft.com/office/drawing/2014/main" id="{35CC7C25-CFF8-4EB3-9AB3-F76E90815C85}"/>
              </a:ext>
            </a:extLst>
          </p:cNvPr>
          <p:cNvGraphicFramePr>
            <a:graphicFrameLocks/>
          </p:cNvGraphicFramePr>
          <p:nvPr/>
        </p:nvGraphicFramePr>
        <p:xfrm>
          <a:off x="600073" y="1414800"/>
          <a:ext cx="9925048" cy="3089307"/>
        </p:xfrm>
        <a:graphic>
          <a:graphicData uri="http://schemas.openxmlformats.org/drawingml/2006/table">
            <a:tbl>
              <a:tblPr firstRow="1" bandRow="1">
                <a:tableStyleId>{74C1A8A3-306A-4EB7-A6B1-4F7E0EB9C5D6}</a:tableStyleId>
              </a:tblPr>
              <a:tblGrid>
                <a:gridCol w="1737666">
                  <a:extLst>
                    <a:ext uri="{9D8B030D-6E8A-4147-A177-3AD203B41FA5}">
                      <a16:colId xmlns:a16="http://schemas.microsoft.com/office/drawing/2014/main" val="3430436461"/>
                    </a:ext>
                  </a:extLst>
                </a:gridCol>
                <a:gridCol w="1169626">
                  <a:extLst>
                    <a:ext uri="{9D8B030D-6E8A-4147-A177-3AD203B41FA5}">
                      <a16:colId xmlns:a16="http://schemas.microsoft.com/office/drawing/2014/main" val="199423181"/>
                    </a:ext>
                  </a:extLst>
                </a:gridCol>
                <a:gridCol w="1169626">
                  <a:extLst>
                    <a:ext uri="{9D8B030D-6E8A-4147-A177-3AD203B41FA5}">
                      <a16:colId xmlns:a16="http://schemas.microsoft.com/office/drawing/2014/main" val="3788453009"/>
                    </a:ext>
                  </a:extLst>
                </a:gridCol>
                <a:gridCol w="1169626">
                  <a:extLst>
                    <a:ext uri="{9D8B030D-6E8A-4147-A177-3AD203B41FA5}">
                      <a16:colId xmlns:a16="http://schemas.microsoft.com/office/drawing/2014/main" val="2321422820"/>
                    </a:ext>
                  </a:extLst>
                </a:gridCol>
                <a:gridCol w="1169626">
                  <a:extLst>
                    <a:ext uri="{9D8B030D-6E8A-4147-A177-3AD203B41FA5}">
                      <a16:colId xmlns:a16="http://schemas.microsoft.com/office/drawing/2014/main" val="2753115570"/>
                    </a:ext>
                  </a:extLst>
                </a:gridCol>
                <a:gridCol w="1169626">
                  <a:extLst>
                    <a:ext uri="{9D8B030D-6E8A-4147-A177-3AD203B41FA5}">
                      <a16:colId xmlns:a16="http://schemas.microsoft.com/office/drawing/2014/main" val="3132296812"/>
                    </a:ext>
                  </a:extLst>
                </a:gridCol>
                <a:gridCol w="1169626">
                  <a:extLst>
                    <a:ext uri="{9D8B030D-6E8A-4147-A177-3AD203B41FA5}">
                      <a16:colId xmlns:a16="http://schemas.microsoft.com/office/drawing/2014/main" val="2671737357"/>
                    </a:ext>
                  </a:extLst>
                </a:gridCol>
                <a:gridCol w="1169626">
                  <a:extLst>
                    <a:ext uri="{9D8B030D-6E8A-4147-A177-3AD203B41FA5}">
                      <a16:colId xmlns:a16="http://schemas.microsoft.com/office/drawing/2014/main" val="765383441"/>
                    </a:ext>
                  </a:extLst>
                </a:gridCol>
              </a:tblGrid>
              <a:tr h="504175">
                <a:tc rowSpan="2">
                  <a:txBody>
                    <a:bodyPr/>
                    <a:lstStyle/>
                    <a:p>
                      <a:pPr algn="l">
                        <a:lnSpc>
                          <a:spcPct val="100000"/>
                        </a:lnSpc>
                      </a:pPr>
                      <a:r>
                        <a:rPr lang="en-US" sz="1200" b="1" noProof="0" dirty="0"/>
                        <a:t>AE</a:t>
                      </a:r>
                    </a:p>
                  </a:txBody>
                  <a:tcPr anchor="ctr"/>
                </a:tc>
                <a:tc gridSpan="2">
                  <a:txBody>
                    <a:bodyPr/>
                    <a:lstStyle/>
                    <a:p>
                      <a:pPr algn="ctr">
                        <a:lnSpc>
                          <a:spcPct val="100000"/>
                        </a:lnSpc>
                      </a:pPr>
                      <a:r>
                        <a:rPr lang="en-US" sz="1200" b="1" noProof="0" dirty="0"/>
                        <a:t>eGFR ≤30</a:t>
                      </a:r>
                    </a:p>
                    <a:p>
                      <a:pPr algn="ctr">
                        <a:lnSpc>
                          <a:spcPct val="100000"/>
                        </a:lnSpc>
                      </a:pPr>
                      <a:r>
                        <a:rPr lang="en-US" sz="1200" noProof="0" dirty="0"/>
                        <a:t>ml/min/1.73 m</a:t>
                      </a:r>
                      <a:r>
                        <a:rPr lang="en-US" sz="1200" baseline="30000" noProof="0" dirty="0"/>
                        <a:t>2</a:t>
                      </a:r>
                      <a:endParaRPr lang="en-US" sz="1200" b="1" noProof="0" dirty="0"/>
                    </a:p>
                  </a:txBody>
                  <a:tcPr anchor="ctr">
                    <a:lnB w="19050" cap="flat" cmpd="sng" algn="ctr">
                      <a:solidFill>
                        <a:schemeClr val="tx1"/>
                      </a:solidFill>
                      <a:prstDash val="solid"/>
                      <a:round/>
                      <a:headEnd type="none" w="med" len="med"/>
                      <a:tailEnd type="none" w="med" len="med"/>
                    </a:lnB>
                  </a:tcPr>
                </a:tc>
                <a:tc hMerge="1">
                  <a:txBody>
                    <a:bodyPr/>
                    <a:lstStyle/>
                    <a:p>
                      <a:pPr algn="ctr"/>
                      <a:endParaRPr lang="en-US" sz="1600"/>
                    </a:p>
                  </a:txBody>
                  <a:tcPr>
                    <a:solidFill>
                      <a:schemeClr val="accent3"/>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t>eGFR &gt;30–≤6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t>ml/min/1.73 m</a:t>
                      </a:r>
                      <a:r>
                        <a:rPr lang="en-US" sz="1200" baseline="30000" noProof="0" dirty="0"/>
                        <a:t>2</a:t>
                      </a:r>
                      <a:endParaRPr lang="en-US" sz="1200" b="1" noProof="0" dirty="0"/>
                    </a:p>
                  </a:txBody>
                  <a:tcPr anchor="ctr">
                    <a:lnB w="19050" cap="flat" cmpd="sng" algn="ctr">
                      <a:solidFill>
                        <a:schemeClr val="tx1"/>
                      </a:solidFill>
                      <a:prstDash val="solid"/>
                      <a:round/>
                      <a:headEnd type="none" w="med" len="med"/>
                      <a:tailEnd type="none" w="med" len="med"/>
                    </a:lnB>
                  </a:tcPr>
                </a:tc>
                <a:tc hMerge="1">
                  <a:txBody>
                    <a:bodyPr/>
                    <a:lstStyle/>
                    <a:p>
                      <a:pPr algn="ctr"/>
                      <a:endParaRPr lang="en-US" sz="1600"/>
                    </a:p>
                  </a:txBody>
                  <a:tcPr>
                    <a:solidFill>
                      <a:schemeClr val="accent3"/>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t>eGFR &gt;60</a:t>
                      </a:r>
                    </a:p>
                    <a:p>
                      <a:pPr algn="ctr">
                        <a:lnSpc>
                          <a:spcPct val="100000"/>
                        </a:lnSpc>
                      </a:pPr>
                      <a:r>
                        <a:rPr lang="en-US" sz="1200" noProof="0" dirty="0"/>
                        <a:t>ml/min/1.73 m</a:t>
                      </a:r>
                      <a:r>
                        <a:rPr lang="en-US" sz="1200" baseline="30000" noProof="0" dirty="0"/>
                        <a:t>2</a:t>
                      </a:r>
                      <a:endParaRPr lang="en-US" sz="1200" b="1" noProof="0" dirty="0"/>
                    </a:p>
                  </a:txBody>
                  <a:tcPr anchor="ctr">
                    <a:lnB w="19050" cap="flat" cmpd="sng" algn="ctr">
                      <a:solidFill>
                        <a:schemeClr val="tx1"/>
                      </a:solidFill>
                      <a:prstDash val="solid"/>
                      <a:round/>
                      <a:headEnd type="none" w="med" len="med"/>
                      <a:tailEnd type="none" w="med" len="med"/>
                    </a:lnB>
                  </a:tcPr>
                </a:tc>
                <a:tc hMerge="1">
                  <a:txBody>
                    <a:bodyPr/>
                    <a:lstStyle/>
                    <a:p>
                      <a:pPr algn="ctr"/>
                      <a:endParaRPr lang="en-US" sz="1600"/>
                    </a:p>
                  </a:txBody>
                  <a:tcPr>
                    <a:solidFill>
                      <a:schemeClr val="accent3"/>
                    </a:solidFill>
                  </a:tcPr>
                </a:tc>
                <a:tc rowSpan="2">
                  <a:txBody>
                    <a:bodyPr/>
                    <a:lstStyle/>
                    <a:p>
                      <a:pPr algn="ctr">
                        <a:lnSpc>
                          <a:spcPct val="100000"/>
                        </a:lnSpc>
                      </a:pPr>
                      <a:r>
                        <a:rPr lang="en-US" sz="1200" b="1" noProof="0" dirty="0"/>
                        <a:t>Overall</a:t>
                      </a:r>
                    </a:p>
                    <a:p>
                      <a:pPr algn="ctr">
                        <a:lnSpc>
                          <a:spcPct val="100000"/>
                        </a:lnSpc>
                      </a:pPr>
                      <a:r>
                        <a:rPr lang="en-US" sz="1200" b="1" noProof="0" dirty="0">
                          <a:solidFill>
                            <a:schemeClr val="bg1"/>
                          </a:solidFill>
                        </a:rPr>
                        <a:t>(N=4,956)</a:t>
                      </a:r>
                    </a:p>
                  </a:txBody>
                  <a:tcPr anchor="ctr"/>
                </a:tc>
                <a:extLst>
                  <a:ext uri="{0D108BD9-81ED-4DB2-BD59-A6C34878D82A}">
                    <a16:rowId xmlns:a16="http://schemas.microsoft.com/office/drawing/2014/main" val="2151138070"/>
                  </a:ext>
                </a:extLst>
              </a:tr>
              <a:tr h="504175">
                <a:tc vMerge="1">
                  <a:txBody>
                    <a:bodyPr/>
                    <a:lstStyle/>
                    <a:p>
                      <a:endParaRPr lang="en-US"/>
                    </a:p>
                  </a:txBody>
                  <a:tcPr/>
                </a:tc>
                <a:tc>
                  <a:txBody>
                    <a:bodyPr/>
                    <a:lstStyle/>
                    <a:p>
                      <a:pPr algn="ctr">
                        <a:lnSpc>
                          <a:spcPct val="100000"/>
                        </a:lnSpc>
                      </a:pPr>
                      <a:r>
                        <a:rPr lang="en-US" sz="1200" b="1" noProof="0" dirty="0">
                          <a:solidFill>
                            <a:schemeClr val="bg1"/>
                          </a:solidFill>
                        </a:rPr>
                        <a:t>Vericiguat</a:t>
                      </a:r>
                    </a:p>
                    <a:p>
                      <a:pPr algn="ctr">
                        <a:lnSpc>
                          <a:spcPct val="100000"/>
                        </a:lnSpc>
                      </a:pPr>
                      <a:r>
                        <a:rPr lang="en-US" sz="1200" b="1" noProof="0" dirty="0">
                          <a:solidFill>
                            <a:schemeClr val="bg1"/>
                          </a:solidFill>
                        </a:rPr>
                        <a:t>(n=261)</a:t>
                      </a:r>
                    </a:p>
                  </a:txBody>
                  <a:tcPr anchor="ctr">
                    <a:lnL w="1905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lnSpc>
                          <a:spcPct val="100000"/>
                        </a:lnSpc>
                      </a:pPr>
                      <a:r>
                        <a:rPr lang="en-US" sz="1200" b="1" noProof="0" dirty="0">
                          <a:solidFill>
                            <a:schemeClr val="bg1"/>
                          </a:solidFill>
                        </a:rPr>
                        <a:t>Placebo</a:t>
                      </a:r>
                    </a:p>
                    <a:p>
                      <a:pPr algn="ctr">
                        <a:lnSpc>
                          <a:spcPct val="100000"/>
                        </a:lnSpc>
                      </a:pPr>
                      <a:r>
                        <a:rPr lang="en-US" sz="1200" b="1" noProof="0" dirty="0">
                          <a:solidFill>
                            <a:schemeClr val="bg1"/>
                          </a:solidFill>
                        </a:rPr>
                        <a:t>(n=246)</a:t>
                      </a:r>
                    </a:p>
                  </a:txBody>
                  <a:tcPr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lnSpc>
                          <a:spcPct val="100000"/>
                        </a:lnSpc>
                      </a:pPr>
                      <a:r>
                        <a:rPr lang="en-US" sz="1200" b="1" noProof="0" dirty="0">
                          <a:solidFill>
                            <a:schemeClr val="bg1"/>
                          </a:solidFill>
                        </a:rPr>
                        <a:t>Vericiguat</a:t>
                      </a:r>
                    </a:p>
                    <a:p>
                      <a:pPr algn="ctr">
                        <a:lnSpc>
                          <a:spcPct val="100000"/>
                        </a:lnSpc>
                      </a:pPr>
                      <a:r>
                        <a:rPr lang="en-US" sz="1200" b="1" noProof="0" dirty="0">
                          <a:solidFill>
                            <a:schemeClr val="bg1"/>
                          </a:solidFill>
                        </a:rPr>
                        <a:t>(n=1,060)</a:t>
                      </a:r>
                    </a:p>
                  </a:txBody>
                  <a:tcPr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lnSpc>
                          <a:spcPct val="100000"/>
                        </a:lnSpc>
                      </a:pPr>
                      <a:r>
                        <a:rPr lang="en-US" sz="1200" b="1" noProof="0" dirty="0">
                          <a:solidFill>
                            <a:schemeClr val="bg1"/>
                          </a:solidFill>
                        </a:rPr>
                        <a:t>Placebo</a:t>
                      </a:r>
                    </a:p>
                    <a:p>
                      <a:pPr algn="ctr">
                        <a:lnSpc>
                          <a:spcPct val="100000"/>
                        </a:lnSpc>
                      </a:pPr>
                      <a:r>
                        <a:rPr lang="en-US" sz="1200" b="1" noProof="0" dirty="0">
                          <a:solidFill>
                            <a:schemeClr val="bg1"/>
                          </a:solidFill>
                        </a:rPr>
                        <a:t>(n=1,070)</a:t>
                      </a:r>
                    </a:p>
                  </a:txBody>
                  <a:tcPr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lnSpc>
                          <a:spcPct val="100000"/>
                        </a:lnSpc>
                      </a:pPr>
                      <a:r>
                        <a:rPr lang="en-US" sz="1200" b="1" noProof="0" dirty="0">
                          <a:solidFill>
                            <a:schemeClr val="bg1"/>
                          </a:solidFill>
                        </a:rPr>
                        <a:t>Vericiguat</a:t>
                      </a:r>
                    </a:p>
                    <a:p>
                      <a:pPr algn="ctr">
                        <a:lnSpc>
                          <a:spcPct val="100000"/>
                        </a:lnSpc>
                      </a:pPr>
                      <a:r>
                        <a:rPr lang="en-US" sz="1200" b="1" noProof="0" dirty="0">
                          <a:solidFill>
                            <a:schemeClr val="bg1"/>
                          </a:solidFill>
                        </a:rPr>
                        <a:t>(n=1,153)</a:t>
                      </a:r>
                    </a:p>
                  </a:txBody>
                  <a:tcPr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algn="ctr">
                        <a:lnSpc>
                          <a:spcPct val="100000"/>
                        </a:lnSpc>
                      </a:pPr>
                      <a:r>
                        <a:rPr lang="en-US" sz="1200" b="1" noProof="0" dirty="0">
                          <a:solidFill>
                            <a:schemeClr val="bg1"/>
                          </a:solidFill>
                        </a:rPr>
                        <a:t>Placebo</a:t>
                      </a:r>
                    </a:p>
                    <a:p>
                      <a:pPr algn="ctr">
                        <a:lnSpc>
                          <a:spcPct val="100000"/>
                        </a:lnSpc>
                      </a:pPr>
                      <a:r>
                        <a:rPr lang="en-US" sz="1200" b="1" noProof="0" dirty="0">
                          <a:solidFill>
                            <a:schemeClr val="bg1"/>
                          </a:solidFill>
                        </a:rPr>
                        <a:t>(n=1,166)</a:t>
                      </a:r>
                    </a:p>
                  </a:txBody>
                  <a:tcPr anchor="ctr">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vMerge="1">
                  <a:txBody>
                    <a:bodyPr/>
                    <a:lstStyle/>
                    <a:p>
                      <a:pPr algn="ctr">
                        <a:lnSpc>
                          <a:spcPct val="100000"/>
                        </a:lnSpc>
                      </a:pPr>
                      <a:endParaRPr lang="en-US" sz="1400" b="1" noProof="0">
                        <a:solidFill>
                          <a:schemeClr val="bg1"/>
                        </a:solidFill>
                      </a:endParaRPr>
                    </a:p>
                  </a:txBody>
                  <a:tcPr anchor="ctr">
                    <a:solidFill>
                      <a:schemeClr val="accent3"/>
                    </a:solidFill>
                  </a:tcPr>
                </a:tc>
                <a:extLst>
                  <a:ext uri="{0D108BD9-81ED-4DB2-BD59-A6C34878D82A}">
                    <a16:rowId xmlns:a16="http://schemas.microsoft.com/office/drawing/2014/main" val="4270739244"/>
                  </a:ext>
                </a:extLst>
              </a:tr>
              <a:tr h="360831">
                <a:tc>
                  <a:txBody>
                    <a:bodyPr/>
                    <a:lstStyle/>
                    <a:p>
                      <a:pPr algn="l">
                        <a:lnSpc>
                          <a:spcPct val="100000"/>
                        </a:lnSpc>
                      </a:pPr>
                      <a:r>
                        <a:rPr lang="en-US" sz="1200" noProof="0" dirty="0"/>
                        <a:t>Syncope, n (%)</a:t>
                      </a:r>
                    </a:p>
                  </a:txBody>
                  <a:tcPr anchor="ctr">
                    <a:solidFill>
                      <a:srgbClr val="E7E7E7"/>
                    </a:solidFill>
                  </a:tcPr>
                </a:tc>
                <a:tc>
                  <a:txBody>
                    <a:bodyPr/>
                    <a:lstStyle/>
                    <a:p>
                      <a:pPr algn="ctr">
                        <a:lnSpc>
                          <a:spcPct val="100000"/>
                        </a:lnSpc>
                      </a:pPr>
                      <a:r>
                        <a:rPr lang="en-US" sz="1200" noProof="0" dirty="0"/>
                        <a:t>11 (4.2)</a:t>
                      </a:r>
                    </a:p>
                  </a:txBody>
                  <a:tcPr anchor="ctr">
                    <a:lnT w="19050" cap="flat" cmpd="sng" algn="ctr">
                      <a:solidFill>
                        <a:schemeClr val="tx1"/>
                      </a:solidFill>
                      <a:prstDash val="solid"/>
                      <a:round/>
                      <a:headEnd type="none" w="med" len="med"/>
                      <a:tailEnd type="none" w="med" len="med"/>
                    </a:lnT>
                    <a:solidFill>
                      <a:srgbClr val="E7E7E7"/>
                    </a:solidFill>
                  </a:tcPr>
                </a:tc>
                <a:tc>
                  <a:txBody>
                    <a:bodyPr/>
                    <a:lstStyle/>
                    <a:p>
                      <a:pPr algn="ctr">
                        <a:lnSpc>
                          <a:spcPct val="100000"/>
                        </a:lnSpc>
                      </a:pPr>
                      <a:r>
                        <a:rPr lang="en-US" sz="1200" noProof="0" dirty="0"/>
                        <a:t>10 (4.1)</a:t>
                      </a:r>
                    </a:p>
                  </a:txBody>
                  <a:tcPr anchor="ctr">
                    <a:lnT w="19050" cap="flat" cmpd="sng" algn="ctr">
                      <a:solidFill>
                        <a:schemeClr val="tx1"/>
                      </a:solidFill>
                      <a:prstDash val="solid"/>
                      <a:round/>
                      <a:headEnd type="none" w="med" len="med"/>
                      <a:tailEnd type="none" w="med" len="med"/>
                    </a:lnT>
                    <a:solidFill>
                      <a:srgbClr val="E7E7E7"/>
                    </a:solidFill>
                  </a:tcPr>
                </a:tc>
                <a:tc>
                  <a:txBody>
                    <a:bodyPr/>
                    <a:lstStyle/>
                    <a:p>
                      <a:pPr algn="ctr">
                        <a:lnSpc>
                          <a:spcPct val="100000"/>
                        </a:lnSpc>
                      </a:pPr>
                      <a:r>
                        <a:rPr lang="en-US" sz="1200" noProof="0" dirty="0"/>
                        <a:t>48 (4.5)</a:t>
                      </a:r>
                    </a:p>
                  </a:txBody>
                  <a:tcPr anchor="ctr">
                    <a:lnT w="19050" cap="flat" cmpd="sng" algn="ctr">
                      <a:solidFill>
                        <a:schemeClr val="tx1"/>
                      </a:solidFill>
                      <a:prstDash val="solid"/>
                      <a:round/>
                      <a:headEnd type="none" w="med" len="med"/>
                      <a:tailEnd type="none" w="med" len="med"/>
                    </a:lnT>
                    <a:solidFill>
                      <a:srgbClr val="E7E7E7"/>
                    </a:solidFill>
                  </a:tcPr>
                </a:tc>
                <a:tc>
                  <a:txBody>
                    <a:bodyPr/>
                    <a:lstStyle/>
                    <a:p>
                      <a:pPr algn="ctr">
                        <a:lnSpc>
                          <a:spcPct val="100000"/>
                        </a:lnSpc>
                      </a:pPr>
                      <a:r>
                        <a:rPr lang="en-US" sz="1200" noProof="0" dirty="0"/>
                        <a:t>38 (3.6)</a:t>
                      </a:r>
                    </a:p>
                  </a:txBody>
                  <a:tcPr anchor="ctr">
                    <a:lnT w="19050" cap="flat" cmpd="sng" algn="ctr">
                      <a:solidFill>
                        <a:schemeClr val="tx1"/>
                      </a:solidFill>
                      <a:prstDash val="solid"/>
                      <a:round/>
                      <a:headEnd type="none" w="med" len="med"/>
                      <a:tailEnd type="none" w="med" len="med"/>
                    </a:lnT>
                    <a:solidFill>
                      <a:srgbClr val="E7E7E7"/>
                    </a:solidFill>
                  </a:tcPr>
                </a:tc>
                <a:tc>
                  <a:txBody>
                    <a:bodyPr/>
                    <a:lstStyle/>
                    <a:p>
                      <a:pPr algn="ctr">
                        <a:lnSpc>
                          <a:spcPct val="100000"/>
                        </a:lnSpc>
                      </a:pPr>
                      <a:r>
                        <a:rPr lang="en-US" sz="1200" noProof="0" dirty="0"/>
                        <a:t>41 (3.6)</a:t>
                      </a:r>
                    </a:p>
                  </a:txBody>
                  <a:tcPr anchor="ctr">
                    <a:lnT w="19050" cap="flat" cmpd="sng" algn="ctr">
                      <a:solidFill>
                        <a:schemeClr val="tx1"/>
                      </a:solidFill>
                      <a:prstDash val="solid"/>
                      <a:round/>
                      <a:headEnd type="none" w="med" len="med"/>
                      <a:tailEnd type="none" w="med" len="med"/>
                    </a:lnT>
                    <a:solidFill>
                      <a:srgbClr val="E7E7E7"/>
                    </a:solidFill>
                  </a:tcPr>
                </a:tc>
                <a:tc>
                  <a:txBody>
                    <a:bodyPr/>
                    <a:lstStyle/>
                    <a:p>
                      <a:pPr algn="ctr">
                        <a:lnSpc>
                          <a:spcPct val="100000"/>
                        </a:lnSpc>
                      </a:pPr>
                      <a:r>
                        <a:rPr lang="en-US" sz="1200" noProof="0" dirty="0"/>
                        <a:t>37 (3.2)</a:t>
                      </a:r>
                    </a:p>
                  </a:txBody>
                  <a:tcPr anchor="ctr">
                    <a:lnT w="19050" cap="flat" cmpd="sng" algn="ctr">
                      <a:solidFill>
                        <a:schemeClr val="tx1"/>
                      </a:solidFill>
                      <a:prstDash val="solid"/>
                      <a:round/>
                      <a:headEnd type="none" w="med" len="med"/>
                      <a:tailEnd type="none" w="med" len="med"/>
                    </a:lnT>
                    <a:solidFill>
                      <a:srgbClr val="E7E7E7"/>
                    </a:solidFill>
                  </a:tcPr>
                </a:tc>
                <a:tc>
                  <a:txBody>
                    <a:bodyPr/>
                    <a:lstStyle/>
                    <a:p>
                      <a:pPr algn="ctr">
                        <a:lnSpc>
                          <a:spcPct val="100000"/>
                        </a:lnSpc>
                      </a:pPr>
                      <a:r>
                        <a:rPr lang="en-US" sz="1200" noProof="0" dirty="0"/>
                        <a:t>185 (3.7)</a:t>
                      </a:r>
                    </a:p>
                  </a:txBody>
                  <a:tcPr anchor="ctr">
                    <a:solidFill>
                      <a:srgbClr val="E7E7E7"/>
                    </a:solidFill>
                  </a:tcPr>
                </a:tc>
                <a:extLst>
                  <a:ext uri="{0D108BD9-81ED-4DB2-BD59-A6C34878D82A}">
                    <a16:rowId xmlns:a16="http://schemas.microsoft.com/office/drawing/2014/main" val="3146762472"/>
                  </a:ext>
                </a:extLst>
              </a:tr>
              <a:tr h="504175">
                <a:tc>
                  <a:txBody>
                    <a:bodyPr/>
                    <a:lstStyle/>
                    <a:p>
                      <a:pPr algn="l">
                        <a:lnSpc>
                          <a:spcPct val="100000"/>
                        </a:lnSpc>
                      </a:pPr>
                      <a:r>
                        <a:rPr lang="en-US" sz="1200" noProof="0" dirty="0"/>
                        <a:t>Symptomatic hypotension, n (%)</a:t>
                      </a:r>
                    </a:p>
                  </a:txBody>
                  <a:tcPr anchor="ctr">
                    <a:solidFill>
                      <a:schemeClr val="bg1"/>
                    </a:solidFill>
                  </a:tcPr>
                </a:tc>
                <a:tc>
                  <a:txBody>
                    <a:bodyPr/>
                    <a:lstStyle/>
                    <a:p>
                      <a:pPr algn="ctr">
                        <a:lnSpc>
                          <a:spcPct val="100000"/>
                        </a:lnSpc>
                      </a:pPr>
                      <a:r>
                        <a:rPr lang="en-US" sz="1200" noProof="0" dirty="0"/>
                        <a:t>29 (11.1)</a:t>
                      </a:r>
                    </a:p>
                  </a:txBody>
                  <a:tcPr anchor="ctr">
                    <a:solidFill>
                      <a:schemeClr val="bg1"/>
                    </a:solidFill>
                  </a:tcPr>
                </a:tc>
                <a:tc>
                  <a:txBody>
                    <a:bodyPr/>
                    <a:lstStyle/>
                    <a:p>
                      <a:pPr algn="ctr">
                        <a:lnSpc>
                          <a:spcPct val="100000"/>
                        </a:lnSpc>
                      </a:pPr>
                      <a:r>
                        <a:rPr lang="en-US" sz="1200" noProof="0" dirty="0"/>
                        <a:t>22 (8.9)</a:t>
                      </a:r>
                    </a:p>
                  </a:txBody>
                  <a:tcPr anchor="ctr">
                    <a:solidFill>
                      <a:schemeClr val="bg1"/>
                    </a:solidFill>
                  </a:tcPr>
                </a:tc>
                <a:tc>
                  <a:txBody>
                    <a:bodyPr/>
                    <a:lstStyle/>
                    <a:p>
                      <a:pPr algn="ctr">
                        <a:lnSpc>
                          <a:spcPct val="100000"/>
                        </a:lnSpc>
                      </a:pPr>
                      <a:r>
                        <a:rPr lang="en-US" sz="1200" noProof="0" dirty="0"/>
                        <a:t>109 (10.3)</a:t>
                      </a:r>
                    </a:p>
                  </a:txBody>
                  <a:tcPr anchor="ctr">
                    <a:solidFill>
                      <a:schemeClr val="bg1"/>
                    </a:solidFill>
                  </a:tcPr>
                </a:tc>
                <a:tc>
                  <a:txBody>
                    <a:bodyPr/>
                    <a:lstStyle/>
                    <a:p>
                      <a:pPr algn="ctr">
                        <a:lnSpc>
                          <a:spcPct val="100000"/>
                        </a:lnSpc>
                      </a:pPr>
                      <a:r>
                        <a:rPr lang="en-US" sz="1200" noProof="0" dirty="0"/>
                        <a:t>98 (9.2)</a:t>
                      </a:r>
                    </a:p>
                  </a:txBody>
                  <a:tcPr anchor="ctr">
                    <a:solidFill>
                      <a:schemeClr val="bg1"/>
                    </a:solidFill>
                  </a:tcPr>
                </a:tc>
                <a:tc>
                  <a:txBody>
                    <a:bodyPr/>
                    <a:lstStyle/>
                    <a:p>
                      <a:pPr algn="ctr">
                        <a:lnSpc>
                          <a:spcPct val="100000"/>
                        </a:lnSpc>
                      </a:pPr>
                      <a:r>
                        <a:rPr lang="en-US" sz="1200" noProof="0" dirty="0"/>
                        <a:t>86 (7.5)</a:t>
                      </a:r>
                    </a:p>
                  </a:txBody>
                  <a:tcPr anchor="ctr">
                    <a:solidFill>
                      <a:schemeClr val="bg1"/>
                    </a:solidFill>
                  </a:tcPr>
                </a:tc>
                <a:tc>
                  <a:txBody>
                    <a:bodyPr/>
                    <a:lstStyle/>
                    <a:p>
                      <a:pPr algn="ctr">
                        <a:lnSpc>
                          <a:spcPct val="100000"/>
                        </a:lnSpc>
                      </a:pPr>
                      <a:r>
                        <a:rPr lang="en-US" sz="1200" noProof="0" dirty="0"/>
                        <a:t>72 (6.2)</a:t>
                      </a:r>
                    </a:p>
                  </a:txBody>
                  <a:tcPr anchor="ctr">
                    <a:solidFill>
                      <a:schemeClr val="bg1"/>
                    </a:solidFill>
                  </a:tcPr>
                </a:tc>
                <a:tc>
                  <a:txBody>
                    <a:bodyPr/>
                    <a:lstStyle/>
                    <a:p>
                      <a:pPr algn="ctr">
                        <a:lnSpc>
                          <a:spcPct val="100000"/>
                        </a:lnSpc>
                      </a:pPr>
                      <a:r>
                        <a:rPr lang="en-US" sz="1200" noProof="0" dirty="0"/>
                        <a:t>416 (8.4)</a:t>
                      </a:r>
                    </a:p>
                  </a:txBody>
                  <a:tcPr anchor="ctr">
                    <a:solidFill>
                      <a:schemeClr val="bg1"/>
                    </a:solidFill>
                  </a:tcPr>
                </a:tc>
                <a:extLst>
                  <a:ext uri="{0D108BD9-81ED-4DB2-BD59-A6C34878D82A}">
                    <a16:rowId xmlns:a16="http://schemas.microsoft.com/office/drawing/2014/main" val="3855622128"/>
                  </a:ext>
                </a:extLst>
              </a:tr>
              <a:tr h="504175">
                <a:tc>
                  <a:txBody>
                    <a:bodyPr/>
                    <a:lstStyle/>
                    <a:p>
                      <a:pPr algn="l">
                        <a:lnSpc>
                          <a:spcPct val="100000"/>
                        </a:lnSpc>
                      </a:pPr>
                      <a:r>
                        <a:rPr lang="en-US" sz="1200" noProof="0" dirty="0"/>
                        <a:t>Hyperkalemia, n (%)</a:t>
                      </a:r>
                    </a:p>
                  </a:txBody>
                  <a:tcPr anchor="ctr">
                    <a:solidFill>
                      <a:srgbClr val="E7E7E7"/>
                    </a:solidFill>
                  </a:tcPr>
                </a:tc>
                <a:tc>
                  <a:txBody>
                    <a:bodyPr/>
                    <a:lstStyle/>
                    <a:p>
                      <a:pPr algn="ctr">
                        <a:lnSpc>
                          <a:spcPct val="100000"/>
                        </a:lnSpc>
                      </a:pPr>
                      <a:r>
                        <a:rPr lang="en-US" sz="1200" noProof="0" dirty="0"/>
                        <a:t>21 (8.0)</a:t>
                      </a:r>
                    </a:p>
                  </a:txBody>
                  <a:tcPr anchor="ctr">
                    <a:solidFill>
                      <a:srgbClr val="E7E7E7"/>
                    </a:solidFill>
                  </a:tcPr>
                </a:tc>
                <a:tc>
                  <a:txBody>
                    <a:bodyPr/>
                    <a:lstStyle/>
                    <a:p>
                      <a:pPr algn="ctr">
                        <a:lnSpc>
                          <a:spcPct val="100000"/>
                        </a:lnSpc>
                      </a:pPr>
                      <a:r>
                        <a:rPr lang="en-US" sz="1200" noProof="0" dirty="0"/>
                        <a:t>25 (10.2)</a:t>
                      </a:r>
                    </a:p>
                  </a:txBody>
                  <a:tcPr anchor="ctr">
                    <a:solidFill>
                      <a:srgbClr val="E7E7E7"/>
                    </a:solidFill>
                  </a:tcPr>
                </a:tc>
                <a:tc>
                  <a:txBody>
                    <a:bodyPr/>
                    <a:lstStyle/>
                    <a:p>
                      <a:pPr algn="ctr">
                        <a:lnSpc>
                          <a:spcPct val="100000"/>
                        </a:lnSpc>
                      </a:pPr>
                      <a:r>
                        <a:rPr lang="en-US" sz="1200" noProof="0" dirty="0"/>
                        <a:t>71 (6.7)</a:t>
                      </a:r>
                    </a:p>
                  </a:txBody>
                  <a:tcPr anchor="ctr">
                    <a:solidFill>
                      <a:srgbClr val="E7E7E7"/>
                    </a:solidFill>
                  </a:tcPr>
                </a:tc>
                <a:tc>
                  <a:txBody>
                    <a:bodyPr/>
                    <a:lstStyle/>
                    <a:p>
                      <a:pPr algn="ctr">
                        <a:lnSpc>
                          <a:spcPct val="100000"/>
                        </a:lnSpc>
                      </a:pPr>
                      <a:r>
                        <a:rPr lang="en-US" sz="1200" noProof="0" dirty="0"/>
                        <a:t>84 (7.9)</a:t>
                      </a:r>
                    </a:p>
                  </a:txBody>
                  <a:tcPr anchor="ctr">
                    <a:solidFill>
                      <a:srgbClr val="E7E7E7"/>
                    </a:solidFill>
                  </a:tcPr>
                </a:tc>
                <a:tc>
                  <a:txBody>
                    <a:bodyPr/>
                    <a:lstStyle/>
                    <a:p>
                      <a:pPr algn="ctr">
                        <a:lnSpc>
                          <a:spcPct val="100000"/>
                        </a:lnSpc>
                      </a:pPr>
                      <a:r>
                        <a:rPr lang="en-US" sz="1200" noProof="0" dirty="0"/>
                        <a:t>29 (2.5)</a:t>
                      </a:r>
                    </a:p>
                  </a:txBody>
                  <a:tcPr anchor="ctr">
                    <a:solidFill>
                      <a:srgbClr val="E7E7E7"/>
                    </a:solidFill>
                  </a:tcPr>
                </a:tc>
                <a:tc>
                  <a:txBody>
                    <a:bodyPr/>
                    <a:lstStyle/>
                    <a:p>
                      <a:pPr algn="ctr">
                        <a:lnSpc>
                          <a:spcPct val="100000"/>
                        </a:lnSpc>
                      </a:pPr>
                      <a:r>
                        <a:rPr lang="en-US" sz="1200" noProof="0" dirty="0"/>
                        <a:t>39 (3.3)</a:t>
                      </a:r>
                    </a:p>
                  </a:txBody>
                  <a:tcPr anchor="ctr">
                    <a:solidFill>
                      <a:srgbClr val="E7E7E7"/>
                    </a:solidFill>
                  </a:tcPr>
                </a:tc>
                <a:tc>
                  <a:txBody>
                    <a:bodyPr/>
                    <a:lstStyle/>
                    <a:p>
                      <a:pPr algn="ctr">
                        <a:lnSpc>
                          <a:spcPct val="100000"/>
                        </a:lnSpc>
                      </a:pPr>
                      <a:r>
                        <a:rPr lang="en-US" sz="1200" noProof="0" dirty="0"/>
                        <a:t>269 (5.4)</a:t>
                      </a:r>
                    </a:p>
                  </a:txBody>
                  <a:tcPr anchor="ctr">
                    <a:solidFill>
                      <a:srgbClr val="E7E7E7"/>
                    </a:solidFill>
                  </a:tcPr>
                </a:tc>
                <a:extLst>
                  <a:ext uri="{0D108BD9-81ED-4DB2-BD59-A6C34878D82A}">
                    <a16:rowId xmlns:a16="http://schemas.microsoft.com/office/drawing/2014/main" val="3038595418"/>
                  </a:ext>
                </a:extLst>
              </a:tr>
              <a:tr h="711776">
                <a:tc>
                  <a:txBody>
                    <a:bodyPr/>
                    <a:lstStyle/>
                    <a:p>
                      <a:pPr algn="l">
                        <a:lnSpc>
                          <a:spcPct val="100000"/>
                        </a:lnSpc>
                      </a:pPr>
                      <a:r>
                        <a:rPr lang="en-US" sz="1200" noProof="0" dirty="0"/>
                        <a:t>Worsening renal function by 16 weeks,* n/n (%)</a:t>
                      </a:r>
                    </a:p>
                  </a:txBody>
                  <a:tcPr anchor="ctr">
                    <a:solidFill>
                      <a:schemeClr val="bg1"/>
                    </a:solidFill>
                  </a:tcPr>
                </a:tc>
                <a:tc>
                  <a:txBody>
                    <a:bodyPr/>
                    <a:lstStyle/>
                    <a:p>
                      <a:pPr algn="ctr">
                        <a:lnSpc>
                          <a:spcPct val="100000"/>
                        </a:lnSpc>
                      </a:pPr>
                      <a:r>
                        <a:rPr lang="en-US" sz="1200" noProof="0" dirty="0"/>
                        <a:t>47/210 </a:t>
                      </a:r>
                      <a:br>
                        <a:rPr lang="en-US" sz="1200" noProof="0" dirty="0"/>
                      </a:br>
                      <a:r>
                        <a:rPr lang="en-US" sz="1200" noProof="0" dirty="0"/>
                        <a:t>(22.4)</a:t>
                      </a:r>
                    </a:p>
                  </a:txBody>
                  <a:tcPr anchor="ctr">
                    <a:solidFill>
                      <a:schemeClr val="bg1"/>
                    </a:solidFill>
                  </a:tcPr>
                </a:tc>
                <a:tc>
                  <a:txBody>
                    <a:bodyPr/>
                    <a:lstStyle/>
                    <a:p>
                      <a:pPr algn="ctr">
                        <a:lnSpc>
                          <a:spcPct val="100000"/>
                        </a:lnSpc>
                      </a:pPr>
                      <a:r>
                        <a:rPr lang="en-US" sz="1200" noProof="0" dirty="0"/>
                        <a:t>35/184 </a:t>
                      </a:r>
                      <a:br>
                        <a:rPr lang="en-US" sz="1200" noProof="0" dirty="0"/>
                      </a:br>
                      <a:r>
                        <a:rPr lang="en-US" sz="1200" noProof="0" dirty="0"/>
                        <a:t>(19.0)</a:t>
                      </a:r>
                    </a:p>
                  </a:txBody>
                  <a:tcPr anchor="ctr">
                    <a:solidFill>
                      <a:schemeClr val="bg1"/>
                    </a:solidFill>
                  </a:tcPr>
                </a:tc>
                <a:tc>
                  <a:txBody>
                    <a:bodyPr/>
                    <a:lstStyle/>
                    <a:p>
                      <a:pPr algn="ctr">
                        <a:lnSpc>
                          <a:spcPct val="100000"/>
                        </a:lnSpc>
                      </a:pPr>
                      <a:r>
                        <a:rPr lang="en-US" sz="1200" noProof="0" dirty="0"/>
                        <a:t>183/892 (20.5)</a:t>
                      </a:r>
                    </a:p>
                  </a:txBody>
                  <a:tcPr anchor="ctr">
                    <a:solidFill>
                      <a:schemeClr val="bg1"/>
                    </a:solidFill>
                  </a:tcPr>
                </a:tc>
                <a:tc>
                  <a:txBody>
                    <a:bodyPr/>
                    <a:lstStyle/>
                    <a:p>
                      <a:pPr algn="ctr">
                        <a:lnSpc>
                          <a:spcPct val="100000"/>
                        </a:lnSpc>
                      </a:pPr>
                      <a:r>
                        <a:rPr lang="en-US" sz="1200" noProof="0" dirty="0"/>
                        <a:t>173/921 (18.8)</a:t>
                      </a:r>
                    </a:p>
                  </a:txBody>
                  <a:tcPr anchor="ctr">
                    <a:solidFill>
                      <a:schemeClr val="bg1"/>
                    </a:solidFill>
                  </a:tcPr>
                </a:tc>
                <a:tc>
                  <a:txBody>
                    <a:bodyPr/>
                    <a:lstStyle/>
                    <a:p>
                      <a:pPr algn="ctr">
                        <a:lnSpc>
                          <a:spcPct val="100000"/>
                        </a:lnSpc>
                      </a:pPr>
                      <a:r>
                        <a:rPr lang="en-US" sz="1200" noProof="0" dirty="0"/>
                        <a:t>116/1,016 (11.4)</a:t>
                      </a:r>
                    </a:p>
                  </a:txBody>
                  <a:tcPr anchor="ctr">
                    <a:solidFill>
                      <a:schemeClr val="bg1"/>
                    </a:solidFill>
                  </a:tcPr>
                </a:tc>
                <a:tc>
                  <a:txBody>
                    <a:bodyPr/>
                    <a:lstStyle/>
                    <a:p>
                      <a:pPr algn="ctr">
                        <a:lnSpc>
                          <a:spcPct val="100000"/>
                        </a:lnSpc>
                      </a:pPr>
                      <a:r>
                        <a:rPr lang="en-US" sz="1200" noProof="0" dirty="0"/>
                        <a:t>92/1,041 </a:t>
                      </a:r>
                      <a:br>
                        <a:rPr lang="en-US" sz="1200" noProof="0" dirty="0"/>
                      </a:br>
                      <a:r>
                        <a:rPr lang="en-US" sz="1200" noProof="0" dirty="0"/>
                        <a:t>(8.8)</a:t>
                      </a:r>
                    </a:p>
                  </a:txBody>
                  <a:tcPr anchor="ctr">
                    <a:solidFill>
                      <a:schemeClr val="bg1"/>
                    </a:solidFill>
                  </a:tcPr>
                </a:tc>
                <a:tc>
                  <a:txBody>
                    <a:bodyPr/>
                    <a:lstStyle/>
                    <a:p>
                      <a:pPr algn="ctr">
                        <a:lnSpc>
                          <a:spcPct val="100000"/>
                        </a:lnSpc>
                      </a:pPr>
                      <a:r>
                        <a:rPr lang="en-US" sz="1200" noProof="0" dirty="0"/>
                        <a:t>646/4,264 (15.2)</a:t>
                      </a:r>
                    </a:p>
                  </a:txBody>
                  <a:tcPr anchor="ctr">
                    <a:solidFill>
                      <a:schemeClr val="bg1"/>
                    </a:solidFill>
                  </a:tcPr>
                </a:tc>
                <a:extLst>
                  <a:ext uri="{0D108BD9-81ED-4DB2-BD59-A6C34878D82A}">
                    <a16:rowId xmlns:a16="http://schemas.microsoft.com/office/drawing/2014/main" val="2996148845"/>
                  </a:ext>
                </a:extLst>
              </a:tr>
            </a:tbl>
          </a:graphicData>
        </a:graphic>
      </p:graphicFrame>
      <p:sp>
        <p:nvSpPr>
          <p:cNvPr id="12" name="Rectangle 11">
            <a:extLst>
              <a:ext uri="{FF2B5EF4-FFF2-40B4-BE49-F238E27FC236}">
                <a16:creationId xmlns:a16="http://schemas.microsoft.com/office/drawing/2014/main" id="{7F84E327-7726-4073-B476-33C1ECDE0EBB}"/>
              </a:ext>
            </a:extLst>
          </p:cNvPr>
          <p:cNvSpPr/>
          <p:nvPr/>
        </p:nvSpPr>
        <p:spPr>
          <a:xfrm>
            <a:off x="600073" y="4941168"/>
            <a:ext cx="9928034" cy="584775"/>
          </a:xfrm>
          <a:prstGeom prst="rect">
            <a:avLst/>
          </a:prstGeom>
          <a:solidFill>
            <a:schemeClr val="accent1"/>
          </a:solidFill>
          <a:ln w="12700">
            <a:noFill/>
          </a:ln>
          <a:effectLst>
            <a:outerShdw blurRad="50800" dist="38100" dir="8100000" algn="tr"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Although hyperkalemia and worsening renal function were more prevalent in patients with an eGFR ≤30 ml/min/1.73 m</a:t>
            </a:r>
            <a:r>
              <a:rPr kumimoji="0" lang="en-US" sz="1600" b="1" i="0" u="none" strike="noStrike" kern="1200" cap="none" spc="0" normalizeH="0" baseline="30000" noProof="0" dirty="0">
                <a:ln>
                  <a:noFill/>
                </a:ln>
                <a:solidFill>
                  <a:srgbClr val="FFFFFF"/>
                </a:solidFill>
                <a:effectLst/>
                <a:uLnTx/>
                <a:uFillTx/>
                <a:latin typeface="Arial"/>
                <a:ea typeface="+mn-ea"/>
                <a:cs typeface="+mn-cs"/>
              </a:rPr>
              <a:t>2</a:t>
            </a:r>
            <a:r>
              <a:rPr kumimoji="0" lang="en-US" sz="1600" b="1" i="0" u="none" strike="noStrike" kern="1200" cap="none" spc="0" normalizeH="0" baseline="0" noProof="0" dirty="0">
                <a:ln>
                  <a:noFill/>
                </a:ln>
                <a:solidFill>
                  <a:srgbClr val="FFFFFF"/>
                </a:solidFill>
                <a:effectLst/>
                <a:uLnTx/>
                <a:uFillTx/>
                <a:latin typeface="Arial"/>
                <a:ea typeface="+mn-ea"/>
                <a:cs typeface="+mn-cs"/>
              </a:rPr>
              <a:t>, no differences were apparent between patients on vericiguat </a:t>
            </a:r>
            <a:r>
              <a:rPr kumimoji="0" lang="en-US" sz="1600" b="1" i="1" u="none" strike="noStrike" kern="1200" cap="none" spc="0" normalizeH="0" baseline="0" noProof="0" dirty="0">
                <a:ln>
                  <a:noFill/>
                </a:ln>
                <a:solidFill>
                  <a:srgbClr val="FFFFFF"/>
                </a:solidFill>
                <a:effectLst/>
                <a:uLnTx/>
                <a:uFillTx/>
                <a:latin typeface="Arial"/>
                <a:ea typeface="+mn-ea"/>
                <a:cs typeface="+mn-cs"/>
              </a:rPr>
              <a:t>vs</a:t>
            </a:r>
            <a:r>
              <a:rPr kumimoji="0" lang="en-US" sz="1600" b="1" i="0" u="none" strike="noStrike" kern="1200" cap="none" spc="0" normalizeH="0" baseline="0" noProof="0" dirty="0">
                <a:ln>
                  <a:noFill/>
                </a:ln>
                <a:solidFill>
                  <a:srgbClr val="FFFFFF"/>
                </a:solidFill>
                <a:effectLst/>
                <a:uLnTx/>
                <a:uFillTx/>
                <a:latin typeface="Arial"/>
                <a:ea typeface="+mn-ea"/>
                <a:cs typeface="+mn-cs"/>
              </a:rPr>
              <a:t> placebo</a:t>
            </a:r>
          </a:p>
        </p:txBody>
      </p:sp>
      <p:sp>
        <p:nvSpPr>
          <p:cNvPr id="14" name="Rectangle 13">
            <a:extLst>
              <a:ext uri="{FF2B5EF4-FFF2-40B4-BE49-F238E27FC236}">
                <a16:creationId xmlns:a16="http://schemas.microsoft.com/office/drawing/2014/main" id="{A56202E9-1AD0-4833-891C-53A849F27C46}"/>
              </a:ext>
            </a:extLst>
          </p:cNvPr>
          <p:cNvSpPr/>
          <p:nvPr/>
        </p:nvSpPr>
        <p:spPr>
          <a:xfrm>
            <a:off x="2351584" y="1419812"/>
            <a:ext cx="2304256" cy="30893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EBAEDA6-32A7-490B-B75F-0E8A2FDE8E23}"/>
              </a:ext>
            </a:extLst>
          </p:cNvPr>
          <p:cNvSpPr>
            <a:spLocks noGrp="1"/>
          </p:cNvSpPr>
          <p:nvPr>
            <p:ph type="title"/>
          </p:nvPr>
        </p:nvSpPr>
        <p:spPr/>
        <p:txBody>
          <a:bodyPr/>
          <a:lstStyle/>
          <a:p>
            <a:r>
              <a:rPr lang="en-US" dirty="0"/>
              <a:t>VICTORIA demonstrated similar rates of AEs by </a:t>
            </a:r>
            <a:br>
              <a:rPr lang="en-US" dirty="0"/>
            </a:br>
            <a:r>
              <a:rPr lang="en-US" dirty="0"/>
              <a:t>treatment arm and eGFR category</a:t>
            </a:r>
            <a:r>
              <a:rPr lang="en-GB" baseline="30000" dirty="0"/>
              <a:t>1</a:t>
            </a:r>
            <a:endParaRPr lang="en-GB" dirty="0"/>
          </a:p>
        </p:txBody>
      </p:sp>
      <p:sp>
        <p:nvSpPr>
          <p:cNvPr id="7" name="Slide Number Placeholder 6">
            <a:extLst>
              <a:ext uri="{FF2B5EF4-FFF2-40B4-BE49-F238E27FC236}">
                <a16:creationId xmlns:a16="http://schemas.microsoft.com/office/drawing/2014/main" id="{089346C8-F9B8-40EA-B4F5-4B96649E05F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Footer Placeholder 4">
            <a:extLst>
              <a:ext uri="{FF2B5EF4-FFF2-40B4-BE49-F238E27FC236}">
                <a16:creationId xmlns:a16="http://schemas.microsoft.com/office/drawing/2014/main" id="{CD6A2E1B-AB6D-43C7-AF7C-8ECF25D34CEE}"/>
              </a:ext>
            </a:extLst>
          </p:cNvPr>
          <p:cNvSpPr>
            <a:spLocks noGrp="1"/>
          </p:cNvSpPr>
          <p:nvPr>
            <p:ph type="ftr" sz="quarter" idx="16"/>
          </p:nvPr>
        </p:nvSpPr>
        <p:spPr>
          <a:xfrm>
            <a:off x="600073" y="6038487"/>
            <a:ext cx="992505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Worsening renal function was defined as an increase of ≥0.3 mg/dl in creatinine from baseline to Week 16, which was assessed via a Cox model with respect to subsequent primary ev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E, adverse event; eGFR, estimated glomerular filtration rate.</a:t>
            </a:r>
          </a:p>
          <a:p>
            <a:pPr marL="0" marR="0" lvl="0" indent="0" algn="l" defTabSz="914400" rtl="0" eaLnBrk="1" fontAlgn="auto" latinLnBrk="0" hangingPunct="1">
              <a:lnSpc>
                <a:spcPct val="80000"/>
              </a:lnSpc>
              <a:spcBef>
                <a:spcPts val="20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Reference: 1.</a:t>
            </a:r>
            <a:r>
              <a:rPr kumimoji="0" lang="en-GB" sz="800" b="0" i="0" u="none" strike="noStrike" kern="1200" cap="none" spc="0" normalizeH="0" baseline="0" noProof="0" dirty="0">
                <a:ln>
                  <a:noFill/>
                </a:ln>
                <a:solidFill>
                  <a:srgbClr val="000000"/>
                </a:solidFill>
                <a:effectLst/>
                <a:uLnTx/>
                <a:uFillTx/>
                <a:latin typeface="Arial"/>
                <a:ea typeface="+mn-ea"/>
                <a:cs typeface="+mn-cs"/>
              </a:rPr>
              <a:t> </a:t>
            </a:r>
            <a:r>
              <a:rPr kumimoji="0" lang="en-GB" sz="800" b="0" i="0" u="none" strike="noStrike" kern="1200" cap="none" spc="0" normalizeH="0" baseline="0" noProof="0" dirty="0" err="1">
                <a:ln>
                  <a:noFill/>
                </a:ln>
                <a:solidFill>
                  <a:srgbClr val="000000"/>
                </a:solidFill>
                <a:effectLst/>
                <a:uLnTx/>
                <a:uFillTx/>
                <a:latin typeface="Arial"/>
                <a:ea typeface="+mn-ea"/>
                <a:cs typeface="+mn-cs"/>
              </a:rPr>
              <a:t>Voors</a:t>
            </a:r>
            <a:r>
              <a:rPr kumimoji="0" lang="en-GB" sz="800" b="0" i="0" u="none" strike="noStrike" kern="1200" cap="none" spc="0" normalizeH="0" baseline="0" noProof="0" dirty="0">
                <a:ln>
                  <a:noFill/>
                </a:ln>
                <a:solidFill>
                  <a:srgbClr val="000000"/>
                </a:solidFill>
                <a:effectLst/>
                <a:uLnTx/>
                <a:uFillTx/>
                <a:latin typeface="Arial"/>
                <a:ea typeface="+mn-ea"/>
                <a:cs typeface="+mn-cs"/>
              </a:rPr>
              <a:t> AA </a:t>
            </a:r>
            <a:r>
              <a:rPr kumimoji="0" lang="en-GB" sz="800" b="0" i="1" u="none" strike="noStrike" kern="1200" cap="none" spc="0" normalizeH="0" baseline="0" noProof="0" dirty="0">
                <a:ln>
                  <a:noFill/>
                </a:ln>
                <a:solidFill>
                  <a:srgbClr val="000000"/>
                </a:solidFill>
                <a:effectLst/>
                <a:uLnTx/>
                <a:uFillTx/>
                <a:latin typeface="Arial"/>
                <a:ea typeface="+mn-ea"/>
                <a:cs typeface="+mn-cs"/>
              </a:rPr>
              <a:t>et al</a:t>
            </a:r>
            <a:r>
              <a:rPr kumimoji="0" lang="en-GB" sz="800" b="0" i="0" u="none" strike="noStrike" kern="1200" cap="none" spc="0" normalizeH="0" baseline="0" noProof="0" dirty="0">
                <a:ln>
                  <a:noFill/>
                </a:ln>
                <a:solidFill>
                  <a:srgbClr val="000000"/>
                </a:solidFill>
                <a:effectLst/>
                <a:uLnTx/>
                <a:uFillTx/>
                <a:latin typeface="Arial"/>
                <a:ea typeface="+mn-ea"/>
                <a:cs typeface="+mn-cs"/>
              </a:rPr>
              <a:t>. </a:t>
            </a:r>
            <a:r>
              <a:rPr kumimoji="0" lang="en-GB" sz="800" b="0" i="1" u="none" strike="noStrike" kern="1200" cap="none" spc="0" normalizeH="0" baseline="0" noProof="0" dirty="0" err="1">
                <a:ln>
                  <a:noFill/>
                </a:ln>
                <a:solidFill>
                  <a:srgbClr val="000000"/>
                </a:solidFill>
                <a:effectLst/>
                <a:uLnTx/>
                <a:uFillTx/>
                <a:latin typeface="Arial"/>
                <a:ea typeface="+mn-ea"/>
                <a:cs typeface="+mn-cs"/>
              </a:rPr>
              <a:t>Eur</a:t>
            </a:r>
            <a:r>
              <a:rPr kumimoji="0" lang="en-GB" sz="800" b="0" i="1" u="none" strike="noStrike" kern="1200" cap="none" spc="0" normalizeH="0" baseline="0" noProof="0" dirty="0">
                <a:ln>
                  <a:noFill/>
                </a:ln>
                <a:solidFill>
                  <a:srgbClr val="000000"/>
                </a:solidFill>
                <a:effectLst/>
                <a:uLnTx/>
                <a:uFillTx/>
                <a:latin typeface="Arial"/>
                <a:ea typeface="+mn-ea"/>
                <a:cs typeface="+mn-cs"/>
              </a:rPr>
              <a:t> J Heart Fail </a:t>
            </a:r>
            <a:r>
              <a:rPr kumimoji="0" lang="en-GB" sz="800" b="0" i="0" u="none" strike="noStrike" kern="1200" cap="none" spc="0" normalizeH="0" baseline="0" noProof="0" dirty="0">
                <a:ln>
                  <a:noFill/>
                </a:ln>
                <a:solidFill>
                  <a:srgbClr val="000000"/>
                </a:solidFill>
                <a:effectLst/>
                <a:uLnTx/>
                <a:uFillTx/>
                <a:latin typeface="Arial"/>
                <a:ea typeface="+mn-ea"/>
                <a:cs typeface="+mn-cs"/>
              </a:rPr>
              <a:t>2021;23:1313–1321.</a:t>
            </a:r>
            <a:endParaRPr kumimoji="0" lang="en-GB"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graphicFrame>
        <p:nvGraphicFramePr>
          <p:cNvPr id="16" name="Table 15">
            <a:extLst>
              <a:ext uri="{FF2B5EF4-FFF2-40B4-BE49-F238E27FC236}">
                <a16:creationId xmlns:a16="http://schemas.microsoft.com/office/drawing/2014/main" id="{93209858-9D59-45C5-B4E5-E41EF79B76A1}"/>
              </a:ext>
            </a:extLst>
          </p:cNvPr>
          <p:cNvGraphicFramePr>
            <a:graphicFrameLocks noGrp="1"/>
          </p:cNvGraphicFramePr>
          <p:nvPr/>
        </p:nvGraphicFramePr>
        <p:xfrm>
          <a:off x="600073" y="6386918"/>
          <a:ext cx="9925052" cy="396000"/>
        </p:xfrm>
        <a:graphic>
          <a:graphicData uri="http://schemas.openxmlformats.org/drawingml/2006/table">
            <a:tbl>
              <a:tblPr firstRow="1" firstCol="1" bandRow="1">
                <a:tableStyleId>{5C22544A-7EE6-4342-B048-85BDC9FD1C3A}</a:tableStyleId>
              </a:tblPr>
              <a:tblGrid>
                <a:gridCol w="4880770">
                  <a:extLst>
                    <a:ext uri="{9D8B030D-6E8A-4147-A177-3AD203B41FA5}">
                      <a16:colId xmlns:a16="http://schemas.microsoft.com/office/drawing/2014/main" val="98394083"/>
                    </a:ext>
                  </a:extLst>
                </a:gridCol>
                <a:gridCol w="5044282">
                  <a:extLst>
                    <a:ext uri="{9D8B030D-6E8A-4147-A177-3AD203B41FA5}">
                      <a16:colId xmlns:a16="http://schemas.microsoft.com/office/drawing/2014/main" val="1727449064"/>
                    </a:ext>
                  </a:extLst>
                </a:gridCol>
              </a:tblGrid>
              <a:tr h="264000">
                <a:tc>
                  <a:txBody>
                    <a:bodyPr/>
                    <a:lstStyle/>
                    <a:p>
                      <a:pPr>
                        <a:spcAft>
                          <a:spcPts val="0"/>
                        </a:spcAft>
                      </a:pPr>
                      <a:r>
                        <a:rPr lang="en-GB" sz="700" b="0" dirty="0">
                          <a:solidFill>
                            <a:schemeClr val="tx1"/>
                          </a:solidFill>
                          <a:effectLst/>
                        </a:rPr>
                        <a:t>▼ </a:t>
                      </a:r>
                      <a:r>
                        <a:rPr lang="es-ES" sz="700" b="0" dirty="0">
                          <a:solidFill>
                            <a:schemeClr val="tx1"/>
                          </a:solidFill>
                          <a:effectLst/>
                        </a:rPr>
                        <a:t>Vericiguat está sometido a seguimiento adicional, lo que permitirá la rápida identificación de nueva información sobre su seguridad. Se pide a los profesionales de la salud que informen sobre cualquier sospecha de reacción advers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 Vericiguat is subject to additional monitoring. This will allow quick identification of new safety information. Healthcare professionals are asked to report any suspected adverse reactions.</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57659"/>
                  </a:ext>
                </a:extLst>
              </a:tr>
              <a:tr h="132000">
                <a:tc>
                  <a:txBody>
                    <a:bodyPr/>
                    <a:lstStyle/>
                    <a:p>
                      <a:pPr>
                        <a:spcAft>
                          <a:spcPts val="0"/>
                        </a:spcAft>
                      </a:pPr>
                      <a:r>
                        <a:rPr lang="es-ES" sz="700" b="0" dirty="0">
                          <a:solidFill>
                            <a:schemeClr val="tx1"/>
                          </a:solidFill>
                          <a:effectLst/>
                        </a:rPr>
                        <a:t>Vericiguat no está comercializado en Españ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Vericiguat is not marketed in Spain.</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553355"/>
                  </a:ext>
                </a:extLst>
              </a:tr>
            </a:tbl>
          </a:graphicData>
        </a:graphic>
      </p:graphicFrame>
    </p:spTree>
    <p:extLst>
      <p:ext uri="{BB962C8B-B14F-4D97-AF65-F5344CB8AC3E}">
        <p14:creationId xmlns:p14="http://schemas.microsoft.com/office/powerpoint/2010/main" val="3388949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7" name="Group 366">
            <a:extLst>
              <a:ext uri="{FF2B5EF4-FFF2-40B4-BE49-F238E27FC236}">
                <a16:creationId xmlns:a16="http://schemas.microsoft.com/office/drawing/2014/main" id="{9B3FEF68-2B2B-4F29-90C4-1B986D3406E9}"/>
              </a:ext>
            </a:extLst>
          </p:cNvPr>
          <p:cNvGrpSpPr/>
          <p:nvPr/>
        </p:nvGrpSpPr>
        <p:grpSpPr>
          <a:xfrm>
            <a:off x="6343539" y="3192052"/>
            <a:ext cx="76647" cy="374716"/>
            <a:chOff x="1293079" y="2960706"/>
            <a:chExt cx="82296" cy="307186"/>
          </a:xfrm>
        </p:grpSpPr>
        <p:cxnSp>
          <p:nvCxnSpPr>
            <p:cNvPr id="380" name="Straight Connector 379">
              <a:extLst>
                <a:ext uri="{FF2B5EF4-FFF2-40B4-BE49-F238E27FC236}">
                  <a16:creationId xmlns:a16="http://schemas.microsoft.com/office/drawing/2014/main" id="{66BE9507-3C08-4F92-8332-0F21822F4FDD}"/>
                </a:ext>
              </a:extLst>
            </p:cNvPr>
            <p:cNvCxnSpPr>
              <a:cxnSpLocks/>
            </p:cNvCxnSpPr>
            <p:nvPr/>
          </p:nvCxnSpPr>
          <p:spPr>
            <a:xfrm>
              <a:off x="1334227" y="2960706"/>
              <a:ext cx="0" cy="307186"/>
            </a:xfrm>
            <a:prstGeom prst="line">
              <a:avLst/>
            </a:prstGeom>
            <a:noFill/>
            <a:ln w="9525" cap="flat" cmpd="sng" algn="ctr">
              <a:solidFill>
                <a:schemeClr val="tx2"/>
              </a:solidFill>
              <a:prstDash val="solid"/>
              <a:miter lim="800000"/>
            </a:ln>
            <a:effectLst/>
          </p:spPr>
        </p:cxnSp>
        <p:cxnSp>
          <p:nvCxnSpPr>
            <p:cNvPr id="381" name="Straight Connector 380">
              <a:extLst>
                <a:ext uri="{FF2B5EF4-FFF2-40B4-BE49-F238E27FC236}">
                  <a16:creationId xmlns:a16="http://schemas.microsoft.com/office/drawing/2014/main" id="{EDD0A488-9F33-473E-B521-B8CDAF6DE843}"/>
                </a:ext>
              </a:extLst>
            </p:cNvPr>
            <p:cNvCxnSpPr>
              <a:cxnSpLocks/>
            </p:cNvCxnSpPr>
            <p:nvPr/>
          </p:nvCxnSpPr>
          <p:spPr>
            <a:xfrm rot="5400000">
              <a:off x="1334227" y="2919558"/>
              <a:ext cx="0" cy="82296"/>
            </a:xfrm>
            <a:prstGeom prst="line">
              <a:avLst/>
            </a:prstGeom>
            <a:noFill/>
            <a:ln w="9525" cap="flat" cmpd="sng" algn="ctr">
              <a:solidFill>
                <a:schemeClr val="tx2"/>
              </a:solidFill>
              <a:prstDash val="solid"/>
              <a:miter lim="800000"/>
            </a:ln>
            <a:effectLst/>
          </p:spPr>
        </p:cxnSp>
        <p:cxnSp>
          <p:nvCxnSpPr>
            <p:cNvPr id="382" name="Straight Connector 381">
              <a:extLst>
                <a:ext uri="{FF2B5EF4-FFF2-40B4-BE49-F238E27FC236}">
                  <a16:creationId xmlns:a16="http://schemas.microsoft.com/office/drawing/2014/main" id="{E2EA9457-6C42-465F-AFE6-9B60C9ECF14F}"/>
                </a:ext>
              </a:extLst>
            </p:cNvPr>
            <p:cNvCxnSpPr>
              <a:cxnSpLocks/>
            </p:cNvCxnSpPr>
            <p:nvPr/>
          </p:nvCxnSpPr>
          <p:spPr>
            <a:xfrm rot="5400000">
              <a:off x="1334227" y="3226744"/>
              <a:ext cx="0" cy="82296"/>
            </a:xfrm>
            <a:prstGeom prst="line">
              <a:avLst/>
            </a:prstGeom>
            <a:noFill/>
            <a:ln w="9525" cap="flat" cmpd="sng" algn="ctr">
              <a:solidFill>
                <a:schemeClr val="tx2"/>
              </a:solidFill>
              <a:prstDash val="solid"/>
              <a:miter lim="800000"/>
            </a:ln>
            <a:effectLst/>
          </p:spPr>
        </p:cxnSp>
      </p:grpSp>
      <p:grpSp>
        <p:nvGrpSpPr>
          <p:cNvPr id="185" name="Group 184">
            <a:extLst>
              <a:ext uri="{FF2B5EF4-FFF2-40B4-BE49-F238E27FC236}">
                <a16:creationId xmlns:a16="http://schemas.microsoft.com/office/drawing/2014/main" id="{DEF9ABC0-442C-4F5E-A024-8EEB19C9517A}"/>
              </a:ext>
            </a:extLst>
          </p:cNvPr>
          <p:cNvGrpSpPr/>
          <p:nvPr/>
        </p:nvGrpSpPr>
        <p:grpSpPr>
          <a:xfrm>
            <a:off x="1235350" y="3063087"/>
            <a:ext cx="4094716" cy="328689"/>
            <a:chOff x="1439291" y="3033045"/>
            <a:chExt cx="4399357" cy="353143"/>
          </a:xfrm>
        </p:grpSpPr>
        <p:grpSp>
          <p:nvGrpSpPr>
            <p:cNvPr id="186" name="Group 185">
              <a:extLst>
                <a:ext uri="{FF2B5EF4-FFF2-40B4-BE49-F238E27FC236}">
                  <a16:creationId xmlns:a16="http://schemas.microsoft.com/office/drawing/2014/main" id="{E93DF5EB-6F01-4035-BFAB-E654572EEC86}"/>
                </a:ext>
              </a:extLst>
            </p:cNvPr>
            <p:cNvGrpSpPr/>
            <p:nvPr/>
          </p:nvGrpSpPr>
          <p:grpSpPr>
            <a:xfrm>
              <a:off x="1439291" y="3194164"/>
              <a:ext cx="82296" cy="192024"/>
              <a:chOff x="1288317" y="2960706"/>
              <a:chExt cx="82296" cy="307186"/>
            </a:xfrm>
          </p:grpSpPr>
          <p:cxnSp>
            <p:nvCxnSpPr>
              <p:cNvPr id="199" name="Straight Connector 198">
                <a:extLst>
                  <a:ext uri="{FF2B5EF4-FFF2-40B4-BE49-F238E27FC236}">
                    <a16:creationId xmlns:a16="http://schemas.microsoft.com/office/drawing/2014/main" id="{655A16F6-0E35-4E07-B83A-54FD9C449303}"/>
                  </a:ext>
                </a:extLst>
              </p:cNvPr>
              <p:cNvCxnSpPr>
                <a:cxnSpLocks/>
              </p:cNvCxnSpPr>
              <p:nvPr/>
            </p:nvCxnSpPr>
            <p:spPr>
              <a:xfrm>
                <a:off x="1329465" y="2960706"/>
                <a:ext cx="0" cy="307186"/>
              </a:xfrm>
              <a:prstGeom prst="line">
                <a:avLst/>
              </a:prstGeom>
              <a:noFill/>
              <a:ln w="9525" cap="flat" cmpd="sng" algn="ctr">
                <a:solidFill>
                  <a:schemeClr val="accent1"/>
                </a:solidFill>
                <a:prstDash val="solid"/>
                <a:miter lim="800000"/>
              </a:ln>
              <a:effectLst/>
            </p:spPr>
          </p:cxnSp>
          <p:cxnSp>
            <p:nvCxnSpPr>
              <p:cNvPr id="200" name="Straight Connector 199">
                <a:extLst>
                  <a:ext uri="{FF2B5EF4-FFF2-40B4-BE49-F238E27FC236}">
                    <a16:creationId xmlns:a16="http://schemas.microsoft.com/office/drawing/2014/main" id="{F67197ED-2D92-4BD0-885F-6B7779ABCD59}"/>
                  </a:ext>
                </a:extLst>
              </p:cNvPr>
              <p:cNvCxnSpPr>
                <a:cxnSpLocks/>
              </p:cNvCxnSpPr>
              <p:nvPr/>
            </p:nvCxnSpPr>
            <p:spPr>
              <a:xfrm rot="5400000">
                <a:off x="1329465" y="2919558"/>
                <a:ext cx="0" cy="82296"/>
              </a:xfrm>
              <a:prstGeom prst="line">
                <a:avLst/>
              </a:prstGeom>
              <a:noFill/>
              <a:ln w="9525" cap="flat" cmpd="sng" algn="ctr">
                <a:solidFill>
                  <a:schemeClr val="accent1"/>
                </a:solidFill>
                <a:prstDash val="solid"/>
                <a:miter lim="800000"/>
              </a:ln>
              <a:effectLst/>
            </p:spPr>
          </p:cxnSp>
          <p:cxnSp>
            <p:nvCxnSpPr>
              <p:cNvPr id="201" name="Straight Connector 200">
                <a:extLst>
                  <a:ext uri="{FF2B5EF4-FFF2-40B4-BE49-F238E27FC236}">
                    <a16:creationId xmlns:a16="http://schemas.microsoft.com/office/drawing/2014/main" id="{FC09D836-961A-4997-B941-FE7817D4A96D}"/>
                  </a:ext>
                </a:extLst>
              </p:cNvPr>
              <p:cNvCxnSpPr>
                <a:cxnSpLocks/>
              </p:cNvCxnSpPr>
              <p:nvPr/>
            </p:nvCxnSpPr>
            <p:spPr>
              <a:xfrm rot="5400000">
                <a:off x="1329465" y="3226744"/>
                <a:ext cx="0" cy="82296"/>
              </a:xfrm>
              <a:prstGeom prst="line">
                <a:avLst/>
              </a:prstGeom>
              <a:noFill/>
              <a:ln w="9525" cap="flat" cmpd="sng" algn="ctr">
                <a:solidFill>
                  <a:schemeClr val="accent1"/>
                </a:solidFill>
                <a:prstDash val="solid"/>
                <a:miter lim="800000"/>
              </a:ln>
              <a:effectLst/>
            </p:spPr>
          </p:cxnSp>
        </p:grpSp>
        <p:grpSp>
          <p:nvGrpSpPr>
            <p:cNvPr id="187" name="Group 186">
              <a:extLst>
                <a:ext uri="{FF2B5EF4-FFF2-40B4-BE49-F238E27FC236}">
                  <a16:creationId xmlns:a16="http://schemas.microsoft.com/office/drawing/2014/main" id="{F7BA4B67-5E15-470D-A92A-ED9759922E68}"/>
                </a:ext>
              </a:extLst>
            </p:cNvPr>
            <p:cNvGrpSpPr/>
            <p:nvPr/>
          </p:nvGrpSpPr>
          <p:grpSpPr>
            <a:xfrm>
              <a:off x="2878476" y="3112107"/>
              <a:ext cx="82296" cy="192024"/>
              <a:chOff x="1293079" y="2960706"/>
              <a:chExt cx="82296" cy="307186"/>
            </a:xfrm>
          </p:grpSpPr>
          <p:cxnSp>
            <p:nvCxnSpPr>
              <p:cNvPr id="196" name="Straight Connector 195">
                <a:extLst>
                  <a:ext uri="{FF2B5EF4-FFF2-40B4-BE49-F238E27FC236}">
                    <a16:creationId xmlns:a16="http://schemas.microsoft.com/office/drawing/2014/main" id="{B2413F09-3F7E-4A67-9BB3-CC948CE8FC34}"/>
                  </a:ext>
                </a:extLst>
              </p:cNvPr>
              <p:cNvCxnSpPr>
                <a:cxnSpLocks/>
              </p:cNvCxnSpPr>
              <p:nvPr/>
            </p:nvCxnSpPr>
            <p:spPr>
              <a:xfrm>
                <a:off x="1334227" y="2960706"/>
                <a:ext cx="0" cy="307186"/>
              </a:xfrm>
              <a:prstGeom prst="line">
                <a:avLst/>
              </a:prstGeom>
              <a:noFill/>
              <a:ln w="9525" cap="flat" cmpd="sng" algn="ctr">
                <a:solidFill>
                  <a:schemeClr val="accent1"/>
                </a:solidFill>
                <a:prstDash val="solid"/>
                <a:miter lim="800000"/>
              </a:ln>
              <a:effectLst/>
            </p:spPr>
          </p:cxnSp>
          <p:cxnSp>
            <p:nvCxnSpPr>
              <p:cNvPr id="197" name="Straight Connector 196">
                <a:extLst>
                  <a:ext uri="{FF2B5EF4-FFF2-40B4-BE49-F238E27FC236}">
                    <a16:creationId xmlns:a16="http://schemas.microsoft.com/office/drawing/2014/main" id="{650C351E-8DCB-4FDB-BBF6-34EB9EB33C99}"/>
                  </a:ext>
                </a:extLst>
              </p:cNvPr>
              <p:cNvCxnSpPr>
                <a:cxnSpLocks/>
              </p:cNvCxnSpPr>
              <p:nvPr/>
            </p:nvCxnSpPr>
            <p:spPr>
              <a:xfrm rot="5400000">
                <a:off x="1334227" y="2919558"/>
                <a:ext cx="0" cy="82296"/>
              </a:xfrm>
              <a:prstGeom prst="line">
                <a:avLst/>
              </a:prstGeom>
              <a:noFill/>
              <a:ln w="9525" cap="flat" cmpd="sng" algn="ctr">
                <a:solidFill>
                  <a:schemeClr val="accent1"/>
                </a:solidFill>
                <a:prstDash val="solid"/>
                <a:miter lim="800000"/>
              </a:ln>
              <a:effectLst/>
            </p:spPr>
          </p:cxnSp>
          <p:cxnSp>
            <p:nvCxnSpPr>
              <p:cNvPr id="198" name="Straight Connector 197">
                <a:extLst>
                  <a:ext uri="{FF2B5EF4-FFF2-40B4-BE49-F238E27FC236}">
                    <a16:creationId xmlns:a16="http://schemas.microsoft.com/office/drawing/2014/main" id="{B3E2B220-A240-4B4E-A05A-492F4DD8A955}"/>
                  </a:ext>
                </a:extLst>
              </p:cNvPr>
              <p:cNvCxnSpPr>
                <a:cxnSpLocks/>
              </p:cNvCxnSpPr>
              <p:nvPr/>
            </p:nvCxnSpPr>
            <p:spPr>
              <a:xfrm rot="5400000">
                <a:off x="1334227" y="3226744"/>
                <a:ext cx="0" cy="82296"/>
              </a:xfrm>
              <a:prstGeom prst="line">
                <a:avLst/>
              </a:prstGeom>
              <a:noFill/>
              <a:ln w="9525" cap="flat" cmpd="sng" algn="ctr">
                <a:solidFill>
                  <a:schemeClr val="accent1"/>
                </a:solidFill>
                <a:prstDash val="solid"/>
                <a:miter lim="800000"/>
              </a:ln>
              <a:effectLst/>
            </p:spPr>
          </p:cxnSp>
        </p:grpSp>
        <p:grpSp>
          <p:nvGrpSpPr>
            <p:cNvPr id="188" name="Group 187">
              <a:extLst>
                <a:ext uri="{FF2B5EF4-FFF2-40B4-BE49-F238E27FC236}">
                  <a16:creationId xmlns:a16="http://schemas.microsoft.com/office/drawing/2014/main" id="{FA8D031F-B7F4-4E30-B8DE-E8CD08847C95}"/>
                </a:ext>
              </a:extLst>
            </p:cNvPr>
            <p:cNvGrpSpPr/>
            <p:nvPr/>
          </p:nvGrpSpPr>
          <p:grpSpPr>
            <a:xfrm>
              <a:off x="4311073" y="3113047"/>
              <a:ext cx="82296" cy="192024"/>
              <a:chOff x="1293079" y="2960706"/>
              <a:chExt cx="82296" cy="307186"/>
            </a:xfrm>
          </p:grpSpPr>
          <p:cxnSp>
            <p:nvCxnSpPr>
              <p:cNvPr id="193" name="Straight Connector 192">
                <a:extLst>
                  <a:ext uri="{FF2B5EF4-FFF2-40B4-BE49-F238E27FC236}">
                    <a16:creationId xmlns:a16="http://schemas.microsoft.com/office/drawing/2014/main" id="{14C422C0-67E9-41D3-8138-EB0C939DFA13}"/>
                  </a:ext>
                </a:extLst>
              </p:cNvPr>
              <p:cNvCxnSpPr>
                <a:cxnSpLocks/>
              </p:cNvCxnSpPr>
              <p:nvPr/>
            </p:nvCxnSpPr>
            <p:spPr>
              <a:xfrm>
                <a:off x="1334227" y="2960706"/>
                <a:ext cx="0" cy="307186"/>
              </a:xfrm>
              <a:prstGeom prst="line">
                <a:avLst/>
              </a:prstGeom>
              <a:noFill/>
              <a:ln w="9525" cap="flat" cmpd="sng" algn="ctr">
                <a:solidFill>
                  <a:schemeClr val="accent1"/>
                </a:solidFill>
                <a:prstDash val="solid"/>
                <a:miter lim="800000"/>
              </a:ln>
              <a:effectLst/>
            </p:spPr>
          </p:cxnSp>
          <p:cxnSp>
            <p:nvCxnSpPr>
              <p:cNvPr id="194" name="Straight Connector 193">
                <a:extLst>
                  <a:ext uri="{FF2B5EF4-FFF2-40B4-BE49-F238E27FC236}">
                    <a16:creationId xmlns:a16="http://schemas.microsoft.com/office/drawing/2014/main" id="{4184D962-7720-4725-90D1-AD24D61B1DB2}"/>
                  </a:ext>
                </a:extLst>
              </p:cNvPr>
              <p:cNvCxnSpPr>
                <a:cxnSpLocks/>
              </p:cNvCxnSpPr>
              <p:nvPr/>
            </p:nvCxnSpPr>
            <p:spPr>
              <a:xfrm rot="5400000">
                <a:off x="1334227" y="2919558"/>
                <a:ext cx="0" cy="82296"/>
              </a:xfrm>
              <a:prstGeom prst="line">
                <a:avLst/>
              </a:prstGeom>
              <a:noFill/>
              <a:ln w="9525" cap="flat" cmpd="sng" algn="ctr">
                <a:solidFill>
                  <a:schemeClr val="accent1"/>
                </a:solidFill>
                <a:prstDash val="solid"/>
                <a:miter lim="800000"/>
              </a:ln>
              <a:effectLst/>
            </p:spPr>
          </p:cxnSp>
          <p:cxnSp>
            <p:nvCxnSpPr>
              <p:cNvPr id="195" name="Straight Connector 194">
                <a:extLst>
                  <a:ext uri="{FF2B5EF4-FFF2-40B4-BE49-F238E27FC236}">
                    <a16:creationId xmlns:a16="http://schemas.microsoft.com/office/drawing/2014/main" id="{35B96582-D4AD-461C-B778-48B4F80830C9}"/>
                  </a:ext>
                </a:extLst>
              </p:cNvPr>
              <p:cNvCxnSpPr>
                <a:cxnSpLocks/>
              </p:cNvCxnSpPr>
              <p:nvPr/>
            </p:nvCxnSpPr>
            <p:spPr>
              <a:xfrm rot="5400000">
                <a:off x="1334227" y="3226744"/>
                <a:ext cx="0" cy="82296"/>
              </a:xfrm>
              <a:prstGeom prst="line">
                <a:avLst/>
              </a:prstGeom>
              <a:noFill/>
              <a:ln w="9525" cap="flat" cmpd="sng" algn="ctr">
                <a:solidFill>
                  <a:schemeClr val="accent1"/>
                </a:solidFill>
                <a:prstDash val="solid"/>
                <a:miter lim="800000"/>
              </a:ln>
              <a:effectLst/>
            </p:spPr>
          </p:cxnSp>
        </p:grpSp>
        <p:grpSp>
          <p:nvGrpSpPr>
            <p:cNvPr id="189" name="Group 188">
              <a:extLst>
                <a:ext uri="{FF2B5EF4-FFF2-40B4-BE49-F238E27FC236}">
                  <a16:creationId xmlns:a16="http://schemas.microsoft.com/office/drawing/2014/main" id="{52B100E6-A2F1-4BB5-BEB3-D51D81A7950C}"/>
                </a:ext>
              </a:extLst>
            </p:cNvPr>
            <p:cNvGrpSpPr/>
            <p:nvPr/>
          </p:nvGrpSpPr>
          <p:grpSpPr>
            <a:xfrm>
              <a:off x="5756352" y="3033045"/>
              <a:ext cx="82296" cy="210312"/>
              <a:chOff x="1304984" y="2960706"/>
              <a:chExt cx="82296" cy="307186"/>
            </a:xfrm>
          </p:grpSpPr>
          <p:cxnSp>
            <p:nvCxnSpPr>
              <p:cNvPr id="190" name="Straight Connector 189">
                <a:extLst>
                  <a:ext uri="{FF2B5EF4-FFF2-40B4-BE49-F238E27FC236}">
                    <a16:creationId xmlns:a16="http://schemas.microsoft.com/office/drawing/2014/main" id="{E0B11B27-649C-4911-B158-3724372766DD}"/>
                  </a:ext>
                </a:extLst>
              </p:cNvPr>
              <p:cNvCxnSpPr>
                <a:cxnSpLocks/>
              </p:cNvCxnSpPr>
              <p:nvPr/>
            </p:nvCxnSpPr>
            <p:spPr>
              <a:xfrm>
                <a:off x="1346132" y="2960706"/>
                <a:ext cx="0" cy="307186"/>
              </a:xfrm>
              <a:prstGeom prst="line">
                <a:avLst/>
              </a:prstGeom>
              <a:noFill/>
              <a:ln w="9525" cap="flat" cmpd="sng" algn="ctr">
                <a:solidFill>
                  <a:schemeClr val="accent1"/>
                </a:solidFill>
                <a:prstDash val="solid"/>
                <a:miter lim="800000"/>
              </a:ln>
              <a:effectLst/>
            </p:spPr>
          </p:cxnSp>
          <p:cxnSp>
            <p:nvCxnSpPr>
              <p:cNvPr id="191" name="Straight Connector 190">
                <a:extLst>
                  <a:ext uri="{FF2B5EF4-FFF2-40B4-BE49-F238E27FC236}">
                    <a16:creationId xmlns:a16="http://schemas.microsoft.com/office/drawing/2014/main" id="{0036BD0A-4FB1-48C9-A4CD-EF3129EF3169}"/>
                  </a:ext>
                </a:extLst>
              </p:cNvPr>
              <p:cNvCxnSpPr>
                <a:cxnSpLocks/>
              </p:cNvCxnSpPr>
              <p:nvPr/>
            </p:nvCxnSpPr>
            <p:spPr>
              <a:xfrm rot="5400000">
                <a:off x="1346132" y="2919558"/>
                <a:ext cx="0" cy="82296"/>
              </a:xfrm>
              <a:prstGeom prst="line">
                <a:avLst/>
              </a:prstGeom>
              <a:noFill/>
              <a:ln w="9525" cap="flat" cmpd="sng" algn="ctr">
                <a:solidFill>
                  <a:schemeClr val="accent1"/>
                </a:solidFill>
                <a:prstDash val="solid"/>
                <a:miter lim="800000"/>
              </a:ln>
              <a:effectLst/>
            </p:spPr>
          </p:cxnSp>
          <p:cxnSp>
            <p:nvCxnSpPr>
              <p:cNvPr id="192" name="Straight Connector 191">
                <a:extLst>
                  <a:ext uri="{FF2B5EF4-FFF2-40B4-BE49-F238E27FC236}">
                    <a16:creationId xmlns:a16="http://schemas.microsoft.com/office/drawing/2014/main" id="{D3AFDA0E-7347-438D-9F4E-3CA05BA45230}"/>
                  </a:ext>
                </a:extLst>
              </p:cNvPr>
              <p:cNvCxnSpPr>
                <a:cxnSpLocks/>
              </p:cNvCxnSpPr>
              <p:nvPr/>
            </p:nvCxnSpPr>
            <p:spPr>
              <a:xfrm rot="5400000">
                <a:off x="1346132" y="3226744"/>
                <a:ext cx="0" cy="82296"/>
              </a:xfrm>
              <a:prstGeom prst="line">
                <a:avLst/>
              </a:prstGeom>
              <a:noFill/>
              <a:ln w="9525" cap="flat" cmpd="sng" algn="ctr">
                <a:solidFill>
                  <a:schemeClr val="accent1"/>
                </a:solidFill>
                <a:prstDash val="solid"/>
                <a:miter lim="800000"/>
              </a:ln>
              <a:effectLst/>
            </p:spPr>
          </p:cxnSp>
        </p:grpSp>
      </p:grpSp>
      <p:sp>
        <p:nvSpPr>
          <p:cNvPr id="6" name="Text Placeholder 5">
            <a:extLst>
              <a:ext uri="{FF2B5EF4-FFF2-40B4-BE49-F238E27FC236}">
                <a16:creationId xmlns:a16="http://schemas.microsoft.com/office/drawing/2014/main" id="{EFA8C673-4A63-4874-B766-A67B2504CF2D}"/>
              </a:ext>
            </a:extLst>
          </p:cNvPr>
          <p:cNvSpPr>
            <a:spLocks noGrp="1"/>
          </p:cNvSpPr>
          <p:nvPr>
            <p:ph type="body" sz="quarter" idx="16"/>
          </p:nvPr>
        </p:nvSpPr>
        <p:spPr/>
        <p:txBody>
          <a:bodyPr/>
          <a:lstStyle/>
          <a:p>
            <a:r>
              <a:rPr lang="en-GB" dirty="0"/>
              <a:t>Change in potassium levels</a:t>
            </a:r>
          </a:p>
        </p:txBody>
      </p:sp>
      <p:sp>
        <p:nvSpPr>
          <p:cNvPr id="3" name="Text Placeholder 2">
            <a:extLst>
              <a:ext uri="{FF2B5EF4-FFF2-40B4-BE49-F238E27FC236}">
                <a16:creationId xmlns:a16="http://schemas.microsoft.com/office/drawing/2014/main" id="{0442B442-A79D-4F15-AA85-99228DBF2699}"/>
              </a:ext>
            </a:extLst>
          </p:cNvPr>
          <p:cNvSpPr>
            <a:spLocks noGrp="1"/>
          </p:cNvSpPr>
          <p:nvPr>
            <p:ph type="body" sz="quarter" idx="14"/>
          </p:nvPr>
        </p:nvSpPr>
        <p:spPr/>
        <p:txBody>
          <a:bodyPr/>
          <a:lstStyle/>
          <a:p>
            <a:r>
              <a:rPr lang="en-GB" dirty="0"/>
              <a:t>Change in sodium levels</a:t>
            </a:r>
          </a:p>
        </p:txBody>
      </p:sp>
      <p:sp>
        <p:nvSpPr>
          <p:cNvPr id="2" name="Title 1">
            <a:extLst>
              <a:ext uri="{FF2B5EF4-FFF2-40B4-BE49-F238E27FC236}">
                <a16:creationId xmlns:a16="http://schemas.microsoft.com/office/drawing/2014/main" id="{D5618F80-71F8-43C5-9388-503C2A70E341}"/>
              </a:ext>
            </a:extLst>
          </p:cNvPr>
          <p:cNvSpPr>
            <a:spLocks noGrp="1"/>
          </p:cNvSpPr>
          <p:nvPr>
            <p:ph type="title"/>
          </p:nvPr>
        </p:nvSpPr>
        <p:spPr/>
        <p:txBody>
          <a:bodyPr/>
          <a:lstStyle/>
          <a:p>
            <a:pPr>
              <a:lnSpc>
                <a:spcPct val="100000"/>
              </a:lnSpc>
            </a:pPr>
            <a:r>
              <a:rPr lang="en-GB" dirty="0"/>
              <a:t>Vericiguat had no clinically relevant impact on sodium and potassium levels over time*</a:t>
            </a:r>
            <a:r>
              <a:rPr lang="en-GB" baseline="30000" dirty="0"/>
              <a:t>1</a:t>
            </a:r>
            <a:endParaRPr lang="en-GB" dirty="0"/>
          </a:p>
        </p:txBody>
      </p:sp>
      <p:graphicFrame>
        <p:nvGraphicFramePr>
          <p:cNvPr id="67" name="Table 66">
            <a:extLst>
              <a:ext uri="{FF2B5EF4-FFF2-40B4-BE49-F238E27FC236}">
                <a16:creationId xmlns:a16="http://schemas.microsoft.com/office/drawing/2014/main" id="{577A8F05-3D13-4147-A283-EF2033D7A528}"/>
              </a:ext>
            </a:extLst>
          </p:cNvPr>
          <p:cNvGraphicFramePr>
            <a:graphicFrameLocks noGrp="1"/>
          </p:cNvGraphicFramePr>
          <p:nvPr/>
        </p:nvGraphicFramePr>
        <p:xfrm>
          <a:off x="0" y="5160720"/>
          <a:ext cx="5663950" cy="518160"/>
        </p:xfrm>
        <a:graphic>
          <a:graphicData uri="http://schemas.openxmlformats.org/drawingml/2006/table">
            <a:tbl>
              <a:tblPr firstRow="1" bandRow="1">
                <a:tableStyleId>{2D5ABB26-0587-4C30-8999-92F81FD0307C}</a:tableStyleId>
              </a:tblPr>
              <a:tblGrid>
                <a:gridCol w="875420">
                  <a:extLst>
                    <a:ext uri="{9D8B030D-6E8A-4147-A177-3AD203B41FA5}">
                      <a16:colId xmlns:a16="http://schemas.microsoft.com/office/drawing/2014/main" val="3318445798"/>
                    </a:ext>
                  </a:extLst>
                </a:gridCol>
                <a:gridCol w="792088">
                  <a:extLst>
                    <a:ext uri="{9D8B030D-6E8A-4147-A177-3AD203B41FA5}">
                      <a16:colId xmlns:a16="http://schemas.microsoft.com/office/drawing/2014/main" val="3074955764"/>
                    </a:ext>
                  </a:extLst>
                </a:gridCol>
                <a:gridCol w="1875792">
                  <a:extLst>
                    <a:ext uri="{9D8B030D-6E8A-4147-A177-3AD203B41FA5}">
                      <a16:colId xmlns:a16="http://schemas.microsoft.com/office/drawing/2014/main" val="1489931953"/>
                    </a:ext>
                  </a:extLst>
                </a:gridCol>
                <a:gridCol w="790575">
                  <a:extLst>
                    <a:ext uri="{9D8B030D-6E8A-4147-A177-3AD203B41FA5}">
                      <a16:colId xmlns:a16="http://schemas.microsoft.com/office/drawing/2014/main" val="118318021"/>
                    </a:ext>
                  </a:extLst>
                </a:gridCol>
                <a:gridCol w="1330075">
                  <a:extLst>
                    <a:ext uri="{9D8B030D-6E8A-4147-A177-3AD203B41FA5}">
                      <a16:colId xmlns:a16="http://schemas.microsoft.com/office/drawing/2014/main" val="2205800383"/>
                    </a:ext>
                  </a:extLst>
                </a:gridCol>
              </a:tblGrid>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100" b="1" dirty="0"/>
                        <a:t>Vericiguat</a:t>
                      </a:r>
                    </a:p>
                  </a:txBody>
                  <a:tcPr marR="0"/>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194</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159</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974</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553</a:t>
                      </a:r>
                    </a:p>
                  </a:txBody>
                  <a:tcPr marL="540000" marR="0"/>
                </a:tc>
                <a:extLst>
                  <a:ext uri="{0D108BD9-81ED-4DB2-BD59-A6C34878D82A}">
                    <a16:rowId xmlns:a16="http://schemas.microsoft.com/office/drawing/2014/main" val="3412855997"/>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100" b="1" dirty="0"/>
                        <a:t>Placebo</a:t>
                      </a:r>
                    </a:p>
                  </a:txBody>
                  <a:tcPr marR="0"/>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236</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186</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000</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559</a:t>
                      </a:r>
                    </a:p>
                  </a:txBody>
                  <a:tcPr marL="540000" marR="0"/>
                </a:tc>
                <a:extLst>
                  <a:ext uri="{0D108BD9-81ED-4DB2-BD59-A6C34878D82A}">
                    <a16:rowId xmlns:a16="http://schemas.microsoft.com/office/drawing/2014/main" val="2659134784"/>
                  </a:ext>
                </a:extLst>
              </a:tr>
            </a:tbl>
          </a:graphicData>
        </a:graphic>
      </p:graphicFrame>
      <p:graphicFrame>
        <p:nvGraphicFramePr>
          <p:cNvPr id="126" name="Table 125">
            <a:extLst>
              <a:ext uri="{FF2B5EF4-FFF2-40B4-BE49-F238E27FC236}">
                <a16:creationId xmlns:a16="http://schemas.microsoft.com/office/drawing/2014/main" id="{D87C0F3B-A4B9-41FB-8FB2-B9ED97C75D51}"/>
              </a:ext>
            </a:extLst>
          </p:cNvPr>
          <p:cNvGraphicFramePr>
            <a:graphicFrameLocks noGrp="1"/>
          </p:cNvGraphicFramePr>
          <p:nvPr/>
        </p:nvGraphicFramePr>
        <p:xfrm>
          <a:off x="6003693" y="5160720"/>
          <a:ext cx="5312679" cy="518160"/>
        </p:xfrm>
        <a:graphic>
          <a:graphicData uri="http://schemas.openxmlformats.org/drawingml/2006/table">
            <a:tbl>
              <a:tblPr firstRow="1" bandRow="1">
                <a:tableStyleId>{2D5ABB26-0587-4C30-8999-92F81FD0307C}</a:tableStyleId>
              </a:tblPr>
              <a:tblGrid>
                <a:gridCol w="740007">
                  <a:extLst>
                    <a:ext uri="{9D8B030D-6E8A-4147-A177-3AD203B41FA5}">
                      <a16:colId xmlns:a16="http://schemas.microsoft.com/office/drawing/2014/main" val="3074955764"/>
                    </a:ext>
                  </a:extLst>
                </a:gridCol>
                <a:gridCol w="1933575">
                  <a:extLst>
                    <a:ext uri="{9D8B030D-6E8A-4147-A177-3AD203B41FA5}">
                      <a16:colId xmlns:a16="http://schemas.microsoft.com/office/drawing/2014/main" val="1489931953"/>
                    </a:ext>
                  </a:extLst>
                </a:gridCol>
                <a:gridCol w="714375">
                  <a:extLst>
                    <a:ext uri="{9D8B030D-6E8A-4147-A177-3AD203B41FA5}">
                      <a16:colId xmlns:a16="http://schemas.microsoft.com/office/drawing/2014/main" val="118318021"/>
                    </a:ext>
                  </a:extLst>
                </a:gridCol>
                <a:gridCol w="1924722">
                  <a:extLst>
                    <a:ext uri="{9D8B030D-6E8A-4147-A177-3AD203B41FA5}">
                      <a16:colId xmlns:a16="http://schemas.microsoft.com/office/drawing/2014/main" val="2205800383"/>
                    </a:ext>
                  </a:extLst>
                </a:gridCol>
              </a:tblGrid>
              <a:tr h="23420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170</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140</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952</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543</a:t>
                      </a:r>
                    </a:p>
                  </a:txBody>
                  <a:tcPr marL="0" marR="0"/>
                </a:tc>
                <a:extLst>
                  <a:ext uri="{0D108BD9-81ED-4DB2-BD59-A6C34878D82A}">
                    <a16:rowId xmlns:a16="http://schemas.microsoft.com/office/drawing/2014/main" val="2575550433"/>
                  </a:ext>
                </a:extLst>
              </a:tr>
              <a:tr h="234202">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217</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2,168</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981</a:t>
                      </a:r>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100" dirty="0"/>
                        <a:t>1,546</a:t>
                      </a:r>
                    </a:p>
                  </a:txBody>
                  <a:tcPr marL="0" marR="0"/>
                </a:tc>
                <a:extLst>
                  <a:ext uri="{0D108BD9-81ED-4DB2-BD59-A6C34878D82A}">
                    <a16:rowId xmlns:a16="http://schemas.microsoft.com/office/drawing/2014/main" val="2336335469"/>
                  </a:ext>
                </a:extLst>
              </a:tr>
            </a:tbl>
          </a:graphicData>
        </a:graphic>
      </p:graphicFrame>
      <p:grpSp>
        <p:nvGrpSpPr>
          <p:cNvPr id="318" name="Group 317">
            <a:extLst>
              <a:ext uri="{FF2B5EF4-FFF2-40B4-BE49-F238E27FC236}">
                <a16:creationId xmlns:a16="http://schemas.microsoft.com/office/drawing/2014/main" id="{F944717F-3D86-4C1D-8F2C-894962C83984}"/>
              </a:ext>
            </a:extLst>
          </p:cNvPr>
          <p:cNvGrpSpPr/>
          <p:nvPr/>
        </p:nvGrpSpPr>
        <p:grpSpPr>
          <a:xfrm>
            <a:off x="6343539" y="3004242"/>
            <a:ext cx="4084944" cy="692606"/>
            <a:chOff x="7025366" y="2932163"/>
            <a:chExt cx="4386037" cy="743656"/>
          </a:xfrm>
        </p:grpSpPr>
        <p:grpSp>
          <p:nvGrpSpPr>
            <p:cNvPr id="319" name="Group 318">
              <a:extLst>
                <a:ext uri="{FF2B5EF4-FFF2-40B4-BE49-F238E27FC236}">
                  <a16:creationId xmlns:a16="http://schemas.microsoft.com/office/drawing/2014/main" id="{64A9DB7F-BD6C-4D75-8F86-313C8447418A}"/>
                </a:ext>
              </a:extLst>
            </p:cNvPr>
            <p:cNvGrpSpPr/>
            <p:nvPr/>
          </p:nvGrpSpPr>
          <p:grpSpPr>
            <a:xfrm>
              <a:off x="11329107" y="3026554"/>
              <a:ext cx="82296" cy="484632"/>
              <a:chOff x="1281170" y="2960706"/>
              <a:chExt cx="82296" cy="307186"/>
            </a:xfrm>
          </p:grpSpPr>
          <p:cxnSp>
            <p:nvCxnSpPr>
              <p:cNvPr id="332" name="Straight Connector 331">
                <a:extLst>
                  <a:ext uri="{FF2B5EF4-FFF2-40B4-BE49-F238E27FC236}">
                    <a16:creationId xmlns:a16="http://schemas.microsoft.com/office/drawing/2014/main" id="{047E79EE-E500-426D-AC8F-C958A972AFDF}"/>
                  </a:ext>
                </a:extLst>
              </p:cNvPr>
              <p:cNvCxnSpPr>
                <a:cxnSpLocks/>
              </p:cNvCxnSpPr>
              <p:nvPr/>
            </p:nvCxnSpPr>
            <p:spPr>
              <a:xfrm>
                <a:off x="1322318" y="2960706"/>
                <a:ext cx="0" cy="307186"/>
              </a:xfrm>
              <a:prstGeom prst="line">
                <a:avLst/>
              </a:prstGeom>
              <a:noFill/>
              <a:ln w="9525" cap="flat" cmpd="sng" algn="ctr">
                <a:solidFill>
                  <a:schemeClr val="accent1"/>
                </a:solidFill>
                <a:prstDash val="solid"/>
                <a:miter lim="800000"/>
              </a:ln>
              <a:effectLst/>
            </p:spPr>
          </p:cxnSp>
          <p:cxnSp>
            <p:nvCxnSpPr>
              <p:cNvPr id="333" name="Straight Connector 332">
                <a:extLst>
                  <a:ext uri="{FF2B5EF4-FFF2-40B4-BE49-F238E27FC236}">
                    <a16:creationId xmlns:a16="http://schemas.microsoft.com/office/drawing/2014/main" id="{695A460A-C545-47C1-B8A3-038B7FA03D7C}"/>
                  </a:ext>
                </a:extLst>
              </p:cNvPr>
              <p:cNvCxnSpPr>
                <a:cxnSpLocks/>
              </p:cNvCxnSpPr>
              <p:nvPr/>
            </p:nvCxnSpPr>
            <p:spPr>
              <a:xfrm rot="5400000">
                <a:off x="1322318" y="2919558"/>
                <a:ext cx="0" cy="82296"/>
              </a:xfrm>
              <a:prstGeom prst="line">
                <a:avLst/>
              </a:prstGeom>
              <a:noFill/>
              <a:ln w="9525" cap="flat" cmpd="sng" algn="ctr">
                <a:solidFill>
                  <a:schemeClr val="accent1"/>
                </a:solidFill>
                <a:prstDash val="solid"/>
                <a:miter lim="800000"/>
              </a:ln>
              <a:effectLst/>
            </p:spPr>
          </p:cxnSp>
          <p:cxnSp>
            <p:nvCxnSpPr>
              <p:cNvPr id="334" name="Straight Connector 333">
                <a:extLst>
                  <a:ext uri="{FF2B5EF4-FFF2-40B4-BE49-F238E27FC236}">
                    <a16:creationId xmlns:a16="http://schemas.microsoft.com/office/drawing/2014/main" id="{B2A4D9A2-AEEF-4541-BDDA-10D1ED601BE2}"/>
                  </a:ext>
                </a:extLst>
              </p:cNvPr>
              <p:cNvCxnSpPr>
                <a:cxnSpLocks/>
              </p:cNvCxnSpPr>
              <p:nvPr/>
            </p:nvCxnSpPr>
            <p:spPr>
              <a:xfrm rot="5400000">
                <a:off x="1322318" y="3226744"/>
                <a:ext cx="0" cy="82296"/>
              </a:xfrm>
              <a:prstGeom prst="line">
                <a:avLst/>
              </a:prstGeom>
              <a:noFill/>
              <a:ln w="9525" cap="flat" cmpd="sng" algn="ctr">
                <a:solidFill>
                  <a:schemeClr val="accent1"/>
                </a:solidFill>
                <a:prstDash val="solid"/>
                <a:miter lim="800000"/>
              </a:ln>
              <a:effectLst/>
            </p:spPr>
          </p:cxnSp>
        </p:grpSp>
        <p:grpSp>
          <p:nvGrpSpPr>
            <p:cNvPr id="320" name="Group 319">
              <a:extLst>
                <a:ext uri="{FF2B5EF4-FFF2-40B4-BE49-F238E27FC236}">
                  <a16:creationId xmlns:a16="http://schemas.microsoft.com/office/drawing/2014/main" id="{155A3F9C-82EA-4ABF-A685-CB10290F0791}"/>
                </a:ext>
              </a:extLst>
            </p:cNvPr>
            <p:cNvGrpSpPr/>
            <p:nvPr/>
          </p:nvGrpSpPr>
          <p:grpSpPr>
            <a:xfrm>
              <a:off x="9893588" y="3079628"/>
              <a:ext cx="82296" cy="429763"/>
              <a:chOff x="1280733" y="2960706"/>
              <a:chExt cx="82296" cy="307186"/>
            </a:xfrm>
          </p:grpSpPr>
          <p:cxnSp>
            <p:nvCxnSpPr>
              <p:cNvPr id="329" name="Straight Connector 328">
                <a:extLst>
                  <a:ext uri="{FF2B5EF4-FFF2-40B4-BE49-F238E27FC236}">
                    <a16:creationId xmlns:a16="http://schemas.microsoft.com/office/drawing/2014/main" id="{639F013C-14AA-42D1-BFED-97F4B5244B15}"/>
                  </a:ext>
                </a:extLst>
              </p:cNvPr>
              <p:cNvCxnSpPr>
                <a:cxnSpLocks/>
              </p:cNvCxnSpPr>
              <p:nvPr/>
            </p:nvCxnSpPr>
            <p:spPr>
              <a:xfrm>
                <a:off x="1321881" y="2960706"/>
                <a:ext cx="0" cy="307186"/>
              </a:xfrm>
              <a:prstGeom prst="line">
                <a:avLst/>
              </a:prstGeom>
              <a:noFill/>
              <a:ln w="9525" cap="flat" cmpd="sng" algn="ctr">
                <a:solidFill>
                  <a:schemeClr val="accent1"/>
                </a:solidFill>
                <a:prstDash val="solid"/>
                <a:miter lim="800000"/>
              </a:ln>
              <a:effectLst/>
            </p:spPr>
          </p:cxnSp>
          <p:cxnSp>
            <p:nvCxnSpPr>
              <p:cNvPr id="330" name="Straight Connector 329">
                <a:extLst>
                  <a:ext uri="{FF2B5EF4-FFF2-40B4-BE49-F238E27FC236}">
                    <a16:creationId xmlns:a16="http://schemas.microsoft.com/office/drawing/2014/main" id="{F7F7764B-014A-4A07-A109-4D509E2B0329}"/>
                  </a:ext>
                </a:extLst>
              </p:cNvPr>
              <p:cNvCxnSpPr>
                <a:cxnSpLocks/>
              </p:cNvCxnSpPr>
              <p:nvPr/>
            </p:nvCxnSpPr>
            <p:spPr>
              <a:xfrm rot="5400000">
                <a:off x="1321881" y="2919558"/>
                <a:ext cx="0" cy="82296"/>
              </a:xfrm>
              <a:prstGeom prst="line">
                <a:avLst/>
              </a:prstGeom>
              <a:noFill/>
              <a:ln w="9525" cap="flat" cmpd="sng" algn="ctr">
                <a:solidFill>
                  <a:schemeClr val="accent1"/>
                </a:solidFill>
                <a:prstDash val="solid"/>
                <a:miter lim="800000"/>
              </a:ln>
              <a:effectLst/>
            </p:spPr>
          </p:cxnSp>
          <p:cxnSp>
            <p:nvCxnSpPr>
              <p:cNvPr id="331" name="Straight Connector 330">
                <a:extLst>
                  <a:ext uri="{FF2B5EF4-FFF2-40B4-BE49-F238E27FC236}">
                    <a16:creationId xmlns:a16="http://schemas.microsoft.com/office/drawing/2014/main" id="{1165861F-E609-4E28-B731-5AEE136F1AEC}"/>
                  </a:ext>
                </a:extLst>
              </p:cNvPr>
              <p:cNvCxnSpPr>
                <a:cxnSpLocks/>
              </p:cNvCxnSpPr>
              <p:nvPr/>
            </p:nvCxnSpPr>
            <p:spPr>
              <a:xfrm rot="5400000">
                <a:off x="1321881" y="3226744"/>
                <a:ext cx="0" cy="82296"/>
              </a:xfrm>
              <a:prstGeom prst="line">
                <a:avLst/>
              </a:prstGeom>
              <a:noFill/>
              <a:ln w="9525" cap="flat" cmpd="sng" algn="ctr">
                <a:solidFill>
                  <a:schemeClr val="accent1"/>
                </a:solidFill>
                <a:prstDash val="solid"/>
                <a:miter lim="800000"/>
              </a:ln>
              <a:effectLst/>
            </p:spPr>
          </p:cxnSp>
        </p:grpSp>
        <p:grpSp>
          <p:nvGrpSpPr>
            <p:cNvPr id="321" name="Group 320">
              <a:extLst>
                <a:ext uri="{FF2B5EF4-FFF2-40B4-BE49-F238E27FC236}">
                  <a16:creationId xmlns:a16="http://schemas.microsoft.com/office/drawing/2014/main" id="{1DC935D2-08C8-4559-9F08-C5A5E3329806}"/>
                </a:ext>
              </a:extLst>
            </p:cNvPr>
            <p:cNvGrpSpPr/>
            <p:nvPr/>
          </p:nvGrpSpPr>
          <p:grpSpPr>
            <a:xfrm>
              <a:off x="8462933" y="3273483"/>
              <a:ext cx="82296" cy="402336"/>
              <a:chOff x="1293079" y="2960706"/>
              <a:chExt cx="82296" cy="307186"/>
            </a:xfrm>
          </p:grpSpPr>
          <p:cxnSp>
            <p:nvCxnSpPr>
              <p:cNvPr id="326" name="Straight Connector 325">
                <a:extLst>
                  <a:ext uri="{FF2B5EF4-FFF2-40B4-BE49-F238E27FC236}">
                    <a16:creationId xmlns:a16="http://schemas.microsoft.com/office/drawing/2014/main" id="{84677720-D747-4C1E-BF4F-A15541E31CAC}"/>
                  </a:ext>
                </a:extLst>
              </p:cNvPr>
              <p:cNvCxnSpPr>
                <a:cxnSpLocks/>
              </p:cNvCxnSpPr>
              <p:nvPr/>
            </p:nvCxnSpPr>
            <p:spPr>
              <a:xfrm>
                <a:off x="1334227" y="2960706"/>
                <a:ext cx="0" cy="307186"/>
              </a:xfrm>
              <a:prstGeom prst="line">
                <a:avLst/>
              </a:prstGeom>
              <a:noFill/>
              <a:ln w="9525" cap="flat" cmpd="sng" algn="ctr">
                <a:solidFill>
                  <a:schemeClr val="accent1"/>
                </a:solidFill>
                <a:prstDash val="solid"/>
                <a:miter lim="800000"/>
              </a:ln>
              <a:effectLst/>
            </p:spPr>
          </p:cxnSp>
          <p:cxnSp>
            <p:nvCxnSpPr>
              <p:cNvPr id="327" name="Straight Connector 326">
                <a:extLst>
                  <a:ext uri="{FF2B5EF4-FFF2-40B4-BE49-F238E27FC236}">
                    <a16:creationId xmlns:a16="http://schemas.microsoft.com/office/drawing/2014/main" id="{F7C03624-1175-42A6-8B23-83E08038FBCF}"/>
                  </a:ext>
                </a:extLst>
              </p:cNvPr>
              <p:cNvCxnSpPr>
                <a:cxnSpLocks/>
              </p:cNvCxnSpPr>
              <p:nvPr/>
            </p:nvCxnSpPr>
            <p:spPr>
              <a:xfrm rot="5400000">
                <a:off x="1334227" y="2919558"/>
                <a:ext cx="0" cy="82296"/>
              </a:xfrm>
              <a:prstGeom prst="line">
                <a:avLst/>
              </a:prstGeom>
              <a:noFill/>
              <a:ln w="9525" cap="flat" cmpd="sng" algn="ctr">
                <a:solidFill>
                  <a:schemeClr val="accent1"/>
                </a:solidFill>
                <a:prstDash val="solid"/>
                <a:miter lim="800000"/>
              </a:ln>
              <a:effectLst/>
            </p:spPr>
          </p:cxnSp>
          <p:cxnSp>
            <p:nvCxnSpPr>
              <p:cNvPr id="328" name="Straight Connector 327">
                <a:extLst>
                  <a:ext uri="{FF2B5EF4-FFF2-40B4-BE49-F238E27FC236}">
                    <a16:creationId xmlns:a16="http://schemas.microsoft.com/office/drawing/2014/main" id="{273B0A7D-35EF-4DC0-B1EE-05C0AF4FB0E8}"/>
                  </a:ext>
                </a:extLst>
              </p:cNvPr>
              <p:cNvCxnSpPr>
                <a:cxnSpLocks/>
              </p:cNvCxnSpPr>
              <p:nvPr/>
            </p:nvCxnSpPr>
            <p:spPr>
              <a:xfrm rot="5400000">
                <a:off x="1334227" y="3226744"/>
                <a:ext cx="0" cy="82296"/>
              </a:xfrm>
              <a:prstGeom prst="line">
                <a:avLst/>
              </a:prstGeom>
              <a:noFill/>
              <a:ln w="9525" cap="flat" cmpd="sng" algn="ctr">
                <a:solidFill>
                  <a:schemeClr val="accent1"/>
                </a:solidFill>
                <a:prstDash val="solid"/>
                <a:miter lim="800000"/>
              </a:ln>
              <a:effectLst/>
            </p:spPr>
          </p:cxnSp>
        </p:grpSp>
        <p:grpSp>
          <p:nvGrpSpPr>
            <p:cNvPr id="322" name="Group 321">
              <a:extLst>
                <a:ext uri="{FF2B5EF4-FFF2-40B4-BE49-F238E27FC236}">
                  <a16:creationId xmlns:a16="http://schemas.microsoft.com/office/drawing/2014/main" id="{E077E287-AE41-40EF-8A13-988D831A2B5B}"/>
                </a:ext>
              </a:extLst>
            </p:cNvPr>
            <p:cNvGrpSpPr/>
            <p:nvPr/>
          </p:nvGrpSpPr>
          <p:grpSpPr>
            <a:xfrm>
              <a:off x="7025366" y="2932163"/>
              <a:ext cx="82296" cy="411480"/>
              <a:chOff x="1293079" y="2960706"/>
              <a:chExt cx="82296" cy="307186"/>
            </a:xfrm>
          </p:grpSpPr>
          <p:cxnSp>
            <p:nvCxnSpPr>
              <p:cNvPr id="323" name="Straight Connector 322">
                <a:extLst>
                  <a:ext uri="{FF2B5EF4-FFF2-40B4-BE49-F238E27FC236}">
                    <a16:creationId xmlns:a16="http://schemas.microsoft.com/office/drawing/2014/main" id="{3E332B56-084C-4B91-A9F1-181AB38B5771}"/>
                  </a:ext>
                </a:extLst>
              </p:cNvPr>
              <p:cNvCxnSpPr>
                <a:cxnSpLocks/>
              </p:cNvCxnSpPr>
              <p:nvPr/>
            </p:nvCxnSpPr>
            <p:spPr>
              <a:xfrm>
                <a:off x="1334227" y="2960706"/>
                <a:ext cx="0" cy="307186"/>
              </a:xfrm>
              <a:prstGeom prst="line">
                <a:avLst/>
              </a:prstGeom>
              <a:noFill/>
              <a:ln w="9525" cap="flat" cmpd="sng" algn="ctr">
                <a:solidFill>
                  <a:schemeClr val="accent1"/>
                </a:solidFill>
                <a:prstDash val="solid"/>
                <a:miter lim="800000"/>
              </a:ln>
              <a:effectLst/>
            </p:spPr>
          </p:cxnSp>
          <p:cxnSp>
            <p:nvCxnSpPr>
              <p:cNvPr id="324" name="Straight Connector 323">
                <a:extLst>
                  <a:ext uri="{FF2B5EF4-FFF2-40B4-BE49-F238E27FC236}">
                    <a16:creationId xmlns:a16="http://schemas.microsoft.com/office/drawing/2014/main" id="{CC15A05D-E44A-442B-8CB8-6274F5E9B557}"/>
                  </a:ext>
                </a:extLst>
              </p:cNvPr>
              <p:cNvCxnSpPr>
                <a:cxnSpLocks/>
              </p:cNvCxnSpPr>
              <p:nvPr/>
            </p:nvCxnSpPr>
            <p:spPr>
              <a:xfrm rot="5400000">
                <a:off x="1334227" y="2919558"/>
                <a:ext cx="0" cy="82296"/>
              </a:xfrm>
              <a:prstGeom prst="line">
                <a:avLst/>
              </a:prstGeom>
              <a:noFill/>
              <a:ln w="9525" cap="flat" cmpd="sng" algn="ctr">
                <a:solidFill>
                  <a:schemeClr val="accent1"/>
                </a:solidFill>
                <a:prstDash val="solid"/>
                <a:miter lim="800000"/>
              </a:ln>
              <a:effectLst/>
            </p:spPr>
          </p:cxnSp>
          <p:cxnSp>
            <p:nvCxnSpPr>
              <p:cNvPr id="325" name="Straight Connector 324">
                <a:extLst>
                  <a:ext uri="{FF2B5EF4-FFF2-40B4-BE49-F238E27FC236}">
                    <a16:creationId xmlns:a16="http://schemas.microsoft.com/office/drawing/2014/main" id="{134F4CD8-94A7-452A-AA56-2AB3F38B506C}"/>
                  </a:ext>
                </a:extLst>
              </p:cNvPr>
              <p:cNvCxnSpPr>
                <a:cxnSpLocks/>
              </p:cNvCxnSpPr>
              <p:nvPr/>
            </p:nvCxnSpPr>
            <p:spPr>
              <a:xfrm rot="5400000">
                <a:off x="1334227" y="3226744"/>
                <a:ext cx="0" cy="82296"/>
              </a:xfrm>
              <a:prstGeom prst="line">
                <a:avLst/>
              </a:prstGeom>
              <a:noFill/>
              <a:ln w="9525" cap="flat" cmpd="sng" algn="ctr">
                <a:solidFill>
                  <a:schemeClr val="accent1"/>
                </a:solidFill>
                <a:prstDash val="solid"/>
                <a:miter lim="800000"/>
              </a:ln>
              <a:effectLst/>
            </p:spPr>
          </p:cxnSp>
        </p:grpSp>
      </p:grpSp>
      <p:sp>
        <p:nvSpPr>
          <p:cNvPr id="335" name="TextBox 334">
            <a:extLst>
              <a:ext uri="{FF2B5EF4-FFF2-40B4-BE49-F238E27FC236}">
                <a16:creationId xmlns:a16="http://schemas.microsoft.com/office/drawing/2014/main" id="{0FDCEF58-F29E-40B2-A244-280D9CA614F3}"/>
              </a:ext>
            </a:extLst>
          </p:cNvPr>
          <p:cNvSpPr txBox="1"/>
          <p:nvPr/>
        </p:nvSpPr>
        <p:spPr>
          <a:xfrm rot="16200000">
            <a:off x="4770574" y="3227760"/>
            <a:ext cx="1958745" cy="17198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S PGothic" charset="0"/>
                <a:cs typeface="+mn-cs"/>
              </a:rPr>
              <a:t>Potassium (mEq/l)</a:t>
            </a:r>
          </a:p>
        </p:txBody>
      </p:sp>
      <p:sp>
        <p:nvSpPr>
          <p:cNvPr id="336" name="TextBox 335">
            <a:extLst>
              <a:ext uri="{FF2B5EF4-FFF2-40B4-BE49-F238E27FC236}">
                <a16:creationId xmlns:a16="http://schemas.microsoft.com/office/drawing/2014/main" id="{097C44FD-CE0F-43A8-B8C2-07878713457A}"/>
              </a:ext>
            </a:extLst>
          </p:cNvPr>
          <p:cNvSpPr txBox="1"/>
          <p:nvPr/>
        </p:nvSpPr>
        <p:spPr>
          <a:xfrm>
            <a:off x="6803180" y="4913195"/>
            <a:ext cx="3165843" cy="17198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S PGothic" charset="0"/>
                <a:cs typeface="+mn-cs"/>
              </a:rPr>
              <a:t>Weeks from randomization</a:t>
            </a:r>
          </a:p>
        </p:txBody>
      </p:sp>
      <p:grpSp>
        <p:nvGrpSpPr>
          <p:cNvPr id="337" name="Group 336">
            <a:extLst>
              <a:ext uri="{FF2B5EF4-FFF2-40B4-BE49-F238E27FC236}">
                <a16:creationId xmlns:a16="http://schemas.microsoft.com/office/drawing/2014/main" id="{38117365-763A-4FD8-9F5D-8CF0CCB23ECC}"/>
              </a:ext>
            </a:extLst>
          </p:cNvPr>
          <p:cNvGrpSpPr/>
          <p:nvPr/>
        </p:nvGrpSpPr>
        <p:grpSpPr>
          <a:xfrm>
            <a:off x="5833367" y="1953897"/>
            <a:ext cx="4690585" cy="2884711"/>
            <a:chOff x="6477590" y="1804399"/>
            <a:chExt cx="5036319" cy="3097337"/>
          </a:xfrm>
        </p:grpSpPr>
        <p:sp>
          <p:nvSpPr>
            <p:cNvPr id="338" name="TextBox 337">
              <a:extLst>
                <a:ext uri="{FF2B5EF4-FFF2-40B4-BE49-F238E27FC236}">
                  <a16:creationId xmlns:a16="http://schemas.microsoft.com/office/drawing/2014/main" id="{FF99C7EE-EB20-44B1-99FB-18D5361C4176}"/>
                </a:ext>
              </a:extLst>
            </p:cNvPr>
            <p:cNvSpPr txBox="1"/>
            <p:nvPr/>
          </p:nvSpPr>
          <p:spPr>
            <a:xfrm>
              <a:off x="6477590" y="1804399"/>
              <a:ext cx="365760" cy="182880"/>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65</a:t>
              </a:r>
            </a:p>
          </p:txBody>
        </p:sp>
        <p:sp>
          <p:nvSpPr>
            <p:cNvPr id="339" name="TextBox 338">
              <a:extLst>
                <a:ext uri="{FF2B5EF4-FFF2-40B4-BE49-F238E27FC236}">
                  <a16:creationId xmlns:a16="http://schemas.microsoft.com/office/drawing/2014/main" id="{6B40A6F3-6F23-4DF1-89B9-6F6E62CAD6B5}"/>
                </a:ext>
              </a:extLst>
            </p:cNvPr>
            <p:cNvSpPr txBox="1"/>
            <p:nvPr/>
          </p:nvSpPr>
          <p:spPr>
            <a:xfrm>
              <a:off x="6477590" y="2266979"/>
              <a:ext cx="365760" cy="184666"/>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60</a:t>
              </a:r>
            </a:p>
          </p:txBody>
        </p:sp>
        <p:sp>
          <p:nvSpPr>
            <p:cNvPr id="340" name="TextBox 339">
              <a:extLst>
                <a:ext uri="{FF2B5EF4-FFF2-40B4-BE49-F238E27FC236}">
                  <a16:creationId xmlns:a16="http://schemas.microsoft.com/office/drawing/2014/main" id="{572363B3-9845-4310-879D-F4781D7B40B4}"/>
                </a:ext>
              </a:extLst>
            </p:cNvPr>
            <p:cNvSpPr txBox="1"/>
            <p:nvPr/>
          </p:nvSpPr>
          <p:spPr>
            <a:xfrm>
              <a:off x="6477590" y="2722176"/>
              <a:ext cx="365760" cy="182880"/>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55</a:t>
              </a:r>
            </a:p>
          </p:txBody>
        </p:sp>
        <p:sp>
          <p:nvSpPr>
            <p:cNvPr id="341" name="TextBox 340">
              <a:extLst>
                <a:ext uri="{FF2B5EF4-FFF2-40B4-BE49-F238E27FC236}">
                  <a16:creationId xmlns:a16="http://schemas.microsoft.com/office/drawing/2014/main" id="{6ABC626B-5B26-4EA0-BAC9-D410723C9950}"/>
                </a:ext>
              </a:extLst>
            </p:cNvPr>
            <p:cNvSpPr txBox="1"/>
            <p:nvPr/>
          </p:nvSpPr>
          <p:spPr>
            <a:xfrm>
              <a:off x="6477590" y="3637853"/>
              <a:ext cx="365760" cy="182880"/>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45</a:t>
              </a:r>
            </a:p>
          </p:txBody>
        </p:sp>
        <p:sp>
          <p:nvSpPr>
            <p:cNvPr id="342" name="TextBox 341">
              <a:extLst>
                <a:ext uri="{FF2B5EF4-FFF2-40B4-BE49-F238E27FC236}">
                  <a16:creationId xmlns:a16="http://schemas.microsoft.com/office/drawing/2014/main" id="{3E92A639-84FD-4E00-92A8-D11FB5C56F31}"/>
                </a:ext>
              </a:extLst>
            </p:cNvPr>
            <p:cNvSpPr txBox="1"/>
            <p:nvPr/>
          </p:nvSpPr>
          <p:spPr>
            <a:xfrm>
              <a:off x="6477590" y="4551023"/>
              <a:ext cx="365760" cy="182880"/>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35</a:t>
              </a:r>
            </a:p>
          </p:txBody>
        </p:sp>
        <p:sp>
          <p:nvSpPr>
            <p:cNvPr id="343" name="TextBox 342">
              <a:extLst>
                <a:ext uri="{FF2B5EF4-FFF2-40B4-BE49-F238E27FC236}">
                  <a16:creationId xmlns:a16="http://schemas.microsoft.com/office/drawing/2014/main" id="{E9F39B91-DD09-4936-8DED-B042A053D4A8}"/>
                </a:ext>
              </a:extLst>
            </p:cNvPr>
            <p:cNvSpPr txBox="1"/>
            <p:nvPr/>
          </p:nvSpPr>
          <p:spPr>
            <a:xfrm>
              <a:off x="6948295" y="4717070"/>
              <a:ext cx="229799"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0</a:t>
              </a:r>
            </a:p>
          </p:txBody>
        </p:sp>
        <p:sp>
          <p:nvSpPr>
            <p:cNvPr id="344" name="TextBox 343">
              <a:extLst>
                <a:ext uri="{FF2B5EF4-FFF2-40B4-BE49-F238E27FC236}">
                  <a16:creationId xmlns:a16="http://schemas.microsoft.com/office/drawing/2014/main" id="{04436884-FE6E-43F2-AC24-9BCBEC85EEFE}"/>
                </a:ext>
              </a:extLst>
            </p:cNvPr>
            <p:cNvSpPr txBox="1"/>
            <p:nvPr/>
          </p:nvSpPr>
          <p:spPr>
            <a:xfrm>
              <a:off x="8394042" y="4717070"/>
              <a:ext cx="229799"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16</a:t>
              </a:r>
            </a:p>
          </p:txBody>
        </p:sp>
        <p:sp>
          <p:nvSpPr>
            <p:cNvPr id="345" name="TextBox 344">
              <a:extLst>
                <a:ext uri="{FF2B5EF4-FFF2-40B4-BE49-F238E27FC236}">
                  <a16:creationId xmlns:a16="http://schemas.microsoft.com/office/drawing/2014/main" id="{A0A8845E-803B-4A69-B550-6802FD6613CC}"/>
                </a:ext>
              </a:extLst>
            </p:cNvPr>
            <p:cNvSpPr txBox="1"/>
            <p:nvPr/>
          </p:nvSpPr>
          <p:spPr>
            <a:xfrm>
              <a:off x="9822355" y="4717070"/>
              <a:ext cx="229799"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32</a:t>
              </a:r>
            </a:p>
          </p:txBody>
        </p:sp>
        <p:grpSp>
          <p:nvGrpSpPr>
            <p:cNvPr id="346" name="Group 345">
              <a:extLst>
                <a:ext uri="{FF2B5EF4-FFF2-40B4-BE49-F238E27FC236}">
                  <a16:creationId xmlns:a16="http://schemas.microsoft.com/office/drawing/2014/main" id="{15085A3C-49A7-4CDD-8203-970FE9BE5B5D}"/>
                </a:ext>
              </a:extLst>
            </p:cNvPr>
            <p:cNvGrpSpPr/>
            <p:nvPr/>
          </p:nvGrpSpPr>
          <p:grpSpPr>
            <a:xfrm>
              <a:off x="6863172" y="1890865"/>
              <a:ext cx="4650737" cy="2814969"/>
              <a:chOff x="6740511" y="2075797"/>
              <a:chExt cx="4650737" cy="2814969"/>
            </a:xfrm>
          </p:grpSpPr>
          <p:sp>
            <p:nvSpPr>
              <p:cNvPr id="350" name="Freeform: Shape 349">
                <a:extLst>
                  <a:ext uri="{FF2B5EF4-FFF2-40B4-BE49-F238E27FC236}">
                    <a16:creationId xmlns:a16="http://schemas.microsoft.com/office/drawing/2014/main" id="{DF2464DF-8932-4ECE-8688-FCACAAAC4B8B}"/>
                  </a:ext>
                </a:extLst>
              </p:cNvPr>
              <p:cNvSpPr/>
              <p:nvPr/>
            </p:nvSpPr>
            <p:spPr>
              <a:xfrm>
                <a:off x="6800394" y="2075797"/>
                <a:ext cx="4590854" cy="2752627"/>
              </a:xfrm>
              <a:custGeom>
                <a:avLst/>
                <a:gdLst>
                  <a:gd name="connsiteX0" fmla="*/ 0 w 4590854"/>
                  <a:gd name="connsiteY0" fmla="*/ 0 h 2752627"/>
                  <a:gd name="connsiteX1" fmla="*/ 0 w 4590854"/>
                  <a:gd name="connsiteY1" fmla="*/ 2752627 h 2752627"/>
                  <a:gd name="connsiteX2" fmla="*/ 4590854 w 4590854"/>
                  <a:gd name="connsiteY2" fmla="*/ 2752627 h 2752627"/>
                </a:gdLst>
                <a:ahLst/>
                <a:cxnLst>
                  <a:cxn ang="0">
                    <a:pos x="connsiteX0" y="connsiteY0"/>
                  </a:cxn>
                  <a:cxn ang="0">
                    <a:pos x="connsiteX1" y="connsiteY1"/>
                  </a:cxn>
                  <a:cxn ang="0">
                    <a:pos x="connsiteX2" y="connsiteY2"/>
                  </a:cxn>
                </a:cxnLst>
                <a:rect l="l" t="t" r="r" b="b"/>
                <a:pathLst>
                  <a:path w="4590854" h="2752627">
                    <a:moveTo>
                      <a:pt x="0" y="0"/>
                    </a:moveTo>
                    <a:lnTo>
                      <a:pt x="0" y="2752627"/>
                    </a:lnTo>
                    <a:lnTo>
                      <a:pt x="4590854" y="2752627"/>
                    </a:lnTo>
                  </a:path>
                </a:pathLst>
              </a:custGeom>
              <a:no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cxnSp>
            <p:nvCxnSpPr>
              <p:cNvPr id="351" name="Straight Connector 350">
                <a:extLst>
                  <a:ext uri="{FF2B5EF4-FFF2-40B4-BE49-F238E27FC236}">
                    <a16:creationId xmlns:a16="http://schemas.microsoft.com/office/drawing/2014/main" id="{2F459CDE-ECA9-4C4A-A10B-2DBEFADA4B89}"/>
                  </a:ext>
                </a:extLst>
              </p:cNvPr>
              <p:cNvCxnSpPr>
                <a:cxnSpLocks/>
              </p:cNvCxnSpPr>
              <p:nvPr/>
            </p:nvCxnSpPr>
            <p:spPr>
              <a:xfrm>
                <a:off x="6740511" y="2080842"/>
                <a:ext cx="64008" cy="0"/>
              </a:xfrm>
              <a:prstGeom prst="line">
                <a:avLst/>
              </a:prstGeom>
              <a:noFill/>
              <a:ln w="12700" cap="flat" cmpd="sng" algn="ctr">
                <a:solidFill>
                  <a:schemeClr val="tx1"/>
                </a:solidFill>
                <a:prstDash val="solid"/>
                <a:miter lim="800000"/>
              </a:ln>
              <a:effectLst/>
            </p:spPr>
          </p:cxnSp>
          <p:cxnSp>
            <p:nvCxnSpPr>
              <p:cNvPr id="352" name="Straight Connector 351">
                <a:extLst>
                  <a:ext uri="{FF2B5EF4-FFF2-40B4-BE49-F238E27FC236}">
                    <a16:creationId xmlns:a16="http://schemas.microsoft.com/office/drawing/2014/main" id="{F03CF9A7-B4FD-4D8C-A416-11D83E45C60E}"/>
                  </a:ext>
                </a:extLst>
              </p:cNvPr>
              <p:cNvCxnSpPr>
                <a:cxnSpLocks/>
              </p:cNvCxnSpPr>
              <p:nvPr/>
            </p:nvCxnSpPr>
            <p:spPr>
              <a:xfrm>
                <a:off x="6740511" y="2541863"/>
                <a:ext cx="64008" cy="0"/>
              </a:xfrm>
              <a:prstGeom prst="line">
                <a:avLst/>
              </a:prstGeom>
              <a:noFill/>
              <a:ln w="12700" cap="flat" cmpd="sng" algn="ctr">
                <a:solidFill>
                  <a:schemeClr val="tx1"/>
                </a:solidFill>
                <a:prstDash val="solid"/>
                <a:miter lim="800000"/>
              </a:ln>
              <a:effectLst/>
            </p:spPr>
          </p:cxnSp>
          <p:cxnSp>
            <p:nvCxnSpPr>
              <p:cNvPr id="353" name="Straight Connector 352">
                <a:extLst>
                  <a:ext uri="{FF2B5EF4-FFF2-40B4-BE49-F238E27FC236}">
                    <a16:creationId xmlns:a16="http://schemas.microsoft.com/office/drawing/2014/main" id="{1A537700-8934-4047-830E-20C1C4ED3983}"/>
                  </a:ext>
                </a:extLst>
              </p:cNvPr>
              <p:cNvCxnSpPr>
                <a:cxnSpLocks/>
              </p:cNvCxnSpPr>
              <p:nvPr/>
            </p:nvCxnSpPr>
            <p:spPr>
              <a:xfrm>
                <a:off x="6740511" y="2996240"/>
                <a:ext cx="64008" cy="0"/>
              </a:xfrm>
              <a:prstGeom prst="line">
                <a:avLst/>
              </a:prstGeom>
              <a:noFill/>
              <a:ln w="12700" cap="flat" cmpd="sng" algn="ctr">
                <a:solidFill>
                  <a:schemeClr val="tx1"/>
                </a:solidFill>
                <a:prstDash val="solid"/>
                <a:miter lim="800000"/>
              </a:ln>
              <a:effectLst/>
            </p:spPr>
          </p:cxnSp>
          <p:cxnSp>
            <p:nvCxnSpPr>
              <p:cNvPr id="354" name="Straight Connector 353">
                <a:extLst>
                  <a:ext uri="{FF2B5EF4-FFF2-40B4-BE49-F238E27FC236}">
                    <a16:creationId xmlns:a16="http://schemas.microsoft.com/office/drawing/2014/main" id="{E002EAFE-A2A7-40A6-9F60-119B236EAF87}"/>
                  </a:ext>
                </a:extLst>
              </p:cNvPr>
              <p:cNvCxnSpPr>
                <a:cxnSpLocks/>
              </p:cNvCxnSpPr>
              <p:nvPr/>
            </p:nvCxnSpPr>
            <p:spPr>
              <a:xfrm>
                <a:off x="6740511" y="3914298"/>
                <a:ext cx="64008" cy="0"/>
              </a:xfrm>
              <a:prstGeom prst="line">
                <a:avLst/>
              </a:prstGeom>
              <a:noFill/>
              <a:ln w="12700" cap="flat" cmpd="sng" algn="ctr">
                <a:solidFill>
                  <a:schemeClr val="tx1"/>
                </a:solidFill>
                <a:prstDash val="solid"/>
                <a:miter lim="800000"/>
              </a:ln>
              <a:effectLst/>
            </p:spPr>
          </p:cxnSp>
          <p:cxnSp>
            <p:nvCxnSpPr>
              <p:cNvPr id="355" name="Straight Connector 354">
                <a:extLst>
                  <a:ext uri="{FF2B5EF4-FFF2-40B4-BE49-F238E27FC236}">
                    <a16:creationId xmlns:a16="http://schemas.microsoft.com/office/drawing/2014/main" id="{6B68D396-9546-48B4-9774-FE4B2FD33D61}"/>
                  </a:ext>
                </a:extLst>
              </p:cNvPr>
              <p:cNvCxnSpPr>
                <a:cxnSpLocks/>
              </p:cNvCxnSpPr>
              <p:nvPr/>
            </p:nvCxnSpPr>
            <p:spPr>
              <a:xfrm>
                <a:off x="6740511" y="4828424"/>
                <a:ext cx="64008" cy="0"/>
              </a:xfrm>
              <a:prstGeom prst="line">
                <a:avLst/>
              </a:prstGeom>
              <a:noFill/>
              <a:ln w="12700" cap="flat" cmpd="sng" algn="ctr">
                <a:solidFill>
                  <a:schemeClr val="tx1"/>
                </a:solidFill>
                <a:prstDash val="solid"/>
                <a:miter lim="800000"/>
              </a:ln>
              <a:effectLst/>
            </p:spPr>
          </p:cxnSp>
          <p:cxnSp>
            <p:nvCxnSpPr>
              <p:cNvPr id="356" name="Straight Connector 355">
                <a:extLst>
                  <a:ext uri="{FF2B5EF4-FFF2-40B4-BE49-F238E27FC236}">
                    <a16:creationId xmlns:a16="http://schemas.microsoft.com/office/drawing/2014/main" id="{1C06B234-ABF1-4513-8FD3-E6528CF518C9}"/>
                  </a:ext>
                </a:extLst>
              </p:cNvPr>
              <p:cNvCxnSpPr>
                <a:cxnSpLocks/>
              </p:cNvCxnSpPr>
              <p:nvPr/>
            </p:nvCxnSpPr>
            <p:spPr>
              <a:xfrm rot="5400000">
                <a:off x="6911866" y="4858762"/>
                <a:ext cx="64008" cy="0"/>
              </a:xfrm>
              <a:prstGeom prst="line">
                <a:avLst/>
              </a:prstGeom>
              <a:noFill/>
              <a:ln w="12700" cap="flat" cmpd="sng" algn="ctr">
                <a:solidFill>
                  <a:schemeClr val="tx1"/>
                </a:solidFill>
                <a:prstDash val="solid"/>
                <a:miter lim="800000"/>
              </a:ln>
              <a:effectLst/>
            </p:spPr>
          </p:cxnSp>
          <p:cxnSp>
            <p:nvCxnSpPr>
              <p:cNvPr id="357" name="Straight Connector 356">
                <a:extLst>
                  <a:ext uri="{FF2B5EF4-FFF2-40B4-BE49-F238E27FC236}">
                    <a16:creationId xmlns:a16="http://schemas.microsoft.com/office/drawing/2014/main" id="{EBC99C1A-BF13-4338-B811-F071B465324C}"/>
                  </a:ext>
                </a:extLst>
              </p:cNvPr>
              <p:cNvCxnSpPr>
                <a:cxnSpLocks/>
              </p:cNvCxnSpPr>
              <p:nvPr/>
            </p:nvCxnSpPr>
            <p:spPr>
              <a:xfrm rot="5400000">
                <a:off x="8354276" y="4858762"/>
                <a:ext cx="64008" cy="0"/>
              </a:xfrm>
              <a:prstGeom prst="line">
                <a:avLst/>
              </a:prstGeom>
              <a:noFill/>
              <a:ln w="12700" cap="flat" cmpd="sng" algn="ctr">
                <a:solidFill>
                  <a:schemeClr val="tx1"/>
                </a:solidFill>
                <a:prstDash val="solid"/>
                <a:miter lim="800000"/>
              </a:ln>
              <a:effectLst/>
            </p:spPr>
          </p:cxnSp>
          <p:cxnSp>
            <p:nvCxnSpPr>
              <p:cNvPr id="358" name="Straight Connector 357">
                <a:extLst>
                  <a:ext uri="{FF2B5EF4-FFF2-40B4-BE49-F238E27FC236}">
                    <a16:creationId xmlns:a16="http://schemas.microsoft.com/office/drawing/2014/main" id="{E431A270-D836-4909-B9A7-D0006DD23D55}"/>
                  </a:ext>
                </a:extLst>
              </p:cNvPr>
              <p:cNvCxnSpPr>
                <a:cxnSpLocks/>
              </p:cNvCxnSpPr>
              <p:nvPr/>
            </p:nvCxnSpPr>
            <p:spPr>
              <a:xfrm rot="5400000">
                <a:off x="9782589" y="4858762"/>
                <a:ext cx="64008" cy="0"/>
              </a:xfrm>
              <a:prstGeom prst="line">
                <a:avLst/>
              </a:prstGeom>
              <a:noFill/>
              <a:ln w="12700" cap="flat" cmpd="sng" algn="ctr">
                <a:solidFill>
                  <a:schemeClr val="tx1"/>
                </a:solidFill>
                <a:prstDash val="solid"/>
                <a:miter lim="800000"/>
              </a:ln>
              <a:effectLst/>
            </p:spPr>
          </p:cxnSp>
          <p:cxnSp>
            <p:nvCxnSpPr>
              <p:cNvPr id="359" name="Straight Connector 358">
                <a:extLst>
                  <a:ext uri="{FF2B5EF4-FFF2-40B4-BE49-F238E27FC236}">
                    <a16:creationId xmlns:a16="http://schemas.microsoft.com/office/drawing/2014/main" id="{32FFA751-4D28-46AC-BDA5-A4417286D0A5}"/>
                  </a:ext>
                </a:extLst>
              </p:cNvPr>
              <p:cNvCxnSpPr>
                <a:cxnSpLocks/>
              </p:cNvCxnSpPr>
              <p:nvPr/>
            </p:nvCxnSpPr>
            <p:spPr>
              <a:xfrm rot="5400000">
                <a:off x="11209429" y="4858762"/>
                <a:ext cx="64008" cy="0"/>
              </a:xfrm>
              <a:prstGeom prst="line">
                <a:avLst/>
              </a:prstGeom>
              <a:noFill/>
              <a:ln w="12700" cap="flat" cmpd="sng" algn="ctr">
                <a:solidFill>
                  <a:schemeClr val="tx1"/>
                </a:solidFill>
                <a:prstDash val="solid"/>
                <a:miter lim="800000"/>
              </a:ln>
              <a:effectLst/>
            </p:spPr>
          </p:cxnSp>
          <p:cxnSp>
            <p:nvCxnSpPr>
              <p:cNvPr id="360" name="Straight Connector 359">
                <a:extLst>
                  <a:ext uri="{FF2B5EF4-FFF2-40B4-BE49-F238E27FC236}">
                    <a16:creationId xmlns:a16="http://schemas.microsoft.com/office/drawing/2014/main" id="{4C7241C8-8BA3-4DF9-B019-D40E1C8DA6EC}"/>
                  </a:ext>
                </a:extLst>
              </p:cNvPr>
              <p:cNvCxnSpPr>
                <a:cxnSpLocks/>
              </p:cNvCxnSpPr>
              <p:nvPr/>
            </p:nvCxnSpPr>
            <p:spPr>
              <a:xfrm>
                <a:off x="6740511" y="3457624"/>
                <a:ext cx="64008" cy="0"/>
              </a:xfrm>
              <a:prstGeom prst="line">
                <a:avLst/>
              </a:prstGeom>
              <a:noFill/>
              <a:ln w="12700" cap="flat" cmpd="sng" algn="ctr">
                <a:solidFill>
                  <a:schemeClr val="tx1"/>
                </a:solidFill>
                <a:prstDash val="solid"/>
                <a:miter lim="800000"/>
              </a:ln>
              <a:effectLst/>
            </p:spPr>
          </p:cxnSp>
          <p:cxnSp>
            <p:nvCxnSpPr>
              <p:cNvPr id="361" name="Straight Connector 360">
                <a:extLst>
                  <a:ext uri="{FF2B5EF4-FFF2-40B4-BE49-F238E27FC236}">
                    <a16:creationId xmlns:a16="http://schemas.microsoft.com/office/drawing/2014/main" id="{AC8E41CC-BE97-4E0A-9957-07CF705DB3F3}"/>
                  </a:ext>
                </a:extLst>
              </p:cNvPr>
              <p:cNvCxnSpPr>
                <a:cxnSpLocks/>
              </p:cNvCxnSpPr>
              <p:nvPr/>
            </p:nvCxnSpPr>
            <p:spPr>
              <a:xfrm>
                <a:off x="6740511" y="4369741"/>
                <a:ext cx="64008" cy="0"/>
              </a:xfrm>
              <a:prstGeom prst="line">
                <a:avLst/>
              </a:prstGeom>
              <a:noFill/>
              <a:ln w="12700" cap="flat" cmpd="sng" algn="ctr">
                <a:solidFill>
                  <a:schemeClr val="tx1"/>
                </a:solidFill>
                <a:prstDash val="solid"/>
                <a:miter lim="800000"/>
              </a:ln>
              <a:effectLst/>
            </p:spPr>
          </p:cxnSp>
        </p:grpSp>
        <p:sp>
          <p:nvSpPr>
            <p:cNvPr id="347" name="TextBox 346">
              <a:extLst>
                <a:ext uri="{FF2B5EF4-FFF2-40B4-BE49-F238E27FC236}">
                  <a16:creationId xmlns:a16="http://schemas.microsoft.com/office/drawing/2014/main" id="{558207D2-67BA-4AD3-9DF9-A4B4DBF94D70}"/>
                </a:ext>
              </a:extLst>
            </p:cNvPr>
            <p:cNvSpPr txBox="1"/>
            <p:nvPr/>
          </p:nvSpPr>
          <p:spPr>
            <a:xfrm>
              <a:off x="11249583" y="4717070"/>
              <a:ext cx="229799" cy="18466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8</a:t>
              </a:r>
            </a:p>
          </p:txBody>
        </p:sp>
        <p:sp>
          <p:nvSpPr>
            <p:cNvPr id="348" name="TextBox 347">
              <a:extLst>
                <a:ext uri="{FF2B5EF4-FFF2-40B4-BE49-F238E27FC236}">
                  <a16:creationId xmlns:a16="http://schemas.microsoft.com/office/drawing/2014/main" id="{281FC50E-2461-4724-B0D1-923F7DE427D4}"/>
                </a:ext>
              </a:extLst>
            </p:cNvPr>
            <p:cNvSpPr txBox="1"/>
            <p:nvPr/>
          </p:nvSpPr>
          <p:spPr>
            <a:xfrm>
              <a:off x="6477590" y="3181179"/>
              <a:ext cx="365760" cy="182880"/>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50</a:t>
              </a:r>
            </a:p>
          </p:txBody>
        </p:sp>
        <p:sp>
          <p:nvSpPr>
            <p:cNvPr id="349" name="TextBox 348">
              <a:extLst>
                <a:ext uri="{FF2B5EF4-FFF2-40B4-BE49-F238E27FC236}">
                  <a16:creationId xmlns:a16="http://schemas.microsoft.com/office/drawing/2014/main" id="{B9B14303-3203-4032-BACD-C2F78E0D1F8E}"/>
                </a:ext>
              </a:extLst>
            </p:cNvPr>
            <p:cNvSpPr txBox="1"/>
            <p:nvPr/>
          </p:nvSpPr>
          <p:spPr>
            <a:xfrm>
              <a:off x="6477590" y="4092265"/>
              <a:ext cx="365760" cy="182880"/>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rPr>
                <a:t>4.40</a:t>
              </a:r>
            </a:p>
          </p:txBody>
        </p:sp>
      </p:grpSp>
      <p:grpSp>
        <p:nvGrpSpPr>
          <p:cNvPr id="368" name="Group 367">
            <a:extLst>
              <a:ext uri="{FF2B5EF4-FFF2-40B4-BE49-F238E27FC236}">
                <a16:creationId xmlns:a16="http://schemas.microsoft.com/office/drawing/2014/main" id="{FFFF541D-DC08-449E-959D-A31EA2E20A83}"/>
              </a:ext>
            </a:extLst>
          </p:cNvPr>
          <p:cNvGrpSpPr/>
          <p:nvPr/>
        </p:nvGrpSpPr>
        <p:grpSpPr>
          <a:xfrm>
            <a:off x="7682420" y="3606942"/>
            <a:ext cx="76647" cy="383233"/>
            <a:chOff x="1293079" y="2960706"/>
            <a:chExt cx="82296" cy="307186"/>
          </a:xfrm>
        </p:grpSpPr>
        <p:cxnSp>
          <p:nvCxnSpPr>
            <p:cNvPr id="377" name="Straight Connector 376">
              <a:extLst>
                <a:ext uri="{FF2B5EF4-FFF2-40B4-BE49-F238E27FC236}">
                  <a16:creationId xmlns:a16="http://schemas.microsoft.com/office/drawing/2014/main" id="{203EFC70-45C9-4E32-9BEC-EDB4C17E94CD}"/>
                </a:ext>
              </a:extLst>
            </p:cNvPr>
            <p:cNvCxnSpPr>
              <a:cxnSpLocks/>
            </p:cNvCxnSpPr>
            <p:nvPr/>
          </p:nvCxnSpPr>
          <p:spPr>
            <a:xfrm>
              <a:off x="1334227" y="2960706"/>
              <a:ext cx="0" cy="307186"/>
            </a:xfrm>
            <a:prstGeom prst="line">
              <a:avLst/>
            </a:prstGeom>
            <a:noFill/>
            <a:ln w="9525" cap="flat" cmpd="sng" algn="ctr">
              <a:solidFill>
                <a:schemeClr val="tx2"/>
              </a:solidFill>
              <a:prstDash val="solid"/>
              <a:miter lim="800000"/>
            </a:ln>
            <a:effectLst/>
          </p:spPr>
        </p:cxnSp>
        <p:cxnSp>
          <p:nvCxnSpPr>
            <p:cNvPr id="378" name="Straight Connector 377">
              <a:extLst>
                <a:ext uri="{FF2B5EF4-FFF2-40B4-BE49-F238E27FC236}">
                  <a16:creationId xmlns:a16="http://schemas.microsoft.com/office/drawing/2014/main" id="{8108D7C7-5BE6-4EBC-B193-6FC82A872E03}"/>
                </a:ext>
              </a:extLst>
            </p:cNvPr>
            <p:cNvCxnSpPr>
              <a:cxnSpLocks/>
            </p:cNvCxnSpPr>
            <p:nvPr/>
          </p:nvCxnSpPr>
          <p:spPr>
            <a:xfrm rot="5400000">
              <a:off x="1334227" y="2919558"/>
              <a:ext cx="0" cy="82296"/>
            </a:xfrm>
            <a:prstGeom prst="line">
              <a:avLst/>
            </a:prstGeom>
            <a:noFill/>
            <a:ln w="9525" cap="flat" cmpd="sng" algn="ctr">
              <a:solidFill>
                <a:schemeClr val="tx2"/>
              </a:solidFill>
              <a:prstDash val="solid"/>
              <a:miter lim="800000"/>
            </a:ln>
            <a:effectLst/>
          </p:spPr>
        </p:cxnSp>
        <p:cxnSp>
          <p:nvCxnSpPr>
            <p:cNvPr id="379" name="Straight Connector 378">
              <a:extLst>
                <a:ext uri="{FF2B5EF4-FFF2-40B4-BE49-F238E27FC236}">
                  <a16:creationId xmlns:a16="http://schemas.microsoft.com/office/drawing/2014/main" id="{E342F392-1011-4C05-8A7B-AEBB45596DE4}"/>
                </a:ext>
              </a:extLst>
            </p:cNvPr>
            <p:cNvCxnSpPr>
              <a:cxnSpLocks/>
            </p:cNvCxnSpPr>
            <p:nvPr/>
          </p:nvCxnSpPr>
          <p:spPr>
            <a:xfrm rot="5400000">
              <a:off x="1334227" y="3226744"/>
              <a:ext cx="0" cy="82296"/>
            </a:xfrm>
            <a:prstGeom prst="line">
              <a:avLst/>
            </a:prstGeom>
            <a:noFill/>
            <a:ln w="9525" cap="flat" cmpd="sng" algn="ctr">
              <a:solidFill>
                <a:schemeClr val="tx2"/>
              </a:solidFill>
              <a:prstDash val="solid"/>
              <a:miter lim="800000"/>
            </a:ln>
            <a:effectLst/>
          </p:spPr>
        </p:cxnSp>
      </p:grpSp>
      <p:grpSp>
        <p:nvGrpSpPr>
          <p:cNvPr id="369" name="Group 368">
            <a:extLst>
              <a:ext uri="{FF2B5EF4-FFF2-40B4-BE49-F238E27FC236}">
                <a16:creationId xmlns:a16="http://schemas.microsoft.com/office/drawing/2014/main" id="{8421231A-8E09-4945-82F2-CA07ED1E32DD}"/>
              </a:ext>
            </a:extLst>
          </p:cNvPr>
          <p:cNvGrpSpPr/>
          <p:nvPr/>
        </p:nvGrpSpPr>
        <p:grpSpPr>
          <a:xfrm>
            <a:off x="9014863" y="3478069"/>
            <a:ext cx="76647" cy="400268"/>
            <a:chOff x="1280733" y="2964110"/>
            <a:chExt cx="82296" cy="307188"/>
          </a:xfrm>
        </p:grpSpPr>
        <p:cxnSp>
          <p:nvCxnSpPr>
            <p:cNvPr id="374" name="Straight Connector 373">
              <a:extLst>
                <a:ext uri="{FF2B5EF4-FFF2-40B4-BE49-F238E27FC236}">
                  <a16:creationId xmlns:a16="http://schemas.microsoft.com/office/drawing/2014/main" id="{34F0F28E-B966-427A-AFEC-EA48E75D87D3}"/>
                </a:ext>
              </a:extLst>
            </p:cNvPr>
            <p:cNvCxnSpPr>
              <a:cxnSpLocks/>
            </p:cNvCxnSpPr>
            <p:nvPr/>
          </p:nvCxnSpPr>
          <p:spPr>
            <a:xfrm>
              <a:off x="1321881" y="2964111"/>
              <a:ext cx="0" cy="307186"/>
            </a:xfrm>
            <a:prstGeom prst="line">
              <a:avLst/>
            </a:prstGeom>
            <a:noFill/>
            <a:ln w="9525" cap="flat" cmpd="sng" algn="ctr">
              <a:solidFill>
                <a:schemeClr val="tx2"/>
              </a:solidFill>
              <a:prstDash val="solid"/>
              <a:miter lim="800000"/>
            </a:ln>
            <a:effectLst/>
          </p:spPr>
        </p:cxnSp>
        <p:cxnSp>
          <p:nvCxnSpPr>
            <p:cNvPr id="375" name="Straight Connector 374">
              <a:extLst>
                <a:ext uri="{FF2B5EF4-FFF2-40B4-BE49-F238E27FC236}">
                  <a16:creationId xmlns:a16="http://schemas.microsoft.com/office/drawing/2014/main" id="{7D078AFF-2B22-413C-9B50-1413440FEE95}"/>
                </a:ext>
              </a:extLst>
            </p:cNvPr>
            <p:cNvCxnSpPr>
              <a:cxnSpLocks/>
            </p:cNvCxnSpPr>
            <p:nvPr/>
          </p:nvCxnSpPr>
          <p:spPr>
            <a:xfrm rot="5400000">
              <a:off x="1321881" y="2922962"/>
              <a:ext cx="0" cy="82296"/>
            </a:xfrm>
            <a:prstGeom prst="line">
              <a:avLst/>
            </a:prstGeom>
            <a:noFill/>
            <a:ln w="9525" cap="flat" cmpd="sng" algn="ctr">
              <a:solidFill>
                <a:schemeClr val="tx2"/>
              </a:solidFill>
              <a:prstDash val="solid"/>
              <a:miter lim="800000"/>
            </a:ln>
            <a:effectLst/>
          </p:spPr>
        </p:cxnSp>
        <p:cxnSp>
          <p:nvCxnSpPr>
            <p:cNvPr id="376" name="Straight Connector 375">
              <a:extLst>
                <a:ext uri="{FF2B5EF4-FFF2-40B4-BE49-F238E27FC236}">
                  <a16:creationId xmlns:a16="http://schemas.microsoft.com/office/drawing/2014/main" id="{717817FC-1BD3-451F-B7C7-8115CD0A1EBC}"/>
                </a:ext>
              </a:extLst>
            </p:cNvPr>
            <p:cNvCxnSpPr>
              <a:cxnSpLocks/>
            </p:cNvCxnSpPr>
            <p:nvPr/>
          </p:nvCxnSpPr>
          <p:spPr>
            <a:xfrm rot="5400000">
              <a:off x="1321881" y="3230150"/>
              <a:ext cx="0" cy="82296"/>
            </a:xfrm>
            <a:prstGeom prst="line">
              <a:avLst/>
            </a:prstGeom>
            <a:noFill/>
            <a:ln w="9525" cap="flat" cmpd="sng" algn="ctr">
              <a:solidFill>
                <a:schemeClr val="tx2"/>
              </a:solidFill>
              <a:prstDash val="solid"/>
              <a:miter lim="800000"/>
            </a:ln>
            <a:effectLst/>
          </p:spPr>
        </p:cxnSp>
      </p:grpSp>
      <p:sp>
        <p:nvSpPr>
          <p:cNvPr id="383" name="Freeform: Shape 382">
            <a:extLst>
              <a:ext uri="{FF2B5EF4-FFF2-40B4-BE49-F238E27FC236}">
                <a16:creationId xmlns:a16="http://schemas.microsoft.com/office/drawing/2014/main" id="{FAC5ED8B-C2E0-4D30-B32D-71C705E1C1FF}"/>
              </a:ext>
            </a:extLst>
          </p:cNvPr>
          <p:cNvSpPr/>
          <p:nvPr/>
        </p:nvSpPr>
        <p:spPr>
          <a:xfrm>
            <a:off x="6386594" y="3196523"/>
            <a:ext cx="4005947" cy="315661"/>
          </a:xfrm>
          <a:custGeom>
            <a:avLst/>
            <a:gdLst>
              <a:gd name="connsiteX0" fmla="*/ 0 w 4317804"/>
              <a:gd name="connsiteY0" fmla="*/ 0 h 328336"/>
              <a:gd name="connsiteX1" fmla="*/ 1436915 w 4317804"/>
              <a:gd name="connsiteY1" fmla="*/ 328336 h 328336"/>
              <a:gd name="connsiteX2" fmla="*/ 2887951 w 4317804"/>
              <a:gd name="connsiteY2" fmla="*/ 151811 h 328336"/>
              <a:gd name="connsiteX3" fmla="*/ 4317804 w 4317804"/>
              <a:gd name="connsiteY3" fmla="*/ 123567 h 328336"/>
              <a:gd name="connsiteX0" fmla="*/ 0 w 4317804"/>
              <a:gd name="connsiteY0" fmla="*/ 0 h 335397"/>
              <a:gd name="connsiteX1" fmla="*/ 1433385 w 4317804"/>
              <a:gd name="connsiteY1" fmla="*/ 335397 h 335397"/>
              <a:gd name="connsiteX2" fmla="*/ 2887951 w 4317804"/>
              <a:gd name="connsiteY2" fmla="*/ 151811 h 335397"/>
              <a:gd name="connsiteX3" fmla="*/ 4317804 w 4317804"/>
              <a:gd name="connsiteY3" fmla="*/ 123567 h 335397"/>
              <a:gd name="connsiteX0" fmla="*/ 0 w 4317804"/>
              <a:gd name="connsiteY0" fmla="*/ 0 h 335397"/>
              <a:gd name="connsiteX1" fmla="*/ 1433385 w 4317804"/>
              <a:gd name="connsiteY1" fmla="*/ 335397 h 335397"/>
              <a:gd name="connsiteX2" fmla="*/ 2884421 w 4317804"/>
              <a:gd name="connsiteY2" fmla="*/ 151811 h 335397"/>
              <a:gd name="connsiteX3" fmla="*/ 4317804 w 4317804"/>
              <a:gd name="connsiteY3" fmla="*/ 123567 h 335397"/>
              <a:gd name="connsiteX0" fmla="*/ 0 w 4317804"/>
              <a:gd name="connsiteY0" fmla="*/ 0 h 335397"/>
              <a:gd name="connsiteX1" fmla="*/ 1433385 w 4317804"/>
              <a:gd name="connsiteY1" fmla="*/ 335397 h 335397"/>
              <a:gd name="connsiteX2" fmla="*/ 2877360 w 4317804"/>
              <a:gd name="connsiteY2" fmla="*/ 151811 h 335397"/>
              <a:gd name="connsiteX3" fmla="*/ 4317804 w 4317804"/>
              <a:gd name="connsiteY3" fmla="*/ 123567 h 335397"/>
              <a:gd name="connsiteX0" fmla="*/ 0 w 4317804"/>
              <a:gd name="connsiteY0" fmla="*/ 0 h 335397"/>
              <a:gd name="connsiteX1" fmla="*/ 1433385 w 4317804"/>
              <a:gd name="connsiteY1" fmla="*/ 335397 h 335397"/>
              <a:gd name="connsiteX2" fmla="*/ 2887951 w 4317804"/>
              <a:gd name="connsiteY2" fmla="*/ 162403 h 335397"/>
              <a:gd name="connsiteX3" fmla="*/ 4317804 w 4317804"/>
              <a:gd name="connsiteY3" fmla="*/ 123567 h 335397"/>
              <a:gd name="connsiteX0" fmla="*/ 0 w 4317804"/>
              <a:gd name="connsiteY0" fmla="*/ 0 h 335397"/>
              <a:gd name="connsiteX1" fmla="*/ 1433385 w 4317804"/>
              <a:gd name="connsiteY1" fmla="*/ 335397 h 335397"/>
              <a:gd name="connsiteX2" fmla="*/ 2884421 w 4317804"/>
              <a:gd name="connsiteY2" fmla="*/ 155342 h 335397"/>
              <a:gd name="connsiteX3" fmla="*/ 4317804 w 4317804"/>
              <a:gd name="connsiteY3" fmla="*/ 123567 h 335397"/>
              <a:gd name="connsiteX0" fmla="*/ 0 w 4310743"/>
              <a:gd name="connsiteY0" fmla="*/ 0 h 338928"/>
              <a:gd name="connsiteX1" fmla="*/ 1426324 w 4310743"/>
              <a:gd name="connsiteY1" fmla="*/ 338928 h 338928"/>
              <a:gd name="connsiteX2" fmla="*/ 2877360 w 4310743"/>
              <a:gd name="connsiteY2" fmla="*/ 158873 h 338928"/>
              <a:gd name="connsiteX3" fmla="*/ 4310743 w 4310743"/>
              <a:gd name="connsiteY3" fmla="*/ 127098 h 338928"/>
              <a:gd name="connsiteX0" fmla="*/ 0 w 4305098"/>
              <a:gd name="connsiteY0" fmla="*/ 0 h 338928"/>
              <a:gd name="connsiteX1" fmla="*/ 1426324 w 4305098"/>
              <a:gd name="connsiteY1" fmla="*/ 338928 h 338928"/>
              <a:gd name="connsiteX2" fmla="*/ 2877360 w 4305098"/>
              <a:gd name="connsiteY2" fmla="*/ 158873 h 338928"/>
              <a:gd name="connsiteX3" fmla="*/ 4305098 w 4305098"/>
              <a:gd name="connsiteY3" fmla="*/ 132742 h 338928"/>
              <a:gd name="connsiteX0" fmla="*/ 0 w 4305098"/>
              <a:gd name="connsiteY0" fmla="*/ 0 h 338928"/>
              <a:gd name="connsiteX1" fmla="*/ 1426324 w 4305098"/>
              <a:gd name="connsiteY1" fmla="*/ 338928 h 338928"/>
              <a:gd name="connsiteX2" fmla="*/ 2877360 w 4305098"/>
              <a:gd name="connsiteY2" fmla="*/ 158873 h 338928"/>
              <a:gd name="connsiteX3" fmla="*/ 4305098 w 4305098"/>
              <a:gd name="connsiteY3" fmla="*/ 132742 h 338928"/>
              <a:gd name="connsiteX0" fmla="*/ 0 w 4310742"/>
              <a:gd name="connsiteY0" fmla="*/ 0 h 338928"/>
              <a:gd name="connsiteX1" fmla="*/ 1426324 w 4310742"/>
              <a:gd name="connsiteY1" fmla="*/ 338928 h 338928"/>
              <a:gd name="connsiteX2" fmla="*/ 2877360 w 4310742"/>
              <a:gd name="connsiteY2" fmla="*/ 158873 h 338928"/>
              <a:gd name="connsiteX3" fmla="*/ 4310742 w 4310742"/>
              <a:gd name="connsiteY3" fmla="*/ 129920 h 338928"/>
              <a:gd name="connsiteX0" fmla="*/ 0 w 4301217"/>
              <a:gd name="connsiteY0" fmla="*/ 0 h 338928"/>
              <a:gd name="connsiteX1" fmla="*/ 1426324 w 4301217"/>
              <a:gd name="connsiteY1" fmla="*/ 338928 h 338928"/>
              <a:gd name="connsiteX2" fmla="*/ 2877360 w 4301217"/>
              <a:gd name="connsiteY2" fmla="*/ 158873 h 338928"/>
              <a:gd name="connsiteX3" fmla="*/ 4301217 w 4301217"/>
              <a:gd name="connsiteY3" fmla="*/ 129920 h 338928"/>
              <a:gd name="connsiteX0" fmla="*/ 0 w 4301217"/>
              <a:gd name="connsiteY0" fmla="*/ 0 h 338928"/>
              <a:gd name="connsiteX1" fmla="*/ 1426324 w 4301217"/>
              <a:gd name="connsiteY1" fmla="*/ 338928 h 338928"/>
              <a:gd name="connsiteX2" fmla="*/ 2860692 w 4301217"/>
              <a:gd name="connsiteY2" fmla="*/ 161254 h 338928"/>
              <a:gd name="connsiteX3" fmla="*/ 4301217 w 4301217"/>
              <a:gd name="connsiteY3" fmla="*/ 129920 h 338928"/>
            </a:gdLst>
            <a:ahLst/>
            <a:cxnLst>
              <a:cxn ang="0">
                <a:pos x="connsiteX0" y="connsiteY0"/>
              </a:cxn>
              <a:cxn ang="0">
                <a:pos x="connsiteX1" y="connsiteY1"/>
              </a:cxn>
              <a:cxn ang="0">
                <a:pos x="connsiteX2" y="connsiteY2"/>
              </a:cxn>
              <a:cxn ang="0">
                <a:pos x="connsiteX3" y="connsiteY3"/>
              </a:cxn>
            </a:cxnLst>
            <a:rect l="l" t="t" r="r" b="b"/>
            <a:pathLst>
              <a:path w="4301217" h="338928">
                <a:moveTo>
                  <a:pt x="0" y="0"/>
                </a:moveTo>
                <a:lnTo>
                  <a:pt x="1426324" y="338928"/>
                </a:lnTo>
                <a:lnTo>
                  <a:pt x="2860692" y="161254"/>
                </a:lnTo>
                <a:lnTo>
                  <a:pt x="4301217" y="12992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4" name="Freeform: Shape 383">
            <a:extLst>
              <a:ext uri="{FF2B5EF4-FFF2-40B4-BE49-F238E27FC236}">
                <a16:creationId xmlns:a16="http://schemas.microsoft.com/office/drawing/2014/main" id="{EE7ED42F-656E-4290-8676-761F1B548E44}"/>
              </a:ext>
            </a:extLst>
          </p:cNvPr>
          <p:cNvSpPr/>
          <p:nvPr/>
        </p:nvSpPr>
        <p:spPr>
          <a:xfrm>
            <a:off x="6386594" y="3383947"/>
            <a:ext cx="4006446" cy="411018"/>
          </a:xfrm>
          <a:custGeom>
            <a:avLst/>
            <a:gdLst>
              <a:gd name="connsiteX0" fmla="*/ 0 w 4328395"/>
              <a:gd name="connsiteY0" fmla="*/ 0 h 448374"/>
              <a:gd name="connsiteX1" fmla="*/ 1436914 w 4328395"/>
              <a:gd name="connsiteY1" fmla="*/ 448374 h 448374"/>
              <a:gd name="connsiteX2" fmla="*/ 2891481 w 4328395"/>
              <a:gd name="connsiteY2" fmla="*/ 321275 h 448374"/>
              <a:gd name="connsiteX3" fmla="*/ 4328395 w 4328395"/>
              <a:gd name="connsiteY3" fmla="*/ 148281 h 448374"/>
              <a:gd name="connsiteX0" fmla="*/ 0 w 4328395"/>
              <a:gd name="connsiteY0" fmla="*/ 0 h 437783"/>
              <a:gd name="connsiteX1" fmla="*/ 1436914 w 4328395"/>
              <a:gd name="connsiteY1" fmla="*/ 437783 h 437783"/>
              <a:gd name="connsiteX2" fmla="*/ 2891481 w 4328395"/>
              <a:gd name="connsiteY2" fmla="*/ 310684 h 437783"/>
              <a:gd name="connsiteX3" fmla="*/ 4328395 w 4328395"/>
              <a:gd name="connsiteY3" fmla="*/ 137690 h 437783"/>
              <a:gd name="connsiteX0" fmla="*/ 0 w 4317804"/>
              <a:gd name="connsiteY0" fmla="*/ 0 h 441313"/>
              <a:gd name="connsiteX1" fmla="*/ 1426323 w 4317804"/>
              <a:gd name="connsiteY1" fmla="*/ 441313 h 441313"/>
              <a:gd name="connsiteX2" fmla="*/ 2880890 w 4317804"/>
              <a:gd name="connsiteY2" fmla="*/ 314214 h 441313"/>
              <a:gd name="connsiteX3" fmla="*/ 4317804 w 4317804"/>
              <a:gd name="connsiteY3" fmla="*/ 141220 h 441313"/>
              <a:gd name="connsiteX0" fmla="*/ 0 w 4306515"/>
              <a:gd name="connsiteY0" fmla="*/ 0 h 441313"/>
              <a:gd name="connsiteX1" fmla="*/ 1426323 w 4306515"/>
              <a:gd name="connsiteY1" fmla="*/ 441313 h 441313"/>
              <a:gd name="connsiteX2" fmla="*/ 2880890 w 4306515"/>
              <a:gd name="connsiteY2" fmla="*/ 314214 h 441313"/>
              <a:gd name="connsiteX3" fmla="*/ 4306515 w 4306515"/>
              <a:gd name="connsiteY3" fmla="*/ 138398 h 441313"/>
              <a:gd name="connsiteX0" fmla="*/ 0 w 4301753"/>
              <a:gd name="connsiteY0" fmla="*/ 0 h 441313"/>
              <a:gd name="connsiteX1" fmla="*/ 1426323 w 4301753"/>
              <a:gd name="connsiteY1" fmla="*/ 441313 h 441313"/>
              <a:gd name="connsiteX2" fmla="*/ 2880890 w 4301753"/>
              <a:gd name="connsiteY2" fmla="*/ 314214 h 441313"/>
              <a:gd name="connsiteX3" fmla="*/ 4301753 w 4301753"/>
              <a:gd name="connsiteY3" fmla="*/ 140779 h 441313"/>
              <a:gd name="connsiteX0" fmla="*/ 0 w 4301753"/>
              <a:gd name="connsiteY0" fmla="*/ 0 h 441313"/>
              <a:gd name="connsiteX1" fmla="*/ 1426323 w 4301753"/>
              <a:gd name="connsiteY1" fmla="*/ 441313 h 441313"/>
              <a:gd name="connsiteX2" fmla="*/ 2866602 w 4301753"/>
              <a:gd name="connsiteY2" fmla="*/ 321358 h 441313"/>
              <a:gd name="connsiteX3" fmla="*/ 4301753 w 4301753"/>
              <a:gd name="connsiteY3" fmla="*/ 140779 h 441313"/>
              <a:gd name="connsiteX0" fmla="*/ 0 w 4301753"/>
              <a:gd name="connsiteY0" fmla="*/ 0 h 441313"/>
              <a:gd name="connsiteX1" fmla="*/ 1426323 w 4301753"/>
              <a:gd name="connsiteY1" fmla="*/ 441313 h 441313"/>
              <a:gd name="connsiteX2" fmla="*/ 2866602 w 4301753"/>
              <a:gd name="connsiteY2" fmla="*/ 321358 h 441313"/>
              <a:gd name="connsiteX3" fmla="*/ 4301753 w 4301753"/>
              <a:gd name="connsiteY3" fmla="*/ 138398 h 441313"/>
              <a:gd name="connsiteX0" fmla="*/ 0 w 4301753"/>
              <a:gd name="connsiteY0" fmla="*/ 0 h 441313"/>
              <a:gd name="connsiteX1" fmla="*/ 1426323 w 4301753"/>
              <a:gd name="connsiteY1" fmla="*/ 441313 h 441313"/>
              <a:gd name="connsiteX2" fmla="*/ 2864221 w 4301753"/>
              <a:gd name="connsiteY2" fmla="*/ 318977 h 441313"/>
              <a:gd name="connsiteX3" fmla="*/ 4301753 w 4301753"/>
              <a:gd name="connsiteY3" fmla="*/ 138398 h 441313"/>
            </a:gdLst>
            <a:ahLst/>
            <a:cxnLst>
              <a:cxn ang="0">
                <a:pos x="connsiteX0" y="connsiteY0"/>
              </a:cxn>
              <a:cxn ang="0">
                <a:pos x="connsiteX1" y="connsiteY1"/>
              </a:cxn>
              <a:cxn ang="0">
                <a:pos x="connsiteX2" y="connsiteY2"/>
              </a:cxn>
              <a:cxn ang="0">
                <a:pos x="connsiteX3" y="connsiteY3"/>
              </a:cxn>
            </a:cxnLst>
            <a:rect l="l" t="t" r="r" b="b"/>
            <a:pathLst>
              <a:path w="4301753" h="441313">
                <a:moveTo>
                  <a:pt x="0" y="0"/>
                </a:moveTo>
                <a:lnTo>
                  <a:pt x="1426323" y="441313"/>
                </a:lnTo>
                <a:lnTo>
                  <a:pt x="2864221" y="318977"/>
                </a:lnTo>
                <a:lnTo>
                  <a:pt x="4301753" y="138398"/>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85" name="Group 384">
            <a:extLst>
              <a:ext uri="{FF2B5EF4-FFF2-40B4-BE49-F238E27FC236}">
                <a16:creationId xmlns:a16="http://schemas.microsoft.com/office/drawing/2014/main" id="{D72941EB-461A-4397-B563-D58E77AADC7A}"/>
              </a:ext>
            </a:extLst>
          </p:cNvPr>
          <p:cNvGrpSpPr/>
          <p:nvPr/>
        </p:nvGrpSpPr>
        <p:grpSpPr>
          <a:xfrm>
            <a:off x="6356313" y="3357664"/>
            <a:ext cx="4059399" cy="466443"/>
            <a:chOff x="7039082" y="3311635"/>
            <a:chExt cx="4358609" cy="500823"/>
          </a:xfrm>
          <a:solidFill>
            <a:schemeClr val="tx2"/>
          </a:solidFill>
        </p:grpSpPr>
        <p:sp>
          <p:nvSpPr>
            <p:cNvPr id="386" name="Oval 385">
              <a:extLst>
                <a:ext uri="{FF2B5EF4-FFF2-40B4-BE49-F238E27FC236}">
                  <a16:creationId xmlns:a16="http://schemas.microsoft.com/office/drawing/2014/main" id="{B730FC01-E3C1-473D-A130-7560021FD6E2}"/>
                </a:ext>
              </a:extLst>
            </p:cNvPr>
            <p:cNvSpPr>
              <a:spLocks noChangeAspect="1"/>
            </p:cNvSpPr>
            <p:nvPr/>
          </p:nvSpPr>
          <p:spPr>
            <a:xfrm>
              <a:off x="7039082" y="3311635"/>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387" name="Oval 386">
              <a:extLst>
                <a:ext uri="{FF2B5EF4-FFF2-40B4-BE49-F238E27FC236}">
                  <a16:creationId xmlns:a16="http://schemas.microsoft.com/office/drawing/2014/main" id="{A81DC28B-F1D4-4750-9A73-7D760FBB17F2}"/>
                </a:ext>
              </a:extLst>
            </p:cNvPr>
            <p:cNvSpPr>
              <a:spLocks noChangeAspect="1"/>
            </p:cNvSpPr>
            <p:nvPr/>
          </p:nvSpPr>
          <p:spPr>
            <a:xfrm>
              <a:off x="8476649" y="3757594"/>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388" name="Oval 387">
              <a:extLst>
                <a:ext uri="{FF2B5EF4-FFF2-40B4-BE49-F238E27FC236}">
                  <a16:creationId xmlns:a16="http://schemas.microsoft.com/office/drawing/2014/main" id="{0285A7B1-7374-40A2-AB50-0B4F09076B2B}"/>
                </a:ext>
              </a:extLst>
            </p:cNvPr>
            <p:cNvSpPr>
              <a:spLocks noChangeAspect="1"/>
            </p:cNvSpPr>
            <p:nvPr/>
          </p:nvSpPr>
          <p:spPr>
            <a:xfrm>
              <a:off x="9905364" y="3630514"/>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389" name="Oval 388">
              <a:extLst>
                <a:ext uri="{FF2B5EF4-FFF2-40B4-BE49-F238E27FC236}">
                  <a16:creationId xmlns:a16="http://schemas.microsoft.com/office/drawing/2014/main" id="{894B9AA7-B1A0-4B84-986C-5FA6724C934F}"/>
                </a:ext>
              </a:extLst>
            </p:cNvPr>
            <p:cNvSpPr>
              <a:spLocks noChangeAspect="1"/>
            </p:cNvSpPr>
            <p:nvPr/>
          </p:nvSpPr>
          <p:spPr>
            <a:xfrm>
              <a:off x="11342827" y="3453421"/>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grpSp>
      <p:grpSp>
        <p:nvGrpSpPr>
          <p:cNvPr id="390" name="Group 389">
            <a:extLst>
              <a:ext uri="{FF2B5EF4-FFF2-40B4-BE49-F238E27FC236}">
                <a16:creationId xmlns:a16="http://schemas.microsoft.com/office/drawing/2014/main" id="{B6243717-FEC0-4AC9-9119-20777F70B938}"/>
              </a:ext>
            </a:extLst>
          </p:cNvPr>
          <p:cNvGrpSpPr/>
          <p:nvPr/>
        </p:nvGrpSpPr>
        <p:grpSpPr>
          <a:xfrm>
            <a:off x="6356313" y="3172447"/>
            <a:ext cx="4059399" cy="362591"/>
            <a:chOff x="7039082" y="3112766"/>
            <a:chExt cx="4358609" cy="389317"/>
          </a:xfrm>
          <a:solidFill>
            <a:schemeClr val="accent1"/>
          </a:solidFill>
        </p:grpSpPr>
        <p:sp>
          <p:nvSpPr>
            <p:cNvPr id="391" name="Oval 390">
              <a:extLst>
                <a:ext uri="{FF2B5EF4-FFF2-40B4-BE49-F238E27FC236}">
                  <a16:creationId xmlns:a16="http://schemas.microsoft.com/office/drawing/2014/main" id="{91259FA5-F4A9-4DA3-8BB4-F9A7A7428A3F}"/>
                </a:ext>
              </a:extLst>
            </p:cNvPr>
            <p:cNvSpPr>
              <a:spLocks noChangeAspect="1"/>
            </p:cNvSpPr>
            <p:nvPr/>
          </p:nvSpPr>
          <p:spPr>
            <a:xfrm>
              <a:off x="7039082" y="3112766"/>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392" name="Oval 391">
              <a:extLst>
                <a:ext uri="{FF2B5EF4-FFF2-40B4-BE49-F238E27FC236}">
                  <a16:creationId xmlns:a16="http://schemas.microsoft.com/office/drawing/2014/main" id="{9F2A4CE6-D8A4-4ACF-B0E7-183545259C16}"/>
                </a:ext>
              </a:extLst>
            </p:cNvPr>
            <p:cNvSpPr>
              <a:spLocks noChangeAspect="1"/>
            </p:cNvSpPr>
            <p:nvPr/>
          </p:nvSpPr>
          <p:spPr>
            <a:xfrm>
              <a:off x="8476649" y="3447219"/>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393" name="Oval 392">
              <a:extLst>
                <a:ext uri="{FF2B5EF4-FFF2-40B4-BE49-F238E27FC236}">
                  <a16:creationId xmlns:a16="http://schemas.microsoft.com/office/drawing/2014/main" id="{8DC91DE1-FEAB-4305-8AF5-B12B9394D213}"/>
                </a:ext>
              </a:extLst>
            </p:cNvPr>
            <p:cNvSpPr>
              <a:spLocks noChangeAspect="1"/>
            </p:cNvSpPr>
            <p:nvPr/>
          </p:nvSpPr>
          <p:spPr>
            <a:xfrm>
              <a:off x="9905364" y="3272169"/>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394" name="Oval 393">
              <a:extLst>
                <a:ext uri="{FF2B5EF4-FFF2-40B4-BE49-F238E27FC236}">
                  <a16:creationId xmlns:a16="http://schemas.microsoft.com/office/drawing/2014/main" id="{7A3B99EF-C323-417E-8502-7436FBCD91C8}"/>
                </a:ext>
              </a:extLst>
            </p:cNvPr>
            <p:cNvSpPr>
              <a:spLocks noChangeAspect="1"/>
            </p:cNvSpPr>
            <p:nvPr/>
          </p:nvSpPr>
          <p:spPr>
            <a:xfrm>
              <a:off x="11342827" y="3240551"/>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grpSp>
      <p:grpSp>
        <p:nvGrpSpPr>
          <p:cNvPr id="165" name="Group 164">
            <a:extLst>
              <a:ext uri="{FF2B5EF4-FFF2-40B4-BE49-F238E27FC236}">
                <a16:creationId xmlns:a16="http://schemas.microsoft.com/office/drawing/2014/main" id="{A5BDF455-AFBF-4E6C-B0BA-41A10B42A03E}"/>
              </a:ext>
            </a:extLst>
          </p:cNvPr>
          <p:cNvGrpSpPr/>
          <p:nvPr/>
        </p:nvGrpSpPr>
        <p:grpSpPr>
          <a:xfrm>
            <a:off x="6419886" y="1965635"/>
            <a:ext cx="1046186" cy="523220"/>
            <a:chOff x="2541896" y="2037899"/>
            <a:chExt cx="1123298" cy="561786"/>
          </a:xfrm>
        </p:grpSpPr>
        <p:sp>
          <p:nvSpPr>
            <p:cNvPr id="166" name="TextBox 165">
              <a:extLst>
                <a:ext uri="{FF2B5EF4-FFF2-40B4-BE49-F238E27FC236}">
                  <a16:creationId xmlns:a16="http://schemas.microsoft.com/office/drawing/2014/main" id="{DE5A4D2F-9B38-4F19-B012-92EEFEC2193E}"/>
                </a:ext>
              </a:extLst>
            </p:cNvPr>
            <p:cNvSpPr txBox="1"/>
            <p:nvPr/>
          </p:nvSpPr>
          <p:spPr>
            <a:xfrm>
              <a:off x="2541896" y="2037899"/>
              <a:ext cx="1123298" cy="56178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a:p>
              <a:pPr marL="341313"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Vericiguat</a:t>
              </a:r>
            </a:p>
            <a:p>
              <a:pPr marL="341313"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Placebo</a:t>
              </a:r>
            </a:p>
          </p:txBody>
        </p:sp>
        <p:cxnSp>
          <p:nvCxnSpPr>
            <p:cNvPr id="167" name="Straight Connector 166">
              <a:extLst>
                <a:ext uri="{FF2B5EF4-FFF2-40B4-BE49-F238E27FC236}">
                  <a16:creationId xmlns:a16="http://schemas.microsoft.com/office/drawing/2014/main" id="{04243CA1-B2B9-486F-810A-5FD22CDA9C5E}"/>
                </a:ext>
              </a:extLst>
            </p:cNvPr>
            <p:cNvCxnSpPr>
              <a:cxnSpLocks/>
            </p:cNvCxnSpPr>
            <p:nvPr/>
          </p:nvCxnSpPr>
          <p:spPr>
            <a:xfrm>
              <a:off x="2570413" y="2340863"/>
              <a:ext cx="274320" cy="0"/>
            </a:xfrm>
            <a:prstGeom prst="line">
              <a:avLst/>
            </a:prstGeom>
            <a:noFill/>
            <a:ln w="19050" cap="flat" cmpd="sng" algn="ctr">
              <a:solidFill>
                <a:schemeClr val="accent1"/>
              </a:solidFill>
              <a:prstDash val="solid"/>
              <a:miter lim="800000"/>
            </a:ln>
            <a:effectLst/>
          </p:spPr>
        </p:cxnSp>
        <p:cxnSp>
          <p:nvCxnSpPr>
            <p:cNvPr id="241" name="Straight Connector 240">
              <a:extLst>
                <a:ext uri="{FF2B5EF4-FFF2-40B4-BE49-F238E27FC236}">
                  <a16:creationId xmlns:a16="http://schemas.microsoft.com/office/drawing/2014/main" id="{F4A42EA9-BCD2-4690-9347-FBB64B47621A}"/>
                </a:ext>
              </a:extLst>
            </p:cNvPr>
            <p:cNvCxnSpPr>
              <a:cxnSpLocks/>
            </p:cNvCxnSpPr>
            <p:nvPr/>
          </p:nvCxnSpPr>
          <p:spPr>
            <a:xfrm>
              <a:off x="2570413" y="2490073"/>
              <a:ext cx="274320" cy="0"/>
            </a:xfrm>
            <a:prstGeom prst="line">
              <a:avLst/>
            </a:prstGeom>
            <a:noFill/>
            <a:ln w="19050" cap="flat" cmpd="sng" algn="ctr">
              <a:solidFill>
                <a:schemeClr val="tx2"/>
              </a:solidFill>
              <a:prstDash val="solid"/>
              <a:miter lim="800000"/>
            </a:ln>
            <a:effectLst/>
          </p:spPr>
        </p:cxnSp>
      </p:grpSp>
      <p:grpSp>
        <p:nvGrpSpPr>
          <p:cNvPr id="370" name="Group 369">
            <a:extLst>
              <a:ext uri="{FF2B5EF4-FFF2-40B4-BE49-F238E27FC236}">
                <a16:creationId xmlns:a16="http://schemas.microsoft.com/office/drawing/2014/main" id="{97141881-B8A7-4777-AD44-44FDF818147B}"/>
              </a:ext>
            </a:extLst>
          </p:cNvPr>
          <p:cNvGrpSpPr/>
          <p:nvPr/>
        </p:nvGrpSpPr>
        <p:grpSpPr>
          <a:xfrm>
            <a:off x="10351836" y="3289093"/>
            <a:ext cx="76647" cy="449499"/>
            <a:chOff x="1271646" y="2959168"/>
            <a:chExt cx="82296" cy="311800"/>
          </a:xfrm>
        </p:grpSpPr>
        <p:cxnSp>
          <p:nvCxnSpPr>
            <p:cNvPr id="371" name="Straight Connector 370">
              <a:extLst>
                <a:ext uri="{FF2B5EF4-FFF2-40B4-BE49-F238E27FC236}">
                  <a16:creationId xmlns:a16="http://schemas.microsoft.com/office/drawing/2014/main" id="{71FF84D1-EDEF-4CB9-8327-DC91E9007EF6}"/>
                </a:ext>
              </a:extLst>
            </p:cNvPr>
            <p:cNvCxnSpPr>
              <a:cxnSpLocks/>
            </p:cNvCxnSpPr>
            <p:nvPr/>
          </p:nvCxnSpPr>
          <p:spPr>
            <a:xfrm>
              <a:off x="1312794" y="2963782"/>
              <a:ext cx="0" cy="307186"/>
            </a:xfrm>
            <a:prstGeom prst="line">
              <a:avLst/>
            </a:prstGeom>
            <a:noFill/>
            <a:ln w="9525" cap="flat" cmpd="sng" algn="ctr">
              <a:solidFill>
                <a:schemeClr val="tx2"/>
              </a:solidFill>
              <a:prstDash val="solid"/>
              <a:miter lim="800000"/>
            </a:ln>
            <a:effectLst/>
          </p:spPr>
        </p:cxnSp>
        <p:cxnSp>
          <p:nvCxnSpPr>
            <p:cNvPr id="372" name="Straight Connector 371">
              <a:extLst>
                <a:ext uri="{FF2B5EF4-FFF2-40B4-BE49-F238E27FC236}">
                  <a16:creationId xmlns:a16="http://schemas.microsoft.com/office/drawing/2014/main" id="{39A68A25-68AA-4A4C-8882-982F8FD12AA9}"/>
                </a:ext>
              </a:extLst>
            </p:cNvPr>
            <p:cNvCxnSpPr>
              <a:cxnSpLocks/>
            </p:cNvCxnSpPr>
            <p:nvPr/>
          </p:nvCxnSpPr>
          <p:spPr>
            <a:xfrm rot="5400000">
              <a:off x="1312794" y="2918020"/>
              <a:ext cx="0" cy="82296"/>
            </a:xfrm>
            <a:prstGeom prst="line">
              <a:avLst/>
            </a:prstGeom>
            <a:noFill/>
            <a:ln w="9525" cap="flat" cmpd="sng" algn="ctr">
              <a:solidFill>
                <a:schemeClr val="tx2"/>
              </a:solidFill>
              <a:prstDash val="solid"/>
              <a:miter lim="800000"/>
            </a:ln>
            <a:effectLst/>
          </p:spPr>
        </p:cxnSp>
        <p:cxnSp>
          <p:nvCxnSpPr>
            <p:cNvPr id="373" name="Straight Connector 372">
              <a:extLst>
                <a:ext uri="{FF2B5EF4-FFF2-40B4-BE49-F238E27FC236}">
                  <a16:creationId xmlns:a16="http://schemas.microsoft.com/office/drawing/2014/main" id="{7FA92F61-09D2-410A-AC8F-40C23E095857}"/>
                </a:ext>
              </a:extLst>
            </p:cNvPr>
            <p:cNvCxnSpPr>
              <a:cxnSpLocks/>
            </p:cNvCxnSpPr>
            <p:nvPr/>
          </p:nvCxnSpPr>
          <p:spPr>
            <a:xfrm rot="5400000">
              <a:off x="1312794" y="3229820"/>
              <a:ext cx="0" cy="82296"/>
            </a:xfrm>
            <a:prstGeom prst="line">
              <a:avLst/>
            </a:prstGeom>
            <a:noFill/>
            <a:ln w="9525" cap="flat" cmpd="sng" algn="ctr">
              <a:solidFill>
                <a:schemeClr val="tx2"/>
              </a:solidFill>
              <a:prstDash val="solid"/>
              <a:miter lim="800000"/>
            </a:ln>
            <a:effectLst/>
          </p:spPr>
        </p:cxnSp>
      </p:grpSp>
      <p:sp>
        <p:nvSpPr>
          <p:cNvPr id="163" name="TextBox 162">
            <a:extLst>
              <a:ext uri="{FF2B5EF4-FFF2-40B4-BE49-F238E27FC236}">
                <a16:creationId xmlns:a16="http://schemas.microsoft.com/office/drawing/2014/main" id="{316D9876-596F-4C0B-97FD-C8A856525BBB}"/>
              </a:ext>
            </a:extLst>
          </p:cNvPr>
          <p:cNvSpPr txBox="1"/>
          <p:nvPr/>
        </p:nvSpPr>
        <p:spPr>
          <a:xfrm>
            <a:off x="9732783" y="2035108"/>
            <a:ext cx="791169" cy="261610"/>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S PGothic" charset="0"/>
                <a:cs typeface="+mn-cs"/>
              </a:rPr>
              <a:t>p=0.68</a:t>
            </a:r>
          </a:p>
        </p:txBody>
      </p:sp>
      <p:grpSp>
        <p:nvGrpSpPr>
          <p:cNvPr id="168" name="Group 167">
            <a:extLst>
              <a:ext uri="{FF2B5EF4-FFF2-40B4-BE49-F238E27FC236}">
                <a16:creationId xmlns:a16="http://schemas.microsoft.com/office/drawing/2014/main" id="{6974A019-EF95-4CA0-832A-8075120DB194}"/>
              </a:ext>
            </a:extLst>
          </p:cNvPr>
          <p:cNvGrpSpPr/>
          <p:nvPr/>
        </p:nvGrpSpPr>
        <p:grpSpPr>
          <a:xfrm>
            <a:off x="1235353" y="3062715"/>
            <a:ext cx="4099145" cy="358870"/>
            <a:chOff x="1439294" y="3032645"/>
            <a:chExt cx="4404116" cy="385570"/>
          </a:xfrm>
        </p:grpSpPr>
        <p:grpSp>
          <p:nvGrpSpPr>
            <p:cNvPr id="169" name="Group 168">
              <a:extLst>
                <a:ext uri="{FF2B5EF4-FFF2-40B4-BE49-F238E27FC236}">
                  <a16:creationId xmlns:a16="http://schemas.microsoft.com/office/drawing/2014/main" id="{07F5D13B-21E2-49ED-B583-D48C8138690D}"/>
                </a:ext>
              </a:extLst>
            </p:cNvPr>
            <p:cNvGrpSpPr/>
            <p:nvPr/>
          </p:nvGrpSpPr>
          <p:grpSpPr>
            <a:xfrm>
              <a:off x="5761114" y="3109635"/>
              <a:ext cx="82296" cy="210312"/>
              <a:chOff x="1309746" y="2960706"/>
              <a:chExt cx="82296" cy="307186"/>
            </a:xfrm>
          </p:grpSpPr>
          <p:cxnSp>
            <p:nvCxnSpPr>
              <p:cNvPr id="182" name="Straight Connector 181">
                <a:extLst>
                  <a:ext uri="{FF2B5EF4-FFF2-40B4-BE49-F238E27FC236}">
                    <a16:creationId xmlns:a16="http://schemas.microsoft.com/office/drawing/2014/main" id="{B6957C86-9C98-4259-ACFB-81041542099D}"/>
                  </a:ext>
                </a:extLst>
              </p:cNvPr>
              <p:cNvCxnSpPr>
                <a:cxnSpLocks/>
              </p:cNvCxnSpPr>
              <p:nvPr/>
            </p:nvCxnSpPr>
            <p:spPr>
              <a:xfrm>
                <a:off x="1350894" y="2960706"/>
                <a:ext cx="0" cy="307186"/>
              </a:xfrm>
              <a:prstGeom prst="line">
                <a:avLst/>
              </a:prstGeom>
              <a:noFill/>
              <a:ln w="9525" cap="flat" cmpd="sng" algn="ctr">
                <a:solidFill>
                  <a:schemeClr val="tx2"/>
                </a:solidFill>
                <a:prstDash val="solid"/>
                <a:miter lim="800000"/>
              </a:ln>
              <a:effectLst/>
            </p:spPr>
          </p:cxnSp>
          <p:cxnSp>
            <p:nvCxnSpPr>
              <p:cNvPr id="183" name="Straight Connector 182">
                <a:extLst>
                  <a:ext uri="{FF2B5EF4-FFF2-40B4-BE49-F238E27FC236}">
                    <a16:creationId xmlns:a16="http://schemas.microsoft.com/office/drawing/2014/main" id="{0728844B-DED0-40AC-8924-9B9E20CBE585}"/>
                  </a:ext>
                </a:extLst>
              </p:cNvPr>
              <p:cNvCxnSpPr>
                <a:cxnSpLocks/>
              </p:cNvCxnSpPr>
              <p:nvPr/>
            </p:nvCxnSpPr>
            <p:spPr>
              <a:xfrm rot="5400000">
                <a:off x="1350894" y="2919558"/>
                <a:ext cx="0" cy="82296"/>
              </a:xfrm>
              <a:prstGeom prst="line">
                <a:avLst/>
              </a:prstGeom>
              <a:noFill/>
              <a:ln w="9525" cap="flat" cmpd="sng" algn="ctr">
                <a:solidFill>
                  <a:schemeClr val="tx2"/>
                </a:solidFill>
                <a:prstDash val="solid"/>
                <a:miter lim="800000"/>
              </a:ln>
              <a:effectLst/>
            </p:spPr>
          </p:cxnSp>
          <p:cxnSp>
            <p:nvCxnSpPr>
              <p:cNvPr id="184" name="Straight Connector 183">
                <a:extLst>
                  <a:ext uri="{FF2B5EF4-FFF2-40B4-BE49-F238E27FC236}">
                    <a16:creationId xmlns:a16="http://schemas.microsoft.com/office/drawing/2014/main" id="{D044E458-8E3B-4DBC-9C85-F361AC775BFE}"/>
                  </a:ext>
                </a:extLst>
              </p:cNvPr>
              <p:cNvCxnSpPr>
                <a:cxnSpLocks/>
              </p:cNvCxnSpPr>
              <p:nvPr/>
            </p:nvCxnSpPr>
            <p:spPr>
              <a:xfrm rot="5400000">
                <a:off x="1350894" y="3226744"/>
                <a:ext cx="0" cy="82296"/>
              </a:xfrm>
              <a:prstGeom prst="line">
                <a:avLst/>
              </a:prstGeom>
              <a:noFill/>
              <a:ln w="9525" cap="flat" cmpd="sng" algn="ctr">
                <a:solidFill>
                  <a:schemeClr val="tx2"/>
                </a:solidFill>
                <a:prstDash val="solid"/>
                <a:miter lim="800000"/>
              </a:ln>
              <a:effectLst/>
            </p:spPr>
          </p:cxnSp>
        </p:grpSp>
        <p:grpSp>
          <p:nvGrpSpPr>
            <p:cNvPr id="170" name="Group 169">
              <a:extLst>
                <a:ext uri="{FF2B5EF4-FFF2-40B4-BE49-F238E27FC236}">
                  <a16:creationId xmlns:a16="http://schemas.microsoft.com/office/drawing/2014/main" id="{A72386B1-372F-40B9-BE98-1857C8E5C594}"/>
                </a:ext>
              </a:extLst>
            </p:cNvPr>
            <p:cNvGrpSpPr/>
            <p:nvPr/>
          </p:nvGrpSpPr>
          <p:grpSpPr>
            <a:xfrm>
              <a:off x="4311073" y="3032645"/>
              <a:ext cx="82296" cy="192024"/>
              <a:chOff x="1293079" y="2960706"/>
              <a:chExt cx="82296" cy="307186"/>
            </a:xfrm>
          </p:grpSpPr>
          <p:cxnSp>
            <p:nvCxnSpPr>
              <p:cNvPr id="179" name="Straight Connector 178">
                <a:extLst>
                  <a:ext uri="{FF2B5EF4-FFF2-40B4-BE49-F238E27FC236}">
                    <a16:creationId xmlns:a16="http://schemas.microsoft.com/office/drawing/2014/main" id="{9AD5AA3A-841F-4BAE-A7D4-A02690B881C0}"/>
                  </a:ext>
                </a:extLst>
              </p:cNvPr>
              <p:cNvCxnSpPr>
                <a:cxnSpLocks/>
              </p:cNvCxnSpPr>
              <p:nvPr/>
            </p:nvCxnSpPr>
            <p:spPr>
              <a:xfrm>
                <a:off x="1334227" y="2960706"/>
                <a:ext cx="0" cy="307186"/>
              </a:xfrm>
              <a:prstGeom prst="line">
                <a:avLst/>
              </a:prstGeom>
              <a:noFill/>
              <a:ln w="9525" cap="flat" cmpd="sng" algn="ctr">
                <a:solidFill>
                  <a:schemeClr val="tx2"/>
                </a:solidFill>
                <a:prstDash val="solid"/>
                <a:miter lim="800000"/>
              </a:ln>
              <a:effectLst/>
            </p:spPr>
          </p:cxnSp>
          <p:cxnSp>
            <p:nvCxnSpPr>
              <p:cNvPr id="180" name="Straight Connector 179">
                <a:extLst>
                  <a:ext uri="{FF2B5EF4-FFF2-40B4-BE49-F238E27FC236}">
                    <a16:creationId xmlns:a16="http://schemas.microsoft.com/office/drawing/2014/main" id="{68E4C251-0BA4-4784-9FB2-737F8B844AAD}"/>
                  </a:ext>
                </a:extLst>
              </p:cNvPr>
              <p:cNvCxnSpPr>
                <a:cxnSpLocks/>
              </p:cNvCxnSpPr>
              <p:nvPr/>
            </p:nvCxnSpPr>
            <p:spPr>
              <a:xfrm rot="5400000">
                <a:off x="1334227" y="2923367"/>
                <a:ext cx="0" cy="82296"/>
              </a:xfrm>
              <a:prstGeom prst="line">
                <a:avLst/>
              </a:prstGeom>
              <a:noFill/>
              <a:ln w="9525" cap="flat" cmpd="sng" algn="ctr">
                <a:solidFill>
                  <a:schemeClr val="tx2"/>
                </a:solidFill>
                <a:prstDash val="solid"/>
                <a:miter lim="800000"/>
              </a:ln>
              <a:effectLst/>
            </p:spPr>
          </p:cxnSp>
          <p:cxnSp>
            <p:nvCxnSpPr>
              <p:cNvPr id="181" name="Straight Connector 180">
                <a:extLst>
                  <a:ext uri="{FF2B5EF4-FFF2-40B4-BE49-F238E27FC236}">
                    <a16:creationId xmlns:a16="http://schemas.microsoft.com/office/drawing/2014/main" id="{4D507811-0C62-4A36-B13A-2864908C0E71}"/>
                  </a:ext>
                </a:extLst>
              </p:cNvPr>
              <p:cNvCxnSpPr>
                <a:cxnSpLocks/>
              </p:cNvCxnSpPr>
              <p:nvPr/>
            </p:nvCxnSpPr>
            <p:spPr>
              <a:xfrm rot="5400000">
                <a:off x="1334227" y="3226744"/>
                <a:ext cx="0" cy="82296"/>
              </a:xfrm>
              <a:prstGeom prst="line">
                <a:avLst/>
              </a:prstGeom>
              <a:noFill/>
              <a:ln w="9525" cap="flat" cmpd="sng" algn="ctr">
                <a:solidFill>
                  <a:schemeClr val="tx2"/>
                </a:solidFill>
                <a:prstDash val="solid"/>
                <a:miter lim="800000"/>
              </a:ln>
              <a:effectLst/>
            </p:spPr>
          </p:cxnSp>
        </p:grpSp>
        <p:grpSp>
          <p:nvGrpSpPr>
            <p:cNvPr id="171" name="Group 170">
              <a:extLst>
                <a:ext uri="{FF2B5EF4-FFF2-40B4-BE49-F238E27FC236}">
                  <a16:creationId xmlns:a16="http://schemas.microsoft.com/office/drawing/2014/main" id="{DAF69160-0CCD-4343-B839-AD1159F7FA30}"/>
                </a:ext>
              </a:extLst>
            </p:cNvPr>
            <p:cNvGrpSpPr/>
            <p:nvPr/>
          </p:nvGrpSpPr>
          <p:grpSpPr>
            <a:xfrm>
              <a:off x="2878476" y="3176417"/>
              <a:ext cx="82296" cy="192024"/>
              <a:chOff x="1293079" y="2960706"/>
              <a:chExt cx="82296" cy="307186"/>
            </a:xfrm>
          </p:grpSpPr>
          <p:cxnSp>
            <p:nvCxnSpPr>
              <p:cNvPr id="176" name="Straight Connector 175">
                <a:extLst>
                  <a:ext uri="{FF2B5EF4-FFF2-40B4-BE49-F238E27FC236}">
                    <a16:creationId xmlns:a16="http://schemas.microsoft.com/office/drawing/2014/main" id="{A64ED876-4D25-4CDD-AD86-62C4C5587400}"/>
                  </a:ext>
                </a:extLst>
              </p:cNvPr>
              <p:cNvCxnSpPr>
                <a:cxnSpLocks/>
              </p:cNvCxnSpPr>
              <p:nvPr/>
            </p:nvCxnSpPr>
            <p:spPr>
              <a:xfrm>
                <a:off x="1334227" y="2960706"/>
                <a:ext cx="0" cy="307186"/>
              </a:xfrm>
              <a:prstGeom prst="line">
                <a:avLst/>
              </a:prstGeom>
              <a:noFill/>
              <a:ln w="9525" cap="flat" cmpd="sng" algn="ctr">
                <a:solidFill>
                  <a:schemeClr val="tx2"/>
                </a:solidFill>
                <a:prstDash val="solid"/>
                <a:miter lim="800000"/>
              </a:ln>
              <a:effectLst/>
            </p:spPr>
          </p:cxnSp>
          <p:cxnSp>
            <p:nvCxnSpPr>
              <p:cNvPr id="177" name="Straight Connector 176">
                <a:extLst>
                  <a:ext uri="{FF2B5EF4-FFF2-40B4-BE49-F238E27FC236}">
                    <a16:creationId xmlns:a16="http://schemas.microsoft.com/office/drawing/2014/main" id="{49021CB0-6F78-4473-9C50-B0FC0E74C788}"/>
                  </a:ext>
                </a:extLst>
              </p:cNvPr>
              <p:cNvCxnSpPr>
                <a:cxnSpLocks/>
              </p:cNvCxnSpPr>
              <p:nvPr/>
            </p:nvCxnSpPr>
            <p:spPr>
              <a:xfrm rot="5400000">
                <a:off x="1334227" y="2919558"/>
                <a:ext cx="0" cy="82296"/>
              </a:xfrm>
              <a:prstGeom prst="line">
                <a:avLst/>
              </a:prstGeom>
              <a:noFill/>
              <a:ln w="9525" cap="flat" cmpd="sng" algn="ctr">
                <a:solidFill>
                  <a:schemeClr val="tx2"/>
                </a:solidFill>
                <a:prstDash val="solid"/>
                <a:miter lim="800000"/>
              </a:ln>
              <a:effectLst/>
            </p:spPr>
          </p:cxnSp>
          <p:cxnSp>
            <p:nvCxnSpPr>
              <p:cNvPr id="178" name="Straight Connector 177">
                <a:extLst>
                  <a:ext uri="{FF2B5EF4-FFF2-40B4-BE49-F238E27FC236}">
                    <a16:creationId xmlns:a16="http://schemas.microsoft.com/office/drawing/2014/main" id="{515190B3-E4E0-4455-A5F6-708A9321E7F6}"/>
                  </a:ext>
                </a:extLst>
              </p:cNvPr>
              <p:cNvCxnSpPr>
                <a:cxnSpLocks/>
              </p:cNvCxnSpPr>
              <p:nvPr/>
            </p:nvCxnSpPr>
            <p:spPr>
              <a:xfrm rot="5400000">
                <a:off x="1334227" y="3226744"/>
                <a:ext cx="0" cy="82296"/>
              </a:xfrm>
              <a:prstGeom prst="line">
                <a:avLst/>
              </a:prstGeom>
              <a:noFill/>
              <a:ln w="9525" cap="flat" cmpd="sng" algn="ctr">
                <a:solidFill>
                  <a:schemeClr val="tx2"/>
                </a:solidFill>
                <a:prstDash val="solid"/>
                <a:miter lim="800000"/>
              </a:ln>
              <a:effectLst/>
            </p:spPr>
          </p:cxnSp>
        </p:grpSp>
        <p:grpSp>
          <p:nvGrpSpPr>
            <p:cNvPr id="172" name="Group 171">
              <a:extLst>
                <a:ext uri="{FF2B5EF4-FFF2-40B4-BE49-F238E27FC236}">
                  <a16:creationId xmlns:a16="http://schemas.microsoft.com/office/drawing/2014/main" id="{31D087A1-4547-4996-A45B-92B008927030}"/>
                </a:ext>
              </a:extLst>
            </p:cNvPr>
            <p:cNvGrpSpPr/>
            <p:nvPr/>
          </p:nvGrpSpPr>
          <p:grpSpPr>
            <a:xfrm>
              <a:off x="1439294" y="3226191"/>
              <a:ext cx="82296" cy="192024"/>
              <a:chOff x="1288320" y="2953088"/>
              <a:chExt cx="82296" cy="307186"/>
            </a:xfrm>
          </p:grpSpPr>
          <p:cxnSp>
            <p:nvCxnSpPr>
              <p:cNvPr id="173" name="Straight Connector 172">
                <a:extLst>
                  <a:ext uri="{FF2B5EF4-FFF2-40B4-BE49-F238E27FC236}">
                    <a16:creationId xmlns:a16="http://schemas.microsoft.com/office/drawing/2014/main" id="{BC9EAA4E-CD60-4D1D-8E87-089A769319CB}"/>
                  </a:ext>
                </a:extLst>
              </p:cNvPr>
              <p:cNvCxnSpPr>
                <a:cxnSpLocks/>
              </p:cNvCxnSpPr>
              <p:nvPr/>
            </p:nvCxnSpPr>
            <p:spPr>
              <a:xfrm>
                <a:off x="1329468" y="2953088"/>
                <a:ext cx="0" cy="307186"/>
              </a:xfrm>
              <a:prstGeom prst="line">
                <a:avLst/>
              </a:prstGeom>
              <a:noFill/>
              <a:ln w="9525" cap="flat" cmpd="sng" algn="ctr">
                <a:solidFill>
                  <a:schemeClr val="tx2"/>
                </a:solidFill>
                <a:prstDash val="solid"/>
                <a:miter lim="800000"/>
              </a:ln>
              <a:effectLst/>
            </p:spPr>
          </p:cxnSp>
          <p:cxnSp>
            <p:nvCxnSpPr>
              <p:cNvPr id="174" name="Straight Connector 173">
                <a:extLst>
                  <a:ext uri="{FF2B5EF4-FFF2-40B4-BE49-F238E27FC236}">
                    <a16:creationId xmlns:a16="http://schemas.microsoft.com/office/drawing/2014/main" id="{6BC0AF1E-59C6-481F-8B01-5CE20ACBAF5C}"/>
                  </a:ext>
                </a:extLst>
              </p:cNvPr>
              <p:cNvCxnSpPr>
                <a:cxnSpLocks/>
              </p:cNvCxnSpPr>
              <p:nvPr/>
            </p:nvCxnSpPr>
            <p:spPr>
              <a:xfrm rot="5400000">
                <a:off x="1329468" y="2911940"/>
                <a:ext cx="0" cy="82296"/>
              </a:xfrm>
              <a:prstGeom prst="line">
                <a:avLst/>
              </a:prstGeom>
              <a:noFill/>
              <a:ln w="9525" cap="flat" cmpd="sng" algn="ctr">
                <a:solidFill>
                  <a:schemeClr val="tx2"/>
                </a:solidFill>
                <a:prstDash val="solid"/>
                <a:miter lim="800000"/>
              </a:ln>
              <a:effectLst/>
            </p:spPr>
          </p:cxnSp>
          <p:cxnSp>
            <p:nvCxnSpPr>
              <p:cNvPr id="175" name="Straight Connector 174">
                <a:extLst>
                  <a:ext uri="{FF2B5EF4-FFF2-40B4-BE49-F238E27FC236}">
                    <a16:creationId xmlns:a16="http://schemas.microsoft.com/office/drawing/2014/main" id="{5B5A20EC-5E73-4202-AD74-09A398DEC1D8}"/>
                  </a:ext>
                </a:extLst>
              </p:cNvPr>
              <p:cNvCxnSpPr>
                <a:cxnSpLocks/>
              </p:cNvCxnSpPr>
              <p:nvPr/>
            </p:nvCxnSpPr>
            <p:spPr>
              <a:xfrm rot="5400000">
                <a:off x="1329468" y="3219126"/>
                <a:ext cx="0" cy="82296"/>
              </a:xfrm>
              <a:prstGeom prst="line">
                <a:avLst/>
              </a:prstGeom>
              <a:noFill/>
              <a:ln w="9525" cap="flat" cmpd="sng" algn="ctr">
                <a:solidFill>
                  <a:schemeClr val="tx2"/>
                </a:solidFill>
                <a:prstDash val="solid"/>
                <a:miter lim="800000"/>
              </a:ln>
              <a:effectLst/>
            </p:spPr>
          </p:cxnSp>
        </p:grpSp>
      </p:grpSp>
      <p:sp>
        <p:nvSpPr>
          <p:cNvPr id="202" name="TextBox 201">
            <a:extLst>
              <a:ext uri="{FF2B5EF4-FFF2-40B4-BE49-F238E27FC236}">
                <a16:creationId xmlns:a16="http://schemas.microsoft.com/office/drawing/2014/main" id="{D9779B87-652E-4DA9-B4E8-E50CB4FBBE2A}"/>
              </a:ext>
            </a:extLst>
          </p:cNvPr>
          <p:cNvSpPr txBox="1"/>
          <p:nvPr/>
        </p:nvSpPr>
        <p:spPr>
          <a:xfrm rot="16200000">
            <a:off x="-269410" y="3192564"/>
            <a:ext cx="1957485" cy="17187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S PGothic" charset="0"/>
                <a:cs typeface="+mn-cs"/>
              </a:rPr>
              <a:t>Sodium (mEq/l)</a:t>
            </a:r>
          </a:p>
        </p:txBody>
      </p:sp>
      <p:sp>
        <p:nvSpPr>
          <p:cNvPr id="203" name="TextBox 202">
            <a:extLst>
              <a:ext uri="{FF2B5EF4-FFF2-40B4-BE49-F238E27FC236}">
                <a16:creationId xmlns:a16="http://schemas.microsoft.com/office/drawing/2014/main" id="{24A867DE-D215-42B0-AF5E-A8249B91C4AC}"/>
              </a:ext>
            </a:extLst>
          </p:cNvPr>
          <p:cNvSpPr txBox="1"/>
          <p:nvPr/>
        </p:nvSpPr>
        <p:spPr>
          <a:xfrm>
            <a:off x="1708056" y="4913195"/>
            <a:ext cx="3163808" cy="17187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S PGothic" charset="0"/>
                <a:cs typeface="+mn-cs"/>
              </a:rPr>
              <a:t>Weeks from randomization</a:t>
            </a:r>
          </a:p>
        </p:txBody>
      </p:sp>
      <p:sp>
        <p:nvSpPr>
          <p:cNvPr id="204" name="TextBox 203">
            <a:extLst>
              <a:ext uri="{FF2B5EF4-FFF2-40B4-BE49-F238E27FC236}">
                <a16:creationId xmlns:a16="http://schemas.microsoft.com/office/drawing/2014/main" id="{74AD61B2-8E31-42B8-9F1C-2AC9BF9500BC}"/>
              </a:ext>
            </a:extLst>
          </p:cNvPr>
          <p:cNvSpPr txBox="1"/>
          <p:nvPr/>
        </p:nvSpPr>
        <p:spPr>
          <a:xfrm>
            <a:off x="844751" y="4476076"/>
            <a:ext cx="238303" cy="171878"/>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138</a:t>
            </a:r>
          </a:p>
        </p:txBody>
      </p:sp>
      <p:grpSp>
        <p:nvGrpSpPr>
          <p:cNvPr id="205" name="Group 204">
            <a:extLst>
              <a:ext uri="{FF2B5EF4-FFF2-40B4-BE49-F238E27FC236}">
                <a16:creationId xmlns:a16="http://schemas.microsoft.com/office/drawing/2014/main" id="{3223E83A-3962-490A-B1F7-D4AF69550C5A}"/>
              </a:ext>
            </a:extLst>
          </p:cNvPr>
          <p:cNvGrpSpPr/>
          <p:nvPr/>
        </p:nvGrpSpPr>
        <p:grpSpPr>
          <a:xfrm>
            <a:off x="818051" y="1918756"/>
            <a:ext cx="4599946" cy="2883621"/>
            <a:chOff x="990945" y="1803577"/>
            <a:chExt cx="4942175" cy="3098159"/>
          </a:xfrm>
        </p:grpSpPr>
        <p:sp>
          <p:nvSpPr>
            <p:cNvPr id="206" name="TextBox 205">
              <a:extLst>
                <a:ext uri="{FF2B5EF4-FFF2-40B4-BE49-F238E27FC236}">
                  <a16:creationId xmlns:a16="http://schemas.microsoft.com/office/drawing/2014/main" id="{9EE7B52D-FA2E-4D13-8DEB-431AC2972CCC}"/>
                </a:ext>
              </a:extLst>
            </p:cNvPr>
            <p:cNvSpPr txBox="1"/>
            <p:nvPr/>
          </p:nvSpPr>
          <p:spPr>
            <a:xfrm>
              <a:off x="990945" y="1803577"/>
              <a:ext cx="258488" cy="184666"/>
            </a:xfrm>
            <a:prstGeom prst="rect">
              <a:avLst/>
            </a:prstGeom>
            <a:noFill/>
            <a:ln>
              <a:noFill/>
            </a:ln>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142</a:t>
              </a:r>
            </a:p>
          </p:txBody>
        </p:sp>
        <p:sp>
          <p:nvSpPr>
            <p:cNvPr id="207" name="TextBox 206">
              <a:extLst>
                <a:ext uri="{FF2B5EF4-FFF2-40B4-BE49-F238E27FC236}">
                  <a16:creationId xmlns:a16="http://schemas.microsoft.com/office/drawing/2014/main" id="{A9BA1FE0-B5F8-4EDD-B31F-C6A373F6BD7B}"/>
                </a:ext>
              </a:extLst>
            </p:cNvPr>
            <p:cNvSpPr txBox="1"/>
            <p:nvPr/>
          </p:nvSpPr>
          <p:spPr>
            <a:xfrm>
              <a:off x="1019632" y="2491262"/>
              <a:ext cx="256032" cy="184666"/>
            </a:xfrm>
            <a:prstGeom prst="rect">
              <a:avLst/>
            </a:prstGeom>
            <a:noFill/>
            <a:ln>
              <a:noFill/>
            </a:ln>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141</a:t>
              </a:r>
            </a:p>
          </p:txBody>
        </p:sp>
        <p:sp>
          <p:nvSpPr>
            <p:cNvPr id="208" name="TextBox 207">
              <a:extLst>
                <a:ext uri="{FF2B5EF4-FFF2-40B4-BE49-F238E27FC236}">
                  <a16:creationId xmlns:a16="http://schemas.microsoft.com/office/drawing/2014/main" id="{EB6E3BF1-A328-47FE-95FA-A476E0ABA22F}"/>
                </a:ext>
              </a:extLst>
            </p:cNvPr>
            <p:cNvSpPr txBox="1"/>
            <p:nvPr/>
          </p:nvSpPr>
          <p:spPr>
            <a:xfrm>
              <a:off x="1019632" y="3175264"/>
              <a:ext cx="256032" cy="184666"/>
            </a:xfrm>
            <a:prstGeom prst="rect">
              <a:avLst/>
            </a:prstGeom>
            <a:noFill/>
            <a:ln>
              <a:noFill/>
            </a:ln>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140</a:t>
              </a:r>
            </a:p>
          </p:txBody>
        </p:sp>
        <p:sp>
          <p:nvSpPr>
            <p:cNvPr id="209" name="TextBox 208">
              <a:extLst>
                <a:ext uri="{FF2B5EF4-FFF2-40B4-BE49-F238E27FC236}">
                  <a16:creationId xmlns:a16="http://schemas.microsoft.com/office/drawing/2014/main" id="{CCEAF571-3FFD-4BC4-B1C0-AFF79E6BFA7A}"/>
                </a:ext>
              </a:extLst>
            </p:cNvPr>
            <p:cNvSpPr txBox="1"/>
            <p:nvPr/>
          </p:nvSpPr>
          <p:spPr>
            <a:xfrm>
              <a:off x="1019632" y="3861647"/>
              <a:ext cx="256032" cy="184666"/>
            </a:xfrm>
            <a:prstGeom prst="rect">
              <a:avLst/>
            </a:prstGeom>
            <a:noFill/>
            <a:ln>
              <a:noFill/>
            </a:ln>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139</a:t>
              </a:r>
            </a:p>
          </p:txBody>
        </p:sp>
        <p:sp>
          <p:nvSpPr>
            <p:cNvPr id="210" name="TextBox 209">
              <a:extLst>
                <a:ext uri="{FF2B5EF4-FFF2-40B4-BE49-F238E27FC236}">
                  <a16:creationId xmlns:a16="http://schemas.microsoft.com/office/drawing/2014/main" id="{E53111EE-D236-4729-983C-58C5B36087B6}"/>
                </a:ext>
              </a:extLst>
            </p:cNvPr>
            <p:cNvSpPr txBox="1"/>
            <p:nvPr/>
          </p:nvSpPr>
          <p:spPr>
            <a:xfrm>
              <a:off x="1362369" y="4717070"/>
              <a:ext cx="229799" cy="184666"/>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0</a:t>
              </a:r>
            </a:p>
          </p:txBody>
        </p:sp>
        <p:sp>
          <p:nvSpPr>
            <p:cNvPr id="211" name="TextBox 210">
              <a:extLst>
                <a:ext uri="{FF2B5EF4-FFF2-40B4-BE49-F238E27FC236}">
                  <a16:creationId xmlns:a16="http://schemas.microsoft.com/office/drawing/2014/main" id="{C392C34A-DF04-4849-AB10-BA9F252C03FB}"/>
                </a:ext>
              </a:extLst>
            </p:cNvPr>
            <p:cNvSpPr txBox="1"/>
            <p:nvPr/>
          </p:nvSpPr>
          <p:spPr>
            <a:xfrm>
              <a:off x="2806585" y="4717070"/>
              <a:ext cx="229799" cy="184666"/>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16</a:t>
              </a:r>
            </a:p>
          </p:txBody>
        </p:sp>
        <p:sp>
          <p:nvSpPr>
            <p:cNvPr id="212" name="TextBox 211">
              <a:extLst>
                <a:ext uri="{FF2B5EF4-FFF2-40B4-BE49-F238E27FC236}">
                  <a16:creationId xmlns:a16="http://schemas.microsoft.com/office/drawing/2014/main" id="{717C48EF-9802-4C35-B76B-021B15475171}"/>
                </a:ext>
              </a:extLst>
            </p:cNvPr>
            <p:cNvSpPr txBox="1"/>
            <p:nvPr/>
          </p:nvSpPr>
          <p:spPr>
            <a:xfrm>
              <a:off x="4239660" y="4717070"/>
              <a:ext cx="229799" cy="184666"/>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32</a:t>
              </a:r>
            </a:p>
          </p:txBody>
        </p:sp>
        <p:grpSp>
          <p:nvGrpSpPr>
            <p:cNvPr id="213" name="Group 212">
              <a:extLst>
                <a:ext uri="{FF2B5EF4-FFF2-40B4-BE49-F238E27FC236}">
                  <a16:creationId xmlns:a16="http://schemas.microsoft.com/office/drawing/2014/main" id="{ED2CB93B-0CA9-4380-91DA-94510C9F6C46}"/>
                </a:ext>
              </a:extLst>
            </p:cNvPr>
            <p:cNvGrpSpPr/>
            <p:nvPr/>
          </p:nvGrpSpPr>
          <p:grpSpPr>
            <a:xfrm>
              <a:off x="1282383" y="1890865"/>
              <a:ext cx="4650737" cy="2814969"/>
              <a:chOff x="1137420" y="2075797"/>
              <a:chExt cx="4650737" cy="2814969"/>
            </a:xfrm>
          </p:grpSpPr>
          <p:sp>
            <p:nvSpPr>
              <p:cNvPr id="215" name="Freeform: Shape 214">
                <a:extLst>
                  <a:ext uri="{FF2B5EF4-FFF2-40B4-BE49-F238E27FC236}">
                    <a16:creationId xmlns:a16="http://schemas.microsoft.com/office/drawing/2014/main" id="{8F26D33D-80D6-41F3-8860-13F2752DE38C}"/>
                  </a:ext>
                </a:extLst>
              </p:cNvPr>
              <p:cNvSpPr/>
              <p:nvPr/>
            </p:nvSpPr>
            <p:spPr>
              <a:xfrm>
                <a:off x="1197303" y="2075797"/>
                <a:ext cx="4590854" cy="2752627"/>
              </a:xfrm>
              <a:custGeom>
                <a:avLst/>
                <a:gdLst>
                  <a:gd name="connsiteX0" fmla="*/ 0 w 4590854"/>
                  <a:gd name="connsiteY0" fmla="*/ 0 h 2752627"/>
                  <a:gd name="connsiteX1" fmla="*/ 0 w 4590854"/>
                  <a:gd name="connsiteY1" fmla="*/ 2752627 h 2752627"/>
                  <a:gd name="connsiteX2" fmla="*/ 4590854 w 4590854"/>
                  <a:gd name="connsiteY2" fmla="*/ 2752627 h 2752627"/>
                </a:gdLst>
                <a:ahLst/>
                <a:cxnLst>
                  <a:cxn ang="0">
                    <a:pos x="connsiteX0" y="connsiteY0"/>
                  </a:cxn>
                  <a:cxn ang="0">
                    <a:pos x="connsiteX1" y="connsiteY1"/>
                  </a:cxn>
                  <a:cxn ang="0">
                    <a:pos x="connsiteX2" y="connsiteY2"/>
                  </a:cxn>
                </a:cxnLst>
                <a:rect l="l" t="t" r="r" b="b"/>
                <a:pathLst>
                  <a:path w="4590854" h="2752627">
                    <a:moveTo>
                      <a:pt x="0" y="0"/>
                    </a:moveTo>
                    <a:lnTo>
                      <a:pt x="0" y="2752627"/>
                    </a:lnTo>
                    <a:lnTo>
                      <a:pt x="4590854" y="2752627"/>
                    </a:lnTo>
                  </a:path>
                </a:pathLst>
              </a:custGeom>
              <a:no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p:txBody>
          </p:sp>
          <p:cxnSp>
            <p:nvCxnSpPr>
              <p:cNvPr id="216" name="Straight Connector 215">
                <a:extLst>
                  <a:ext uri="{FF2B5EF4-FFF2-40B4-BE49-F238E27FC236}">
                    <a16:creationId xmlns:a16="http://schemas.microsoft.com/office/drawing/2014/main" id="{CF9C69A3-0ED9-4ED2-A9E5-D0124EA42BE3}"/>
                  </a:ext>
                </a:extLst>
              </p:cNvPr>
              <p:cNvCxnSpPr>
                <a:cxnSpLocks/>
              </p:cNvCxnSpPr>
              <p:nvPr/>
            </p:nvCxnSpPr>
            <p:spPr>
              <a:xfrm>
                <a:off x="1137420" y="2080842"/>
                <a:ext cx="64008" cy="0"/>
              </a:xfrm>
              <a:prstGeom prst="line">
                <a:avLst/>
              </a:prstGeom>
              <a:noFill/>
              <a:ln w="12700" cap="flat" cmpd="sng" algn="ctr">
                <a:solidFill>
                  <a:schemeClr val="tx1"/>
                </a:solidFill>
                <a:prstDash val="solid"/>
                <a:miter lim="800000"/>
              </a:ln>
              <a:effectLst/>
            </p:spPr>
          </p:cxnSp>
          <p:cxnSp>
            <p:nvCxnSpPr>
              <p:cNvPr id="217" name="Straight Connector 216">
                <a:extLst>
                  <a:ext uri="{FF2B5EF4-FFF2-40B4-BE49-F238E27FC236}">
                    <a16:creationId xmlns:a16="http://schemas.microsoft.com/office/drawing/2014/main" id="{1263131F-6618-4C2D-A8F2-55CF3D8DE08B}"/>
                  </a:ext>
                </a:extLst>
              </p:cNvPr>
              <p:cNvCxnSpPr>
                <a:cxnSpLocks/>
              </p:cNvCxnSpPr>
              <p:nvPr/>
            </p:nvCxnSpPr>
            <p:spPr>
              <a:xfrm>
                <a:off x="1137420" y="2768527"/>
                <a:ext cx="64008" cy="0"/>
              </a:xfrm>
              <a:prstGeom prst="line">
                <a:avLst/>
              </a:prstGeom>
              <a:noFill/>
              <a:ln w="12700" cap="flat" cmpd="sng" algn="ctr">
                <a:solidFill>
                  <a:schemeClr val="tx1"/>
                </a:solidFill>
                <a:prstDash val="solid"/>
                <a:miter lim="800000"/>
              </a:ln>
              <a:effectLst/>
            </p:spPr>
          </p:cxnSp>
          <p:cxnSp>
            <p:nvCxnSpPr>
              <p:cNvPr id="218" name="Straight Connector 217">
                <a:extLst>
                  <a:ext uri="{FF2B5EF4-FFF2-40B4-BE49-F238E27FC236}">
                    <a16:creationId xmlns:a16="http://schemas.microsoft.com/office/drawing/2014/main" id="{F9484104-EEE0-43EB-9132-1929FA884E41}"/>
                  </a:ext>
                </a:extLst>
              </p:cNvPr>
              <p:cNvCxnSpPr>
                <a:cxnSpLocks/>
              </p:cNvCxnSpPr>
              <p:nvPr/>
            </p:nvCxnSpPr>
            <p:spPr>
              <a:xfrm>
                <a:off x="1137420" y="3452529"/>
                <a:ext cx="64008" cy="0"/>
              </a:xfrm>
              <a:prstGeom prst="line">
                <a:avLst/>
              </a:prstGeom>
              <a:noFill/>
              <a:ln w="12700" cap="flat" cmpd="sng" algn="ctr">
                <a:solidFill>
                  <a:schemeClr val="tx1"/>
                </a:solidFill>
                <a:prstDash val="solid"/>
                <a:miter lim="800000"/>
              </a:ln>
              <a:effectLst/>
            </p:spPr>
          </p:cxnSp>
          <p:cxnSp>
            <p:nvCxnSpPr>
              <p:cNvPr id="219" name="Straight Connector 218">
                <a:extLst>
                  <a:ext uri="{FF2B5EF4-FFF2-40B4-BE49-F238E27FC236}">
                    <a16:creationId xmlns:a16="http://schemas.microsoft.com/office/drawing/2014/main" id="{1143AB87-84F8-4FA9-B461-7E3429E0726A}"/>
                  </a:ext>
                </a:extLst>
              </p:cNvPr>
              <p:cNvCxnSpPr>
                <a:cxnSpLocks/>
              </p:cNvCxnSpPr>
              <p:nvPr/>
            </p:nvCxnSpPr>
            <p:spPr>
              <a:xfrm>
                <a:off x="1137420" y="4136531"/>
                <a:ext cx="64008" cy="0"/>
              </a:xfrm>
              <a:prstGeom prst="line">
                <a:avLst/>
              </a:prstGeom>
              <a:noFill/>
              <a:ln w="12700" cap="flat" cmpd="sng" algn="ctr">
                <a:solidFill>
                  <a:schemeClr val="tx1"/>
                </a:solidFill>
                <a:prstDash val="solid"/>
                <a:miter lim="800000"/>
              </a:ln>
              <a:effectLst/>
            </p:spPr>
          </p:cxnSp>
          <p:cxnSp>
            <p:nvCxnSpPr>
              <p:cNvPr id="220" name="Straight Connector 219">
                <a:extLst>
                  <a:ext uri="{FF2B5EF4-FFF2-40B4-BE49-F238E27FC236}">
                    <a16:creationId xmlns:a16="http://schemas.microsoft.com/office/drawing/2014/main" id="{3CB5D057-F8E4-4693-82B7-EA277204E30B}"/>
                  </a:ext>
                </a:extLst>
              </p:cNvPr>
              <p:cNvCxnSpPr>
                <a:cxnSpLocks/>
              </p:cNvCxnSpPr>
              <p:nvPr/>
            </p:nvCxnSpPr>
            <p:spPr>
              <a:xfrm>
                <a:off x="1137420" y="4828424"/>
                <a:ext cx="64008" cy="0"/>
              </a:xfrm>
              <a:prstGeom prst="line">
                <a:avLst/>
              </a:prstGeom>
              <a:noFill/>
              <a:ln w="12700" cap="flat" cmpd="sng" algn="ctr">
                <a:solidFill>
                  <a:schemeClr val="tx1"/>
                </a:solidFill>
                <a:prstDash val="solid"/>
                <a:miter lim="800000"/>
              </a:ln>
              <a:effectLst/>
            </p:spPr>
          </p:cxnSp>
          <p:cxnSp>
            <p:nvCxnSpPr>
              <p:cNvPr id="221" name="Straight Connector 220">
                <a:extLst>
                  <a:ext uri="{FF2B5EF4-FFF2-40B4-BE49-F238E27FC236}">
                    <a16:creationId xmlns:a16="http://schemas.microsoft.com/office/drawing/2014/main" id="{93893AA5-F711-4BD4-847A-7FCA4BF7920E}"/>
                  </a:ext>
                </a:extLst>
              </p:cNvPr>
              <p:cNvCxnSpPr>
                <a:cxnSpLocks/>
              </p:cNvCxnSpPr>
              <p:nvPr/>
            </p:nvCxnSpPr>
            <p:spPr>
              <a:xfrm rot="5400000">
                <a:off x="1300301" y="4858762"/>
                <a:ext cx="64008" cy="0"/>
              </a:xfrm>
              <a:prstGeom prst="line">
                <a:avLst/>
              </a:prstGeom>
              <a:noFill/>
              <a:ln w="12700" cap="flat" cmpd="sng" algn="ctr">
                <a:solidFill>
                  <a:schemeClr val="tx1"/>
                </a:solidFill>
                <a:prstDash val="solid"/>
                <a:miter lim="800000"/>
              </a:ln>
              <a:effectLst/>
            </p:spPr>
          </p:cxnSp>
          <p:cxnSp>
            <p:nvCxnSpPr>
              <p:cNvPr id="222" name="Straight Connector 221">
                <a:extLst>
                  <a:ext uri="{FF2B5EF4-FFF2-40B4-BE49-F238E27FC236}">
                    <a16:creationId xmlns:a16="http://schemas.microsoft.com/office/drawing/2014/main" id="{5F8C94DA-681D-4D8D-AD7C-2226E2F770C1}"/>
                  </a:ext>
                </a:extLst>
              </p:cNvPr>
              <p:cNvCxnSpPr>
                <a:cxnSpLocks/>
              </p:cNvCxnSpPr>
              <p:nvPr/>
            </p:nvCxnSpPr>
            <p:spPr>
              <a:xfrm rot="5400000">
                <a:off x="2742136" y="4858762"/>
                <a:ext cx="64008" cy="0"/>
              </a:xfrm>
              <a:prstGeom prst="line">
                <a:avLst/>
              </a:prstGeom>
              <a:noFill/>
              <a:ln w="12700" cap="flat" cmpd="sng" algn="ctr">
                <a:solidFill>
                  <a:schemeClr val="tx1"/>
                </a:solidFill>
                <a:prstDash val="solid"/>
                <a:miter lim="800000"/>
              </a:ln>
              <a:effectLst/>
            </p:spPr>
          </p:cxnSp>
          <p:cxnSp>
            <p:nvCxnSpPr>
              <p:cNvPr id="223" name="Straight Connector 222">
                <a:extLst>
                  <a:ext uri="{FF2B5EF4-FFF2-40B4-BE49-F238E27FC236}">
                    <a16:creationId xmlns:a16="http://schemas.microsoft.com/office/drawing/2014/main" id="{3E615E79-BDE9-4BC5-BDDC-175C08AD9A9A}"/>
                  </a:ext>
                </a:extLst>
              </p:cNvPr>
              <p:cNvCxnSpPr>
                <a:cxnSpLocks/>
              </p:cNvCxnSpPr>
              <p:nvPr/>
            </p:nvCxnSpPr>
            <p:spPr>
              <a:xfrm rot="5400000">
                <a:off x="4176799" y="4858762"/>
                <a:ext cx="64008" cy="0"/>
              </a:xfrm>
              <a:prstGeom prst="line">
                <a:avLst/>
              </a:prstGeom>
              <a:noFill/>
              <a:ln w="12700" cap="flat" cmpd="sng" algn="ctr">
                <a:solidFill>
                  <a:schemeClr val="tx1"/>
                </a:solidFill>
                <a:prstDash val="solid"/>
                <a:miter lim="800000"/>
              </a:ln>
              <a:effectLst/>
            </p:spPr>
          </p:cxnSp>
          <p:cxnSp>
            <p:nvCxnSpPr>
              <p:cNvPr id="224" name="Straight Connector 223">
                <a:extLst>
                  <a:ext uri="{FF2B5EF4-FFF2-40B4-BE49-F238E27FC236}">
                    <a16:creationId xmlns:a16="http://schemas.microsoft.com/office/drawing/2014/main" id="{16830192-4B70-4296-A3A2-8CFF9DCA9D99}"/>
                  </a:ext>
                </a:extLst>
              </p:cNvPr>
              <p:cNvCxnSpPr>
                <a:cxnSpLocks/>
              </p:cNvCxnSpPr>
              <p:nvPr/>
            </p:nvCxnSpPr>
            <p:spPr>
              <a:xfrm rot="5400000">
                <a:off x="5613400" y="4858762"/>
                <a:ext cx="64008" cy="0"/>
              </a:xfrm>
              <a:prstGeom prst="line">
                <a:avLst/>
              </a:prstGeom>
              <a:noFill/>
              <a:ln w="12700" cap="flat" cmpd="sng" algn="ctr">
                <a:solidFill>
                  <a:schemeClr val="tx1"/>
                </a:solidFill>
                <a:prstDash val="solid"/>
                <a:miter lim="800000"/>
              </a:ln>
              <a:effectLst/>
            </p:spPr>
          </p:cxnSp>
        </p:grpSp>
        <p:sp>
          <p:nvSpPr>
            <p:cNvPr id="214" name="TextBox 213">
              <a:extLst>
                <a:ext uri="{FF2B5EF4-FFF2-40B4-BE49-F238E27FC236}">
                  <a16:creationId xmlns:a16="http://schemas.microsoft.com/office/drawing/2014/main" id="{69BB8849-FA7E-44D4-A72E-2F92FC2E6CC7}"/>
                </a:ext>
              </a:extLst>
            </p:cNvPr>
            <p:cNvSpPr txBox="1"/>
            <p:nvPr/>
          </p:nvSpPr>
          <p:spPr>
            <a:xfrm>
              <a:off x="5675468" y="4717070"/>
              <a:ext cx="229799" cy="184666"/>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48</a:t>
              </a:r>
            </a:p>
          </p:txBody>
        </p:sp>
      </p:grpSp>
      <p:grpSp>
        <p:nvGrpSpPr>
          <p:cNvPr id="225" name="Group 224">
            <a:extLst>
              <a:ext uri="{FF2B5EF4-FFF2-40B4-BE49-F238E27FC236}">
                <a16:creationId xmlns:a16="http://schemas.microsoft.com/office/drawing/2014/main" id="{EDC94B58-EE9F-4588-8454-D5DD897E2372}"/>
              </a:ext>
            </a:extLst>
          </p:cNvPr>
          <p:cNvGrpSpPr/>
          <p:nvPr/>
        </p:nvGrpSpPr>
        <p:grpSpPr>
          <a:xfrm>
            <a:off x="1327274" y="1913040"/>
            <a:ext cx="1045513" cy="523220"/>
            <a:chOff x="2541896" y="2037718"/>
            <a:chExt cx="1123298" cy="562147"/>
          </a:xfrm>
        </p:grpSpPr>
        <p:sp>
          <p:nvSpPr>
            <p:cNvPr id="226" name="TextBox 225">
              <a:extLst>
                <a:ext uri="{FF2B5EF4-FFF2-40B4-BE49-F238E27FC236}">
                  <a16:creationId xmlns:a16="http://schemas.microsoft.com/office/drawing/2014/main" id="{DEB899F9-B7F1-4151-A7C6-A600CDE2CDF7}"/>
                </a:ext>
              </a:extLst>
            </p:cNvPr>
            <p:cNvSpPr txBox="1"/>
            <p:nvPr/>
          </p:nvSpPr>
          <p:spPr>
            <a:xfrm>
              <a:off x="2541896" y="2037718"/>
              <a:ext cx="1123298" cy="56214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solidFill>
                <a:effectLst/>
                <a:uLnTx/>
                <a:uFillTx/>
                <a:latin typeface="Arial" panose="020B0604020202020204"/>
                <a:ea typeface="MS PGothic" charset="0"/>
                <a:cs typeface="+mn-cs"/>
              </a:endParaRPr>
            </a:p>
            <a:p>
              <a:pPr marL="341313"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Vericiguat</a:t>
              </a:r>
            </a:p>
            <a:p>
              <a:pPr marL="341313"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panose="020B0604020202020204"/>
                  <a:ea typeface="MS PGothic" charset="0"/>
                  <a:cs typeface="+mn-cs"/>
                </a:rPr>
                <a:t>Placebo</a:t>
              </a:r>
            </a:p>
          </p:txBody>
        </p:sp>
        <p:cxnSp>
          <p:nvCxnSpPr>
            <p:cNvPr id="227" name="Straight Connector 226">
              <a:extLst>
                <a:ext uri="{FF2B5EF4-FFF2-40B4-BE49-F238E27FC236}">
                  <a16:creationId xmlns:a16="http://schemas.microsoft.com/office/drawing/2014/main" id="{94A8739C-6EB6-4FAE-A67A-935B4CF162D0}"/>
                </a:ext>
              </a:extLst>
            </p:cNvPr>
            <p:cNvCxnSpPr>
              <a:cxnSpLocks/>
            </p:cNvCxnSpPr>
            <p:nvPr/>
          </p:nvCxnSpPr>
          <p:spPr>
            <a:xfrm>
              <a:off x="2570413" y="2340863"/>
              <a:ext cx="274320" cy="0"/>
            </a:xfrm>
            <a:prstGeom prst="line">
              <a:avLst/>
            </a:prstGeom>
            <a:noFill/>
            <a:ln w="19050" cap="flat" cmpd="sng" algn="ctr">
              <a:solidFill>
                <a:schemeClr val="accent1"/>
              </a:solidFill>
              <a:prstDash val="solid"/>
              <a:miter lim="800000"/>
            </a:ln>
            <a:effectLst/>
          </p:spPr>
        </p:cxnSp>
        <p:cxnSp>
          <p:nvCxnSpPr>
            <p:cNvPr id="228" name="Straight Connector 227">
              <a:extLst>
                <a:ext uri="{FF2B5EF4-FFF2-40B4-BE49-F238E27FC236}">
                  <a16:creationId xmlns:a16="http://schemas.microsoft.com/office/drawing/2014/main" id="{BE6DCD51-67B8-4816-BCB6-B96E6D1B798D}"/>
                </a:ext>
              </a:extLst>
            </p:cNvPr>
            <p:cNvCxnSpPr>
              <a:cxnSpLocks/>
            </p:cNvCxnSpPr>
            <p:nvPr/>
          </p:nvCxnSpPr>
          <p:spPr>
            <a:xfrm>
              <a:off x="2570413" y="2490073"/>
              <a:ext cx="274320" cy="0"/>
            </a:xfrm>
            <a:prstGeom prst="line">
              <a:avLst/>
            </a:prstGeom>
            <a:noFill/>
            <a:ln w="19050" cap="flat" cmpd="sng" algn="ctr">
              <a:solidFill>
                <a:schemeClr val="tx2"/>
              </a:solidFill>
              <a:prstDash val="solid"/>
              <a:miter lim="800000"/>
            </a:ln>
            <a:effectLst/>
          </p:spPr>
        </p:cxnSp>
      </p:grpSp>
      <p:grpSp>
        <p:nvGrpSpPr>
          <p:cNvPr id="229" name="Group 228">
            <a:extLst>
              <a:ext uri="{FF2B5EF4-FFF2-40B4-BE49-F238E27FC236}">
                <a16:creationId xmlns:a16="http://schemas.microsoft.com/office/drawing/2014/main" id="{20D5F7E2-128C-4B6D-81FB-AC00DD77A452}"/>
              </a:ext>
            </a:extLst>
          </p:cNvPr>
          <p:cNvGrpSpPr/>
          <p:nvPr/>
        </p:nvGrpSpPr>
        <p:grpSpPr>
          <a:xfrm>
            <a:off x="1245900" y="3130257"/>
            <a:ext cx="4075832" cy="230200"/>
            <a:chOff x="1450626" y="3105213"/>
            <a:chExt cx="4379068" cy="247327"/>
          </a:xfrm>
          <a:solidFill>
            <a:schemeClr val="tx2"/>
          </a:solidFill>
        </p:grpSpPr>
        <p:sp>
          <p:nvSpPr>
            <p:cNvPr id="230" name="Oval 229">
              <a:extLst>
                <a:ext uri="{FF2B5EF4-FFF2-40B4-BE49-F238E27FC236}">
                  <a16:creationId xmlns:a16="http://schemas.microsoft.com/office/drawing/2014/main" id="{DA3124AB-AC9C-418A-9857-976584F2CFE6}"/>
                </a:ext>
              </a:extLst>
            </p:cNvPr>
            <p:cNvSpPr>
              <a:spLocks noChangeAspect="1"/>
            </p:cNvSpPr>
            <p:nvPr/>
          </p:nvSpPr>
          <p:spPr>
            <a:xfrm>
              <a:off x="1450626" y="3297676"/>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231" name="Oval 230">
              <a:extLst>
                <a:ext uri="{FF2B5EF4-FFF2-40B4-BE49-F238E27FC236}">
                  <a16:creationId xmlns:a16="http://schemas.microsoft.com/office/drawing/2014/main" id="{3F90C5F7-6C08-452A-99C2-C15FBB10402B}"/>
                </a:ext>
              </a:extLst>
            </p:cNvPr>
            <p:cNvSpPr>
              <a:spLocks noChangeAspect="1"/>
            </p:cNvSpPr>
            <p:nvPr/>
          </p:nvSpPr>
          <p:spPr>
            <a:xfrm>
              <a:off x="2895014" y="3242693"/>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232" name="Oval 231">
              <a:extLst>
                <a:ext uri="{FF2B5EF4-FFF2-40B4-BE49-F238E27FC236}">
                  <a16:creationId xmlns:a16="http://schemas.microsoft.com/office/drawing/2014/main" id="{1A436C5E-E042-4323-8F8A-BDC30307E8CF}"/>
                </a:ext>
              </a:extLst>
            </p:cNvPr>
            <p:cNvSpPr>
              <a:spLocks noChangeAspect="1"/>
            </p:cNvSpPr>
            <p:nvPr/>
          </p:nvSpPr>
          <p:spPr>
            <a:xfrm>
              <a:off x="4324789" y="3105213"/>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233" name="Oval 232">
              <a:extLst>
                <a:ext uri="{FF2B5EF4-FFF2-40B4-BE49-F238E27FC236}">
                  <a16:creationId xmlns:a16="http://schemas.microsoft.com/office/drawing/2014/main" id="{7994ECB0-6FCF-4748-88F0-4D53B6D11A85}"/>
                </a:ext>
              </a:extLst>
            </p:cNvPr>
            <p:cNvSpPr>
              <a:spLocks noChangeAspect="1"/>
            </p:cNvSpPr>
            <p:nvPr/>
          </p:nvSpPr>
          <p:spPr>
            <a:xfrm>
              <a:off x="5774830" y="3184357"/>
              <a:ext cx="54864" cy="54864"/>
            </a:xfrm>
            <a:prstGeom prst="ellipse">
              <a:avLst/>
            </a:prstGeom>
            <a:grpFill/>
            <a:ln w="635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grpSp>
      <p:sp>
        <p:nvSpPr>
          <p:cNvPr id="235" name="Freeform: Shape 234">
            <a:extLst>
              <a:ext uri="{FF2B5EF4-FFF2-40B4-BE49-F238E27FC236}">
                <a16:creationId xmlns:a16="http://schemas.microsoft.com/office/drawing/2014/main" id="{5618E745-F082-42A6-BCCF-63041A92E400}"/>
              </a:ext>
            </a:extLst>
          </p:cNvPr>
          <p:cNvSpPr/>
          <p:nvPr/>
        </p:nvSpPr>
        <p:spPr>
          <a:xfrm>
            <a:off x="1282122" y="3156607"/>
            <a:ext cx="3986512" cy="176958"/>
          </a:xfrm>
          <a:custGeom>
            <a:avLst/>
            <a:gdLst>
              <a:gd name="connsiteX0" fmla="*/ 0 w 4320209"/>
              <a:gd name="connsiteY0" fmla="*/ 196133 h 196133"/>
              <a:gd name="connsiteX1" fmla="*/ 1439186 w 4320209"/>
              <a:gd name="connsiteY1" fmla="*/ 140474 h 196133"/>
              <a:gd name="connsiteX2" fmla="*/ 2881023 w 4320209"/>
              <a:gd name="connsiteY2" fmla="*/ 0 h 196133"/>
              <a:gd name="connsiteX3" fmla="*/ 4320209 w 4320209"/>
              <a:gd name="connsiteY3" fmla="*/ 82164 h 196133"/>
              <a:gd name="connsiteX0" fmla="*/ 0 w 4320209"/>
              <a:gd name="connsiteY0" fmla="*/ 198784 h 198784"/>
              <a:gd name="connsiteX1" fmla="*/ 1439186 w 4320209"/>
              <a:gd name="connsiteY1" fmla="*/ 143125 h 198784"/>
              <a:gd name="connsiteX2" fmla="*/ 2865120 w 4320209"/>
              <a:gd name="connsiteY2" fmla="*/ 0 h 198784"/>
              <a:gd name="connsiteX3" fmla="*/ 4320209 w 4320209"/>
              <a:gd name="connsiteY3" fmla="*/ 84815 h 198784"/>
              <a:gd name="connsiteX0" fmla="*/ 0 w 4320209"/>
              <a:gd name="connsiteY0" fmla="*/ 190832 h 190832"/>
              <a:gd name="connsiteX1" fmla="*/ 1439186 w 4320209"/>
              <a:gd name="connsiteY1" fmla="*/ 135173 h 190832"/>
              <a:gd name="connsiteX2" fmla="*/ 2862470 w 4320209"/>
              <a:gd name="connsiteY2" fmla="*/ 0 h 190832"/>
              <a:gd name="connsiteX3" fmla="*/ 4320209 w 4320209"/>
              <a:gd name="connsiteY3" fmla="*/ 76863 h 190832"/>
              <a:gd name="connsiteX0" fmla="*/ 0 w 4320209"/>
              <a:gd name="connsiteY0" fmla="*/ 198784 h 198784"/>
              <a:gd name="connsiteX1" fmla="*/ 1439186 w 4320209"/>
              <a:gd name="connsiteY1" fmla="*/ 143125 h 198784"/>
              <a:gd name="connsiteX2" fmla="*/ 2873072 w 4320209"/>
              <a:gd name="connsiteY2" fmla="*/ 0 h 198784"/>
              <a:gd name="connsiteX3" fmla="*/ 4320209 w 4320209"/>
              <a:gd name="connsiteY3" fmla="*/ 84815 h 198784"/>
              <a:gd name="connsiteX0" fmla="*/ 0 w 4301656"/>
              <a:gd name="connsiteY0" fmla="*/ 198784 h 198784"/>
              <a:gd name="connsiteX1" fmla="*/ 1439186 w 4301656"/>
              <a:gd name="connsiteY1" fmla="*/ 143125 h 198784"/>
              <a:gd name="connsiteX2" fmla="*/ 2873072 w 4301656"/>
              <a:gd name="connsiteY2" fmla="*/ 0 h 198784"/>
              <a:gd name="connsiteX3" fmla="*/ 4301656 w 4301656"/>
              <a:gd name="connsiteY3" fmla="*/ 90116 h 198784"/>
              <a:gd name="connsiteX0" fmla="*/ 0 w 4293705"/>
              <a:gd name="connsiteY0" fmla="*/ 198784 h 198784"/>
              <a:gd name="connsiteX1" fmla="*/ 1439186 w 4293705"/>
              <a:gd name="connsiteY1" fmla="*/ 143125 h 198784"/>
              <a:gd name="connsiteX2" fmla="*/ 2873072 w 4293705"/>
              <a:gd name="connsiteY2" fmla="*/ 0 h 198784"/>
              <a:gd name="connsiteX3" fmla="*/ 4293705 w 4293705"/>
              <a:gd name="connsiteY3" fmla="*/ 82165 h 198784"/>
              <a:gd name="connsiteX0" fmla="*/ 0 w 4291054"/>
              <a:gd name="connsiteY0" fmla="*/ 198784 h 198784"/>
              <a:gd name="connsiteX1" fmla="*/ 1439186 w 4291054"/>
              <a:gd name="connsiteY1" fmla="*/ 143125 h 198784"/>
              <a:gd name="connsiteX2" fmla="*/ 2873072 w 4291054"/>
              <a:gd name="connsiteY2" fmla="*/ 0 h 198784"/>
              <a:gd name="connsiteX3" fmla="*/ 4291054 w 4291054"/>
              <a:gd name="connsiteY3" fmla="*/ 87465 h 198784"/>
              <a:gd name="connsiteX0" fmla="*/ 0 w 4283103"/>
              <a:gd name="connsiteY0" fmla="*/ 196134 h 196134"/>
              <a:gd name="connsiteX1" fmla="*/ 1431235 w 4283103"/>
              <a:gd name="connsiteY1" fmla="*/ 143125 h 196134"/>
              <a:gd name="connsiteX2" fmla="*/ 2865121 w 4283103"/>
              <a:gd name="connsiteY2" fmla="*/ 0 h 196134"/>
              <a:gd name="connsiteX3" fmla="*/ 4283103 w 4283103"/>
              <a:gd name="connsiteY3" fmla="*/ 87465 h 196134"/>
              <a:gd name="connsiteX0" fmla="*/ 0 w 4283103"/>
              <a:gd name="connsiteY0" fmla="*/ 196134 h 196134"/>
              <a:gd name="connsiteX1" fmla="*/ 1433886 w 4283103"/>
              <a:gd name="connsiteY1" fmla="*/ 140474 h 196134"/>
              <a:gd name="connsiteX2" fmla="*/ 2865121 w 4283103"/>
              <a:gd name="connsiteY2" fmla="*/ 0 h 196134"/>
              <a:gd name="connsiteX3" fmla="*/ 4283103 w 4283103"/>
              <a:gd name="connsiteY3" fmla="*/ 87465 h 196134"/>
              <a:gd name="connsiteX0" fmla="*/ 0 w 4283103"/>
              <a:gd name="connsiteY0" fmla="*/ 190833 h 190833"/>
              <a:gd name="connsiteX1" fmla="*/ 1433886 w 4283103"/>
              <a:gd name="connsiteY1" fmla="*/ 135173 h 190833"/>
              <a:gd name="connsiteX2" fmla="*/ 2857170 w 4283103"/>
              <a:gd name="connsiteY2" fmla="*/ 0 h 190833"/>
              <a:gd name="connsiteX3" fmla="*/ 4283103 w 4283103"/>
              <a:gd name="connsiteY3" fmla="*/ 82164 h 190833"/>
              <a:gd name="connsiteX0" fmla="*/ 0 w 4283103"/>
              <a:gd name="connsiteY0" fmla="*/ 190833 h 190833"/>
              <a:gd name="connsiteX1" fmla="*/ 1433886 w 4283103"/>
              <a:gd name="connsiteY1" fmla="*/ 138704 h 190833"/>
              <a:gd name="connsiteX2" fmla="*/ 2857170 w 4283103"/>
              <a:gd name="connsiteY2" fmla="*/ 0 h 190833"/>
              <a:gd name="connsiteX3" fmla="*/ 4283103 w 4283103"/>
              <a:gd name="connsiteY3" fmla="*/ 82164 h 190833"/>
              <a:gd name="connsiteX0" fmla="*/ 0 w 4283103"/>
              <a:gd name="connsiteY0" fmla="*/ 187302 h 187302"/>
              <a:gd name="connsiteX1" fmla="*/ 1433886 w 4283103"/>
              <a:gd name="connsiteY1" fmla="*/ 135173 h 187302"/>
              <a:gd name="connsiteX2" fmla="*/ 2867762 w 4283103"/>
              <a:gd name="connsiteY2" fmla="*/ 0 h 187302"/>
              <a:gd name="connsiteX3" fmla="*/ 4283103 w 4283103"/>
              <a:gd name="connsiteY3" fmla="*/ 78633 h 187302"/>
              <a:gd name="connsiteX0" fmla="*/ 0 w 4283103"/>
              <a:gd name="connsiteY0" fmla="*/ 190124 h 190124"/>
              <a:gd name="connsiteX1" fmla="*/ 1433886 w 4283103"/>
              <a:gd name="connsiteY1" fmla="*/ 137995 h 190124"/>
              <a:gd name="connsiteX2" fmla="*/ 2859296 w 4283103"/>
              <a:gd name="connsiteY2" fmla="*/ 0 h 190124"/>
              <a:gd name="connsiteX3" fmla="*/ 4283103 w 4283103"/>
              <a:gd name="connsiteY3" fmla="*/ 81455 h 190124"/>
            </a:gdLst>
            <a:ahLst/>
            <a:cxnLst>
              <a:cxn ang="0">
                <a:pos x="connsiteX0" y="connsiteY0"/>
              </a:cxn>
              <a:cxn ang="0">
                <a:pos x="connsiteX1" y="connsiteY1"/>
              </a:cxn>
              <a:cxn ang="0">
                <a:pos x="connsiteX2" y="connsiteY2"/>
              </a:cxn>
              <a:cxn ang="0">
                <a:pos x="connsiteX3" y="connsiteY3"/>
              </a:cxn>
            </a:cxnLst>
            <a:rect l="l" t="t" r="r" b="b"/>
            <a:pathLst>
              <a:path w="4283103" h="190124">
                <a:moveTo>
                  <a:pt x="0" y="190124"/>
                </a:moveTo>
                <a:lnTo>
                  <a:pt x="1433886" y="137995"/>
                </a:lnTo>
                <a:lnTo>
                  <a:pt x="2859296" y="0"/>
                </a:lnTo>
                <a:lnTo>
                  <a:pt x="4283103" y="81455"/>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D360B7D6-75A3-4E0C-832E-2A7AF0DEFFDD}"/>
              </a:ext>
            </a:extLst>
          </p:cNvPr>
          <p:cNvSpPr/>
          <p:nvPr/>
        </p:nvSpPr>
        <p:spPr>
          <a:xfrm>
            <a:off x="1274722" y="3158573"/>
            <a:ext cx="4006408" cy="140452"/>
          </a:xfrm>
          <a:custGeom>
            <a:avLst/>
            <a:gdLst>
              <a:gd name="connsiteX0" fmla="*/ 0 w 4301656"/>
              <a:gd name="connsiteY0" fmla="*/ 166977 h 166977"/>
              <a:gd name="connsiteX1" fmla="*/ 1447138 w 4301656"/>
              <a:gd name="connsiteY1" fmla="*/ 82164 h 166977"/>
              <a:gd name="connsiteX2" fmla="*/ 2883673 w 4301656"/>
              <a:gd name="connsiteY2" fmla="*/ 87464 h 166977"/>
              <a:gd name="connsiteX3" fmla="*/ 4301656 w 4301656"/>
              <a:gd name="connsiteY3" fmla="*/ 0 h 166977"/>
              <a:gd name="connsiteX0" fmla="*/ 0 w 4306957"/>
              <a:gd name="connsiteY0" fmla="*/ 156375 h 156375"/>
              <a:gd name="connsiteX1" fmla="*/ 1447138 w 4306957"/>
              <a:gd name="connsiteY1" fmla="*/ 71562 h 156375"/>
              <a:gd name="connsiteX2" fmla="*/ 2883673 w 4306957"/>
              <a:gd name="connsiteY2" fmla="*/ 76862 h 156375"/>
              <a:gd name="connsiteX3" fmla="*/ 4306957 w 4306957"/>
              <a:gd name="connsiteY3" fmla="*/ 0 h 156375"/>
              <a:gd name="connsiteX0" fmla="*/ 0 w 4306957"/>
              <a:gd name="connsiteY0" fmla="*/ 161676 h 161676"/>
              <a:gd name="connsiteX1" fmla="*/ 1447138 w 4306957"/>
              <a:gd name="connsiteY1" fmla="*/ 76863 h 161676"/>
              <a:gd name="connsiteX2" fmla="*/ 2883673 w 4306957"/>
              <a:gd name="connsiteY2" fmla="*/ 82163 h 161676"/>
              <a:gd name="connsiteX3" fmla="*/ 4306957 w 4306957"/>
              <a:gd name="connsiteY3" fmla="*/ 0 h 161676"/>
              <a:gd name="connsiteX0" fmla="*/ 0 w 4306957"/>
              <a:gd name="connsiteY0" fmla="*/ 161676 h 161676"/>
              <a:gd name="connsiteX1" fmla="*/ 1447138 w 4306957"/>
              <a:gd name="connsiteY1" fmla="*/ 76863 h 161676"/>
              <a:gd name="connsiteX2" fmla="*/ 2873071 w 4306957"/>
              <a:gd name="connsiteY2" fmla="*/ 79512 h 161676"/>
              <a:gd name="connsiteX3" fmla="*/ 4306957 w 4306957"/>
              <a:gd name="connsiteY3" fmla="*/ 0 h 161676"/>
              <a:gd name="connsiteX0" fmla="*/ 0 w 4299006"/>
              <a:gd name="connsiteY0" fmla="*/ 148423 h 148423"/>
              <a:gd name="connsiteX1" fmla="*/ 1439187 w 4299006"/>
              <a:gd name="connsiteY1" fmla="*/ 76863 h 148423"/>
              <a:gd name="connsiteX2" fmla="*/ 2865120 w 4299006"/>
              <a:gd name="connsiteY2" fmla="*/ 79512 h 148423"/>
              <a:gd name="connsiteX3" fmla="*/ 4299006 w 4299006"/>
              <a:gd name="connsiteY3" fmla="*/ 0 h 148423"/>
              <a:gd name="connsiteX0" fmla="*/ 0 w 4299006"/>
              <a:gd name="connsiteY0" fmla="*/ 161675 h 161675"/>
              <a:gd name="connsiteX1" fmla="*/ 1439187 w 4299006"/>
              <a:gd name="connsiteY1" fmla="*/ 76863 h 161675"/>
              <a:gd name="connsiteX2" fmla="*/ 2865120 w 4299006"/>
              <a:gd name="connsiteY2" fmla="*/ 79512 h 161675"/>
              <a:gd name="connsiteX3" fmla="*/ 4299006 w 4299006"/>
              <a:gd name="connsiteY3" fmla="*/ 0 h 161675"/>
              <a:gd name="connsiteX0" fmla="*/ 0 w 4301657"/>
              <a:gd name="connsiteY0" fmla="*/ 153724 h 153724"/>
              <a:gd name="connsiteX1" fmla="*/ 1441838 w 4301657"/>
              <a:gd name="connsiteY1" fmla="*/ 76863 h 153724"/>
              <a:gd name="connsiteX2" fmla="*/ 2867771 w 4301657"/>
              <a:gd name="connsiteY2" fmla="*/ 79512 h 153724"/>
              <a:gd name="connsiteX3" fmla="*/ 4301657 w 4301657"/>
              <a:gd name="connsiteY3" fmla="*/ 0 h 153724"/>
              <a:gd name="connsiteX0" fmla="*/ 0 w 4304479"/>
              <a:gd name="connsiteY0" fmla="*/ 150902 h 150902"/>
              <a:gd name="connsiteX1" fmla="*/ 1441838 w 4304479"/>
              <a:gd name="connsiteY1" fmla="*/ 74041 h 150902"/>
              <a:gd name="connsiteX2" fmla="*/ 2867771 w 4304479"/>
              <a:gd name="connsiteY2" fmla="*/ 76690 h 150902"/>
              <a:gd name="connsiteX3" fmla="*/ 4304479 w 4304479"/>
              <a:gd name="connsiteY3" fmla="*/ 0 h 150902"/>
            </a:gdLst>
            <a:ahLst/>
            <a:cxnLst>
              <a:cxn ang="0">
                <a:pos x="connsiteX0" y="connsiteY0"/>
              </a:cxn>
              <a:cxn ang="0">
                <a:pos x="connsiteX1" y="connsiteY1"/>
              </a:cxn>
              <a:cxn ang="0">
                <a:pos x="connsiteX2" y="connsiteY2"/>
              </a:cxn>
              <a:cxn ang="0">
                <a:pos x="connsiteX3" y="connsiteY3"/>
              </a:cxn>
            </a:cxnLst>
            <a:rect l="l" t="t" r="r" b="b"/>
            <a:pathLst>
              <a:path w="4304479" h="150902">
                <a:moveTo>
                  <a:pt x="0" y="150902"/>
                </a:moveTo>
                <a:lnTo>
                  <a:pt x="1441838" y="74041"/>
                </a:lnTo>
                <a:lnTo>
                  <a:pt x="2867771" y="76690"/>
                </a:lnTo>
                <a:lnTo>
                  <a:pt x="4304479"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grpSp>
        <p:nvGrpSpPr>
          <p:cNvPr id="236" name="Group 235">
            <a:extLst>
              <a:ext uri="{FF2B5EF4-FFF2-40B4-BE49-F238E27FC236}">
                <a16:creationId xmlns:a16="http://schemas.microsoft.com/office/drawing/2014/main" id="{AB71E90E-1FDE-494E-8CDE-E8CD7668BA1B}"/>
              </a:ext>
            </a:extLst>
          </p:cNvPr>
          <p:cNvGrpSpPr/>
          <p:nvPr/>
        </p:nvGrpSpPr>
        <p:grpSpPr>
          <a:xfrm>
            <a:off x="1248116" y="3133787"/>
            <a:ext cx="4073618" cy="194637"/>
            <a:chOff x="1453006" y="3109005"/>
            <a:chExt cx="4376689" cy="209118"/>
          </a:xfrm>
          <a:solidFill>
            <a:schemeClr val="accent1"/>
          </a:solidFill>
        </p:grpSpPr>
        <p:sp>
          <p:nvSpPr>
            <p:cNvPr id="237" name="Oval 236">
              <a:extLst>
                <a:ext uri="{FF2B5EF4-FFF2-40B4-BE49-F238E27FC236}">
                  <a16:creationId xmlns:a16="http://schemas.microsoft.com/office/drawing/2014/main" id="{495211C3-B504-4342-A654-01CE34F8D415}"/>
                </a:ext>
              </a:extLst>
            </p:cNvPr>
            <p:cNvSpPr>
              <a:spLocks noChangeAspect="1"/>
            </p:cNvSpPr>
            <p:nvPr/>
          </p:nvSpPr>
          <p:spPr>
            <a:xfrm>
              <a:off x="1453006" y="3263259"/>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238" name="Oval 237">
              <a:extLst>
                <a:ext uri="{FF2B5EF4-FFF2-40B4-BE49-F238E27FC236}">
                  <a16:creationId xmlns:a16="http://schemas.microsoft.com/office/drawing/2014/main" id="{1BBCD8D1-B622-4D2B-B344-085AE2E20428}"/>
                </a:ext>
              </a:extLst>
            </p:cNvPr>
            <p:cNvSpPr>
              <a:spLocks noChangeAspect="1"/>
            </p:cNvSpPr>
            <p:nvPr/>
          </p:nvSpPr>
          <p:spPr>
            <a:xfrm>
              <a:off x="2895014" y="3183578"/>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239" name="Oval 238">
              <a:extLst>
                <a:ext uri="{FF2B5EF4-FFF2-40B4-BE49-F238E27FC236}">
                  <a16:creationId xmlns:a16="http://schemas.microsoft.com/office/drawing/2014/main" id="{39C0A736-DEDE-4085-8A86-88D98070D75C}"/>
                </a:ext>
              </a:extLst>
            </p:cNvPr>
            <p:cNvSpPr>
              <a:spLocks noChangeAspect="1"/>
            </p:cNvSpPr>
            <p:nvPr/>
          </p:nvSpPr>
          <p:spPr>
            <a:xfrm>
              <a:off x="4324789" y="3185982"/>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240" name="Oval 239">
              <a:extLst>
                <a:ext uri="{FF2B5EF4-FFF2-40B4-BE49-F238E27FC236}">
                  <a16:creationId xmlns:a16="http://schemas.microsoft.com/office/drawing/2014/main" id="{D0665A7D-7B6A-4A70-A6A2-ABB25940CA11}"/>
                </a:ext>
              </a:extLst>
            </p:cNvPr>
            <p:cNvSpPr>
              <a:spLocks noChangeAspect="1"/>
            </p:cNvSpPr>
            <p:nvPr/>
          </p:nvSpPr>
          <p:spPr>
            <a:xfrm>
              <a:off x="5774831" y="3109005"/>
              <a:ext cx="54864" cy="54864"/>
            </a:xfrm>
            <a:prstGeom prst="ellipse">
              <a:avLst/>
            </a:prstGeom>
            <a:grpFill/>
            <a:ln w="63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3585A"/>
                </a:solidFill>
                <a:effectLst/>
                <a:uLnTx/>
                <a:uFillTx/>
                <a:latin typeface="Arial" panose="020B0604020202020204"/>
                <a:ea typeface="MS PGothic" charset="0"/>
                <a:cs typeface="+mn-cs"/>
              </a:endParaRPr>
            </a:p>
          </p:txBody>
        </p:sp>
      </p:grpSp>
      <p:sp>
        <p:nvSpPr>
          <p:cNvPr id="164" name="TextBox 163">
            <a:extLst>
              <a:ext uri="{FF2B5EF4-FFF2-40B4-BE49-F238E27FC236}">
                <a16:creationId xmlns:a16="http://schemas.microsoft.com/office/drawing/2014/main" id="{5841A7BB-98AC-4872-80B9-CE65466F258F}"/>
              </a:ext>
            </a:extLst>
          </p:cNvPr>
          <p:cNvSpPr txBox="1"/>
          <p:nvPr/>
        </p:nvSpPr>
        <p:spPr>
          <a:xfrm>
            <a:off x="4686689" y="2035108"/>
            <a:ext cx="864017" cy="261610"/>
          </a:xfrm>
          <a:prstGeom prst="rect">
            <a:avLst/>
          </a:prstGeom>
        </p:spPr>
        <p:txBody>
          <a:bodyPr vert="horz" wrap="square" lIns="91440" tIns="45720" rIns="91440" bIns="45720" rtlCol="0">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S PGothic" charset="0"/>
                <a:cs typeface="+mn-cs"/>
              </a:rPr>
              <a:t>p=0.045</a:t>
            </a:r>
            <a:r>
              <a:rPr kumimoji="0" lang="en-GB" sz="1100" b="0" i="0" u="none" strike="noStrike" kern="1200" cap="none" spc="0" normalizeH="0" baseline="30000" noProof="0" dirty="0">
                <a:ln>
                  <a:noFill/>
                </a:ln>
                <a:solidFill>
                  <a:srgbClr val="000000"/>
                </a:solidFill>
                <a:effectLst/>
                <a:uLnTx/>
                <a:uFillTx/>
                <a:latin typeface="Arial" panose="020B0604020202020204"/>
                <a:ea typeface="MS PGothic" charset="0"/>
                <a:cs typeface="+mn-cs"/>
              </a:rPr>
              <a:t>#</a:t>
            </a:r>
            <a:endParaRPr kumimoji="0" lang="en-GB" sz="1100" b="0" i="0" u="none" strike="noStrike" kern="1200" cap="none" spc="0" normalizeH="0" baseline="0" noProof="0" dirty="0">
              <a:ln>
                <a:noFill/>
              </a:ln>
              <a:solidFill>
                <a:srgbClr val="000000"/>
              </a:solidFill>
              <a:effectLst/>
              <a:uLnTx/>
              <a:uFillTx/>
              <a:latin typeface="Arial" panose="020B0604020202020204"/>
              <a:ea typeface="MS PGothic" charset="0"/>
              <a:cs typeface="+mn-cs"/>
            </a:endParaRPr>
          </a:p>
        </p:txBody>
      </p:sp>
      <p:sp>
        <p:nvSpPr>
          <p:cNvPr id="15" name="Slide Number Placeholder 14">
            <a:extLst>
              <a:ext uri="{FF2B5EF4-FFF2-40B4-BE49-F238E27FC236}">
                <a16:creationId xmlns:a16="http://schemas.microsoft.com/office/drawing/2014/main" id="{0BE8DC07-972A-4981-93DC-831CAC9B60F8}"/>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1" name="Footer Placeholder 11">
            <a:extLst>
              <a:ext uri="{FF2B5EF4-FFF2-40B4-BE49-F238E27FC236}">
                <a16:creationId xmlns:a16="http://schemas.microsoft.com/office/drawing/2014/main" id="{66F1A35B-903D-408E-956C-49F071E12BB6}"/>
              </a:ext>
            </a:extLst>
          </p:cNvPr>
          <p:cNvSpPr>
            <a:spLocks noGrp="1"/>
          </p:cNvSpPr>
          <p:nvPr>
            <p:ph type="ftr" sz="quarter" idx="20"/>
          </p:nvPr>
        </p:nvSpPr>
        <p:spPr>
          <a:xfrm>
            <a:off x="600073" y="6029343"/>
            <a:ext cx="992505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Adapted</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from</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Voors</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1" u="none" strike="noStrike" kern="1200" cap="none" spc="0" normalizeH="0" baseline="0" noProof="0" dirty="0">
                <a:ln>
                  <a:noFill/>
                </a:ln>
                <a:solidFill>
                  <a:srgbClr val="000000"/>
                </a:solidFill>
                <a:effectLst/>
                <a:uLnTx/>
                <a:uFillTx/>
                <a:latin typeface="Arial" panose="020B0604020202020204"/>
                <a:ea typeface="+mn-ea"/>
                <a:cs typeface="+mn-cs"/>
              </a:rPr>
              <a:t>et al. </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2021.</a:t>
            </a:r>
            <a:r>
              <a:rPr kumimoji="0" lang="fr-FR" sz="800" b="0" i="0" u="none" strike="noStrike" kern="1200" cap="none" spc="0" normalizeH="0" baseline="30000" noProof="0" dirty="0">
                <a:ln>
                  <a:noFill/>
                </a:ln>
                <a:solidFill>
                  <a:srgbClr val="000000"/>
                </a:solidFill>
                <a:effectLst/>
                <a:uLnTx/>
                <a:uFillTx/>
                <a:latin typeface="Arial" panose="020B0604020202020204"/>
                <a:ea typeface="+mn-ea"/>
                <a:cs typeface="+mn-cs"/>
              </a:rPr>
              <a:t>1</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 Treatment with vericiguat is not recommended in patients with eGFR &lt;15 ml/min/1.73 m</a:t>
            </a:r>
            <a:r>
              <a:rPr kumimoji="0" lang="en-GB" sz="800" b="0" i="0" u="none" strike="noStrike" kern="1200" cap="none" spc="0" normalizeH="0" baseline="30000" noProof="0" dirty="0">
                <a:ln>
                  <a:noFill/>
                </a:ln>
                <a:solidFill>
                  <a:srgbClr val="000000"/>
                </a:solidFill>
                <a:effectLst/>
                <a:uLnTx/>
                <a:uFillTx/>
                <a:latin typeface="Arial"/>
                <a:ea typeface="+mn-ea"/>
                <a:cs typeface="+mn-cs"/>
              </a:rPr>
              <a:t>2</a:t>
            </a:r>
            <a:r>
              <a:rPr kumimoji="0" lang="en-GB" sz="800" b="0" i="0" u="none" strike="noStrike" kern="1200" cap="none" spc="0" normalizeH="0" baseline="0" noProof="0" dirty="0">
                <a:ln>
                  <a:noFill/>
                </a:ln>
                <a:solidFill>
                  <a:srgbClr val="000000"/>
                </a:solidFill>
                <a:effectLst/>
                <a:uLnTx/>
                <a:uFillTx/>
                <a:latin typeface="Arial"/>
                <a:ea typeface="+mn-ea"/>
                <a:cs typeface="+mn-cs"/>
              </a:rPr>
              <a:t> at treatment initiation or on dialysis. Please refer to the Summary of Product Characteristics for further information.</a:t>
            </a:r>
            <a:r>
              <a:rPr kumimoji="0" lang="en-GB" sz="800" b="0" i="0" u="none" strike="noStrike" kern="1200" cap="none" spc="0" normalizeH="0" baseline="30000" noProof="0" dirty="0">
                <a:ln>
                  <a:noFill/>
                </a:ln>
                <a:solidFill>
                  <a:srgbClr val="000000"/>
                </a:solidFill>
                <a:effectLst/>
                <a:uLnTx/>
                <a:uFillTx/>
                <a:latin typeface="Arial"/>
                <a:ea typeface="+mn-ea"/>
                <a:cs typeface="+mn-cs"/>
              </a:rPr>
              <a:t>2 </a:t>
            </a:r>
            <a:br>
              <a:rPr kumimoji="0" lang="en-GB" sz="800" b="0" i="0" u="none" strike="noStrike" kern="1200" cap="none" spc="0" normalizeH="0" baseline="30000" noProof="0" dirty="0">
                <a:ln>
                  <a:noFill/>
                </a:ln>
                <a:solidFill>
                  <a:srgbClr val="000000"/>
                </a:solidFill>
                <a:effectLst/>
                <a:uLnTx/>
                <a:uFillTx/>
                <a:latin typeface="Arial"/>
                <a:ea typeface="+mn-ea"/>
                <a:cs typeface="+mn-cs"/>
              </a:rPr>
            </a:b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The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effect</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of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vericiguat</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1" u="none" strike="noStrike" kern="1200" cap="none" spc="0" normalizeH="0" baseline="0" noProof="0" dirty="0">
                <a:ln>
                  <a:noFill/>
                </a:ln>
                <a:solidFill>
                  <a:srgbClr val="000000"/>
                </a:solidFill>
                <a:effectLst/>
                <a:uLnTx/>
                <a:uFillTx/>
                <a:latin typeface="Arial" panose="020B0604020202020204"/>
                <a:ea typeface="+mn-ea"/>
                <a:cs typeface="+mn-cs"/>
              </a:rPr>
              <a:t>vs</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placebo on sodium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levels</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was</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statistically</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significant</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bu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small</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nd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deemed</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clinically</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negligible</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00"/>
                </a:solidFill>
                <a:effectLst/>
                <a:uLnTx/>
                <a:uFillTx/>
                <a:latin typeface="Arial" panose="020B0604020202020204"/>
                <a:ea typeface="+mn-ea"/>
                <a:cs typeface="+mn-cs"/>
              </a:rPr>
              <a:t>References: 1. </a:t>
            </a:r>
            <a:r>
              <a:rPr kumimoji="0" lang="fr-FR" sz="800" b="0" i="0" u="none" strike="noStrike" kern="1200" cap="none" spc="0" normalizeH="0" baseline="0" noProof="0" dirty="0" err="1">
                <a:ln>
                  <a:noFill/>
                </a:ln>
                <a:solidFill>
                  <a:srgbClr val="000000"/>
                </a:solidFill>
                <a:effectLst/>
                <a:uLnTx/>
                <a:uFillTx/>
                <a:latin typeface="Arial" panose="020B0604020202020204"/>
                <a:ea typeface="+mn-ea"/>
                <a:cs typeface="+mn-cs"/>
              </a:rPr>
              <a:t>Voors</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 AA </a:t>
            </a:r>
            <a:r>
              <a:rPr kumimoji="0" lang="fr-FR" sz="800" b="0" i="1" u="none" strike="noStrike" kern="1200" cap="none" spc="0" normalizeH="0" baseline="0" noProof="0" dirty="0">
                <a:ln>
                  <a:noFill/>
                </a:ln>
                <a:solidFill>
                  <a:srgbClr val="000000"/>
                </a:solidFill>
                <a:effectLst/>
                <a:uLnTx/>
                <a:uFillTx/>
                <a:latin typeface="Arial" panose="020B0604020202020204"/>
                <a:ea typeface="+mn-ea"/>
                <a:cs typeface="+mn-cs"/>
              </a:rPr>
              <a:t>et al. </a:t>
            </a:r>
            <a:r>
              <a:rPr kumimoji="0" lang="fr-FR" sz="800" b="0" i="1" u="none" strike="noStrike" kern="1200" cap="none" spc="0" normalizeH="0" baseline="0" noProof="0" dirty="0" err="1">
                <a:ln>
                  <a:noFill/>
                </a:ln>
                <a:solidFill>
                  <a:srgbClr val="000000"/>
                </a:solidFill>
                <a:effectLst/>
                <a:uLnTx/>
                <a:uFillTx/>
                <a:latin typeface="Arial" panose="020B0604020202020204"/>
                <a:ea typeface="+mn-ea"/>
                <a:cs typeface="+mn-cs"/>
              </a:rPr>
              <a:t>Eur</a:t>
            </a:r>
            <a:r>
              <a:rPr kumimoji="0" lang="fr-FR" sz="800" b="0" i="1" u="none" strike="noStrike" kern="1200" cap="none" spc="0" normalizeH="0" baseline="0" noProof="0" dirty="0">
                <a:ln>
                  <a:noFill/>
                </a:ln>
                <a:solidFill>
                  <a:srgbClr val="000000"/>
                </a:solidFill>
                <a:effectLst/>
                <a:uLnTx/>
                <a:uFillTx/>
                <a:latin typeface="Arial" panose="020B0604020202020204"/>
                <a:ea typeface="+mn-ea"/>
                <a:cs typeface="+mn-cs"/>
              </a:rPr>
              <a:t> J </a:t>
            </a:r>
            <a:r>
              <a:rPr kumimoji="0" lang="fr-FR" sz="800" b="0" i="1" u="none" strike="noStrike" kern="1200" cap="none" spc="0" normalizeH="0" baseline="0" noProof="0" dirty="0" err="1">
                <a:ln>
                  <a:noFill/>
                </a:ln>
                <a:solidFill>
                  <a:srgbClr val="000000"/>
                </a:solidFill>
                <a:effectLst/>
                <a:uLnTx/>
                <a:uFillTx/>
                <a:latin typeface="Arial" panose="020B0604020202020204"/>
                <a:ea typeface="+mn-ea"/>
                <a:cs typeface="+mn-cs"/>
              </a:rPr>
              <a:t>Heart</a:t>
            </a:r>
            <a:r>
              <a:rPr kumimoji="0" lang="fr-FR" sz="800" b="0" i="1" u="none" strike="noStrike" kern="1200" cap="none" spc="0" normalizeH="0" baseline="0" noProof="0" dirty="0">
                <a:ln>
                  <a:noFill/>
                </a:ln>
                <a:solidFill>
                  <a:srgbClr val="000000"/>
                </a:solidFill>
                <a:effectLst/>
                <a:uLnTx/>
                <a:uFillTx/>
                <a:latin typeface="Arial" panose="020B0604020202020204"/>
                <a:ea typeface="+mn-ea"/>
                <a:cs typeface="+mn-cs"/>
              </a:rPr>
              <a:t> Fail </a:t>
            </a:r>
            <a:r>
              <a:rPr kumimoji="0" lang="fr-FR" sz="800" b="0" i="0" u="none" strike="noStrike" kern="1200" cap="none" spc="0" normalizeH="0" baseline="0" noProof="0" dirty="0">
                <a:ln>
                  <a:noFill/>
                </a:ln>
                <a:solidFill>
                  <a:srgbClr val="000000"/>
                </a:solidFill>
                <a:effectLst/>
                <a:uLnTx/>
                <a:uFillTx/>
                <a:latin typeface="Arial" panose="020B0604020202020204"/>
                <a:ea typeface="+mn-ea"/>
                <a:cs typeface="+mn-cs"/>
              </a:rPr>
              <a:t>2021;23:1313–1321; </a:t>
            </a:r>
            <a:r>
              <a:rPr kumimoji="0" lang="fr-FR" sz="800" b="1" i="0" u="none" strike="noStrike" kern="1200" cap="none" spc="0" normalizeH="0" baseline="0" noProof="0" dirty="0">
                <a:ln>
                  <a:noFill/>
                </a:ln>
                <a:solidFill>
                  <a:srgbClr val="000000"/>
                </a:solidFill>
                <a:effectLst/>
                <a:uLnTx/>
                <a:uFillTx/>
                <a:latin typeface="Arial" panose="020B0604020202020204"/>
                <a:ea typeface="+mn-ea"/>
                <a:cs typeface="+mn-cs"/>
              </a:rPr>
              <a:t>2.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Bayer AG. </a:t>
            </a:r>
            <a:r>
              <a:rPr kumimoji="0" lang="en-GB" sz="800" b="0" i="0" u="none" strike="noStrike" kern="1200" cap="none" spc="0" normalizeH="0" baseline="0" noProof="0" dirty="0" err="1">
                <a:ln>
                  <a:noFill/>
                </a:ln>
                <a:solidFill>
                  <a:srgbClr val="000000"/>
                </a:solidFill>
                <a:effectLst/>
                <a:uLnTx/>
                <a:uFillTx/>
                <a:latin typeface="Arial" panose="020B0604020202020204"/>
                <a:ea typeface="+mn-ea"/>
                <a:cs typeface="+mn-cs"/>
              </a:rPr>
              <a:t>Verquvo</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vericiguat) SmPC. 2021.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Link</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62" name="Table 161">
            <a:extLst>
              <a:ext uri="{FF2B5EF4-FFF2-40B4-BE49-F238E27FC236}">
                <a16:creationId xmlns:a16="http://schemas.microsoft.com/office/drawing/2014/main" id="{EA2E04B9-2863-487F-9AD4-E378431201E4}"/>
              </a:ext>
            </a:extLst>
          </p:cNvPr>
          <p:cNvGraphicFramePr>
            <a:graphicFrameLocks noGrp="1"/>
          </p:cNvGraphicFramePr>
          <p:nvPr/>
        </p:nvGraphicFramePr>
        <p:xfrm>
          <a:off x="600073" y="6386918"/>
          <a:ext cx="9925052" cy="396000"/>
        </p:xfrm>
        <a:graphic>
          <a:graphicData uri="http://schemas.openxmlformats.org/drawingml/2006/table">
            <a:tbl>
              <a:tblPr firstRow="1" firstCol="1" bandRow="1">
                <a:tableStyleId>{5C22544A-7EE6-4342-B048-85BDC9FD1C3A}</a:tableStyleId>
              </a:tblPr>
              <a:tblGrid>
                <a:gridCol w="4880770">
                  <a:extLst>
                    <a:ext uri="{9D8B030D-6E8A-4147-A177-3AD203B41FA5}">
                      <a16:colId xmlns:a16="http://schemas.microsoft.com/office/drawing/2014/main" val="98394083"/>
                    </a:ext>
                  </a:extLst>
                </a:gridCol>
                <a:gridCol w="5044282">
                  <a:extLst>
                    <a:ext uri="{9D8B030D-6E8A-4147-A177-3AD203B41FA5}">
                      <a16:colId xmlns:a16="http://schemas.microsoft.com/office/drawing/2014/main" val="1727449064"/>
                    </a:ext>
                  </a:extLst>
                </a:gridCol>
              </a:tblGrid>
              <a:tr h="264000">
                <a:tc>
                  <a:txBody>
                    <a:bodyPr/>
                    <a:lstStyle/>
                    <a:p>
                      <a:pPr>
                        <a:spcAft>
                          <a:spcPts val="0"/>
                        </a:spcAft>
                      </a:pPr>
                      <a:r>
                        <a:rPr lang="en-GB" sz="700" b="0" dirty="0">
                          <a:solidFill>
                            <a:schemeClr val="tx1"/>
                          </a:solidFill>
                          <a:effectLst/>
                        </a:rPr>
                        <a:t>▼ </a:t>
                      </a:r>
                      <a:r>
                        <a:rPr lang="es-ES" sz="700" b="0" dirty="0">
                          <a:solidFill>
                            <a:schemeClr val="tx1"/>
                          </a:solidFill>
                          <a:effectLst/>
                        </a:rPr>
                        <a:t>Vericiguat está sometido a seguimiento adicional, lo que permitirá la rápida identificación de nueva información sobre su seguridad. Se pide a los profesionales de la salud que informen sobre cualquier sospecha de reacción advers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 Vericiguat is subject to additional monitoring. This will allow quick identification of new safety information. Healthcare professionals are asked to report any suspected adverse reactions.</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57659"/>
                  </a:ext>
                </a:extLst>
              </a:tr>
              <a:tr h="132000">
                <a:tc>
                  <a:txBody>
                    <a:bodyPr/>
                    <a:lstStyle/>
                    <a:p>
                      <a:pPr>
                        <a:spcAft>
                          <a:spcPts val="0"/>
                        </a:spcAft>
                      </a:pPr>
                      <a:r>
                        <a:rPr lang="es-ES" sz="700" b="0" dirty="0">
                          <a:solidFill>
                            <a:schemeClr val="tx1"/>
                          </a:solidFill>
                          <a:effectLst/>
                        </a:rPr>
                        <a:t>Vericiguat no está comercializado en Españ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Vericiguat is not marketed in Spain.</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553355"/>
                  </a:ext>
                </a:extLst>
              </a:tr>
            </a:tbl>
          </a:graphicData>
        </a:graphic>
      </p:graphicFrame>
    </p:spTree>
    <p:extLst>
      <p:ext uri="{BB962C8B-B14F-4D97-AF65-F5344CB8AC3E}">
        <p14:creationId xmlns:p14="http://schemas.microsoft.com/office/powerpoint/2010/main" val="2634373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073" y="164567"/>
            <a:ext cx="11399839" cy="929127"/>
          </a:xfrm>
        </p:spPr>
        <p:txBody>
          <a:bodyPr/>
          <a:lstStyle/>
          <a:p>
            <a:r>
              <a:rPr lang="en-GB"/>
              <a:t>HF progression is punctuated by repeated worsening HF events, each resulting in reduced cardiac function</a:t>
            </a:r>
            <a:r>
              <a:rPr lang="en-US" baseline="30000"/>
              <a:t>1–3</a:t>
            </a:r>
          </a:p>
        </p:txBody>
      </p:sp>
      <p:sp>
        <p:nvSpPr>
          <p:cNvPr id="99" name="Slide Number Placeholder 2">
            <a:extLst>
              <a:ext uri="{FF2B5EF4-FFF2-40B4-BE49-F238E27FC236}">
                <a16:creationId xmlns:a16="http://schemas.microsoft.com/office/drawing/2014/main" id="{299480CE-C0F8-4FBF-88C5-B2171BBDDC64}"/>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100" name="Footer Placeholder 3">
            <a:extLst>
              <a:ext uri="{FF2B5EF4-FFF2-40B4-BE49-F238E27FC236}">
                <a16:creationId xmlns:a16="http://schemas.microsoft.com/office/drawing/2014/main" id="{EAEE8D1E-F5BE-4FD0-A9BA-619BF4D5410A}"/>
              </a:ext>
            </a:extLst>
          </p:cNvPr>
          <p:cNvSpPr>
            <a:spLocks noGrp="1"/>
          </p:cNvSpPr>
          <p:nvPr>
            <p:ph type="ftr" sz="quarter" idx="16"/>
          </p:nvPr>
        </p:nvSpPr>
        <p:spPr/>
        <p:txBody>
          <a:bodyPr/>
          <a:lstStyle/>
          <a:p>
            <a:pPr marL="0" marR="0" lvl="0" indent="-1714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Adapted from </a:t>
            </a:r>
            <a:r>
              <a:rPr kumimoji="0" lang="en-US" sz="800" b="0" i="0" u="none" strike="noStrike" kern="1200" cap="none" spc="0" normalizeH="0" baseline="0" noProof="0" err="1">
                <a:ln>
                  <a:noFill/>
                </a:ln>
                <a:solidFill>
                  <a:srgbClr val="898989"/>
                </a:solidFill>
                <a:effectLst/>
                <a:uLnTx/>
                <a:uFillTx/>
                <a:latin typeface="Arial" panose="020B0604020202020204"/>
                <a:ea typeface="+mn-ea"/>
                <a:cs typeface="+mn-cs"/>
              </a:rPr>
              <a:t>Gheorghiade</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2005</a:t>
            </a:r>
            <a:r>
              <a:rPr kumimoji="0" lang="en-US" sz="800" b="0" i="0" u="none" strike="noStrike" kern="1200" cap="none" spc="0" normalizeH="0" baseline="30000" noProof="0">
                <a:ln>
                  <a:noFill/>
                </a:ln>
                <a:solidFill>
                  <a:srgbClr val="898989"/>
                </a:solidFill>
                <a:effectLst/>
                <a:uLnTx/>
                <a:uFillTx/>
                <a:latin typeface="Arial" panose="020B0604020202020204"/>
                <a:ea typeface="+mn-ea"/>
                <a:cs typeface="+mn-cs"/>
              </a:rPr>
              <a:t>1</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and Cowie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2014.</a:t>
            </a:r>
            <a:r>
              <a:rPr kumimoji="0" lang="en-US" sz="800" b="0" i="0" u="none" strike="noStrike" kern="1200" cap="none" spc="0" normalizeH="0" baseline="30000" noProof="0">
                <a:ln>
                  <a:noFill/>
                </a:ln>
                <a:solidFill>
                  <a:srgbClr val="898989"/>
                </a:solidFill>
                <a:effectLst/>
                <a:uLnTx/>
                <a:uFillTx/>
                <a:latin typeface="Arial" panose="020B0604020202020204"/>
                <a:ea typeface="+mn-ea"/>
                <a:cs typeface="+mn-cs"/>
              </a:rPr>
              <a:t>2</a:t>
            </a:r>
            <a:endParaRPr kumimoji="0" lang="en-US" sz="800" b="0" i="0" u="none" strike="noStrike" kern="1200" cap="none" spc="0" normalizeH="0" baseline="0" noProof="0">
              <a:ln>
                <a:noFill/>
              </a:ln>
              <a:solidFill>
                <a:srgbClr val="898989"/>
              </a:solidFill>
              <a:effectLst/>
              <a:uLnTx/>
              <a:uFillTx/>
              <a:latin typeface="Arial" panose="020B0604020202020204"/>
              <a:ea typeface="+mn-ea"/>
              <a:cs typeface="+mn-cs"/>
            </a:endParaRPr>
          </a:p>
          <a:p>
            <a:pPr marL="0" marR="0" lvl="0" indent="-1714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HF, heart failure; IV, intrave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References: 1. </a:t>
            </a:r>
            <a:r>
              <a:rPr kumimoji="0" lang="en-US" sz="800" b="0" i="0" u="none" strike="noStrike" kern="1200" cap="none" spc="0" normalizeH="0" baseline="0" noProof="0" err="1">
                <a:ln>
                  <a:noFill/>
                </a:ln>
                <a:solidFill>
                  <a:srgbClr val="898989"/>
                </a:solidFill>
                <a:effectLst/>
                <a:uLnTx/>
                <a:uFillTx/>
                <a:latin typeface="Arial" panose="020B0604020202020204"/>
                <a:ea typeface="+mn-ea"/>
                <a:cs typeface="+mn-cs"/>
              </a:rPr>
              <a:t>Gheorghiade</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M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Am J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Cardiol</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2005;96:11G–17G;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2.</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Cowie MR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ESC Heart Fail</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2014;1:110–145;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3.</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Greene SJ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JAMA </a:t>
            </a:r>
            <a:r>
              <a:rPr kumimoji="0" lang="en-US" sz="800" b="0" i="1" u="none" strike="noStrike" kern="1200" cap="none" spc="0" normalizeH="0" baseline="0" noProof="0" err="1">
                <a:ln>
                  <a:noFill/>
                </a:ln>
                <a:solidFill>
                  <a:srgbClr val="898989"/>
                </a:solidFill>
                <a:effectLst/>
                <a:uLnTx/>
                <a:uFillTx/>
                <a:latin typeface="Arial" panose="020B0604020202020204"/>
                <a:ea typeface="+mn-ea"/>
                <a:cs typeface="+mn-cs"/>
              </a:rPr>
              <a:t>Cardiol</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2018;3:252–259; </a:t>
            </a:r>
            <a:b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b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4. </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Butler J </a:t>
            </a:r>
            <a:r>
              <a:rPr kumimoji="0" lang="en-US" sz="800" b="0" i="1" u="none" strike="noStrike" kern="1200" cap="none" spc="0" normalizeH="0" baseline="0" noProof="0">
                <a:ln>
                  <a:noFill/>
                </a:ln>
                <a:solidFill>
                  <a:srgbClr val="898989"/>
                </a:solidFill>
                <a:effectLst/>
                <a:uLnTx/>
                <a:uFillTx/>
                <a:latin typeface="Arial" panose="020B0604020202020204"/>
                <a:ea typeface="+mn-ea"/>
                <a:cs typeface="+mn-cs"/>
              </a:rPr>
              <a:t>et al. J Am Coll Cardiol</a:t>
            </a:r>
            <a:r>
              <a:rPr kumimoji="0" lang="en-US" sz="800" b="0" i="0" u="none" strike="noStrike" kern="1200" cap="none" spc="0" normalizeH="0" baseline="0" noProof="0">
                <a:ln>
                  <a:noFill/>
                </a:ln>
                <a:solidFill>
                  <a:srgbClr val="898989"/>
                </a:solidFill>
                <a:effectLst/>
                <a:uLnTx/>
                <a:uFillTx/>
                <a:latin typeface="Arial" panose="020B0604020202020204"/>
                <a:ea typeface="+mn-ea"/>
                <a:cs typeface="+mn-cs"/>
              </a:rPr>
              <a:t> 2019;73:935–944; </a:t>
            </a:r>
            <a:r>
              <a:rPr kumimoji="0" lang="en-US" sz="800" b="1" i="0" u="none" strike="noStrike" kern="1200" cap="none" spc="0" normalizeH="0" baseline="0" noProof="0">
                <a:ln>
                  <a:noFill/>
                </a:ln>
                <a:solidFill>
                  <a:srgbClr val="898989"/>
                </a:solidFill>
                <a:effectLst/>
                <a:uLnTx/>
                <a:uFillTx/>
                <a:latin typeface="Arial" panose="020B0604020202020204"/>
                <a:ea typeface="+mn-ea"/>
                <a:cs typeface="+mn-cs"/>
              </a:rPr>
              <a:t>5. </a:t>
            </a:r>
            <a:r>
              <a:rPr kumimoji="0" lang="da-DK" sz="800" b="0" i="0" u="none" strike="noStrike" kern="1200" cap="none" spc="0" normalizeH="0" baseline="0" noProof="0">
                <a:ln>
                  <a:noFill/>
                </a:ln>
                <a:solidFill>
                  <a:srgbClr val="898989"/>
                </a:solidFill>
                <a:effectLst/>
                <a:uLnTx/>
                <a:uFillTx/>
                <a:latin typeface="Arial" panose="020B0604020202020204"/>
                <a:ea typeface="+mn-ea"/>
                <a:cs typeface="+mn-cs"/>
              </a:rPr>
              <a:t>Armstrong PW </a:t>
            </a:r>
            <a:r>
              <a:rPr kumimoji="0" lang="da-DK" sz="800" b="0" i="1" u="none" strike="noStrike" kern="1200" cap="none" spc="0" normalizeH="0" baseline="0" noProof="0">
                <a:ln>
                  <a:noFill/>
                </a:ln>
                <a:solidFill>
                  <a:srgbClr val="898989"/>
                </a:solidFill>
                <a:effectLst/>
                <a:uLnTx/>
                <a:uFillTx/>
                <a:latin typeface="Arial" panose="020B0604020202020204"/>
                <a:ea typeface="+mn-ea"/>
                <a:cs typeface="+mn-cs"/>
              </a:rPr>
              <a:t>et al. N Engl J Med </a:t>
            </a:r>
            <a:r>
              <a:rPr kumimoji="0" lang="da-DK" sz="800" b="0" i="0" u="none" strike="noStrike" kern="1200" cap="none" spc="0" normalizeH="0" baseline="0" noProof="0">
                <a:ln>
                  <a:noFill/>
                </a:ln>
                <a:solidFill>
                  <a:srgbClr val="898989"/>
                </a:solidFill>
                <a:effectLst/>
                <a:uLnTx/>
                <a:uFillTx/>
                <a:latin typeface="Arial" panose="020B0604020202020204"/>
                <a:ea typeface="+mn-ea"/>
                <a:cs typeface="+mn-cs"/>
              </a:rPr>
              <a:t>2020;382:1883–1893</a:t>
            </a:r>
            <a:r>
              <a:rPr kumimoji="0" lang="en-GB" sz="800" b="0" i="0" u="none" strike="noStrike" kern="1200" cap="none" spc="0" normalizeH="0" baseline="0" noProof="0">
                <a:ln>
                  <a:noFill/>
                </a:ln>
                <a:solidFill>
                  <a:srgbClr val="898989"/>
                </a:solidFill>
                <a:effectLst/>
                <a:uLnTx/>
                <a:uFillTx/>
                <a:latin typeface="Arial" panose="020B0604020202020204"/>
                <a:ea typeface="+mn-ea"/>
                <a:cs typeface="+mn-cs"/>
              </a:rPr>
              <a:t>.</a:t>
            </a:r>
            <a:endParaRPr kumimoji="0" lang="en-US" sz="800" b="0" i="0" u="none" strike="noStrike" kern="1200" cap="none" spc="0" normalizeH="0" baseline="0" noProof="0">
              <a:ln>
                <a:noFill/>
              </a:ln>
              <a:solidFill>
                <a:srgbClr val="898989"/>
              </a:solidFill>
              <a:effectLst/>
              <a:uLnTx/>
              <a:uFillTx/>
              <a:latin typeface="Arial" panose="020B0604020202020204"/>
              <a:ea typeface="+mn-ea"/>
              <a:cs typeface="+mn-cs"/>
            </a:endParaRPr>
          </a:p>
        </p:txBody>
      </p:sp>
      <p:sp>
        <p:nvSpPr>
          <p:cNvPr id="106" name="Line 17">
            <a:extLst>
              <a:ext uri="{FF2B5EF4-FFF2-40B4-BE49-F238E27FC236}">
                <a16:creationId xmlns:a16="http://schemas.microsoft.com/office/drawing/2014/main" id="{6E0BD0E3-671E-49E7-9425-786BCC2B6F0F}"/>
              </a:ext>
            </a:extLst>
          </p:cNvPr>
          <p:cNvSpPr>
            <a:spLocks noChangeShapeType="1"/>
          </p:cNvSpPr>
          <p:nvPr/>
        </p:nvSpPr>
        <p:spPr bwMode="auto">
          <a:xfrm flipV="1">
            <a:off x="1011386" y="1556792"/>
            <a:ext cx="0" cy="3924001"/>
          </a:xfrm>
          <a:prstGeom prst="line">
            <a:avLst/>
          </a:prstGeom>
          <a:noFill/>
          <a:ln w="15875" cap="rnd">
            <a:solidFill>
              <a:schemeClr val="tx1"/>
            </a:solidFill>
            <a:round/>
            <a:headEnd type="none" w="med" len="med"/>
            <a:tailEnd type="none" w="med" len="med"/>
          </a:ln>
          <a:extLst>
            <a:ext uri="{909E8E84-426E-40DD-AFC4-6F175D3DCCD1}">
              <a14:hiddenFill xmlns:a14="http://schemas.microsoft.com/office/drawing/2010/main">
                <a:noFill/>
              </a14:hiddenFill>
            </a:ext>
          </a:extLst>
        </p:spPr>
        <p:txBody>
          <a:bodyPr wrap="square" lIns="91380" tIns="45696" rIns="91380" bIns="45696">
            <a:noAutofit/>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a:ln>
                <a:noFill/>
              </a:ln>
              <a:solidFill>
                <a:srgbClr val="676767"/>
              </a:solidFill>
              <a:effectLst/>
              <a:uLnTx/>
              <a:uFillTx/>
              <a:latin typeface="Arial"/>
              <a:ea typeface="MS PGothic" charset="0"/>
              <a:cs typeface="+mn-cs"/>
            </a:endParaRPr>
          </a:p>
        </p:txBody>
      </p:sp>
      <p:sp>
        <p:nvSpPr>
          <p:cNvPr id="108" name="Line 18">
            <a:extLst>
              <a:ext uri="{FF2B5EF4-FFF2-40B4-BE49-F238E27FC236}">
                <a16:creationId xmlns:a16="http://schemas.microsoft.com/office/drawing/2014/main" id="{01D504CE-B07B-483E-A23C-A3C432AC7AE7}"/>
              </a:ext>
            </a:extLst>
          </p:cNvPr>
          <p:cNvSpPr>
            <a:spLocks noChangeShapeType="1"/>
          </p:cNvSpPr>
          <p:nvPr/>
        </p:nvSpPr>
        <p:spPr bwMode="auto">
          <a:xfrm>
            <a:off x="1011389" y="5481228"/>
            <a:ext cx="5868000" cy="0"/>
          </a:xfrm>
          <a:prstGeom prst="line">
            <a:avLst/>
          </a:prstGeom>
          <a:noFill/>
          <a:ln w="15875">
            <a:solidFill>
              <a:schemeClr val="tx1"/>
            </a:solidFill>
            <a:round/>
            <a:headEnd type="none" w="med" len="med"/>
            <a:tailEnd type="none" w="med" len="med"/>
          </a:ln>
          <a:extLst>
            <a:ext uri="{909E8E84-426E-40DD-AFC4-6F175D3DCCD1}">
              <a14:hiddenFill xmlns:a14="http://schemas.microsoft.com/office/drawing/2010/main">
                <a:noFill/>
              </a14:hiddenFill>
            </a:ext>
          </a:extLst>
        </p:spPr>
        <p:txBody>
          <a:bodyPr wrap="square" lIns="91380" tIns="45696" rIns="91380" bIns="45696">
            <a:noAutofit/>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a:ln>
                <a:noFill/>
              </a:ln>
              <a:solidFill>
                <a:srgbClr val="676767"/>
              </a:solidFill>
              <a:effectLst/>
              <a:uLnTx/>
              <a:uFillTx/>
              <a:latin typeface="Arial"/>
              <a:ea typeface="MS PGothic" charset="0"/>
              <a:cs typeface="+mn-cs"/>
            </a:endParaRPr>
          </a:p>
        </p:txBody>
      </p:sp>
      <p:sp>
        <p:nvSpPr>
          <p:cNvPr id="109" name="Rectangle 108">
            <a:extLst>
              <a:ext uri="{FF2B5EF4-FFF2-40B4-BE49-F238E27FC236}">
                <a16:creationId xmlns:a16="http://schemas.microsoft.com/office/drawing/2014/main" id="{EA6F69CD-12FD-4AAB-BD04-75CD0057E5D9}"/>
              </a:ext>
            </a:extLst>
          </p:cNvPr>
          <p:cNvSpPr/>
          <p:nvPr/>
        </p:nvSpPr>
        <p:spPr>
          <a:xfrm rot="16200000">
            <a:off x="51635" y="3306614"/>
            <a:ext cx="1595309" cy="307777"/>
          </a:xfrm>
          <a:prstGeom prst="rect">
            <a:avLst/>
          </a:prstGeom>
        </p:spPr>
        <p:txBody>
          <a:bodyPr wrap="none">
            <a:sp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S PGothic" charset="0"/>
                <a:cs typeface="+mn-cs"/>
              </a:rPr>
              <a:t>Cardiac function</a:t>
            </a:r>
          </a:p>
        </p:txBody>
      </p:sp>
      <p:sp>
        <p:nvSpPr>
          <p:cNvPr id="110" name="Rectangle 109">
            <a:extLst>
              <a:ext uri="{FF2B5EF4-FFF2-40B4-BE49-F238E27FC236}">
                <a16:creationId xmlns:a16="http://schemas.microsoft.com/office/drawing/2014/main" id="{358B4A65-55E8-4C88-8ABD-53CE104D4CCF}"/>
              </a:ext>
            </a:extLst>
          </p:cNvPr>
          <p:cNvSpPr/>
          <p:nvPr/>
        </p:nvSpPr>
        <p:spPr>
          <a:xfrm>
            <a:off x="2865658" y="5497487"/>
            <a:ext cx="1981568" cy="307777"/>
          </a:xfrm>
          <a:prstGeom prst="rect">
            <a:avLst/>
          </a:prstGeom>
        </p:spPr>
        <p:txBody>
          <a:bodyPr wrap="none">
            <a:sp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S PGothic" charset="0"/>
                <a:cs typeface="+mn-cs"/>
              </a:rPr>
              <a:t>Time (months–years)</a:t>
            </a:r>
          </a:p>
        </p:txBody>
      </p:sp>
      <p:sp>
        <p:nvSpPr>
          <p:cNvPr id="111" name="Freeform 15">
            <a:extLst>
              <a:ext uri="{FF2B5EF4-FFF2-40B4-BE49-F238E27FC236}">
                <a16:creationId xmlns:a16="http://schemas.microsoft.com/office/drawing/2014/main" id="{BA4450D4-A8D7-4A3F-98A3-7CDA68992FEF}"/>
              </a:ext>
            </a:extLst>
          </p:cNvPr>
          <p:cNvSpPr>
            <a:spLocks/>
          </p:cNvSpPr>
          <p:nvPr/>
        </p:nvSpPr>
        <p:spPr bwMode="auto">
          <a:xfrm>
            <a:off x="1147354" y="1617665"/>
            <a:ext cx="5482383" cy="3594976"/>
          </a:xfrm>
          <a:custGeom>
            <a:avLst/>
            <a:gdLst>
              <a:gd name="T0" fmla="*/ 0 w 4032"/>
              <a:gd name="T1" fmla="*/ 45362805 h 2274"/>
              <a:gd name="T2" fmla="*/ 1421368178 w 4032"/>
              <a:gd name="T3" fmla="*/ 287297788 h 2274"/>
              <a:gd name="T4" fmla="*/ 2026205928 w 4032"/>
              <a:gd name="T5" fmla="*/ 1774190032 h 2274"/>
              <a:gd name="T6" fmla="*/ 2147483647 w 4032"/>
              <a:gd name="T7" fmla="*/ 529232784 h 2274"/>
              <a:gd name="T8" fmla="*/ 2147483647 w 4032"/>
              <a:gd name="T9" fmla="*/ 559474646 h 2274"/>
              <a:gd name="T10" fmla="*/ 2147483647 w 4032"/>
              <a:gd name="T11" fmla="*/ 1224795808 h 2274"/>
              <a:gd name="T12" fmla="*/ 2147483647 w 4032"/>
              <a:gd name="T13" fmla="*/ 2147483647 h 2274"/>
              <a:gd name="T14" fmla="*/ 2147483647 w 4032"/>
              <a:gd name="T15" fmla="*/ 1557456291 h 2274"/>
              <a:gd name="T16" fmla="*/ 2147483647 w 4032"/>
              <a:gd name="T17" fmla="*/ 2147483647 h 2274"/>
              <a:gd name="T18" fmla="*/ 2147483647 w 4032"/>
              <a:gd name="T19" fmla="*/ 2147483647 h 2274"/>
              <a:gd name="T20" fmla="*/ 2147483647 w 4032"/>
              <a:gd name="T21" fmla="*/ 2147483647 h 2274"/>
              <a:gd name="T22" fmla="*/ 2147483647 w 4032"/>
              <a:gd name="T23" fmla="*/ 2147483647 h 2274"/>
              <a:gd name="T24" fmla="*/ 2147483647 w 4032"/>
              <a:gd name="T25" fmla="*/ 2147483647 h 22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32"/>
              <a:gd name="T40" fmla="*/ 0 h 2274"/>
              <a:gd name="T41" fmla="*/ 4032 w 4032"/>
              <a:gd name="T42" fmla="*/ 2274 h 227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32" h="2274">
                <a:moveTo>
                  <a:pt x="0" y="18"/>
                </a:moveTo>
                <a:cubicBezTo>
                  <a:pt x="94" y="34"/>
                  <a:pt x="430" y="0"/>
                  <a:pt x="564" y="114"/>
                </a:cubicBezTo>
                <a:cubicBezTo>
                  <a:pt x="698" y="228"/>
                  <a:pt x="730" y="688"/>
                  <a:pt x="804" y="704"/>
                </a:cubicBezTo>
                <a:cubicBezTo>
                  <a:pt x="878" y="720"/>
                  <a:pt x="914" y="290"/>
                  <a:pt x="1008" y="210"/>
                </a:cubicBezTo>
                <a:cubicBezTo>
                  <a:pt x="1102" y="130"/>
                  <a:pt x="1242" y="176"/>
                  <a:pt x="1368" y="222"/>
                </a:cubicBezTo>
                <a:cubicBezTo>
                  <a:pt x="1494" y="268"/>
                  <a:pt x="1648" y="332"/>
                  <a:pt x="1764" y="486"/>
                </a:cubicBezTo>
                <a:cubicBezTo>
                  <a:pt x="1880" y="640"/>
                  <a:pt x="1984" y="1124"/>
                  <a:pt x="2064" y="1146"/>
                </a:cubicBezTo>
                <a:cubicBezTo>
                  <a:pt x="2144" y="1168"/>
                  <a:pt x="2106" y="648"/>
                  <a:pt x="2244" y="618"/>
                </a:cubicBezTo>
                <a:cubicBezTo>
                  <a:pt x="2382" y="588"/>
                  <a:pt x="2734" y="796"/>
                  <a:pt x="2892" y="968"/>
                </a:cubicBezTo>
                <a:cubicBezTo>
                  <a:pt x="3050" y="1140"/>
                  <a:pt x="3124" y="1610"/>
                  <a:pt x="3192" y="1652"/>
                </a:cubicBezTo>
                <a:cubicBezTo>
                  <a:pt x="3260" y="1694"/>
                  <a:pt x="3182" y="1222"/>
                  <a:pt x="3300" y="1220"/>
                </a:cubicBezTo>
                <a:cubicBezTo>
                  <a:pt x="3418" y="1218"/>
                  <a:pt x="3778" y="1464"/>
                  <a:pt x="3900" y="1640"/>
                </a:cubicBezTo>
                <a:cubicBezTo>
                  <a:pt x="4022" y="1816"/>
                  <a:pt x="4005" y="2142"/>
                  <a:pt x="4032" y="2274"/>
                </a:cubicBezTo>
              </a:path>
            </a:pathLst>
          </a:custGeom>
          <a:noFill/>
          <a:ln w="66675" cap="rnd">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headEnd/>
            <a:tailEnd/>
          </a:ln>
        </p:spPr>
        <p:style>
          <a:lnRef idx="3">
            <a:schemeClr val="accent2"/>
          </a:lnRef>
          <a:fillRef idx="0">
            <a:schemeClr val="accent2"/>
          </a:fillRef>
          <a:effectRef idx="2">
            <a:schemeClr val="accent2"/>
          </a:effectRef>
          <a:fontRef idx="minor">
            <a:schemeClr val="tx1"/>
          </a:fontRef>
        </p:style>
        <p:txBody>
          <a:bodyPr wrap="square" lIns="91380" tIns="45696" rIns="91380" bIns="45696">
            <a:noAutofit/>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676767"/>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5085A162-C90F-4032-86E7-4F9ED9E1D053}"/>
              </a:ext>
            </a:extLst>
          </p:cNvPr>
          <p:cNvSpPr/>
          <p:nvPr/>
        </p:nvSpPr>
        <p:spPr>
          <a:xfrm>
            <a:off x="6187044" y="5222310"/>
            <a:ext cx="830604" cy="307777"/>
          </a:xfrm>
          <a:prstGeom prst="rect">
            <a:avLst/>
          </a:prstGeom>
        </p:spPr>
        <p:txBody>
          <a:bodyPr wrap="square">
            <a:spAutoFit/>
          </a:bodyPr>
          <a:lstStyle/>
          <a:p>
            <a:pPr marL="0" marR="0" lvl="0" indent="0" algn="ctr" defTabSz="91419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4F8A"/>
                </a:solidFill>
                <a:effectLst/>
                <a:uLnTx/>
                <a:uFillTx/>
                <a:latin typeface="Arial"/>
                <a:ea typeface="MS PGothic" charset="0"/>
                <a:cs typeface="+mn-cs"/>
              </a:rPr>
              <a:t>Death</a:t>
            </a:r>
          </a:p>
        </p:txBody>
      </p:sp>
      <p:grpSp>
        <p:nvGrpSpPr>
          <p:cNvPr id="113" name="Group 112">
            <a:extLst>
              <a:ext uri="{FF2B5EF4-FFF2-40B4-BE49-F238E27FC236}">
                <a16:creationId xmlns:a16="http://schemas.microsoft.com/office/drawing/2014/main" id="{88027D00-523A-4649-99C3-BB62E2F07067}"/>
              </a:ext>
            </a:extLst>
          </p:cNvPr>
          <p:cNvGrpSpPr/>
          <p:nvPr/>
        </p:nvGrpSpPr>
        <p:grpSpPr>
          <a:xfrm>
            <a:off x="1250014" y="2772185"/>
            <a:ext cx="1624161" cy="1103804"/>
            <a:chOff x="1180661" y="2798916"/>
            <a:chExt cx="1624161" cy="1103804"/>
          </a:xfrm>
        </p:grpSpPr>
        <p:grpSp>
          <p:nvGrpSpPr>
            <p:cNvPr id="116" name="Group 115">
              <a:extLst>
                <a:ext uri="{FF2B5EF4-FFF2-40B4-BE49-F238E27FC236}">
                  <a16:creationId xmlns:a16="http://schemas.microsoft.com/office/drawing/2014/main" id="{751F77A6-0CEE-46EB-B87D-332D1407732D}"/>
                </a:ext>
              </a:extLst>
            </p:cNvPr>
            <p:cNvGrpSpPr/>
            <p:nvPr/>
          </p:nvGrpSpPr>
          <p:grpSpPr>
            <a:xfrm>
              <a:off x="1585096" y="2798916"/>
              <a:ext cx="208743" cy="549057"/>
              <a:chOff x="1424142" y="2891946"/>
              <a:chExt cx="208743" cy="549057"/>
            </a:xfrm>
          </p:grpSpPr>
          <p:grpSp>
            <p:nvGrpSpPr>
              <p:cNvPr id="128" name="Group 127">
                <a:extLst>
                  <a:ext uri="{FF2B5EF4-FFF2-40B4-BE49-F238E27FC236}">
                    <a16:creationId xmlns:a16="http://schemas.microsoft.com/office/drawing/2014/main" id="{160CDC76-E2B9-41DE-BBF3-326F694D8047}"/>
                  </a:ext>
                </a:extLst>
              </p:cNvPr>
              <p:cNvGrpSpPr/>
              <p:nvPr/>
            </p:nvGrpSpPr>
            <p:grpSpPr>
              <a:xfrm>
                <a:off x="1424142" y="2891946"/>
                <a:ext cx="208743" cy="549057"/>
                <a:chOff x="-5880972" y="457200"/>
                <a:chExt cx="2911476" cy="7658100"/>
              </a:xfrm>
              <a:solidFill>
                <a:schemeClr val="bg2">
                  <a:lumMod val="40000"/>
                  <a:lumOff val="60000"/>
                </a:schemeClr>
              </a:solidFill>
            </p:grpSpPr>
            <p:sp>
              <p:nvSpPr>
                <p:cNvPr id="132" name="Freeform 5">
                  <a:extLst>
                    <a:ext uri="{FF2B5EF4-FFF2-40B4-BE49-F238E27FC236}">
                      <a16:creationId xmlns:a16="http://schemas.microsoft.com/office/drawing/2014/main" id="{3B94661F-8C1B-42E1-9D95-1FB91A70EFC7}"/>
                    </a:ext>
                  </a:extLst>
                </p:cNvPr>
                <p:cNvSpPr>
                  <a:spLocks noEditPoints="1"/>
                </p:cNvSpPr>
                <p:nvPr/>
              </p:nvSpPr>
              <p:spPr bwMode="auto">
                <a:xfrm>
                  <a:off x="-5223746" y="457200"/>
                  <a:ext cx="1597025" cy="1597025"/>
                </a:xfrm>
                <a:custGeom>
                  <a:avLst/>
                  <a:gdLst>
                    <a:gd name="T0" fmla="*/ 213 w 426"/>
                    <a:gd name="T1" fmla="*/ 427 h 427"/>
                    <a:gd name="T2" fmla="*/ 426 w 426"/>
                    <a:gd name="T3" fmla="*/ 213 h 427"/>
                    <a:gd name="T4" fmla="*/ 213 w 426"/>
                    <a:gd name="T5" fmla="*/ 0 h 427"/>
                    <a:gd name="T6" fmla="*/ 0 w 426"/>
                    <a:gd name="T7" fmla="*/ 213 h 427"/>
                    <a:gd name="T8" fmla="*/ 213 w 426"/>
                    <a:gd name="T9" fmla="*/ 427 h 427"/>
                    <a:gd name="T10" fmla="*/ 213 w 426"/>
                    <a:gd name="T11" fmla="*/ 85 h 427"/>
                    <a:gd name="T12" fmla="*/ 341 w 426"/>
                    <a:gd name="T13" fmla="*/ 213 h 427"/>
                    <a:gd name="T14" fmla="*/ 213 w 426"/>
                    <a:gd name="T15" fmla="*/ 341 h 427"/>
                    <a:gd name="T16" fmla="*/ 85 w 426"/>
                    <a:gd name="T17" fmla="*/ 213 h 427"/>
                    <a:gd name="T18" fmla="*/ 213 w 426"/>
                    <a:gd name="T19" fmla="*/ 8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7">
                      <a:moveTo>
                        <a:pt x="213" y="427"/>
                      </a:moveTo>
                      <a:cubicBezTo>
                        <a:pt x="331" y="427"/>
                        <a:pt x="426" y="331"/>
                        <a:pt x="426" y="213"/>
                      </a:cubicBezTo>
                      <a:cubicBezTo>
                        <a:pt x="426" y="96"/>
                        <a:pt x="331" y="0"/>
                        <a:pt x="213" y="0"/>
                      </a:cubicBezTo>
                      <a:cubicBezTo>
                        <a:pt x="95" y="0"/>
                        <a:pt x="0" y="96"/>
                        <a:pt x="0" y="213"/>
                      </a:cubicBezTo>
                      <a:cubicBezTo>
                        <a:pt x="0" y="331"/>
                        <a:pt x="95" y="427"/>
                        <a:pt x="213" y="427"/>
                      </a:cubicBezTo>
                      <a:close/>
                      <a:moveTo>
                        <a:pt x="213" y="85"/>
                      </a:moveTo>
                      <a:cubicBezTo>
                        <a:pt x="284" y="85"/>
                        <a:pt x="341" y="143"/>
                        <a:pt x="341" y="213"/>
                      </a:cubicBezTo>
                      <a:cubicBezTo>
                        <a:pt x="341" y="284"/>
                        <a:pt x="284" y="341"/>
                        <a:pt x="213" y="341"/>
                      </a:cubicBezTo>
                      <a:cubicBezTo>
                        <a:pt x="142" y="341"/>
                        <a:pt x="85" y="284"/>
                        <a:pt x="85" y="213"/>
                      </a:cubicBezTo>
                      <a:cubicBezTo>
                        <a:pt x="85" y="143"/>
                        <a:pt x="142" y="85"/>
                        <a:pt x="213" y="85"/>
                      </a:cubicBezTo>
                      <a:close/>
                    </a:path>
                  </a:pathLst>
                </a:custGeom>
                <a:solidFill>
                  <a:schemeClr val="accent4"/>
                </a:solidFill>
                <a:ln w="9525">
                  <a:solidFill>
                    <a:schemeClr val="accent4"/>
                  </a:solidFill>
                  <a:round/>
                  <a:headEnd/>
                  <a:tailEnd/>
                </a:ln>
              </p:spPr>
              <p:txBody>
                <a:bodyPr vert="horz" wrap="square" lIns="91404" tIns="45702" rIns="91404" bIns="45702" numCol="1" anchor="t" anchorCtr="0" compatLnSpc="1">
                  <a:prstTxWarp prst="textNoShape">
                    <a:avLst/>
                  </a:prstTxWarp>
                </a:bodyPr>
                <a:lstStyle/>
                <a:p>
                  <a:pPr marL="0" marR="0" lvl="0" indent="0" algn="l" defTabSz="91412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E4D4D">
                        <a:lumMod val="40000"/>
                        <a:lumOff val="60000"/>
                      </a:srgbClr>
                    </a:solidFill>
                    <a:effectLst/>
                    <a:uLnTx/>
                    <a:uFillTx/>
                    <a:latin typeface="Arial"/>
                    <a:ea typeface="MS PGothic" charset="0"/>
                    <a:cs typeface="+mn-cs"/>
                  </a:endParaRPr>
                </a:p>
              </p:txBody>
            </p:sp>
            <p:sp>
              <p:nvSpPr>
                <p:cNvPr id="133" name="Freeform 6">
                  <a:extLst>
                    <a:ext uri="{FF2B5EF4-FFF2-40B4-BE49-F238E27FC236}">
                      <a16:creationId xmlns:a16="http://schemas.microsoft.com/office/drawing/2014/main" id="{C75C490C-E438-4B50-83D9-08F4649AC24A}"/>
                    </a:ext>
                  </a:extLst>
                </p:cNvPr>
                <p:cNvSpPr>
                  <a:spLocks noEditPoints="1"/>
                </p:cNvSpPr>
                <p:nvPr/>
              </p:nvSpPr>
              <p:spPr bwMode="auto">
                <a:xfrm>
                  <a:off x="-5880972" y="2371725"/>
                  <a:ext cx="2911476" cy="5743575"/>
                </a:xfrm>
                <a:custGeom>
                  <a:avLst/>
                  <a:gdLst>
                    <a:gd name="T0" fmla="*/ 771 w 776"/>
                    <a:gd name="T1" fmla="*/ 703 h 1536"/>
                    <a:gd name="T2" fmla="*/ 715 w 776"/>
                    <a:gd name="T3" fmla="*/ 207 h 1536"/>
                    <a:gd name="T4" fmla="*/ 497 w 776"/>
                    <a:gd name="T5" fmla="*/ 0 h 1536"/>
                    <a:gd name="T6" fmla="*/ 279 w 776"/>
                    <a:gd name="T7" fmla="*/ 0 h 1536"/>
                    <a:gd name="T8" fmla="*/ 61 w 776"/>
                    <a:gd name="T9" fmla="*/ 207 h 1536"/>
                    <a:gd name="T10" fmla="*/ 5 w 776"/>
                    <a:gd name="T11" fmla="*/ 703 h 1536"/>
                    <a:gd name="T12" fmla="*/ 40 w 776"/>
                    <a:gd name="T13" fmla="*/ 816 h 1536"/>
                    <a:gd name="T14" fmla="*/ 128 w 776"/>
                    <a:gd name="T15" fmla="*/ 859 h 1536"/>
                    <a:gd name="T16" fmla="*/ 175 w 776"/>
                    <a:gd name="T17" fmla="*/ 1496 h 1536"/>
                    <a:gd name="T18" fmla="*/ 217 w 776"/>
                    <a:gd name="T19" fmla="*/ 1536 h 1536"/>
                    <a:gd name="T20" fmla="*/ 559 w 776"/>
                    <a:gd name="T21" fmla="*/ 1536 h 1536"/>
                    <a:gd name="T22" fmla="*/ 601 w 776"/>
                    <a:gd name="T23" fmla="*/ 1496 h 1536"/>
                    <a:gd name="T24" fmla="*/ 648 w 776"/>
                    <a:gd name="T25" fmla="*/ 859 h 1536"/>
                    <a:gd name="T26" fmla="*/ 736 w 776"/>
                    <a:gd name="T27" fmla="*/ 816 h 1536"/>
                    <a:gd name="T28" fmla="*/ 771 w 776"/>
                    <a:gd name="T29" fmla="*/ 703 h 1536"/>
                    <a:gd name="T30" fmla="*/ 672 w 776"/>
                    <a:gd name="T31" fmla="*/ 759 h 1536"/>
                    <a:gd name="T32" fmla="*/ 641 w 776"/>
                    <a:gd name="T33" fmla="*/ 774 h 1536"/>
                    <a:gd name="T34" fmla="*/ 609 w 776"/>
                    <a:gd name="T35" fmla="*/ 774 h 1536"/>
                    <a:gd name="T36" fmla="*/ 566 w 776"/>
                    <a:gd name="T37" fmla="*/ 813 h 1536"/>
                    <a:gd name="T38" fmla="*/ 519 w 776"/>
                    <a:gd name="T39" fmla="*/ 1451 h 1536"/>
                    <a:gd name="T40" fmla="*/ 257 w 776"/>
                    <a:gd name="T41" fmla="*/ 1451 h 1536"/>
                    <a:gd name="T42" fmla="*/ 210 w 776"/>
                    <a:gd name="T43" fmla="*/ 813 h 1536"/>
                    <a:gd name="T44" fmla="*/ 167 w 776"/>
                    <a:gd name="T45" fmla="*/ 774 h 1536"/>
                    <a:gd name="T46" fmla="*/ 135 w 776"/>
                    <a:gd name="T47" fmla="*/ 774 h 1536"/>
                    <a:gd name="T48" fmla="*/ 104 w 776"/>
                    <a:gd name="T49" fmla="*/ 759 h 1536"/>
                    <a:gd name="T50" fmla="*/ 90 w 776"/>
                    <a:gd name="T51" fmla="*/ 713 h 1536"/>
                    <a:gd name="T52" fmla="*/ 146 w 776"/>
                    <a:gd name="T53" fmla="*/ 217 h 1536"/>
                    <a:gd name="T54" fmla="*/ 279 w 776"/>
                    <a:gd name="T55" fmla="*/ 85 h 1536"/>
                    <a:gd name="T56" fmla="*/ 497 w 776"/>
                    <a:gd name="T57" fmla="*/ 85 h 1536"/>
                    <a:gd name="T58" fmla="*/ 630 w 776"/>
                    <a:gd name="T59" fmla="*/ 217 h 1536"/>
                    <a:gd name="T60" fmla="*/ 686 w 776"/>
                    <a:gd name="T61" fmla="*/ 713 h 1536"/>
                    <a:gd name="T62" fmla="*/ 672 w 776"/>
                    <a:gd name="T63" fmla="*/ 759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6" h="1536">
                      <a:moveTo>
                        <a:pt x="771" y="703"/>
                      </a:moveTo>
                      <a:cubicBezTo>
                        <a:pt x="715" y="207"/>
                        <a:pt x="715" y="207"/>
                        <a:pt x="715" y="207"/>
                      </a:cubicBezTo>
                      <a:cubicBezTo>
                        <a:pt x="701" y="89"/>
                        <a:pt x="608" y="0"/>
                        <a:pt x="497" y="0"/>
                      </a:cubicBezTo>
                      <a:cubicBezTo>
                        <a:pt x="279" y="0"/>
                        <a:pt x="279" y="0"/>
                        <a:pt x="279" y="0"/>
                      </a:cubicBezTo>
                      <a:cubicBezTo>
                        <a:pt x="168" y="0"/>
                        <a:pt x="75" y="89"/>
                        <a:pt x="61" y="207"/>
                      </a:cubicBezTo>
                      <a:cubicBezTo>
                        <a:pt x="5" y="703"/>
                        <a:pt x="5" y="703"/>
                        <a:pt x="5" y="703"/>
                      </a:cubicBezTo>
                      <a:cubicBezTo>
                        <a:pt x="0" y="744"/>
                        <a:pt x="13" y="786"/>
                        <a:pt x="40" y="816"/>
                      </a:cubicBezTo>
                      <a:cubicBezTo>
                        <a:pt x="63" y="842"/>
                        <a:pt x="94" y="857"/>
                        <a:pt x="128" y="859"/>
                      </a:cubicBezTo>
                      <a:cubicBezTo>
                        <a:pt x="175" y="1496"/>
                        <a:pt x="175" y="1496"/>
                        <a:pt x="175" y="1496"/>
                      </a:cubicBezTo>
                      <a:cubicBezTo>
                        <a:pt x="176" y="1519"/>
                        <a:pt x="195" y="1536"/>
                        <a:pt x="217" y="1536"/>
                      </a:cubicBezTo>
                      <a:cubicBezTo>
                        <a:pt x="559" y="1536"/>
                        <a:pt x="559" y="1536"/>
                        <a:pt x="559" y="1536"/>
                      </a:cubicBezTo>
                      <a:cubicBezTo>
                        <a:pt x="581" y="1536"/>
                        <a:pt x="600" y="1519"/>
                        <a:pt x="601" y="1496"/>
                      </a:cubicBezTo>
                      <a:cubicBezTo>
                        <a:pt x="648" y="859"/>
                        <a:pt x="648" y="859"/>
                        <a:pt x="648" y="859"/>
                      </a:cubicBezTo>
                      <a:cubicBezTo>
                        <a:pt x="682" y="857"/>
                        <a:pt x="713" y="842"/>
                        <a:pt x="736" y="816"/>
                      </a:cubicBezTo>
                      <a:cubicBezTo>
                        <a:pt x="763" y="785"/>
                        <a:pt x="776" y="744"/>
                        <a:pt x="771" y="703"/>
                      </a:cubicBezTo>
                      <a:close/>
                      <a:moveTo>
                        <a:pt x="672" y="759"/>
                      </a:moveTo>
                      <a:cubicBezTo>
                        <a:pt x="667" y="764"/>
                        <a:pt x="657" y="774"/>
                        <a:pt x="641" y="774"/>
                      </a:cubicBezTo>
                      <a:cubicBezTo>
                        <a:pt x="609" y="774"/>
                        <a:pt x="609" y="774"/>
                        <a:pt x="609" y="774"/>
                      </a:cubicBezTo>
                      <a:cubicBezTo>
                        <a:pt x="586" y="774"/>
                        <a:pt x="568" y="791"/>
                        <a:pt x="566" y="813"/>
                      </a:cubicBezTo>
                      <a:cubicBezTo>
                        <a:pt x="519" y="1451"/>
                        <a:pt x="519" y="1451"/>
                        <a:pt x="519" y="1451"/>
                      </a:cubicBezTo>
                      <a:cubicBezTo>
                        <a:pt x="257" y="1451"/>
                        <a:pt x="257" y="1451"/>
                        <a:pt x="257" y="1451"/>
                      </a:cubicBezTo>
                      <a:cubicBezTo>
                        <a:pt x="210" y="813"/>
                        <a:pt x="210" y="813"/>
                        <a:pt x="210" y="813"/>
                      </a:cubicBezTo>
                      <a:cubicBezTo>
                        <a:pt x="208" y="791"/>
                        <a:pt x="190" y="774"/>
                        <a:pt x="167" y="774"/>
                      </a:cubicBezTo>
                      <a:cubicBezTo>
                        <a:pt x="135" y="774"/>
                        <a:pt x="135" y="774"/>
                        <a:pt x="135" y="774"/>
                      </a:cubicBezTo>
                      <a:cubicBezTo>
                        <a:pt x="119" y="774"/>
                        <a:pt x="108" y="764"/>
                        <a:pt x="104" y="759"/>
                      </a:cubicBezTo>
                      <a:cubicBezTo>
                        <a:pt x="93" y="747"/>
                        <a:pt x="88" y="730"/>
                        <a:pt x="90" y="713"/>
                      </a:cubicBezTo>
                      <a:cubicBezTo>
                        <a:pt x="146" y="217"/>
                        <a:pt x="146" y="217"/>
                        <a:pt x="146" y="217"/>
                      </a:cubicBezTo>
                      <a:cubicBezTo>
                        <a:pt x="155" y="142"/>
                        <a:pt x="212" y="85"/>
                        <a:pt x="279" y="85"/>
                      </a:cubicBezTo>
                      <a:cubicBezTo>
                        <a:pt x="497" y="85"/>
                        <a:pt x="497" y="85"/>
                        <a:pt x="497" y="85"/>
                      </a:cubicBezTo>
                      <a:cubicBezTo>
                        <a:pt x="564" y="85"/>
                        <a:pt x="621" y="142"/>
                        <a:pt x="630" y="217"/>
                      </a:cubicBezTo>
                      <a:cubicBezTo>
                        <a:pt x="686" y="713"/>
                        <a:pt x="686" y="713"/>
                        <a:pt x="686" y="713"/>
                      </a:cubicBezTo>
                      <a:cubicBezTo>
                        <a:pt x="688" y="730"/>
                        <a:pt x="683" y="747"/>
                        <a:pt x="672" y="759"/>
                      </a:cubicBezTo>
                      <a:close/>
                    </a:path>
                  </a:pathLst>
                </a:custGeom>
                <a:solidFill>
                  <a:schemeClr val="accent4"/>
                </a:solidFill>
                <a:ln w="9525">
                  <a:solidFill>
                    <a:schemeClr val="accent4"/>
                  </a:solidFill>
                  <a:round/>
                  <a:headEnd/>
                  <a:tailEnd/>
                </a:ln>
              </p:spPr>
              <p:txBody>
                <a:bodyPr vert="horz" wrap="square" lIns="91404" tIns="45702" rIns="91404" bIns="45702" numCol="1" anchor="t" anchorCtr="0" compatLnSpc="1">
                  <a:prstTxWarp prst="textNoShape">
                    <a:avLst/>
                  </a:prstTxWarp>
                </a:bodyPr>
                <a:lstStyle/>
                <a:p>
                  <a:pPr marL="0" marR="0" lvl="0" indent="0" algn="l" defTabSz="91412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E4D4D">
                        <a:lumMod val="40000"/>
                        <a:lumOff val="60000"/>
                      </a:srgbClr>
                    </a:solidFill>
                    <a:effectLst/>
                    <a:uLnTx/>
                    <a:uFillTx/>
                    <a:latin typeface="Arial"/>
                    <a:ea typeface="MS PGothic" charset="0"/>
                    <a:cs typeface="+mn-cs"/>
                  </a:endParaRPr>
                </a:p>
              </p:txBody>
            </p:sp>
          </p:grpSp>
          <p:grpSp>
            <p:nvGrpSpPr>
              <p:cNvPr id="129" name="Group 128">
                <a:extLst>
                  <a:ext uri="{FF2B5EF4-FFF2-40B4-BE49-F238E27FC236}">
                    <a16:creationId xmlns:a16="http://schemas.microsoft.com/office/drawing/2014/main" id="{496AC260-DA46-4C6F-9911-AB339214FE92}"/>
                  </a:ext>
                </a:extLst>
              </p:cNvPr>
              <p:cNvGrpSpPr/>
              <p:nvPr/>
            </p:nvGrpSpPr>
            <p:grpSpPr>
              <a:xfrm>
                <a:off x="1525565" y="3102919"/>
                <a:ext cx="43964" cy="43964"/>
                <a:chOff x="1304925" y="2736056"/>
                <a:chExt cx="109537" cy="109537"/>
              </a:xfrm>
              <a:solidFill>
                <a:schemeClr val="bg2">
                  <a:lumMod val="40000"/>
                  <a:lumOff val="60000"/>
                </a:schemeClr>
              </a:solidFill>
            </p:grpSpPr>
            <p:cxnSp>
              <p:nvCxnSpPr>
                <p:cNvPr id="130" name="Straight Connector 129">
                  <a:extLst>
                    <a:ext uri="{FF2B5EF4-FFF2-40B4-BE49-F238E27FC236}">
                      <a16:creationId xmlns:a16="http://schemas.microsoft.com/office/drawing/2014/main" id="{5C164ADC-1681-4842-99FB-72BE3505D286}"/>
                    </a:ext>
                  </a:extLst>
                </p:cNvPr>
                <p:cNvCxnSpPr/>
                <p:nvPr/>
              </p:nvCxnSpPr>
              <p:spPr>
                <a:xfrm>
                  <a:off x="1304925" y="2736056"/>
                  <a:ext cx="109537" cy="109537"/>
                </a:xfrm>
                <a:prstGeom prst="line">
                  <a:avLst/>
                </a:prstGeom>
                <a:grpFill/>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A6F1853-BD37-4124-A613-CE95CF19815F}"/>
                    </a:ext>
                  </a:extLst>
                </p:cNvPr>
                <p:cNvCxnSpPr/>
                <p:nvPr/>
              </p:nvCxnSpPr>
              <p:spPr>
                <a:xfrm flipH="1">
                  <a:off x="1304925" y="2736056"/>
                  <a:ext cx="109537" cy="109537"/>
                </a:xfrm>
                <a:prstGeom prst="line">
                  <a:avLst/>
                </a:prstGeom>
                <a:grpFill/>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grpSp>
        <p:sp>
          <p:nvSpPr>
            <p:cNvPr id="117" name="Rectangle 116">
              <a:extLst>
                <a:ext uri="{FF2B5EF4-FFF2-40B4-BE49-F238E27FC236}">
                  <a16:creationId xmlns:a16="http://schemas.microsoft.com/office/drawing/2014/main" id="{A4001745-2144-4D6F-B530-DA391DBEE576}"/>
                </a:ext>
              </a:extLst>
            </p:cNvPr>
            <p:cNvSpPr/>
            <p:nvPr/>
          </p:nvSpPr>
          <p:spPr>
            <a:xfrm>
              <a:off x="1180661" y="3444133"/>
              <a:ext cx="1624161" cy="458587"/>
            </a:xfrm>
            <a:prstGeom prst="rect">
              <a:avLst/>
            </a:prstGeom>
          </p:spPr>
          <p:txBody>
            <a:bodyPr wrap="square">
              <a:spAutoFit/>
            </a:bodyPr>
            <a:lstStyle/>
            <a:p>
              <a:pPr marL="0" marR="0" lvl="0" indent="0" algn="ctr" defTabSz="914195"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4F8A"/>
                  </a:solidFill>
                  <a:effectLst/>
                  <a:uLnTx/>
                  <a:uFillTx/>
                  <a:latin typeface="Arial"/>
                  <a:ea typeface="MS PGothic" charset="0"/>
                  <a:cs typeface="+mn-cs"/>
                </a:rPr>
                <a:t>Worsening HF</a:t>
              </a:r>
              <a:br>
                <a:rPr kumimoji="0" lang="en-US" sz="1400" b="1" i="0" u="none" strike="noStrike" kern="1200" cap="none" spc="0" normalizeH="0" baseline="0" noProof="0">
                  <a:ln>
                    <a:noFill/>
                  </a:ln>
                  <a:solidFill>
                    <a:srgbClr val="704F8A"/>
                  </a:solidFill>
                  <a:effectLst/>
                  <a:uLnTx/>
                  <a:uFillTx/>
                  <a:latin typeface="Arial"/>
                  <a:ea typeface="MS PGothic" charset="0"/>
                  <a:cs typeface="+mn-cs"/>
                </a:rPr>
              </a:br>
              <a:r>
                <a:rPr kumimoji="0" lang="en-US" sz="1400" b="1" i="0" u="none" strike="noStrike" kern="1200" cap="none" spc="0" normalizeH="0" baseline="0" noProof="0">
                  <a:ln>
                    <a:noFill/>
                  </a:ln>
                  <a:solidFill>
                    <a:srgbClr val="704F8A"/>
                  </a:solidFill>
                  <a:effectLst/>
                  <a:uLnTx/>
                  <a:uFillTx/>
                  <a:latin typeface="Arial"/>
                  <a:ea typeface="MS PGothic" charset="0"/>
                  <a:cs typeface="+mn-cs"/>
                </a:rPr>
                <a:t>event</a:t>
              </a:r>
            </a:p>
          </p:txBody>
        </p:sp>
        <p:grpSp>
          <p:nvGrpSpPr>
            <p:cNvPr id="119" name="Group 118">
              <a:extLst>
                <a:ext uri="{FF2B5EF4-FFF2-40B4-BE49-F238E27FC236}">
                  <a16:creationId xmlns:a16="http://schemas.microsoft.com/office/drawing/2014/main" id="{C20335DC-EFAE-439B-B528-9C3C40758A4C}"/>
                </a:ext>
              </a:extLst>
            </p:cNvPr>
            <p:cNvGrpSpPr/>
            <p:nvPr/>
          </p:nvGrpSpPr>
          <p:grpSpPr>
            <a:xfrm>
              <a:off x="1937381" y="2881467"/>
              <a:ext cx="476523" cy="476523"/>
              <a:chOff x="1937381" y="2881467"/>
              <a:chExt cx="476523" cy="476523"/>
            </a:xfrm>
          </p:grpSpPr>
          <p:sp>
            <p:nvSpPr>
              <p:cNvPr id="120" name="Oval 119">
                <a:extLst>
                  <a:ext uri="{FF2B5EF4-FFF2-40B4-BE49-F238E27FC236}">
                    <a16:creationId xmlns:a16="http://schemas.microsoft.com/office/drawing/2014/main" id="{4D57C777-B975-4ED2-B786-B4CED9F16479}"/>
                  </a:ext>
                </a:extLst>
              </p:cNvPr>
              <p:cNvSpPr/>
              <p:nvPr/>
            </p:nvSpPr>
            <p:spPr>
              <a:xfrm>
                <a:off x="1937381" y="2881467"/>
                <a:ext cx="476523" cy="47652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121" name="Freeform: Shape 120">
                <a:extLst>
                  <a:ext uri="{FF2B5EF4-FFF2-40B4-BE49-F238E27FC236}">
                    <a16:creationId xmlns:a16="http://schemas.microsoft.com/office/drawing/2014/main" id="{79334DCF-41D2-4EEB-85DF-AD631E8554D3}"/>
                  </a:ext>
                </a:extLst>
              </p:cNvPr>
              <p:cNvSpPr/>
              <p:nvPr/>
            </p:nvSpPr>
            <p:spPr>
              <a:xfrm>
                <a:off x="2090029" y="3089517"/>
                <a:ext cx="168169" cy="211802"/>
              </a:xfrm>
              <a:custGeom>
                <a:avLst/>
                <a:gdLst>
                  <a:gd name="connsiteX0" fmla="*/ 222778 w 877918"/>
                  <a:gd name="connsiteY0" fmla="*/ 511174 h 1105703"/>
                  <a:gd name="connsiteX1" fmla="*/ 400189 w 877918"/>
                  <a:gd name="connsiteY1" fmla="*/ 363245 h 1105703"/>
                  <a:gd name="connsiteX2" fmla="*/ 408764 w 877918"/>
                  <a:gd name="connsiteY2" fmla="*/ 332488 h 1105703"/>
                  <a:gd name="connsiteX3" fmla="*/ 408767 w 877918"/>
                  <a:gd name="connsiteY3" fmla="*/ 282760 h 1105703"/>
                  <a:gd name="connsiteX4" fmla="*/ 613080 w 877918"/>
                  <a:gd name="connsiteY4" fmla="*/ 179778 h 1105703"/>
                  <a:gd name="connsiteX5" fmla="*/ 726753 w 877918"/>
                  <a:gd name="connsiteY5" fmla="*/ 185394 h 1105703"/>
                  <a:gd name="connsiteX6" fmla="*/ 751506 w 877918"/>
                  <a:gd name="connsiteY6" fmla="*/ 201489 h 1105703"/>
                  <a:gd name="connsiteX7" fmla="*/ 767532 w 877918"/>
                  <a:gd name="connsiteY7" fmla="*/ 252859 h 1105703"/>
                  <a:gd name="connsiteX8" fmla="*/ 760510 w 877918"/>
                  <a:gd name="connsiteY8" fmla="*/ 302453 h 1105703"/>
                  <a:gd name="connsiteX9" fmla="*/ 736855 w 877918"/>
                  <a:gd name="connsiteY9" fmla="*/ 332406 h 1105703"/>
                  <a:gd name="connsiteX10" fmla="*/ 682103 w 877918"/>
                  <a:gd name="connsiteY10" fmla="*/ 337144 h 1105703"/>
                  <a:gd name="connsiteX11" fmla="*/ 636097 w 877918"/>
                  <a:gd name="connsiteY11" fmla="*/ 343428 h 1105703"/>
                  <a:gd name="connsiteX12" fmla="*/ 635664 w 877918"/>
                  <a:gd name="connsiteY12" fmla="*/ 388805 h 1105703"/>
                  <a:gd name="connsiteX13" fmla="*/ 661777 w 877918"/>
                  <a:gd name="connsiteY13" fmla="*/ 430385 h 1105703"/>
                  <a:gd name="connsiteX14" fmla="*/ 876131 w 877918"/>
                  <a:gd name="connsiteY14" fmla="*/ 709154 h 1105703"/>
                  <a:gd name="connsiteX15" fmla="*/ 878426 w 877918"/>
                  <a:gd name="connsiteY15" fmla="*/ 770373 h 1105703"/>
                  <a:gd name="connsiteX16" fmla="*/ 875279 w 877918"/>
                  <a:gd name="connsiteY16" fmla="*/ 884875 h 1105703"/>
                  <a:gd name="connsiteX17" fmla="*/ 841159 w 877918"/>
                  <a:gd name="connsiteY17" fmla="*/ 1037584 h 1105703"/>
                  <a:gd name="connsiteX18" fmla="*/ 820062 w 877918"/>
                  <a:gd name="connsiteY18" fmla="*/ 1075550 h 1105703"/>
                  <a:gd name="connsiteX19" fmla="*/ 724459 w 877918"/>
                  <a:gd name="connsiteY19" fmla="*/ 1104614 h 1105703"/>
                  <a:gd name="connsiteX20" fmla="*/ 616913 w 877918"/>
                  <a:gd name="connsiteY20" fmla="*/ 1088248 h 1105703"/>
                  <a:gd name="connsiteX21" fmla="*/ 259856 w 877918"/>
                  <a:gd name="connsiteY21" fmla="*/ 933771 h 1105703"/>
                  <a:gd name="connsiteX22" fmla="*/ 189007 w 877918"/>
                  <a:gd name="connsiteY22" fmla="*/ 858964 h 1105703"/>
                  <a:gd name="connsiteX23" fmla="*/ 161520 w 877918"/>
                  <a:gd name="connsiteY23" fmla="*/ 820335 h 1105703"/>
                  <a:gd name="connsiteX24" fmla="*/ 121465 w 877918"/>
                  <a:gd name="connsiteY24" fmla="*/ 789009 h 1105703"/>
                  <a:gd name="connsiteX25" fmla="*/ 41348 w 877918"/>
                  <a:gd name="connsiteY25" fmla="*/ 369068 h 1105703"/>
                  <a:gd name="connsiteX26" fmla="*/ 52303 w 877918"/>
                  <a:gd name="connsiteY26" fmla="*/ 313194 h 1105703"/>
                  <a:gd name="connsiteX27" fmla="*/ 45766 w 877918"/>
                  <a:gd name="connsiteY27" fmla="*/ 260318 h 1105703"/>
                  <a:gd name="connsiteX28" fmla="*/ 39511 w 877918"/>
                  <a:gd name="connsiteY28" fmla="*/ 209234 h 1105703"/>
                  <a:gd name="connsiteX29" fmla="*/ 11907 w 877918"/>
                  <a:gd name="connsiteY29" fmla="*/ 117317 h 1105703"/>
                  <a:gd name="connsiteX30" fmla="*/ 907 w 877918"/>
                  <a:gd name="connsiteY30" fmla="*/ 70014 h 1105703"/>
                  <a:gd name="connsiteX31" fmla="*/ 6623 w 877918"/>
                  <a:gd name="connsiteY31" fmla="*/ 26177 h 1105703"/>
                  <a:gd name="connsiteX32" fmla="*/ 42138 w 877918"/>
                  <a:gd name="connsiteY32" fmla="*/ 3359 h 1105703"/>
                  <a:gd name="connsiteX33" fmla="*/ 98369 w 877918"/>
                  <a:gd name="connsiteY33" fmla="*/ 75 h 1105703"/>
                  <a:gd name="connsiteX34" fmla="*/ 150058 w 877918"/>
                  <a:gd name="connsiteY34" fmla="*/ 4702 h 1105703"/>
                  <a:gd name="connsiteX35" fmla="*/ 175935 w 877918"/>
                  <a:gd name="connsiteY35" fmla="*/ 33509 h 1105703"/>
                  <a:gd name="connsiteX36" fmla="*/ 175686 w 877918"/>
                  <a:gd name="connsiteY36" fmla="*/ 82163 h 1105703"/>
                  <a:gd name="connsiteX37" fmla="*/ 168044 w 877918"/>
                  <a:gd name="connsiteY37" fmla="*/ 142449 h 1105703"/>
                  <a:gd name="connsiteX38" fmla="*/ 162463 w 877918"/>
                  <a:gd name="connsiteY38" fmla="*/ 251774 h 1105703"/>
                  <a:gd name="connsiteX39" fmla="*/ 174159 w 877918"/>
                  <a:gd name="connsiteY39" fmla="*/ 303871 h 1105703"/>
                  <a:gd name="connsiteX40" fmla="*/ 201838 w 877918"/>
                  <a:gd name="connsiteY40" fmla="*/ 346063 h 1105703"/>
                  <a:gd name="connsiteX41" fmla="*/ 217830 w 877918"/>
                  <a:gd name="connsiteY41" fmla="*/ 362492 h 1105703"/>
                  <a:gd name="connsiteX42" fmla="*/ 235400 w 877918"/>
                  <a:gd name="connsiteY42" fmla="*/ 371934 h 1105703"/>
                  <a:gd name="connsiteX43" fmla="*/ 248974 w 877918"/>
                  <a:gd name="connsiteY43" fmla="*/ 413542 h 1105703"/>
                  <a:gd name="connsiteX44" fmla="*/ 229730 w 877918"/>
                  <a:gd name="connsiteY44" fmla="*/ 461133 h 1105703"/>
                  <a:gd name="connsiteX45" fmla="*/ 222916 w 877918"/>
                  <a:gd name="connsiteY45" fmla="*/ 485836 h 1105703"/>
                  <a:gd name="connsiteX46" fmla="*/ 222778 w 877918"/>
                  <a:gd name="connsiteY46" fmla="*/ 511174 h 110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7918" h="1105703">
                    <a:moveTo>
                      <a:pt x="222778" y="511174"/>
                    </a:moveTo>
                    <a:cubicBezTo>
                      <a:pt x="276503" y="414951"/>
                      <a:pt x="394749" y="365568"/>
                      <a:pt x="400189" y="363245"/>
                    </a:cubicBezTo>
                    <a:cubicBezTo>
                      <a:pt x="413533" y="357547"/>
                      <a:pt x="410075" y="344521"/>
                      <a:pt x="408764" y="332488"/>
                    </a:cubicBezTo>
                    <a:cubicBezTo>
                      <a:pt x="406986" y="316166"/>
                      <a:pt x="404371" y="298846"/>
                      <a:pt x="408767" y="282760"/>
                    </a:cubicBezTo>
                    <a:cubicBezTo>
                      <a:pt x="411004" y="274574"/>
                      <a:pt x="434291" y="183607"/>
                      <a:pt x="613080" y="179778"/>
                    </a:cubicBezTo>
                    <a:cubicBezTo>
                      <a:pt x="651056" y="178975"/>
                      <a:pt x="689041" y="180852"/>
                      <a:pt x="726753" y="185394"/>
                    </a:cubicBezTo>
                    <a:cubicBezTo>
                      <a:pt x="737877" y="186745"/>
                      <a:pt x="746375" y="191317"/>
                      <a:pt x="751506" y="201489"/>
                    </a:cubicBezTo>
                    <a:cubicBezTo>
                      <a:pt x="759005" y="216355"/>
                      <a:pt x="764973" y="236431"/>
                      <a:pt x="767532" y="252859"/>
                    </a:cubicBezTo>
                    <a:cubicBezTo>
                      <a:pt x="770260" y="270370"/>
                      <a:pt x="766793" y="286116"/>
                      <a:pt x="760510" y="302453"/>
                    </a:cubicBezTo>
                    <a:cubicBezTo>
                      <a:pt x="755428" y="315666"/>
                      <a:pt x="752535" y="329034"/>
                      <a:pt x="736855" y="332406"/>
                    </a:cubicBezTo>
                    <a:cubicBezTo>
                      <a:pt x="719679" y="336100"/>
                      <a:pt x="699713" y="336555"/>
                      <a:pt x="682103" y="337144"/>
                    </a:cubicBezTo>
                    <a:cubicBezTo>
                      <a:pt x="669841" y="337554"/>
                      <a:pt x="643891" y="330108"/>
                      <a:pt x="636097" y="343428"/>
                    </a:cubicBezTo>
                    <a:cubicBezTo>
                      <a:pt x="629066" y="355444"/>
                      <a:pt x="631832" y="376354"/>
                      <a:pt x="635664" y="388805"/>
                    </a:cubicBezTo>
                    <a:cubicBezTo>
                      <a:pt x="640489" y="404479"/>
                      <a:pt x="648248" y="421437"/>
                      <a:pt x="661777" y="430385"/>
                    </a:cubicBezTo>
                    <a:cubicBezTo>
                      <a:pt x="847546" y="553259"/>
                      <a:pt x="874997" y="693461"/>
                      <a:pt x="876131" y="709154"/>
                    </a:cubicBezTo>
                    <a:cubicBezTo>
                      <a:pt x="877600" y="729465"/>
                      <a:pt x="878084" y="750011"/>
                      <a:pt x="878426" y="770373"/>
                    </a:cubicBezTo>
                    <a:cubicBezTo>
                      <a:pt x="879066" y="808476"/>
                      <a:pt x="878513" y="846913"/>
                      <a:pt x="875279" y="884875"/>
                    </a:cubicBezTo>
                    <a:cubicBezTo>
                      <a:pt x="866528" y="987576"/>
                      <a:pt x="844348" y="1029466"/>
                      <a:pt x="841159" y="1037584"/>
                    </a:cubicBezTo>
                    <a:cubicBezTo>
                      <a:pt x="835290" y="1052524"/>
                      <a:pt x="831802" y="1064232"/>
                      <a:pt x="820062" y="1075550"/>
                    </a:cubicBezTo>
                    <a:cubicBezTo>
                      <a:pt x="794254" y="1100432"/>
                      <a:pt x="759843" y="1111218"/>
                      <a:pt x="724459" y="1104614"/>
                    </a:cubicBezTo>
                    <a:cubicBezTo>
                      <a:pt x="689090" y="1098013"/>
                      <a:pt x="651476" y="1098483"/>
                      <a:pt x="616913" y="1088248"/>
                    </a:cubicBezTo>
                    <a:cubicBezTo>
                      <a:pt x="599990" y="1083237"/>
                      <a:pt x="451296" y="1062713"/>
                      <a:pt x="259856" y="933771"/>
                    </a:cubicBezTo>
                    <a:cubicBezTo>
                      <a:pt x="231657" y="914778"/>
                      <a:pt x="207967" y="887323"/>
                      <a:pt x="189007" y="858964"/>
                    </a:cubicBezTo>
                    <a:cubicBezTo>
                      <a:pt x="180108" y="845654"/>
                      <a:pt x="172689" y="831991"/>
                      <a:pt x="161520" y="820335"/>
                    </a:cubicBezTo>
                    <a:cubicBezTo>
                      <a:pt x="149536" y="807828"/>
                      <a:pt x="133873" y="800899"/>
                      <a:pt x="121465" y="789009"/>
                    </a:cubicBezTo>
                    <a:cubicBezTo>
                      <a:pt x="-49751" y="624940"/>
                      <a:pt x="40089" y="384101"/>
                      <a:pt x="41348" y="369068"/>
                    </a:cubicBezTo>
                    <a:cubicBezTo>
                      <a:pt x="42964" y="349784"/>
                      <a:pt x="49345" y="332082"/>
                      <a:pt x="52303" y="313194"/>
                    </a:cubicBezTo>
                    <a:cubicBezTo>
                      <a:pt x="55204" y="294669"/>
                      <a:pt x="49834" y="278129"/>
                      <a:pt x="45766" y="260318"/>
                    </a:cubicBezTo>
                    <a:cubicBezTo>
                      <a:pt x="41909" y="243436"/>
                      <a:pt x="42790" y="226093"/>
                      <a:pt x="39511" y="209234"/>
                    </a:cubicBezTo>
                    <a:cubicBezTo>
                      <a:pt x="36543" y="193976"/>
                      <a:pt x="19842" y="134759"/>
                      <a:pt x="11907" y="117317"/>
                    </a:cubicBezTo>
                    <a:cubicBezTo>
                      <a:pt x="4837" y="101774"/>
                      <a:pt x="1641" y="87220"/>
                      <a:pt x="907" y="70014"/>
                    </a:cubicBezTo>
                    <a:cubicBezTo>
                      <a:pt x="285" y="55449"/>
                      <a:pt x="-2568" y="38605"/>
                      <a:pt x="6623" y="26177"/>
                    </a:cubicBezTo>
                    <a:cubicBezTo>
                      <a:pt x="15934" y="13585"/>
                      <a:pt x="26502" y="4902"/>
                      <a:pt x="42138" y="3359"/>
                    </a:cubicBezTo>
                    <a:cubicBezTo>
                      <a:pt x="60889" y="1509"/>
                      <a:pt x="79473" y="-406"/>
                      <a:pt x="98369" y="75"/>
                    </a:cubicBezTo>
                    <a:cubicBezTo>
                      <a:pt x="114691" y="490"/>
                      <a:pt x="134437" y="126"/>
                      <a:pt x="150058" y="4702"/>
                    </a:cubicBezTo>
                    <a:cubicBezTo>
                      <a:pt x="163081" y="8518"/>
                      <a:pt x="171447" y="21245"/>
                      <a:pt x="175935" y="33509"/>
                    </a:cubicBezTo>
                    <a:cubicBezTo>
                      <a:pt x="181571" y="48911"/>
                      <a:pt x="177613" y="66408"/>
                      <a:pt x="175686" y="82163"/>
                    </a:cubicBezTo>
                    <a:cubicBezTo>
                      <a:pt x="173227" y="102269"/>
                      <a:pt x="170548" y="122349"/>
                      <a:pt x="168044" y="142449"/>
                    </a:cubicBezTo>
                    <a:cubicBezTo>
                      <a:pt x="163554" y="178482"/>
                      <a:pt x="157121" y="215533"/>
                      <a:pt x="162463" y="251774"/>
                    </a:cubicBezTo>
                    <a:cubicBezTo>
                      <a:pt x="164958" y="268697"/>
                      <a:pt x="166928" y="288283"/>
                      <a:pt x="174159" y="303871"/>
                    </a:cubicBezTo>
                    <a:cubicBezTo>
                      <a:pt x="181355" y="319167"/>
                      <a:pt x="190673" y="333371"/>
                      <a:pt x="201838" y="346063"/>
                    </a:cubicBezTo>
                    <a:cubicBezTo>
                      <a:pt x="206816" y="351874"/>
                      <a:pt x="211588" y="357954"/>
                      <a:pt x="217830" y="362492"/>
                    </a:cubicBezTo>
                    <a:cubicBezTo>
                      <a:pt x="223311" y="366478"/>
                      <a:pt x="229808" y="368221"/>
                      <a:pt x="235400" y="371934"/>
                    </a:cubicBezTo>
                    <a:cubicBezTo>
                      <a:pt x="250725" y="382111"/>
                      <a:pt x="257113" y="396965"/>
                      <a:pt x="248974" y="413542"/>
                    </a:cubicBezTo>
                    <a:cubicBezTo>
                      <a:pt x="241226" y="428833"/>
                      <a:pt x="234788" y="444754"/>
                      <a:pt x="229730" y="461133"/>
                    </a:cubicBezTo>
                    <a:cubicBezTo>
                      <a:pt x="227294" y="469257"/>
                      <a:pt x="224580" y="477522"/>
                      <a:pt x="222916" y="485836"/>
                    </a:cubicBezTo>
                    <a:cubicBezTo>
                      <a:pt x="221800" y="491410"/>
                      <a:pt x="218212" y="507455"/>
                      <a:pt x="222778" y="511174"/>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22" name="Freeform: Shape 121">
                <a:extLst>
                  <a:ext uri="{FF2B5EF4-FFF2-40B4-BE49-F238E27FC236}">
                    <a16:creationId xmlns:a16="http://schemas.microsoft.com/office/drawing/2014/main" id="{2D85E3B6-2789-4FC1-9392-9801645DC715}"/>
                  </a:ext>
                </a:extLst>
              </p:cNvPr>
              <p:cNvSpPr/>
              <p:nvPr/>
            </p:nvSpPr>
            <p:spPr>
              <a:xfrm>
                <a:off x="2130359" y="3070598"/>
                <a:ext cx="73858" cy="78858"/>
              </a:xfrm>
              <a:custGeom>
                <a:avLst/>
                <a:gdLst>
                  <a:gd name="connsiteX0" fmla="*/ 82524 w 385572"/>
                  <a:gd name="connsiteY0" fmla="*/ 411796 h 411672"/>
                  <a:gd name="connsiteX1" fmla="*/ 20544 w 385572"/>
                  <a:gd name="connsiteY1" fmla="*/ 390877 h 411672"/>
                  <a:gd name="connsiteX2" fmla="*/ 10144 w 385572"/>
                  <a:gd name="connsiteY2" fmla="*/ 353817 h 411672"/>
                  <a:gd name="connsiteX3" fmla="*/ 845 w 385572"/>
                  <a:gd name="connsiteY3" fmla="*/ 310065 h 411672"/>
                  <a:gd name="connsiteX4" fmla="*/ 10257 w 385572"/>
                  <a:gd name="connsiteY4" fmla="*/ 226208 h 411672"/>
                  <a:gd name="connsiteX5" fmla="*/ 40548 w 385572"/>
                  <a:gd name="connsiteY5" fmla="*/ 158367 h 411672"/>
                  <a:gd name="connsiteX6" fmla="*/ 60597 w 385572"/>
                  <a:gd name="connsiteY6" fmla="*/ 129069 h 411672"/>
                  <a:gd name="connsiteX7" fmla="*/ 46556 w 385572"/>
                  <a:gd name="connsiteY7" fmla="*/ 91281 h 411672"/>
                  <a:gd name="connsiteX8" fmla="*/ 42754 w 385572"/>
                  <a:gd name="connsiteY8" fmla="*/ 31478 h 411672"/>
                  <a:gd name="connsiteX9" fmla="*/ 158096 w 385572"/>
                  <a:gd name="connsiteY9" fmla="*/ 31705 h 411672"/>
                  <a:gd name="connsiteX10" fmla="*/ 163918 w 385572"/>
                  <a:gd name="connsiteY10" fmla="*/ 66448 h 411672"/>
                  <a:gd name="connsiteX11" fmla="*/ 188364 w 385572"/>
                  <a:gd name="connsiteY11" fmla="*/ 74285 h 411672"/>
                  <a:gd name="connsiteX12" fmla="*/ 228857 w 385572"/>
                  <a:gd name="connsiteY12" fmla="*/ 74904 h 411672"/>
                  <a:gd name="connsiteX13" fmla="*/ 251718 w 385572"/>
                  <a:gd name="connsiteY13" fmla="*/ 66417 h 411672"/>
                  <a:gd name="connsiteX14" fmla="*/ 270042 w 385572"/>
                  <a:gd name="connsiteY14" fmla="*/ 38651 h 411672"/>
                  <a:gd name="connsiteX15" fmla="*/ 291243 w 385572"/>
                  <a:gd name="connsiteY15" fmla="*/ 14704 h 411672"/>
                  <a:gd name="connsiteX16" fmla="*/ 350480 w 385572"/>
                  <a:gd name="connsiteY16" fmla="*/ 32879 h 411672"/>
                  <a:gd name="connsiteX17" fmla="*/ 385704 w 385572"/>
                  <a:gd name="connsiteY17" fmla="*/ 84836 h 411672"/>
                  <a:gd name="connsiteX18" fmla="*/ 372488 w 385572"/>
                  <a:gd name="connsiteY18" fmla="*/ 109652 h 411672"/>
                  <a:gd name="connsiteX19" fmla="*/ 352762 w 385572"/>
                  <a:gd name="connsiteY19" fmla="*/ 139420 h 411672"/>
                  <a:gd name="connsiteX20" fmla="*/ 381946 w 385572"/>
                  <a:gd name="connsiteY20" fmla="*/ 200782 h 411672"/>
                  <a:gd name="connsiteX21" fmla="*/ 356187 w 385572"/>
                  <a:gd name="connsiteY21" fmla="*/ 209619 h 411672"/>
                  <a:gd name="connsiteX22" fmla="*/ 310872 w 385572"/>
                  <a:gd name="connsiteY22" fmla="*/ 210789 h 411672"/>
                  <a:gd name="connsiteX23" fmla="*/ 168818 w 385572"/>
                  <a:gd name="connsiteY23" fmla="*/ 299378 h 411672"/>
                  <a:gd name="connsiteX24" fmla="*/ 151177 w 385572"/>
                  <a:gd name="connsiteY24" fmla="*/ 389161 h 411672"/>
                  <a:gd name="connsiteX25" fmla="*/ 123817 w 385572"/>
                  <a:gd name="connsiteY25" fmla="*/ 409319 h 411672"/>
                  <a:gd name="connsiteX26" fmla="*/ 82524 w 385572"/>
                  <a:gd name="connsiteY26" fmla="*/ 411796 h 41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5572" h="411672">
                    <a:moveTo>
                      <a:pt x="82524" y="411796"/>
                    </a:moveTo>
                    <a:cubicBezTo>
                      <a:pt x="60100" y="410801"/>
                      <a:pt x="32131" y="414802"/>
                      <a:pt x="20544" y="390877"/>
                    </a:cubicBezTo>
                    <a:cubicBezTo>
                      <a:pt x="15029" y="379488"/>
                      <a:pt x="12993" y="366049"/>
                      <a:pt x="10144" y="353817"/>
                    </a:cubicBezTo>
                    <a:cubicBezTo>
                      <a:pt x="6764" y="339306"/>
                      <a:pt x="2562" y="324903"/>
                      <a:pt x="845" y="310065"/>
                    </a:cubicBezTo>
                    <a:cubicBezTo>
                      <a:pt x="-2369" y="282300"/>
                      <a:pt x="4198" y="253187"/>
                      <a:pt x="10257" y="226208"/>
                    </a:cubicBezTo>
                    <a:cubicBezTo>
                      <a:pt x="15856" y="201275"/>
                      <a:pt x="25992" y="179499"/>
                      <a:pt x="40548" y="158367"/>
                    </a:cubicBezTo>
                    <a:cubicBezTo>
                      <a:pt x="46919" y="149117"/>
                      <a:pt x="58936" y="140737"/>
                      <a:pt x="60597" y="129069"/>
                    </a:cubicBezTo>
                    <a:cubicBezTo>
                      <a:pt x="62427" y="116208"/>
                      <a:pt x="52237" y="102101"/>
                      <a:pt x="46556" y="91281"/>
                    </a:cubicBezTo>
                    <a:cubicBezTo>
                      <a:pt x="36244" y="71641"/>
                      <a:pt x="23630" y="50602"/>
                      <a:pt x="42754" y="31478"/>
                    </a:cubicBezTo>
                    <a:cubicBezTo>
                      <a:pt x="68615" y="5618"/>
                      <a:pt x="148891" y="-24162"/>
                      <a:pt x="158096" y="31705"/>
                    </a:cubicBezTo>
                    <a:cubicBezTo>
                      <a:pt x="159880" y="42533"/>
                      <a:pt x="158444" y="56615"/>
                      <a:pt x="163918" y="66448"/>
                    </a:cubicBezTo>
                    <a:cubicBezTo>
                      <a:pt x="169086" y="75730"/>
                      <a:pt x="179180" y="74618"/>
                      <a:pt x="188364" y="74285"/>
                    </a:cubicBezTo>
                    <a:cubicBezTo>
                      <a:pt x="201915" y="73793"/>
                      <a:pt x="215322" y="74327"/>
                      <a:pt x="228857" y="74904"/>
                    </a:cubicBezTo>
                    <a:cubicBezTo>
                      <a:pt x="238207" y="75303"/>
                      <a:pt x="246191" y="74904"/>
                      <a:pt x="251718" y="66417"/>
                    </a:cubicBezTo>
                    <a:cubicBezTo>
                      <a:pt x="258036" y="56716"/>
                      <a:pt x="262457" y="47676"/>
                      <a:pt x="270042" y="38651"/>
                    </a:cubicBezTo>
                    <a:cubicBezTo>
                      <a:pt x="277029" y="30337"/>
                      <a:pt x="280997" y="19801"/>
                      <a:pt x="291243" y="14704"/>
                    </a:cubicBezTo>
                    <a:cubicBezTo>
                      <a:pt x="311125" y="4813"/>
                      <a:pt x="335250" y="20908"/>
                      <a:pt x="350480" y="32879"/>
                    </a:cubicBezTo>
                    <a:cubicBezTo>
                      <a:pt x="366059" y="45124"/>
                      <a:pt x="386946" y="63102"/>
                      <a:pt x="385704" y="84836"/>
                    </a:cubicBezTo>
                    <a:cubicBezTo>
                      <a:pt x="385103" y="95365"/>
                      <a:pt x="380068" y="102839"/>
                      <a:pt x="372488" y="109652"/>
                    </a:cubicBezTo>
                    <a:cubicBezTo>
                      <a:pt x="364865" y="116504"/>
                      <a:pt x="349991" y="127636"/>
                      <a:pt x="352762" y="139420"/>
                    </a:cubicBezTo>
                    <a:cubicBezTo>
                      <a:pt x="357355" y="158947"/>
                      <a:pt x="394407" y="176235"/>
                      <a:pt x="381946" y="200782"/>
                    </a:cubicBezTo>
                    <a:cubicBezTo>
                      <a:pt x="376998" y="210529"/>
                      <a:pt x="365466" y="209583"/>
                      <a:pt x="356187" y="209619"/>
                    </a:cubicBezTo>
                    <a:cubicBezTo>
                      <a:pt x="341113" y="209678"/>
                      <a:pt x="325909" y="209650"/>
                      <a:pt x="310872" y="210789"/>
                    </a:cubicBezTo>
                    <a:cubicBezTo>
                      <a:pt x="253562" y="215129"/>
                      <a:pt x="196671" y="248630"/>
                      <a:pt x="168818" y="299378"/>
                    </a:cubicBezTo>
                    <a:cubicBezTo>
                      <a:pt x="153559" y="327181"/>
                      <a:pt x="156056" y="358734"/>
                      <a:pt x="151177" y="389161"/>
                    </a:cubicBezTo>
                    <a:cubicBezTo>
                      <a:pt x="148612" y="405154"/>
                      <a:pt x="138445" y="407018"/>
                      <a:pt x="123817" y="409319"/>
                    </a:cubicBezTo>
                    <a:cubicBezTo>
                      <a:pt x="120600" y="409825"/>
                      <a:pt x="82506" y="412362"/>
                      <a:pt x="82524" y="411796"/>
                    </a:cubicBezTo>
                    <a:close/>
                  </a:path>
                </a:pathLst>
              </a:custGeom>
              <a:solidFill>
                <a:schemeClr val="bg1"/>
              </a:solidFill>
              <a:ln w="1180" cap="flat">
                <a:solidFill>
                  <a:schemeClr val="tx2">
                    <a:lumMod val="20000"/>
                    <a:lumOff val="80000"/>
                  </a:schemeClr>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25" name="Freeform: Shape 124">
                <a:extLst>
                  <a:ext uri="{FF2B5EF4-FFF2-40B4-BE49-F238E27FC236}">
                    <a16:creationId xmlns:a16="http://schemas.microsoft.com/office/drawing/2014/main" id="{2A2EF31F-4920-45D3-B2BB-1762AA32BEC7}"/>
                  </a:ext>
                </a:extLst>
              </p:cNvPr>
              <p:cNvSpPr/>
              <p:nvPr/>
            </p:nvSpPr>
            <p:spPr>
              <a:xfrm>
                <a:off x="2218544" y="2962501"/>
                <a:ext cx="78176" cy="126582"/>
              </a:xfrm>
              <a:custGeom>
                <a:avLst/>
                <a:gdLst>
                  <a:gd name="connsiteX0" fmla="*/ 252311 w 408113"/>
                  <a:gd name="connsiteY0" fmla="*/ 0 h 660811"/>
                  <a:gd name="connsiteX1" fmla="*/ 302318 w 408113"/>
                  <a:gd name="connsiteY1" fmla="*/ 3999 h 660811"/>
                  <a:gd name="connsiteX2" fmla="*/ 358900 w 408113"/>
                  <a:gd name="connsiteY2" fmla="*/ 17421 h 660811"/>
                  <a:gd name="connsiteX3" fmla="*/ 386091 w 408113"/>
                  <a:gd name="connsiteY3" fmla="*/ 22522 h 660811"/>
                  <a:gd name="connsiteX4" fmla="*/ 406642 w 408113"/>
                  <a:gd name="connsiteY4" fmla="*/ 34171 h 660811"/>
                  <a:gd name="connsiteX5" fmla="*/ 402267 w 408113"/>
                  <a:gd name="connsiteY5" fmla="*/ 59636 h 660811"/>
                  <a:gd name="connsiteX6" fmla="*/ 355057 w 408113"/>
                  <a:gd name="connsiteY6" fmla="*/ 115882 h 660811"/>
                  <a:gd name="connsiteX7" fmla="*/ 322261 w 408113"/>
                  <a:gd name="connsiteY7" fmla="*/ 157833 h 660811"/>
                  <a:gd name="connsiteX8" fmla="*/ 273746 w 408113"/>
                  <a:gd name="connsiteY8" fmla="*/ 215262 h 660811"/>
                  <a:gd name="connsiteX9" fmla="*/ 251829 w 408113"/>
                  <a:gd name="connsiteY9" fmla="*/ 243173 h 660811"/>
                  <a:gd name="connsiteX10" fmla="*/ 260247 w 408113"/>
                  <a:gd name="connsiteY10" fmla="*/ 263358 h 660811"/>
                  <a:gd name="connsiteX11" fmla="*/ 279068 w 408113"/>
                  <a:gd name="connsiteY11" fmla="*/ 264621 h 660811"/>
                  <a:gd name="connsiteX12" fmla="*/ 301067 w 408113"/>
                  <a:gd name="connsiteY12" fmla="*/ 268581 h 660811"/>
                  <a:gd name="connsiteX13" fmla="*/ 313745 w 408113"/>
                  <a:gd name="connsiteY13" fmla="*/ 293857 h 660811"/>
                  <a:gd name="connsiteX14" fmla="*/ 302918 w 408113"/>
                  <a:gd name="connsiteY14" fmla="*/ 313940 h 660811"/>
                  <a:gd name="connsiteX15" fmla="*/ 240941 w 408113"/>
                  <a:gd name="connsiteY15" fmla="*/ 385508 h 660811"/>
                  <a:gd name="connsiteX16" fmla="*/ 199368 w 408113"/>
                  <a:gd name="connsiteY16" fmla="*/ 436993 h 660811"/>
                  <a:gd name="connsiteX17" fmla="*/ 128098 w 408113"/>
                  <a:gd name="connsiteY17" fmla="*/ 522467 h 660811"/>
                  <a:gd name="connsiteX18" fmla="*/ 61132 w 408113"/>
                  <a:gd name="connsiteY18" fmla="*/ 604622 h 660811"/>
                  <a:gd name="connsiteX19" fmla="*/ 39996 w 408113"/>
                  <a:gd name="connsiteY19" fmla="*/ 630823 h 660811"/>
                  <a:gd name="connsiteX20" fmla="*/ 34524 w 408113"/>
                  <a:gd name="connsiteY20" fmla="*/ 636153 h 660811"/>
                  <a:gd name="connsiteX21" fmla="*/ 20419 w 408113"/>
                  <a:gd name="connsiteY21" fmla="*/ 651770 h 660811"/>
                  <a:gd name="connsiteX22" fmla="*/ 12570 w 408113"/>
                  <a:gd name="connsiteY22" fmla="*/ 659711 h 660811"/>
                  <a:gd name="connsiteX23" fmla="*/ 10 w 408113"/>
                  <a:gd name="connsiteY23" fmla="*/ 653035 h 660811"/>
                  <a:gd name="connsiteX24" fmla="*/ 7380 w 408113"/>
                  <a:gd name="connsiteY24" fmla="*/ 633585 h 660811"/>
                  <a:gd name="connsiteX25" fmla="*/ 17632 w 408113"/>
                  <a:gd name="connsiteY25" fmla="*/ 614523 h 660811"/>
                  <a:gd name="connsiteX26" fmla="*/ 24114 w 408113"/>
                  <a:gd name="connsiteY26" fmla="*/ 602028 h 660811"/>
                  <a:gd name="connsiteX27" fmla="*/ 36899 w 408113"/>
                  <a:gd name="connsiteY27" fmla="*/ 580169 h 660811"/>
                  <a:gd name="connsiteX28" fmla="*/ 149047 w 408113"/>
                  <a:gd name="connsiteY28" fmla="*/ 372949 h 660811"/>
                  <a:gd name="connsiteX29" fmla="*/ 151527 w 408113"/>
                  <a:gd name="connsiteY29" fmla="*/ 358110 h 660811"/>
                  <a:gd name="connsiteX30" fmla="*/ 138440 w 408113"/>
                  <a:gd name="connsiteY30" fmla="*/ 351606 h 660811"/>
                  <a:gd name="connsiteX31" fmla="*/ 99109 w 408113"/>
                  <a:gd name="connsiteY31" fmla="*/ 347871 h 660811"/>
                  <a:gd name="connsiteX32" fmla="*/ 75567 w 408113"/>
                  <a:gd name="connsiteY32" fmla="*/ 331241 h 660811"/>
                  <a:gd name="connsiteX33" fmla="*/ 72961 w 408113"/>
                  <a:gd name="connsiteY33" fmla="*/ 313539 h 660811"/>
                  <a:gd name="connsiteX34" fmla="*/ 84295 w 408113"/>
                  <a:gd name="connsiteY34" fmla="*/ 289513 h 660811"/>
                  <a:gd name="connsiteX35" fmla="*/ 99879 w 408113"/>
                  <a:gd name="connsiteY35" fmla="*/ 259812 h 660811"/>
                  <a:gd name="connsiteX36" fmla="*/ 200524 w 408113"/>
                  <a:gd name="connsiteY36" fmla="*/ 70441 h 660811"/>
                  <a:gd name="connsiteX37" fmla="*/ 223750 w 408113"/>
                  <a:gd name="connsiteY37" fmla="*/ 24231 h 660811"/>
                  <a:gd name="connsiteX38" fmla="*/ 252311 w 408113"/>
                  <a:gd name="connsiteY38" fmla="*/ 0 h 66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8113" h="660811">
                    <a:moveTo>
                      <a:pt x="252311" y="0"/>
                    </a:moveTo>
                    <a:cubicBezTo>
                      <a:pt x="272532" y="1680"/>
                      <a:pt x="287404" y="3552"/>
                      <a:pt x="302318" y="3999"/>
                    </a:cubicBezTo>
                    <a:cubicBezTo>
                      <a:pt x="322218" y="4595"/>
                      <a:pt x="340397" y="11238"/>
                      <a:pt x="358900" y="17421"/>
                    </a:cubicBezTo>
                    <a:cubicBezTo>
                      <a:pt x="367565" y="20316"/>
                      <a:pt x="376985" y="21006"/>
                      <a:pt x="386091" y="22522"/>
                    </a:cubicBezTo>
                    <a:cubicBezTo>
                      <a:pt x="394414" y="23907"/>
                      <a:pt x="402889" y="25295"/>
                      <a:pt x="406642" y="34171"/>
                    </a:cubicBezTo>
                    <a:cubicBezTo>
                      <a:pt x="410533" y="43374"/>
                      <a:pt x="408497" y="52131"/>
                      <a:pt x="402267" y="59636"/>
                    </a:cubicBezTo>
                    <a:cubicBezTo>
                      <a:pt x="386632" y="78470"/>
                      <a:pt x="370556" y="96940"/>
                      <a:pt x="355057" y="115882"/>
                    </a:cubicBezTo>
                    <a:cubicBezTo>
                      <a:pt x="343819" y="129616"/>
                      <a:pt x="333531" y="144128"/>
                      <a:pt x="322261" y="157833"/>
                    </a:cubicBezTo>
                    <a:cubicBezTo>
                      <a:pt x="306345" y="177187"/>
                      <a:pt x="289813" y="196032"/>
                      <a:pt x="273746" y="215262"/>
                    </a:cubicBezTo>
                    <a:cubicBezTo>
                      <a:pt x="266162" y="224338"/>
                      <a:pt x="258659" y="233530"/>
                      <a:pt x="251829" y="243173"/>
                    </a:cubicBezTo>
                    <a:cubicBezTo>
                      <a:pt x="245281" y="252418"/>
                      <a:pt x="249104" y="261384"/>
                      <a:pt x="260247" y="263358"/>
                    </a:cubicBezTo>
                    <a:cubicBezTo>
                      <a:pt x="266401" y="264449"/>
                      <a:pt x="272836" y="263845"/>
                      <a:pt x="279068" y="264621"/>
                    </a:cubicBezTo>
                    <a:cubicBezTo>
                      <a:pt x="286461" y="265541"/>
                      <a:pt x="293983" y="266427"/>
                      <a:pt x="301067" y="268581"/>
                    </a:cubicBezTo>
                    <a:cubicBezTo>
                      <a:pt x="312341" y="272008"/>
                      <a:pt x="317783" y="282644"/>
                      <a:pt x="313745" y="293857"/>
                    </a:cubicBezTo>
                    <a:cubicBezTo>
                      <a:pt x="311187" y="300958"/>
                      <a:pt x="307713" y="308206"/>
                      <a:pt x="302918" y="313940"/>
                    </a:cubicBezTo>
                    <a:cubicBezTo>
                      <a:pt x="282675" y="338150"/>
                      <a:pt x="262332" y="362322"/>
                      <a:pt x="240941" y="385508"/>
                    </a:cubicBezTo>
                    <a:cubicBezTo>
                      <a:pt x="225899" y="401813"/>
                      <a:pt x="213246" y="419855"/>
                      <a:pt x="199368" y="436993"/>
                    </a:cubicBezTo>
                    <a:cubicBezTo>
                      <a:pt x="176024" y="465818"/>
                      <a:pt x="151726" y="493868"/>
                      <a:pt x="128098" y="522467"/>
                    </a:cubicBezTo>
                    <a:cubicBezTo>
                      <a:pt x="105595" y="549702"/>
                      <a:pt x="83422" y="577211"/>
                      <a:pt x="61132" y="604622"/>
                    </a:cubicBezTo>
                    <a:cubicBezTo>
                      <a:pt x="54053" y="613328"/>
                      <a:pt x="47108" y="622144"/>
                      <a:pt x="39996" y="630823"/>
                    </a:cubicBezTo>
                    <a:cubicBezTo>
                      <a:pt x="38393" y="632779"/>
                      <a:pt x="36246" y="634281"/>
                      <a:pt x="34524" y="636153"/>
                    </a:cubicBezTo>
                    <a:cubicBezTo>
                      <a:pt x="29777" y="641317"/>
                      <a:pt x="25158" y="646599"/>
                      <a:pt x="20419" y="651770"/>
                    </a:cubicBezTo>
                    <a:cubicBezTo>
                      <a:pt x="17900" y="654519"/>
                      <a:pt x="15587" y="657648"/>
                      <a:pt x="12570" y="659711"/>
                    </a:cubicBezTo>
                    <a:cubicBezTo>
                      <a:pt x="5715" y="664396"/>
                      <a:pt x="264" y="661410"/>
                      <a:pt x="10" y="653035"/>
                    </a:cubicBezTo>
                    <a:cubicBezTo>
                      <a:pt x="-215" y="645591"/>
                      <a:pt x="3404" y="639625"/>
                      <a:pt x="7380" y="633585"/>
                    </a:cubicBezTo>
                    <a:cubicBezTo>
                      <a:pt x="11331" y="627581"/>
                      <a:pt x="14278" y="620915"/>
                      <a:pt x="17632" y="614523"/>
                    </a:cubicBezTo>
                    <a:cubicBezTo>
                      <a:pt x="19813" y="610368"/>
                      <a:pt x="21796" y="606103"/>
                      <a:pt x="24114" y="602028"/>
                    </a:cubicBezTo>
                    <a:cubicBezTo>
                      <a:pt x="28287" y="594691"/>
                      <a:pt x="32782" y="587537"/>
                      <a:pt x="36899" y="580169"/>
                    </a:cubicBezTo>
                    <a:cubicBezTo>
                      <a:pt x="48509" y="559392"/>
                      <a:pt x="146514" y="376710"/>
                      <a:pt x="149047" y="372949"/>
                    </a:cubicBezTo>
                    <a:cubicBezTo>
                      <a:pt x="152133" y="368366"/>
                      <a:pt x="154370" y="363632"/>
                      <a:pt x="151527" y="358110"/>
                    </a:cubicBezTo>
                    <a:cubicBezTo>
                      <a:pt x="148783" y="352779"/>
                      <a:pt x="143577" y="352099"/>
                      <a:pt x="138440" y="351606"/>
                    </a:cubicBezTo>
                    <a:cubicBezTo>
                      <a:pt x="125328" y="350350"/>
                      <a:pt x="112115" y="349814"/>
                      <a:pt x="99109" y="347871"/>
                    </a:cubicBezTo>
                    <a:cubicBezTo>
                      <a:pt x="88880" y="346343"/>
                      <a:pt x="81333" y="339621"/>
                      <a:pt x="75567" y="331241"/>
                    </a:cubicBezTo>
                    <a:cubicBezTo>
                      <a:pt x="71888" y="325894"/>
                      <a:pt x="69908" y="320020"/>
                      <a:pt x="72961" y="313539"/>
                    </a:cubicBezTo>
                    <a:cubicBezTo>
                      <a:pt x="76734" y="305528"/>
                      <a:pt x="80318" y="297421"/>
                      <a:pt x="84295" y="289513"/>
                    </a:cubicBezTo>
                    <a:cubicBezTo>
                      <a:pt x="89318" y="279526"/>
                      <a:pt x="94561" y="269645"/>
                      <a:pt x="99879" y="259812"/>
                    </a:cubicBezTo>
                    <a:cubicBezTo>
                      <a:pt x="109029" y="242896"/>
                      <a:pt x="196790" y="77546"/>
                      <a:pt x="200524" y="70441"/>
                    </a:cubicBezTo>
                    <a:cubicBezTo>
                      <a:pt x="203525" y="64730"/>
                      <a:pt x="219404" y="34097"/>
                      <a:pt x="223750" y="24231"/>
                    </a:cubicBezTo>
                    <a:cubicBezTo>
                      <a:pt x="229294" y="11649"/>
                      <a:pt x="245170" y="-34"/>
                      <a:pt x="252311" y="0"/>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26" name="Freeform: Shape 125">
                <a:extLst>
                  <a:ext uri="{FF2B5EF4-FFF2-40B4-BE49-F238E27FC236}">
                    <a16:creationId xmlns:a16="http://schemas.microsoft.com/office/drawing/2014/main" id="{9BB7C1ED-E9CD-46F2-903B-EB49C032ED6B}"/>
                  </a:ext>
                </a:extLst>
              </p:cNvPr>
              <p:cNvSpPr/>
              <p:nvPr/>
            </p:nvSpPr>
            <p:spPr>
              <a:xfrm>
                <a:off x="2067592" y="2950676"/>
                <a:ext cx="57041" cy="121355"/>
              </a:xfrm>
              <a:custGeom>
                <a:avLst/>
                <a:gdLst>
                  <a:gd name="connsiteX0" fmla="*/ 164480 w 297780"/>
                  <a:gd name="connsiteY0" fmla="*/ 219157 h 633525"/>
                  <a:gd name="connsiteX1" fmla="*/ 182681 w 297780"/>
                  <a:gd name="connsiteY1" fmla="*/ 226725 h 633525"/>
                  <a:gd name="connsiteX2" fmla="*/ 196362 w 297780"/>
                  <a:gd name="connsiteY2" fmla="*/ 213744 h 633525"/>
                  <a:gd name="connsiteX3" fmla="*/ 235349 w 297780"/>
                  <a:gd name="connsiteY3" fmla="*/ 209878 h 633525"/>
                  <a:gd name="connsiteX4" fmla="*/ 243785 w 297780"/>
                  <a:gd name="connsiteY4" fmla="*/ 234345 h 633525"/>
                  <a:gd name="connsiteX5" fmla="*/ 298015 w 297780"/>
                  <a:gd name="connsiteY5" fmla="*/ 627478 h 633525"/>
                  <a:gd name="connsiteX6" fmla="*/ 293232 w 297780"/>
                  <a:gd name="connsiteY6" fmla="*/ 633678 h 633525"/>
                  <a:gd name="connsiteX7" fmla="*/ 287448 w 297780"/>
                  <a:gd name="connsiteY7" fmla="*/ 627977 h 633525"/>
                  <a:gd name="connsiteX8" fmla="*/ 186001 w 297780"/>
                  <a:gd name="connsiteY8" fmla="*/ 362837 h 633525"/>
                  <a:gd name="connsiteX9" fmla="*/ 165306 w 297780"/>
                  <a:gd name="connsiteY9" fmla="*/ 361307 h 633525"/>
                  <a:gd name="connsiteX10" fmla="*/ 143199 w 297780"/>
                  <a:gd name="connsiteY10" fmla="*/ 381763 h 633525"/>
                  <a:gd name="connsiteX11" fmla="*/ 105478 w 297780"/>
                  <a:gd name="connsiteY11" fmla="*/ 380000 h 633525"/>
                  <a:gd name="connsiteX12" fmla="*/ 14131 w 297780"/>
                  <a:gd name="connsiteY12" fmla="*/ 134769 h 633525"/>
                  <a:gd name="connsiteX13" fmla="*/ 5863 w 297780"/>
                  <a:gd name="connsiteY13" fmla="*/ 114767 h 633525"/>
                  <a:gd name="connsiteX14" fmla="*/ 13443 w 297780"/>
                  <a:gd name="connsiteY14" fmla="*/ 70259 h 633525"/>
                  <a:gd name="connsiteX15" fmla="*/ 90497 w 297780"/>
                  <a:gd name="connsiteY15" fmla="*/ 8391 h 633525"/>
                  <a:gd name="connsiteX16" fmla="*/ 91888 w 297780"/>
                  <a:gd name="connsiteY16" fmla="*/ 7282 h 633525"/>
                  <a:gd name="connsiteX17" fmla="*/ 129479 w 297780"/>
                  <a:gd name="connsiteY17" fmla="*/ 14107 h 633525"/>
                  <a:gd name="connsiteX18" fmla="*/ 164480 w 297780"/>
                  <a:gd name="connsiteY18" fmla="*/ 219157 h 63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7780" h="633525">
                    <a:moveTo>
                      <a:pt x="164480" y="219157"/>
                    </a:moveTo>
                    <a:cubicBezTo>
                      <a:pt x="166238" y="228954"/>
                      <a:pt x="174431" y="232420"/>
                      <a:pt x="182681" y="226725"/>
                    </a:cubicBezTo>
                    <a:cubicBezTo>
                      <a:pt x="187796" y="223193"/>
                      <a:pt x="192125" y="218385"/>
                      <a:pt x="196362" y="213744"/>
                    </a:cubicBezTo>
                    <a:cubicBezTo>
                      <a:pt x="206362" y="202794"/>
                      <a:pt x="225324" y="200656"/>
                      <a:pt x="235349" y="209878"/>
                    </a:cubicBezTo>
                    <a:cubicBezTo>
                      <a:pt x="242471" y="216430"/>
                      <a:pt x="242740" y="225522"/>
                      <a:pt x="243785" y="234345"/>
                    </a:cubicBezTo>
                    <a:cubicBezTo>
                      <a:pt x="247021" y="261644"/>
                      <a:pt x="301399" y="616760"/>
                      <a:pt x="298015" y="627478"/>
                    </a:cubicBezTo>
                    <a:cubicBezTo>
                      <a:pt x="297277" y="629815"/>
                      <a:pt x="294870" y="631625"/>
                      <a:pt x="293232" y="633678"/>
                    </a:cubicBezTo>
                    <a:cubicBezTo>
                      <a:pt x="291235" y="631798"/>
                      <a:pt x="288117" y="630248"/>
                      <a:pt x="287448" y="627977"/>
                    </a:cubicBezTo>
                    <a:cubicBezTo>
                      <a:pt x="285355" y="620876"/>
                      <a:pt x="193789" y="370566"/>
                      <a:pt x="186001" y="362837"/>
                    </a:cubicBezTo>
                    <a:cubicBezTo>
                      <a:pt x="179609" y="356493"/>
                      <a:pt x="172354" y="355622"/>
                      <a:pt x="165306" y="361307"/>
                    </a:cubicBezTo>
                    <a:cubicBezTo>
                      <a:pt x="157494" y="367608"/>
                      <a:pt x="149375" y="373984"/>
                      <a:pt x="143199" y="381763"/>
                    </a:cubicBezTo>
                    <a:cubicBezTo>
                      <a:pt x="131301" y="396752"/>
                      <a:pt x="115588" y="392919"/>
                      <a:pt x="105478" y="380000"/>
                    </a:cubicBezTo>
                    <a:cubicBezTo>
                      <a:pt x="99682" y="372593"/>
                      <a:pt x="17102" y="146703"/>
                      <a:pt x="14131" y="134769"/>
                    </a:cubicBezTo>
                    <a:cubicBezTo>
                      <a:pt x="12374" y="127731"/>
                      <a:pt x="9589" y="120991"/>
                      <a:pt x="5863" y="114767"/>
                    </a:cubicBezTo>
                    <a:cubicBezTo>
                      <a:pt x="-3974" y="98465"/>
                      <a:pt x="-1423" y="82141"/>
                      <a:pt x="13443" y="70259"/>
                    </a:cubicBezTo>
                    <a:cubicBezTo>
                      <a:pt x="39174" y="49694"/>
                      <a:pt x="64858" y="29071"/>
                      <a:pt x="90497" y="8391"/>
                    </a:cubicBezTo>
                    <a:cubicBezTo>
                      <a:pt x="90959" y="8020"/>
                      <a:pt x="91412" y="7635"/>
                      <a:pt x="91888" y="7282"/>
                    </a:cubicBezTo>
                    <a:cubicBezTo>
                      <a:pt x="107402" y="-4207"/>
                      <a:pt x="119176" y="-2224"/>
                      <a:pt x="129479" y="14107"/>
                    </a:cubicBezTo>
                    <a:cubicBezTo>
                      <a:pt x="137826" y="27339"/>
                      <a:pt x="163202" y="212029"/>
                      <a:pt x="164480" y="219157"/>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27" name="Freeform: Shape 126">
                <a:extLst>
                  <a:ext uri="{FF2B5EF4-FFF2-40B4-BE49-F238E27FC236}">
                    <a16:creationId xmlns:a16="http://schemas.microsoft.com/office/drawing/2014/main" id="{CA97D359-A2CC-466B-9FC9-23ECD4707F1C}"/>
                  </a:ext>
                </a:extLst>
              </p:cNvPr>
              <p:cNvSpPr/>
              <p:nvPr/>
            </p:nvSpPr>
            <p:spPr>
              <a:xfrm>
                <a:off x="2165546" y="2974311"/>
                <a:ext cx="34315" cy="84767"/>
              </a:xfrm>
              <a:custGeom>
                <a:avLst/>
                <a:gdLst>
                  <a:gd name="connsiteX0" fmla="*/ 147498 w 179142"/>
                  <a:gd name="connsiteY0" fmla="*/ 14 h 442518"/>
                  <a:gd name="connsiteX1" fmla="*/ 159528 w 179142"/>
                  <a:gd name="connsiteY1" fmla="*/ 20 h 442518"/>
                  <a:gd name="connsiteX2" fmla="*/ 177502 w 179142"/>
                  <a:gd name="connsiteY2" fmla="*/ 27678 h 442518"/>
                  <a:gd name="connsiteX3" fmla="*/ 172409 w 179142"/>
                  <a:gd name="connsiteY3" fmla="*/ 36304 h 442518"/>
                  <a:gd name="connsiteX4" fmla="*/ 137395 w 179142"/>
                  <a:gd name="connsiteY4" fmla="*/ 100255 h 442518"/>
                  <a:gd name="connsiteX5" fmla="*/ 112888 w 179142"/>
                  <a:gd name="connsiteY5" fmla="*/ 145226 h 442518"/>
                  <a:gd name="connsiteX6" fmla="*/ 120340 w 179142"/>
                  <a:gd name="connsiteY6" fmla="*/ 161633 h 442518"/>
                  <a:gd name="connsiteX7" fmla="*/ 141265 w 179142"/>
                  <a:gd name="connsiteY7" fmla="*/ 165016 h 442518"/>
                  <a:gd name="connsiteX8" fmla="*/ 151182 w 179142"/>
                  <a:gd name="connsiteY8" fmla="*/ 186126 h 442518"/>
                  <a:gd name="connsiteX9" fmla="*/ 62 w 179142"/>
                  <a:gd name="connsiteY9" fmla="*/ 443583 h 442518"/>
                  <a:gd name="connsiteX10" fmla="*/ 50996 w 179142"/>
                  <a:gd name="connsiteY10" fmla="*/ 250666 h 442518"/>
                  <a:gd name="connsiteX11" fmla="*/ 35503 w 179142"/>
                  <a:gd name="connsiteY11" fmla="*/ 237669 h 442518"/>
                  <a:gd name="connsiteX12" fmla="*/ 22080 w 179142"/>
                  <a:gd name="connsiteY12" fmla="*/ 236670 h 442518"/>
                  <a:gd name="connsiteX13" fmla="*/ 6339 w 179142"/>
                  <a:gd name="connsiteY13" fmla="*/ 209300 h 442518"/>
                  <a:gd name="connsiteX14" fmla="*/ 51065 w 179142"/>
                  <a:gd name="connsiteY14" fmla="*/ 50959 h 442518"/>
                  <a:gd name="connsiteX15" fmla="*/ 68900 w 179142"/>
                  <a:gd name="connsiteY15" fmla="*/ 11198 h 442518"/>
                  <a:gd name="connsiteX16" fmla="*/ 85107 w 179142"/>
                  <a:gd name="connsiteY16" fmla="*/ 3810 h 442518"/>
                  <a:gd name="connsiteX17" fmla="*/ 147498 w 179142"/>
                  <a:gd name="connsiteY17" fmla="*/ 14 h 44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142" h="442518">
                    <a:moveTo>
                      <a:pt x="147498" y="14"/>
                    </a:moveTo>
                    <a:cubicBezTo>
                      <a:pt x="152411" y="14"/>
                      <a:pt x="155970" y="-21"/>
                      <a:pt x="159528" y="20"/>
                    </a:cubicBezTo>
                    <a:cubicBezTo>
                      <a:pt x="175400" y="200"/>
                      <a:pt x="183782" y="12995"/>
                      <a:pt x="177502" y="27678"/>
                    </a:cubicBezTo>
                    <a:cubicBezTo>
                      <a:pt x="176200" y="30722"/>
                      <a:pt x="174064" y="33402"/>
                      <a:pt x="172409" y="36304"/>
                    </a:cubicBezTo>
                    <a:cubicBezTo>
                      <a:pt x="167363" y="45150"/>
                      <a:pt x="141259" y="92535"/>
                      <a:pt x="137395" y="100255"/>
                    </a:cubicBezTo>
                    <a:cubicBezTo>
                      <a:pt x="135986" y="103072"/>
                      <a:pt x="119356" y="132890"/>
                      <a:pt x="112888" y="145226"/>
                    </a:cubicBezTo>
                    <a:cubicBezTo>
                      <a:pt x="108198" y="154171"/>
                      <a:pt x="110443" y="159368"/>
                      <a:pt x="120340" y="161633"/>
                    </a:cubicBezTo>
                    <a:cubicBezTo>
                      <a:pt x="127213" y="163205"/>
                      <a:pt x="134375" y="163498"/>
                      <a:pt x="141265" y="165016"/>
                    </a:cubicBezTo>
                    <a:cubicBezTo>
                      <a:pt x="152072" y="167397"/>
                      <a:pt x="155989" y="176106"/>
                      <a:pt x="151182" y="186126"/>
                    </a:cubicBezTo>
                    <a:cubicBezTo>
                      <a:pt x="146096" y="196727"/>
                      <a:pt x="1638" y="446999"/>
                      <a:pt x="62" y="443583"/>
                    </a:cubicBezTo>
                    <a:cubicBezTo>
                      <a:pt x="-2104" y="438888"/>
                      <a:pt x="53480" y="266816"/>
                      <a:pt x="50996" y="250666"/>
                    </a:cubicBezTo>
                    <a:cubicBezTo>
                      <a:pt x="49668" y="242031"/>
                      <a:pt x="44499" y="237901"/>
                      <a:pt x="35503" y="237669"/>
                    </a:cubicBezTo>
                    <a:cubicBezTo>
                      <a:pt x="31005" y="237553"/>
                      <a:pt x="26218" y="238033"/>
                      <a:pt x="22080" y="236670"/>
                    </a:cubicBezTo>
                    <a:cubicBezTo>
                      <a:pt x="11039" y="233035"/>
                      <a:pt x="4315" y="220711"/>
                      <a:pt x="6339" y="209300"/>
                    </a:cubicBezTo>
                    <a:cubicBezTo>
                      <a:pt x="7919" y="200392"/>
                      <a:pt x="50385" y="63198"/>
                      <a:pt x="51065" y="50959"/>
                    </a:cubicBezTo>
                    <a:cubicBezTo>
                      <a:pt x="51931" y="35373"/>
                      <a:pt x="56545" y="21308"/>
                      <a:pt x="68900" y="11198"/>
                    </a:cubicBezTo>
                    <a:cubicBezTo>
                      <a:pt x="73386" y="7527"/>
                      <a:pt x="79481" y="4325"/>
                      <a:pt x="85107" y="3810"/>
                    </a:cubicBezTo>
                    <a:cubicBezTo>
                      <a:pt x="106294" y="1872"/>
                      <a:pt x="127591" y="1129"/>
                      <a:pt x="147498" y="14"/>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grpSp>
      </p:grpSp>
      <p:sp>
        <p:nvSpPr>
          <p:cNvPr id="134" name="Rectangle 133">
            <a:extLst>
              <a:ext uri="{FF2B5EF4-FFF2-40B4-BE49-F238E27FC236}">
                <a16:creationId xmlns:a16="http://schemas.microsoft.com/office/drawing/2014/main" id="{9AC5524E-5079-4835-85E7-30B6F749AED2}"/>
              </a:ext>
            </a:extLst>
          </p:cNvPr>
          <p:cNvSpPr/>
          <p:nvPr/>
        </p:nvSpPr>
        <p:spPr>
          <a:xfrm>
            <a:off x="2958117" y="1615153"/>
            <a:ext cx="2623738" cy="584775"/>
          </a:xfrm>
          <a:prstGeom prst="rect">
            <a:avLst/>
          </a:prstGeom>
        </p:spPr>
        <p:txBody>
          <a:bodyPr wrap="square" anchor="ctr">
            <a:spAutoFit/>
          </a:bodyPr>
          <a:lstStyle/>
          <a:p>
            <a:pPr marL="0" marR="0" lvl="0" indent="0" algn="ctr" defTabSz="914400" rtl="0" eaLnBrk="1" fontAlgn="auto" latinLnBrk="0" hangingPunct="1">
              <a:lnSpc>
                <a:spcPct val="100000"/>
              </a:lnSpc>
              <a:spcBef>
                <a:spcPts val="600"/>
              </a:spcBef>
              <a:spcAft>
                <a:spcPts val="0"/>
              </a:spcAft>
              <a:buClr>
                <a:srgbClr val="4F256F"/>
              </a:buClr>
              <a:buSzTx/>
              <a:buFontTx/>
              <a:buNone/>
              <a:tabLst/>
              <a:defRPr/>
            </a:pPr>
            <a:r>
              <a:rPr kumimoji="0" lang="en-US" sz="1600" b="1" i="0" u="none" strike="noStrike" kern="1200" cap="none" spc="0" normalizeH="0" baseline="0" noProof="0">
                <a:ln>
                  <a:noFill/>
                </a:ln>
                <a:solidFill>
                  <a:srgbClr val="704F8A"/>
                </a:solidFill>
                <a:effectLst/>
                <a:uLnTx/>
                <a:uFillTx/>
                <a:latin typeface="Arial" panose="020B0604020202020204"/>
                <a:ea typeface="+mn-ea"/>
                <a:cs typeface="+mn-cs"/>
              </a:rPr>
              <a:t>HF is a progressive condition</a:t>
            </a:r>
            <a:r>
              <a:rPr kumimoji="0" lang="en-US" sz="1600" b="1" i="0" u="none" strike="noStrike" kern="1200" cap="none" spc="0" normalizeH="0" baseline="30000" noProof="0">
                <a:ln>
                  <a:noFill/>
                </a:ln>
                <a:solidFill>
                  <a:srgbClr val="704F8A"/>
                </a:solidFill>
                <a:effectLst/>
                <a:uLnTx/>
                <a:uFillTx/>
                <a:latin typeface="Arial" panose="020B0604020202020204"/>
                <a:ea typeface="+mn-ea"/>
                <a:cs typeface="+mn-cs"/>
              </a:rPr>
              <a:t>1–4</a:t>
            </a:r>
          </a:p>
        </p:txBody>
      </p:sp>
      <p:sp>
        <p:nvSpPr>
          <p:cNvPr id="135" name="Rectangle 134">
            <a:extLst>
              <a:ext uri="{FF2B5EF4-FFF2-40B4-BE49-F238E27FC236}">
                <a16:creationId xmlns:a16="http://schemas.microsoft.com/office/drawing/2014/main" id="{15956785-5C40-4E8B-ABD2-28FBD356EAE6}"/>
              </a:ext>
            </a:extLst>
          </p:cNvPr>
          <p:cNvSpPr/>
          <p:nvPr/>
        </p:nvSpPr>
        <p:spPr>
          <a:xfrm>
            <a:off x="7912890" y="2235200"/>
            <a:ext cx="3131756" cy="2057896"/>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p>
            <a:pPr marL="0" marR="0" lvl="0" indent="0" algn="ctr" defTabSz="914309"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C3B2D"/>
                </a:solidFill>
                <a:effectLst/>
                <a:uLnTx/>
                <a:uFillTx/>
                <a:latin typeface="Arial"/>
                <a:ea typeface="MS PGothic" charset="0"/>
                <a:cs typeface="+mn-cs"/>
              </a:rPr>
              <a:t>Worsening HF event</a:t>
            </a:r>
            <a:r>
              <a:rPr kumimoji="0" lang="en-US" sz="1600" b="1" i="0" u="none" strike="noStrike" kern="1200" cap="none" spc="0" normalizeH="0" baseline="30000" noProof="0">
                <a:ln>
                  <a:noFill/>
                </a:ln>
                <a:solidFill>
                  <a:srgbClr val="FC3B2D"/>
                </a:solidFill>
                <a:effectLst/>
                <a:uLnTx/>
                <a:uFillTx/>
                <a:latin typeface="Arial"/>
                <a:ea typeface="MS PGothic" charset="0"/>
                <a:cs typeface="+mn-cs"/>
              </a:rPr>
              <a:t>2,4,5</a:t>
            </a:r>
          </a:p>
          <a:p>
            <a:pPr marL="0" marR="0" lvl="1" indent="0" algn="ctr" defTabSz="914218" rtl="0" eaLnBrk="1" fontAlgn="auto" latinLnBrk="0" hangingPunct="1">
              <a:lnSpc>
                <a:spcPct val="120000"/>
              </a:lnSpc>
              <a:spcBef>
                <a:spcPts val="600"/>
              </a:spcBef>
              <a:spcAft>
                <a:spcPts val="0"/>
              </a:spcAft>
              <a:buClr>
                <a:srgbClr val="B4008D"/>
              </a:buClr>
              <a:buSzTx/>
              <a:buFont typeface="Arial" panose="020B0604020202020204" pitchFamily="34" charset="0"/>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Decompensation event </a:t>
            </a:r>
            <a:br>
              <a:rPr kumimoji="0" lang="en-GB" sz="1400" b="0" i="0" u="none" strike="noStrike" kern="1200" cap="none" spc="0" normalizeH="0" baseline="0" noProof="0">
                <a:ln>
                  <a:noFill/>
                </a:ln>
                <a:solidFill>
                  <a:srgbClr val="000000"/>
                </a:solidFill>
                <a:effectLst/>
                <a:uLnTx/>
                <a:uFillTx/>
                <a:latin typeface="Arial"/>
                <a:ea typeface="+mn-ea"/>
                <a:cs typeface="+mn-cs"/>
              </a:rPr>
            </a:br>
            <a:r>
              <a:rPr kumimoji="0" lang="en-GB" sz="1400" b="0" i="0" u="none" strike="noStrike" kern="1200" cap="none" spc="0" normalizeH="0" baseline="0" noProof="0">
                <a:ln>
                  <a:noFill/>
                </a:ln>
                <a:solidFill>
                  <a:srgbClr val="000000"/>
                </a:solidFill>
                <a:effectLst/>
                <a:uLnTx/>
                <a:uFillTx/>
                <a:latin typeface="Arial"/>
                <a:ea typeface="+mn-ea"/>
                <a:cs typeface="+mn-cs"/>
              </a:rPr>
              <a:t>requiring IV diuretic therapy</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6" name="Isosceles Triangle 135">
            <a:extLst>
              <a:ext uri="{FF2B5EF4-FFF2-40B4-BE49-F238E27FC236}">
                <a16:creationId xmlns:a16="http://schemas.microsoft.com/office/drawing/2014/main" id="{DB2C5CFB-D39F-4614-A4ED-7691E7BA7D9C}"/>
              </a:ext>
            </a:extLst>
          </p:cNvPr>
          <p:cNvSpPr/>
          <p:nvPr/>
        </p:nvSpPr>
        <p:spPr>
          <a:xfrm rot="16200000">
            <a:off x="6810791" y="3036027"/>
            <a:ext cx="1318024" cy="45624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37" name="Group 136">
            <a:extLst>
              <a:ext uri="{FF2B5EF4-FFF2-40B4-BE49-F238E27FC236}">
                <a16:creationId xmlns:a16="http://schemas.microsoft.com/office/drawing/2014/main" id="{726A9701-4696-4B83-91EE-CD76C58A93A0}"/>
              </a:ext>
            </a:extLst>
          </p:cNvPr>
          <p:cNvGrpSpPr/>
          <p:nvPr/>
        </p:nvGrpSpPr>
        <p:grpSpPr>
          <a:xfrm>
            <a:off x="2944115" y="3479487"/>
            <a:ext cx="1624161" cy="1103804"/>
            <a:chOff x="1180661" y="2798916"/>
            <a:chExt cx="1624161" cy="1103804"/>
          </a:xfrm>
        </p:grpSpPr>
        <p:grpSp>
          <p:nvGrpSpPr>
            <p:cNvPr id="138" name="Group 137">
              <a:extLst>
                <a:ext uri="{FF2B5EF4-FFF2-40B4-BE49-F238E27FC236}">
                  <a16:creationId xmlns:a16="http://schemas.microsoft.com/office/drawing/2014/main" id="{1D78D5AC-8E11-4791-BF8A-722F0B8A03A8}"/>
                </a:ext>
              </a:extLst>
            </p:cNvPr>
            <p:cNvGrpSpPr/>
            <p:nvPr/>
          </p:nvGrpSpPr>
          <p:grpSpPr>
            <a:xfrm>
              <a:off x="1585096" y="2798916"/>
              <a:ext cx="208743" cy="549057"/>
              <a:chOff x="1424142" y="2891946"/>
              <a:chExt cx="208743" cy="549057"/>
            </a:xfrm>
          </p:grpSpPr>
          <p:grpSp>
            <p:nvGrpSpPr>
              <p:cNvPr id="147" name="Group 146">
                <a:extLst>
                  <a:ext uri="{FF2B5EF4-FFF2-40B4-BE49-F238E27FC236}">
                    <a16:creationId xmlns:a16="http://schemas.microsoft.com/office/drawing/2014/main" id="{47C3D614-6853-453C-B733-48505CB55787}"/>
                  </a:ext>
                </a:extLst>
              </p:cNvPr>
              <p:cNvGrpSpPr/>
              <p:nvPr/>
            </p:nvGrpSpPr>
            <p:grpSpPr>
              <a:xfrm>
                <a:off x="1424142" y="2891946"/>
                <a:ext cx="208743" cy="549057"/>
                <a:chOff x="-5880972" y="457200"/>
                <a:chExt cx="2911476" cy="7658100"/>
              </a:xfrm>
              <a:solidFill>
                <a:schemeClr val="bg2">
                  <a:lumMod val="40000"/>
                  <a:lumOff val="60000"/>
                </a:schemeClr>
              </a:solidFill>
            </p:grpSpPr>
            <p:sp>
              <p:nvSpPr>
                <p:cNvPr id="160" name="Freeform 5">
                  <a:extLst>
                    <a:ext uri="{FF2B5EF4-FFF2-40B4-BE49-F238E27FC236}">
                      <a16:creationId xmlns:a16="http://schemas.microsoft.com/office/drawing/2014/main" id="{F8BDDDBC-C533-4874-A025-5C6B48D0231C}"/>
                    </a:ext>
                  </a:extLst>
                </p:cNvPr>
                <p:cNvSpPr>
                  <a:spLocks noEditPoints="1"/>
                </p:cNvSpPr>
                <p:nvPr/>
              </p:nvSpPr>
              <p:spPr bwMode="auto">
                <a:xfrm>
                  <a:off x="-5223746" y="457200"/>
                  <a:ext cx="1597025" cy="1597025"/>
                </a:xfrm>
                <a:custGeom>
                  <a:avLst/>
                  <a:gdLst>
                    <a:gd name="T0" fmla="*/ 213 w 426"/>
                    <a:gd name="T1" fmla="*/ 427 h 427"/>
                    <a:gd name="T2" fmla="*/ 426 w 426"/>
                    <a:gd name="T3" fmla="*/ 213 h 427"/>
                    <a:gd name="T4" fmla="*/ 213 w 426"/>
                    <a:gd name="T5" fmla="*/ 0 h 427"/>
                    <a:gd name="T6" fmla="*/ 0 w 426"/>
                    <a:gd name="T7" fmla="*/ 213 h 427"/>
                    <a:gd name="T8" fmla="*/ 213 w 426"/>
                    <a:gd name="T9" fmla="*/ 427 h 427"/>
                    <a:gd name="T10" fmla="*/ 213 w 426"/>
                    <a:gd name="T11" fmla="*/ 85 h 427"/>
                    <a:gd name="T12" fmla="*/ 341 w 426"/>
                    <a:gd name="T13" fmla="*/ 213 h 427"/>
                    <a:gd name="T14" fmla="*/ 213 w 426"/>
                    <a:gd name="T15" fmla="*/ 341 h 427"/>
                    <a:gd name="T16" fmla="*/ 85 w 426"/>
                    <a:gd name="T17" fmla="*/ 213 h 427"/>
                    <a:gd name="T18" fmla="*/ 213 w 426"/>
                    <a:gd name="T19" fmla="*/ 8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7">
                      <a:moveTo>
                        <a:pt x="213" y="427"/>
                      </a:moveTo>
                      <a:cubicBezTo>
                        <a:pt x="331" y="427"/>
                        <a:pt x="426" y="331"/>
                        <a:pt x="426" y="213"/>
                      </a:cubicBezTo>
                      <a:cubicBezTo>
                        <a:pt x="426" y="96"/>
                        <a:pt x="331" y="0"/>
                        <a:pt x="213" y="0"/>
                      </a:cubicBezTo>
                      <a:cubicBezTo>
                        <a:pt x="95" y="0"/>
                        <a:pt x="0" y="96"/>
                        <a:pt x="0" y="213"/>
                      </a:cubicBezTo>
                      <a:cubicBezTo>
                        <a:pt x="0" y="331"/>
                        <a:pt x="95" y="427"/>
                        <a:pt x="213" y="427"/>
                      </a:cubicBezTo>
                      <a:close/>
                      <a:moveTo>
                        <a:pt x="213" y="85"/>
                      </a:moveTo>
                      <a:cubicBezTo>
                        <a:pt x="284" y="85"/>
                        <a:pt x="341" y="143"/>
                        <a:pt x="341" y="213"/>
                      </a:cubicBezTo>
                      <a:cubicBezTo>
                        <a:pt x="341" y="284"/>
                        <a:pt x="284" y="341"/>
                        <a:pt x="213" y="341"/>
                      </a:cubicBezTo>
                      <a:cubicBezTo>
                        <a:pt x="142" y="341"/>
                        <a:pt x="85" y="284"/>
                        <a:pt x="85" y="213"/>
                      </a:cubicBezTo>
                      <a:cubicBezTo>
                        <a:pt x="85" y="143"/>
                        <a:pt x="142" y="85"/>
                        <a:pt x="213" y="85"/>
                      </a:cubicBezTo>
                      <a:close/>
                    </a:path>
                  </a:pathLst>
                </a:custGeom>
                <a:solidFill>
                  <a:schemeClr val="accent4"/>
                </a:solidFill>
                <a:ln w="9525">
                  <a:solidFill>
                    <a:schemeClr val="accent4"/>
                  </a:solidFill>
                  <a:round/>
                  <a:headEnd/>
                  <a:tailEnd/>
                </a:ln>
              </p:spPr>
              <p:txBody>
                <a:bodyPr vert="horz" wrap="square" lIns="91404" tIns="45702" rIns="91404" bIns="45702" numCol="1" anchor="t" anchorCtr="0" compatLnSpc="1">
                  <a:prstTxWarp prst="textNoShape">
                    <a:avLst/>
                  </a:prstTxWarp>
                </a:bodyPr>
                <a:lstStyle/>
                <a:p>
                  <a:pPr marL="0" marR="0" lvl="0" indent="0" algn="l" defTabSz="91412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E4D4D">
                        <a:lumMod val="40000"/>
                        <a:lumOff val="60000"/>
                      </a:srgbClr>
                    </a:solidFill>
                    <a:effectLst/>
                    <a:uLnTx/>
                    <a:uFillTx/>
                    <a:latin typeface="Arial"/>
                    <a:ea typeface="MS PGothic" charset="0"/>
                    <a:cs typeface="+mn-cs"/>
                  </a:endParaRPr>
                </a:p>
              </p:txBody>
            </p:sp>
            <p:sp>
              <p:nvSpPr>
                <p:cNvPr id="161" name="Freeform 6">
                  <a:extLst>
                    <a:ext uri="{FF2B5EF4-FFF2-40B4-BE49-F238E27FC236}">
                      <a16:creationId xmlns:a16="http://schemas.microsoft.com/office/drawing/2014/main" id="{DFFFD342-0CFE-4120-B141-32F4922BD443}"/>
                    </a:ext>
                  </a:extLst>
                </p:cNvPr>
                <p:cNvSpPr>
                  <a:spLocks noEditPoints="1"/>
                </p:cNvSpPr>
                <p:nvPr/>
              </p:nvSpPr>
              <p:spPr bwMode="auto">
                <a:xfrm>
                  <a:off x="-5880972" y="2371725"/>
                  <a:ext cx="2911476" cy="5743575"/>
                </a:xfrm>
                <a:custGeom>
                  <a:avLst/>
                  <a:gdLst>
                    <a:gd name="T0" fmla="*/ 771 w 776"/>
                    <a:gd name="T1" fmla="*/ 703 h 1536"/>
                    <a:gd name="T2" fmla="*/ 715 w 776"/>
                    <a:gd name="T3" fmla="*/ 207 h 1536"/>
                    <a:gd name="T4" fmla="*/ 497 w 776"/>
                    <a:gd name="T5" fmla="*/ 0 h 1536"/>
                    <a:gd name="T6" fmla="*/ 279 w 776"/>
                    <a:gd name="T7" fmla="*/ 0 h 1536"/>
                    <a:gd name="T8" fmla="*/ 61 w 776"/>
                    <a:gd name="T9" fmla="*/ 207 h 1536"/>
                    <a:gd name="T10" fmla="*/ 5 w 776"/>
                    <a:gd name="T11" fmla="*/ 703 h 1536"/>
                    <a:gd name="T12" fmla="*/ 40 w 776"/>
                    <a:gd name="T13" fmla="*/ 816 h 1536"/>
                    <a:gd name="T14" fmla="*/ 128 w 776"/>
                    <a:gd name="T15" fmla="*/ 859 h 1536"/>
                    <a:gd name="T16" fmla="*/ 175 w 776"/>
                    <a:gd name="T17" fmla="*/ 1496 h 1536"/>
                    <a:gd name="T18" fmla="*/ 217 w 776"/>
                    <a:gd name="T19" fmla="*/ 1536 h 1536"/>
                    <a:gd name="T20" fmla="*/ 559 w 776"/>
                    <a:gd name="T21" fmla="*/ 1536 h 1536"/>
                    <a:gd name="T22" fmla="*/ 601 w 776"/>
                    <a:gd name="T23" fmla="*/ 1496 h 1536"/>
                    <a:gd name="T24" fmla="*/ 648 w 776"/>
                    <a:gd name="T25" fmla="*/ 859 h 1536"/>
                    <a:gd name="T26" fmla="*/ 736 w 776"/>
                    <a:gd name="T27" fmla="*/ 816 h 1536"/>
                    <a:gd name="T28" fmla="*/ 771 w 776"/>
                    <a:gd name="T29" fmla="*/ 703 h 1536"/>
                    <a:gd name="T30" fmla="*/ 672 w 776"/>
                    <a:gd name="T31" fmla="*/ 759 h 1536"/>
                    <a:gd name="T32" fmla="*/ 641 w 776"/>
                    <a:gd name="T33" fmla="*/ 774 h 1536"/>
                    <a:gd name="T34" fmla="*/ 609 w 776"/>
                    <a:gd name="T35" fmla="*/ 774 h 1536"/>
                    <a:gd name="T36" fmla="*/ 566 w 776"/>
                    <a:gd name="T37" fmla="*/ 813 h 1536"/>
                    <a:gd name="T38" fmla="*/ 519 w 776"/>
                    <a:gd name="T39" fmla="*/ 1451 h 1536"/>
                    <a:gd name="T40" fmla="*/ 257 w 776"/>
                    <a:gd name="T41" fmla="*/ 1451 h 1536"/>
                    <a:gd name="T42" fmla="*/ 210 w 776"/>
                    <a:gd name="T43" fmla="*/ 813 h 1536"/>
                    <a:gd name="T44" fmla="*/ 167 w 776"/>
                    <a:gd name="T45" fmla="*/ 774 h 1536"/>
                    <a:gd name="T46" fmla="*/ 135 w 776"/>
                    <a:gd name="T47" fmla="*/ 774 h 1536"/>
                    <a:gd name="T48" fmla="*/ 104 w 776"/>
                    <a:gd name="T49" fmla="*/ 759 h 1536"/>
                    <a:gd name="T50" fmla="*/ 90 w 776"/>
                    <a:gd name="T51" fmla="*/ 713 h 1536"/>
                    <a:gd name="T52" fmla="*/ 146 w 776"/>
                    <a:gd name="T53" fmla="*/ 217 h 1536"/>
                    <a:gd name="T54" fmla="*/ 279 w 776"/>
                    <a:gd name="T55" fmla="*/ 85 h 1536"/>
                    <a:gd name="T56" fmla="*/ 497 w 776"/>
                    <a:gd name="T57" fmla="*/ 85 h 1536"/>
                    <a:gd name="T58" fmla="*/ 630 w 776"/>
                    <a:gd name="T59" fmla="*/ 217 h 1536"/>
                    <a:gd name="T60" fmla="*/ 686 w 776"/>
                    <a:gd name="T61" fmla="*/ 713 h 1536"/>
                    <a:gd name="T62" fmla="*/ 672 w 776"/>
                    <a:gd name="T63" fmla="*/ 759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6" h="1536">
                      <a:moveTo>
                        <a:pt x="771" y="703"/>
                      </a:moveTo>
                      <a:cubicBezTo>
                        <a:pt x="715" y="207"/>
                        <a:pt x="715" y="207"/>
                        <a:pt x="715" y="207"/>
                      </a:cubicBezTo>
                      <a:cubicBezTo>
                        <a:pt x="701" y="89"/>
                        <a:pt x="608" y="0"/>
                        <a:pt x="497" y="0"/>
                      </a:cubicBezTo>
                      <a:cubicBezTo>
                        <a:pt x="279" y="0"/>
                        <a:pt x="279" y="0"/>
                        <a:pt x="279" y="0"/>
                      </a:cubicBezTo>
                      <a:cubicBezTo>
                        <a:pt x="168" y="0"/>
                        <a:pt x="75" y="89"/>
                        <a:pt x="61" y="207"/>
                      </a:cubicBezTo>
                      <a:cubicBezTo>
                        <a:pt x="5" y="703"/>
                        <a:pt x="5" y="703"/>
                        <a:pt x="5" y="703"/>
                      </a:cubicBezTo>
                      <a:cubicBezTo>
                        <a:pt x="0" y="744"/>
                        <a:pt x="13" y="786"/>
                        <a:pt x="40" y="816"/>
                      </a:cubicBezTo>
                      <a:cubicBezTo>
                        <a:pt x="63" y="842"/>
                        <a:pt x="94" y="857"/>
                        <a:pt x="128" y="859"/>
                      </a:cubicBezTo>
                      <a:cubicBezTo>
                        <a:pt x="175" y="1496"/>
                        <a:pt x="175" y="1496"/>
                        <a:pt x="175" y="1496"/>
                      </a:cubicBezTo>
                      <a:cubicBezTo>
                        <a:pt x="176" y="1519"/>
                        <a:pt x="195" y="1536"/>
                        <a:pt x="217" y="1536"/>
                      </a:cubicBezTo>
                      <a:cubicBezTo>
                        <a:pt x="559" y="1536"/>
                        <a:pt x="559" y="1536"/>
                        <a:pt x="559" y="1536"/>
                      </a:cubicBezTo>
                      <a:cubicBezTo>
                        <a:pt x="581" y="1536"/>
                        <a:pt x="600" y="1519"/>
                        <a:pt x="601" y="1496"/>
                      </a:cubicBezTo>
                      <a:cubicBezTo>
                        <a:pt x="648" y="859"/>
                        <a:pt x="648" y="859"/>
                        <a:pt x="648" y="859"/>
                      </a:cubicBezTo>
                      <a:cubicBezTo>
                        <a:pt x="682" y="857"/>
                        <a:pt x="713" y="842"/>
                        <a:pt x="736" y="816"/>
                      </a:cubicBezTo>
                      <a:cubicBezTo>
                        <a:pt x="763" y="785"/>
                        <a:pt x="776" y="744"/>
                        <a:pt x="771" y="703"/>
                      </a:cubicBezTo>
                      <a:close/>
                      <a:moveTo>
                        <a:pt x="672" y="759"/>
                      </a:moveTo>
                      <a:cubicBezTo>
                        <a:pt x="667" y="764"/>
                        <a:pt x="657" y="774"/>
                        <a:pt x="641" y="774"/>
                      </a:cubicBezTo>
                      <a:cubicBezTo>
                        <a:pt x="609" y="774"/>
                        <a:pt x="609" y="774"/>
                        <a:pt x="609" y="774"/>
                      </a:cubicBezTo>
                      <a:cubicBezTo>
                        <a:pt x="586" y="774"/>
                        <a:pt x="568" y="791"/>
                        <a:pt x="566" y="813"/>
                      </a:cubicBezTo>
                      <a:cubicBezTo>
                        <a:pt x="519" y="1451"/>
                        <a:pt x="519" y="1451"/>
                        <a:pt x="519" y="1451"/>
                      </a:cubicBezTo>
                      <a:cubicBezTo>
                        <a:pt x="257" y="1451"/>
                        <a:pt x="257" y="1451"/>
                        <a:pt x="257" y="1451"/>
                      </a:cubicBezTo>
                      <a:cubicBezTo>
                        <a:pt x="210" y="813"/>
                        <a:pt x="210" y="813"/>
                        <a:pt x="210" y="813"/>
                      </a:cubicBezTo>
                      <a:cubicBezTo>
                        <a:pt x="208" y="791"/>
                        <a:pt x="190" y="774"/>
                        <a:pt x="167" y="774"/>
                      </a:cubicBezTo>
                      <a:cubicBezTo>
                        <a:pt x="135" y="774"/>
                        <a:pt x="135" y="774"/>
                        <a:pt x="135" y="774"/>
                      </a:cubicBezTo>
                      <a:cubicBezTo>
                        <a:pt x="119" y="774"/>
                        <a:pt x="108" y="764"/>
                        <a:pt x="104" y="759"/>
                      </a:cubicBezTo>
                      <a:cubicBezTo>
                        <a:pt x="93" y="747"/>
                        <a:pt x="88" y="730"/>
                        <a:pt x="90" y="713"/>
                      </a:cubicBezTo>
                      <a:cubicBezTo>
                        <a:pt x="146" y="217"/>
                        <a:pt x="146" y="217"/>
                        <a:pt x="146" y="217"/>
                      </a:cubicBezTo>
                      <a:cubicBezTo>
                        <a:pt x="155" y="142"/>
                        <a:pt x="212" y="85"/>
                        <a:pt x="279" y="85"/>
                      </a:cubicBezTo>
                      <a:cubicBezTo>
                        <a:pt x="497" y="85"/>
                        <a:pt x="497" y="85"/>
                        <a:pt x="497" y="85"/>
                      </a:cubicBezTo>
                      <a:cubicBezTo>
                        <a:pt x="564" y="85"/>
                        <a:pt x="621" y="142"/>
                        <a:pt x="630" y="217"/>
                      </a:cubicBezTo>
                      <a:cubicBezTo>
                        <a:pt x="686" y="713"/>
                        <a:pt x="686" y="713"/>
                        <a:pt x="686" y="713"/>
                      </a:cubicBezTo>
                      <a:cubicBezTo>
                        <a:pt x="688" y="730"/>
                        <a:pt x="683" y="747"/>
                        <a:pt x="672" y="759"/>
                      </a:cubicBezTo>
                      <a:close/>
                    </a:path>
                  </a:pathLst>
                </a:custGeom>
                <a:solidFill>
                  <a:schemeClr val="accent4"/>
                </a:solidFill>
                <a:ln w="9525">
                  <a:solidFill>
                    <a:schemeClr val="accent4"/>
                  </a:solidFill>
                  <a:round/>
                  <a:headEnd/>
                  <a:tailEnd/>
                </a:ln>
              </p:spPr>
              <p:txBody>
                <a:bodyPr vert="horz" wrap="square" lIns="91404" tIns="45702" rIns="91404" bIns="45702" numCol="1" anchor="t" anchorCtr="0" compatLnSpc="1">
                  <a:prstTxWarp prst="textNoShape">
                    <a:avLst/>
                  </a:prstTxWarp>
                </a:bodyPr>
                <a:lstStyle/>
                <a:p>
                  <a:pPr marL="0" marR="0" lvl="0" indent="0" algn="l" defTabSz="91412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E4D4D">
                        <a:lumMod val="40000"/>
                        <a:lumOff val="60000"/>
                      </a:srgbClr>
                    </a:solidFill>
                    <a:effectLst/>
                    <a:uLnTx/>
                    <a:uFillTx/>
                    <a:latin typeface="Arial"/>
                    <a:ea typeface="MS PGothic" charset="0"/>
                    <a:cs typeface="+mn-cs"/>
                  </a:endParaRPr>
                </a:p>
              </p:txBody>
            </p:sp>
          </p:grpSp>
          <p:grpSp>
            <p:nvGrpSpPr>
              <p:cNvPr id="157" name="Group 156">
                <a:extLst>
                  <a:ext uri="{FF2B5EF4-FFF2-40B4-BE49-F238E27FC236}">
                    <a16:creationId xmlns:a16="http://schemas.microsoft.com/office/drawing/2014/main" id="{278E71D9-3607-4EE4-A5E2-59ED1057626D}"/>
                  </a:ext>
                </a:extLst>
              </p:cNvPr>
              <p:cNvGrpSpPr/>
              <p:nvPr/>
            </p:nvGrpSpPr>
            <p:grpSpPr>
              <a:xfrm>
                <a:off x="1525565" y="3102919"/>
                <a:ext cx="43964" cy="43964"/>
                <a:chOff x="1304925" y="2736056"/>
                <a:chExt cx="109537" cy="109537"/>
              </a:xfrm>
              <a:solidFill>
                <a:schemeClr val="bg2">
                  <a:lumMod val="40000"/>
                  <a:lumOff val="60000"/>
                </a:schemeClr>
              </a:solidFill>
            </p:grpSpPr>
            <p:cxnSp>
              <p:nvCxnSpPr>
                <p:cNvPr id="158" name="Straight Connector 157">
                  <a:extLst>
                    <a:ext uri="{FF2B5EF4-FFF2-40B4-BE49-F238E27FC236}">
                      <a16:creationId xmlns:a16="http://schemas.microsoft.com/office/drawing/2014/main" id="{A494CE59-FBCF-4B85-B2ED-F7386CFABA97}"/>
                    </a:ext>
                  </a:extLst>
                </p:cNvPr>
                <p:cNvCxnSpPr/>
                <p:nvPr/>
              </p:nvCxnSpPr>
              <p:spPr>
                <a:xfrm>
                  <a:off x="1304925" y="2736056"/>
                  <a:ext cx="109537" cy="109537"/>
                </a:xfrm>
                <a:prstGeom prst="line">
                  <a:avLst/>
                </a:prstGeom>
                <a:grpFill/>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6D587A6B-FD4A-4210-8BA1-454E8D91B456}"/>
                    </a:ext>
                  </a:extLst>
                </p:cNvPr>
                <p:cNvCxnSpPr/>
                <p:nvPr/>
              </p:nvCxnSpPr>
              <p:spPr>
                <a:xfrm flipH="1">
                  <a:off x="1304925" y="2736056"/>
                  <a:ext cx="109537" cy="109537"/>
                </a:xfrm>
                <a:prstGeom prst="line">
                  <a:avLst/>
                </a:prstGeom>
                <a:grpFill/>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grpSp>
        <p:sp>
          <p:nvSpPr>
            <p:cNvPr id="139" name="Rectangle 138">
              <a:extLst>
                <a:ext uri="{FF2B5EF4-FFF2-40B4-BE49-F238E27FC236}">
                  <a16:creationId xmlns:a16="http://schemas.microsoft.com/office/drawing/2014/main" id="{5A88F95D-056A-479E-B4AD-EC579AF59092}"/>
                </a:ext>
              </a:extLst>
            </p:cNvPr>
            <p:cNvSpPr/>
            <p:nvPr/>
          </p:nvSpPr>
          <p:spPr>
            <a:xfrm>
              <a:off x="1180661" y="3444133"/>
              <a:ext cx="1624161" cy="458587"/>
            </a:xfrm>
            <a:prstGeom prst="rect">
              <a:avLst/>
            </a:prstGeom>
          </p:spPr>
          <p:txBody>
            <a:bodyPr wrap="square">
              <a:spAutoFit/>
            </a:bodyPr>
            <a:lstStyle/>
            <a:p>
              <a:pPr marL="0" marR="0" lvl="0" indent="0" algn="ctr" defTabSz="914195"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4F8A"/>
                  </a:solidFill>
                  <a:effectLst/>
                  <a:uLnTx/>
                  <a:uFillTx/>
                  <a:latin typeface="Arial"/>
                  <a:ea typeface="MS PGothic" charset="0"/>
                  <a:cs typeface="+mn-cs"/>
                </a:rPr>
                <a:t>Worsening HF</a:t>
              </a:r>
              <a:br>
                <a:rPr kumimoji="0" lang="en-US" sz="1400" b="1" i="0" u="none" strike="noStrike" kern="1200" cap="none" spc="0" normalizeH="0" baseline="0" noProof="0">
                  <a:ln>
                    <a:noFill/>
                  </a:ln>
                  <a:solidFill>
                    <a:srgbClr val="704F8A"/>
                  </a:solidFill>
                  <a:effectLst/>
                  <a:uLnTx/>
                  <a:uFillTx/>
                  <a:latin typeface="Arial"/>
                  <a:ea typeface="MS PGothic" charset="0"/>
                  <a:cs typeface="+mn-cs"/>
                </a:rPr>
              </a:br>
              <a:r>
                <a:rPr kumimoji="0" lang="en-US" sz="1400" b="1" i="0" u="none" strike="noStrike" kern="1200" cap="none" spc="0" normalizeH="0" baseline="0" noProof="0">
                  <a:ln>
                    <a:noFill/>
                  </a:ln>
                  <a:solidFill>
                    <a:srgbClr val="704F8A"/>
                  </a:solidFill>
                  <a:effectLst/>
                  <a:uLnTx/>
                  <a:uFillTx/>
                  <a:latin typeface="Arial"/>
                  <a:ea typeface="MS PGothic" charset="0"/>
                  <a:cs typeface="+mn-cs"/>
                </a:rPr>
                <a:t>event</a:t>
              </a:r>
            </a:p>
          </p:txBody>
        </p:sp>
        <p:grpSp>
          <p:nvGrpSpPr>
            <p:cNvPr id="140" name="Group 139">
              <a:extLst>
                <a:ext uri="{FF2B5EF4-FFF2-40B4-BE49-F238E27FC236}">
                  <a16:creationId xmlns:a16="http://schemas.microsoft.com/office/drawing/2014/main" id="{FCC121F3-1772-4704-A975-E7BA147EA12B}"/>
                </a:ext>
              </a:extLst>
            </p:cNvPr>
            <p:cNvGrpSpPr/>
            <p:nvPr/>
          </p:nvGrpSpPr>
          <p:grpSpPr>
            <a:xfrm>
              <a:off x="1937381" y="2881467"/>
              <a:ext cx="476523" cy="476523"/>
              <a:chOff x="1937381" y="2881467"/>
              <a:chExt cx="476523" cy="476523"/>
            </a:xfrm>
          </p:grpSpPr>
          <p:sp>
            <p:nvSpPr>
              <p:cNvPr id="141" name="Oval 140">
                <a:extLst>
                  <a:ext uri="{FF2B5EF4-FFF2-40B4-BE49-F238E27FC236}">
                    <a16:creationId xmlns:a16="http://schemas.microsoft.com/office/drawing/2014/main" id="{0B460E5E-0B51-4AF6-A01A-1A01F92FD773}"/>
                  </a:ext>
                </a:extLst>
              </p:cNvPr>
              <p:cNvSpPr/>
              <p:nvPr/>
            </p:nvSpPr>
            <p:spPr>
              <a:xfrm>
                <a:off x="1937381" y="2881467"/>
                <a:ext cx="476523" cy="47652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142" name="Freeform: Shape 141">
                <a:extLst>
                  <a:ext uri="{FF2B5EF4-FFF2-40B4-BE49-F238E27FC236}">
                    <a16:creationId xmlns:a16="http://schemas.microsoft.com/office/drawing/2014/main" id="{20442E5E-0438-40F3-9AC3-8FD34E88E300}"/>
                  </a:ext>
                </a:extLst>
              </p:cNvPr>
              <p:cNvSpPr/>
              <p:nvPr/>
            </p:nvSpPr>
            <p:spPr>
              <a:xfrm>
                <a:off x="2090029" y="3089517"/>
                <a:ext cx="168169" cy="211802"/>
              </a:xfrm>
              <a:custGeom>
                <a:avLst/>
                <a:gdLst>
                  <a:gd name="connsiteX0" fmla="*/ 222778 w 877918"/>
                  <a:gd name="connsiteY0" fmla="*/ 511174 h 1105703"/>
                  <a:gd name="connsiteX1" fmla="*/ 400189 w 877918"/>
                  <a:gd name="connsiteY1" fmla="*/ 363245 h 1105703"/>
                  <a:gd name="connsiteX2" fmla="*/ 408764 w 877918"/>
                  <a:gd name="connsiteY2" fmla="*/ 332488 h 1105703"/>
                  <a:gd name="connsiteX3" fmla="*/ 408767 w 877918"/>
                  <a:gd name="connsiteY3" fmla="*/ 282760 h 1105703"/>
                  <a:gd name="connsiteX4" fmla="*/ 613080 w 877918"/>
                  <a:gd name="connsiteY4" fmla="*/ 179778 h 1105703"/>
                  <a:gd name="connsiteX5" fmla="*/ 726753 w 877918"/>
                  <a:gd name="connsiteY5" fmla="*/ 185394 h 1105703"/>
                  <a:gd name="connsiteX6" fmla="*/ 751506 w 877918"/>
                  <a:gd name="connsiteY6" fmla="*/ 201489 h 1105703"/>
                  <a:gd name="connsiteX7" fmla="*/ 767532 w 877918"/>
                  <a:gd name="connsiteY7" fmla="*/ 252859 h 1105703"/>
                  <a:gd name="connsiteX8" fmla="*/ 760510 w 877918"/>
                  <a:gd name="connsiteY8" fmla="*/ 302453 h 1105703"/>
                  <a:gd name="connsiteX9" fmla="*/ 736855 w 877918"/>
                  <a:gd name="connsiteY9" fmla="*/ 332406 h 1105703"/>
                  <a:gd name="connsiteX10" fmla="*/ 682103 w 877918"/>
                  <a:gd name="connsiteY10" fmla="*/ 337144 h 1105703"/>
                  <a:gd name="connsiteX11" fmla="*/ 636097 w 877918"/>
                  <a:gd name="connsiteY11" fmla="*/ 343428 h 1105703"/>
                  <a:gd name="connsiteX12" fmla="*/ 635664 w 877918"/>
                  <a:gd name="connsiteY12" fmla="*/ 388805 h 1105703"/>
                  <a:gd name="connsiteX13" fmla="*/ 661777 w 877918"/>
                  <a:gd name="connsiteY13" fmla="*/ 430385 h 1105703"/>
                  <a:gd name="connsiteX14" fmla="*/ 876131 w 877918"/>
                  <a:gd name="connsiteY14" fmla="*/ 709154 h 1105703"/>
                  <a:gd name="connsiteX15" fmla="*/ 878426 w 877918"/>
                  <a:gd name="connsiteY15" fmla="*/ 770373 h 1105703"/>
                  <a:gd name="connsiteX16" fmla="*/ 875279 w 877918"/>
                  <a:gd name="connsiteY16" fmla="*/ 884875 h 1105703"/>
                  <a:gd name="connsiteX17" fmla="*/ 841159 w 877918"/>
                  <a:gd name="connsiteY17" fmla="*/ 1037584 h 1105703"/>
                  <a:gd name="connsiteX18" fmla="*/ 820062 w 877918"/>
                  <a:gd name="connsiteY18" fmla="*/ 1075550 h 1105703"/>
                  <a:gd name="connsiteX19" fmla="*/ 724459 w 877918"/>
                  <a:gd name="connsiteY19" fmla="*/ 1104614 h 1105703"/>
                  <a:gd name="connsiteX20" fmla="*/ 616913 w 877918"/>
                  <a:gd name="connsiteY20" fmla="*/ 1088248 h 1105703"/>
                  <a:gd name="connsiteX21" fmla="*/ 259856 w 877918"/>
                  <a:gd name="connsiteY21" fmla="*/ 933771 h 1105703"/>
                  <a:gd name="connsiteX22" fmla="*/ 189007 w 877918"/>
                  <a:gd name="connsiteY22" fmla="*/ 858964 h 1105703"/>
                  <a:gd name="connsiteX23" fmla="*/ 161520 w 877918"/>
                  <a:gd name="connsiteY23" fmla="*/ 820335 h 1105703"/>
                  <a:gd name="connsiteX24" fmla="*/ 121465 w 877918"/>
                  <a:gd name="connsiteY24" fmla="*/ 789009 h 1105703"/>
                  <a:gd name="connsiteX25" fmla="*/ 41348 w 877918"/>
                  <a:gd name="connsiteY25" fmla="*/ 369068 h 1105703"/>
                  <a:gd name="connsiteX26" fmla="*/ 52303 w 877918"/>
                  <a:gd name="connsiteY26" fmla="*/ 313194 h 1105703"/>
                  <a:gd name="connsiteX27" fmla="*/ 45766 w 877918"/>
                  <a:gd name="connsiteY27" fmla="*/ 260318 h 1105703"/>
                  <a:gd name="connsiteX28" fmla="*/ 39511 w 877918"/>
                  <a:gd name="connsiteY28" fmla="*/ 209234 h 1105703"/>
                  <a:gd name="connsiteX29" fmla="*/ 11907 w 877918"/>
                  <a:gd name="connsiteY29" fmla="*/ 117317 h 1105703"/>
                  <a:gd name="connsiteX30" fmla="*/ 907 w 877918"/>
                  <a:gd name="connsiteY30" fmla="*/ 70014 h 1105703"/>
                  <a:gd name="connsiteX31" fmla="*/ 6623 w 877918"/>
                  <a:gd name="connsiteY31" fmla="*/ 26177 h 1105703"/>
                  <a:gd name="connsiteX32" fmla="*/ 42138 w 877918"/>
                  <a:gd name="connsiteY32" fmla="*/ 3359 h 1105703"/>
                  <a:gd name="connsiteX33" fmla="*/ 98369 w 877918"/>
                  <a:gd name="connsiteY33" fmla="*/ 75 h 1105703"/>
                  <a:gd name="connsiteX34" fmla="*/ 150058 w 877918"/>
                  <a:gd name="connsiteY34" fmla="*/ 4702 h 1105703"/>
                  <a:gd name="connsiteX35" fmla="*/ 175935 w 877918"/>
                  <a:gd name="connsiteY35" fmla="*/ 33509 h 1105703"/>
                  <a:gd name="connsiteX36" fmla="*/ 175686 w 877918"/>
                  <a:gd name="connsiteY36" fmla="*/ 82163 h 1105703"/>
                  <a:gd name="connsiteX37" fmla="*/ 168044 w 877918"/>
                  <a:gd name="connsiteY37" fmla="*/ 142449 h 1105703"/>
                  <a:gd name="connsiteX38" fmla="*/ 162463 w 877918"/>
                  <a:gd name="connsiteY38" fmla="*/ 251774 h 1105703"/>
                  <a:gd name="connsiteX39" fmla="*/ 174159 w 877918"/>
                  <a:gd name="connsiteY39" fmla="*/ 303871 h 1105703"/>
                  <a:gd name="connsiteX40" fmla="*/ 201838 w 877918"/>
                  <a:gd name="connsiteY40" fmla="*/ 346063 h 1105703"/>
                  <a:gd name="connsiteX41" fmla="*/ 217830 w 877918"/>
                  <a:gd name="connsiteY41" fmla="*/ 362492 h 1105703"/>
                  <a:gd name="connsiteX42" fmla="*/ 235400 w 877918"/>
                  <a:gd name="connsiteY42" fmla="*/ 371934 h 1105703"/>
                  <a:gd name="connsiteX43" fmla="*/ 248974 w 877918"/>
                  <a:gd name="connsiteY43" fmla="*/ 413542 h 1105703"/>
                  <a:gd name="connsiteX44" fmla="*/ 229730 w 877918"/>
                  <a:gd name="connsiteY44" fmla="*/ 461133 h 1105703"/>
                  <a:gd name="connsiteX45" fmla="*/ 222916 w 877918"/>
                  <a:gd name="connsiteY45" fmla="*/ 485836 h 1105703"/>
                  <a:gd name="connsiteX46" fmla="*/ 222778 w 877918"/>
                  <a:gd name="connsiteY46" fmla="*/ 511174 h 110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7918" h="1105703">
                    <a:moveTo>
                      <a:pt x="222778" y="511174"/>
                    </a:moveTo>
                    <a:cubicBezTo>
                      <a:pt x="276503" y="414951"/>
                      <a:pt x="394749" y="365568"/>
                      <a:pt x="400189" y="363245"/>
                    </a:cubicBezTo>
                    <a:cubicBezTo>
                      <a:pt x="413533" y="357547"/>
                      <a:pt x="410075" y="344521"/>
                      <a:pt x="408764" y="332488"/>
                    </a:cubicBezTo>
                    <a:cubicBezTo>
                      <a:pt x="406986" y="316166"/>
                      <a:pt x="404371" y="298846"/>
                      <a:pt x="408767" y="282760"/>
                    </a:cubicBezTo>
                    <a:cubicBezTo>
                      <a:pt x="411004" y="274574"/>
                      <a:pt x="434291" y="183607"/>
                      <a:pt x="613080" y="179778"/>
                    </a:cubicBezTo>
                    <a:cubicBezTo>
                      <a:pt x="651056" y="178975"/>
                      <a:pt x="689041" y="180852"/>
                      <a:pt x="726753" y="185394"/>
                    </a:cubicBezTo>
                    <a:cubicBezTo>
                      <a:pt x="737877" y="186745"/>
                      <a:pt x="746375" y="191317"/>
                      <a:pt x="751506" y="201489"/>
                    </a:cubicBezTo>
                    <a:cubicBezTo>
                      <a:pt x="759005" y="216355"/>
                      <a:pt x="764973" y="236431"/>
                      <a:pt x="767532" y="252859"/>
                    </a:cubicBezTo>
                    <a:cubicBezTo>
                      <a:pt x="770260" y="270370"/>
                      <a:pt x="766793" y="286116"/>
                      <a:pt x="760510" y="302453"/>
                    </a:cubicBezTo>
                    <a:cubicBezTo>
                      <a:pt x="755428" y="315666"/>
                      <a:pt x="752535" y="329034"/>
                      <a:pt x="736855" y="332406"/>
                    </a:cubicBezTo>
                    <a:cubicBezTo>
                      <a:pt x="719679" y="336100"/>
                      <a:pt x="699713" y="336555"/>
                      <a:pt x="682103" y="337144"/>
                    </a:cubicBezTo>
                    <a:cubicBezTo>
                      <a:pt x="669841" y="337554"/>
                      <a:pt x="643891" y="330108"/>
                      <a:pt x="636097" y="343428"/>
                    </a:cubicBezTo>
                    <a:cubicBezTo>
                      <a:pt x="629066" y="355444"/>
                      <a:pt x="631832" y="376354"/>
                      <a:pt x="635664" y="388805"/>
                    </a:cubicBezTo>
                    <a:cubicBezTo>
                      <a:pt x="640489" y="404479"/>
                      <a:pt x="648248" y="421437"/>
                      <a:pt x="661777" y="430385"/>
                    </a:cubicBezTo>
                    <a:cubicBezTo>
                      <a:pt x="847546" y="553259"/>
                      <a:pt x="874997" y="693461"/>
                      <a:pt x="876131" y="709154"/>
                    </a:cubicBezTo>
                    <a:cubicBezTo>
                      <a:pt x="877600" y="729465"/>
                      <a:pt x="878084" y="750011"/>
                      <a:pt x="878426" y="770373"/>
                    </a:cubicBezTo>
                    <a:cubicBezTo>
                      <a:pt x="879066" y="808476"/>
                      <a:pt x="878513" y="846913"/>
                      <a:pt x="875279" y="884875"/>
                    </a:cubicBezTo>
                    <a:cubicBezTo>
                      <a:pt x="866528" y="987576"/>
                      <a:pt x="844348" y="1029466"/>
                      <a:pt x="841159" y="1037584"/>
                    </a:cubicBezTo>
                    <a:cubicBezTo>
                      <a:pt x="835290" y="1052524"/>
                      <a:pt x="831802" y="1064232"/>
                      <a:pt x="820062" y="1075550"/>
                    </a:cubicBezTo>
                    <a:cubicBezTo>
                      <a:pt x="794254" y="1100432"/>
                      <a:pt x="759843" y="1111218"/>
                      <a:pt x="724459" y="1104614"/>
                    </a:cubicBezTo>
                    <a:cubicBezTo>
                      <a:pt x="689090" y="1098013"/>
                      <a:pt x="651476" y="1098483"/>
                      <a:pt x="616913" y="1088248"/>
                    </a:cubicBezTo>
                    <a:cubicBezTo>
                      <a:pt x="599990" y="1083237"/>
                      <a:pt x="451296" y="1062713"/>
                      <a:pt x="259856" y="933771"/>
                    </a:cubicBezTo>
                    <a:cubicBezTo>
                      <a:pt x="231657" y="914778"/>
                      <a:pt x="207967" y="887323"/>
                      <a:pt x="189007" y="858964"/>
                    </a:cubicBezTo>
                    <a:cubicBezTo>
                      <a:pt x="180108" y="845654"/>
                      <a:pt x="172689" y="831991"/>
                      <a:pt x="161520" y="820335"/>
                    </a:cubicBezTo>
                    <a:cubicBezTo>
                      <a:pt x="149536" y="807828"/>
                      <a:pt x="133873" y="800899"/>
                      <a:pt x="121465" y="789009"/>
                    </a:cubicBezTo>
                    <a:cubicBezTo>
                      <a:pt x="-49751" y="624940"/>
                      <a:pt x="40089" y="384101"/>
                      <a:pt x="41348" y="369068"/>
                    </a:cubicBezTo>
                    <a:cubicBezTo>
                      <a:pt x="42964" y="349784"/>
                      <a:pt x="49345" y="332082"/>
                      <a:pt x="52303" y="313194"/>
                    </a:cubicBezTo>
                    <a:cubicBezTo>
                      <a:pt x="55204" y="294669"/>
                      <a:pt x="49834" y="278129"/>
                      <a:pt x="45766" y="260318"/>
                    </a:cubicBezTo>
                    <a:cubicBezTo>
                      <a:pt x="41909" y="243436"/>
                      <a:pt x="42790" y="226093"/>
                      <a:pt x="39511" y="209234"/>
                    </a:cubicBezTo>
                    <a:cubicBezTo>
                      <a:pt x="36543" y="193976"/>
                      <a:pt x="19842" y="134759"/>
                      <a:pt x="11907" y="117317"/>
                    </a:cubicBezTo>
                    <a:cubicBezTo>
                      <a:pt x="4837" y="101774"/>
                      <a:pt x="1641" y="87220"/>
                      <a:pt x="907" y="70014"/>
                    </a:cubicBezTo>
                    <a:cubicBezTo>
                      <a:pt x="285" y="55449"/>
                      <a:pt x="-2568" y="38605"/>
                      <a:pt x="6623" y="26177"/>
                    </a:cubicBezTo>
                    <a:cubicBezTo>
                      <a:pt x="15934" y="13585"/>
                      <a:pt x="26502" y="4902"/>
                      <a:pt x="42138" y="3359"/>
                    </a:cubicBezTo>
                    <a:cubicBezTo>
                      <a:pt x="60889" y="1509"/>
                      <a:pt x="79473" y="-406"/>
                      <a:pt x="98369" y="75"/>
                    </a:cubicBezTo>
                    <a:cubicBezTo>
                      <a:pt x="114691" y="490"/>
                      <a:pt x="134437" y="126"/>
                      <a:pt x="150058" y="4702"/>
                    </a:cubicBezTo>
                    <a:cubicBezTo>
                      <a:pt x="163081" y="8518"/>
                      <a:pt x="171447" y="21245"/>
                      <a:pt x="175935" y="33509"/>
                    </a:cubicBezTo>
                    <a:cubicBezTo>
                      <a:pt x="181571" y="48911"/>
                      <a:pt x="177613" y="66408"/>
                      <a:pt x="175686" y="82163"/>
                    </a:cubicBezTo>
                    <a:cubicBezTo>
                      <a:pt x="173227" y="102269"/>
                      <a:pt x="170548" y="122349"/>
                      <a:pt x="168044" y="142449"/>
                    </a:cubicBezTo>
                    <a:cubicBezTo>
                      <a:pt x="163554" y="178482"/>
                      <a:pt x="157121" y="215533"/>
                      <a:pt x="162463" y="251774"/>
                    </a:cubicBezTo>
                    <a:cubicBezTo>
                      <a:pt x="164958" y="268697"/>
                      <a:pt x="166928" y="288283"/>
                      <a:pt x="174159" y="303871"/>
                    </a:cubicBezTo>
                    <a:cubicBezTo>
                      <a:pt x="181355" y="319167"/>
                      <a:pt x="190673" y="333371"/>
                      <a:pt x="201838" y="346063"/>
                    </a:cubicBezTo>
                    <a:cubicBezTo>
                      <a:pt x="206816" y="351874"/>
                      <a:pt x="211588" y="357954"/>
                      <a:pt x="217830" y="362492"/>
                    </a:cubicBezTo>
                    <a:cubicBezTo>
                      <a:pt x="223311" y="366478"/>
                      <a:pt x="229808" y="368221"/>
                      <a:pt x="235400" y="371934"/>
                    </a:cubicBezTo>
                    <a:cubicBezTo>
                      <a:pt x="250725" y="382111"/>
                      <a:pt x="257113" y="396965"/>
                      <a:pt x="248974" y="413542"/>
                    </a:cubicBezTo>
                    <a:cubicBezTo>
                      <a:pt x="241226" y="428833"/>
                      <a:pt x="234788" y="444754"/>
                      <a:pt x="229730" y="461133"/>
                    </a:cubicBezTo>
                    <a:cubicBezTo>
                      <a:pt x="227294" y="469257"/>
                      <a:pt x="224580" y="477522"/>
                      <a:pt x="222916" y="485836"/>
                    </a:cubicBezTo>
                    <a:cubicBezTo>
                      <a:pt x="221800" y="491410"/>
                      <a:pt x="218212" y="507455"/>
                      <a:pt x="222778" y="511174"/>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43" name="Freeform: Shape 142">
                <a:extLst>
                  <a:ext uri="{FF2B5EF4-FFF2-40B4-BE49-F238E27FC236}">
                    <a16:creationId xmlns:a16="http://schemas.microsoft.com/office/drawing/2014/main" id="{21B8BC94-AE5C-45B8-B9C5-7CEEAAE88D92}"/>
                  </a:ext>
                </a:extLst>
              </p:cNvPr>
              <p:cNvSpPr/>
              <p:nvPr/>
            </p:nvSpPr>
            <p:spPr>
              <a:xfrm>
                <a:off x="2130359" y="3070598"/>
                <a:ext cx="73858" cy="78858"/>
              </a:xfrm>
              <a:custGeom>
                <a:avLst/>
                <a:gdLst>
                  <a:gd name="connsiteX0" fmla="*/ 82524 w 385572"/>
                  <a:gd name="connsiteY0" fmla="*/ 411796 h 411672"/>
                  <a:gd name="connsiteX1" fmla="*/ 20544 w 385572"/>
                  <a:gd name="connsiteY1" fmla="*/ 390877 h 411672"/>
                  <a:gd name="connsiteX2" fmla="*/ 10144 w 385572"/>
                  <a:gd name="connsiteY2" fmla="*/ 353817 h 411672"/>
                  <a:gd name="connsiteX3" fmla="*/ 845 w 385572"/>
                  <a:gd name="connsiteY3" fmla="*/ 310065 h 411672"/>
                  <a:gd name="connsiteX4" fmla="*/ 10257 w 385572"/>
                  <a:gd name="connsiteY4" fmla="*/ 226208 h 411672"/>
                  <a:gd name="connsiteX5" fmla="*/ 40548 w 385572"/>
                  <a:gd name="connsiteY5" fmla="*/ 158367 h 411672"/>
                  <a:gd name="connsiteX6" fmla="*/ 60597 w 385572"/>
                  <a:gd name="connsiteY6" fmla="*/ 129069 h 411672"/>
                  <a:gd name="connsiteX7" fmla="*/ 46556 w 385572"/>
                  <a:gd name="connsiteY7" fmla="*/ 91281 h 411672"/>
                  <a:gd name="connsiteX8" fmla="*/ 42754 w 385572"/>
                  <a:gd name="connsiteY8" fmla="*/ 31478 h 411672"/>
                  <a:gd name="connsiteX9" fmla="*/ 158096 w 385572"/>
                  <a:gd name="connsiteY9" fmla="*/ 31705 h 411672"/>
                  <a:gd name="connsiteX10" fmla="*/ 163918 w 385572"/>
                  <a:gd name="connsiteY10" fmla="*/ 66448 h 411672"/>
                  <a:gd name="connsiteX11" fmla="*/ 188364 w 385572"/>
                  <a:gd name="connsiteY11" fmla="*/ 74285 h 411672"/>
                  <a:gd name="connsiteX12" fmla="*/ 228857 w 385572"/>
                  <a:gd name="connsiteY12" fmla="*/ 74904 h 411672"/>
                  <a:gd name="connsiteX13" fmla="*/ 251718 w 385572"/>
                  <a:gd name="connsiteY13" fmla="*/ 66417 h 411672"/>
                  <a:gd name="connsiteX14" fmla="*/ 270042 w 385572"/>
                  <a:gd name="connsiteY14" fmla="*/ 38651 h 411672"/>
                  <a:gd name="connsiteX15" fmla="*/ 291243 w 385572"/>
                  <a:gd name="connsiteY15" fmla="*/ 14704 h 411672"/>
                  <a:gd name="connsiteX16" fmla="*/ 350480 w 385572"/>
                  <a:gd name="connsiteY16" fmla="*/ 32879 h 411672"/>
                  <a:gd name="connsiteX17" fmla="*/ 385704 w 385572"/>
                  <a:gd name="connsiteY17" fmla="*/ 84836 h 411672"/>
                  <a:gd name="connsiteX18" fmla="*/ 372488 w 385572"/>
                  <a:gd name="connsiteY18" fmla="*/ 109652 h 411672"/>
                  <a:gd name="connsiteX19" fmla="*/ 352762 w 385572"/>
                  <a:gd name="connsiteY19" fmla="*/ 139420 h 411672"/>
                  <a:gd name="connsiteX20" fmla="*/ 381946 w 385572"/>
                  <a:gd name="connsiteY20" fmla="*/ 200782 h 411672"/>
                  <a:gd name="connsiteX21" fmla="*/ 356187 w 385572"/>
                  <a:gd name="connsiteY21" fmla="*/ 209619 h 411672"/>
                  <a:gd name="connsiteX22" fmla="*/ 310872 w 385572"/>
                  <a:gd name="connsiteY22" fmla="*/ 210789 h 411672"/>
                  <a:gd name="connsiteX23" fmla="*/ 168818 w 385572"/>
                  <a:gd name="connsiteY23" fmla="*/ 299378 h 411672"/>
                  <a:gd name="connsiteX24" fmla="*/ 151177 w 385572"/>
                  <a:gd name="connsiteY24" fmla="*/ 389161 h 411672"/>
                  <a:gd name="connsiteX25" fmla="*/ 123817 w 385572"/>
                  <a:gd name="connsiteY25" fmla="*/ 409319 h 411672"/>
                  <a:gd name="connsiteX26" fmla="*/ 82524 w 385572"/>
                  <a:gd name="connsiteY26" fmla="*/ 411796 h 41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5572" h="411672">
                    <a:moveTo>
                      <a:pt x="82524" y="411796"/>
                    </a:moveTo>
                    <a:cubicBezTo>
                      <a:pt x="60100" y="410801"/>
                      <a:pt x="32131" y="414802"/>
                      <a:pt x="20544" y="390877"/>
                    </a:cubicBezTo>
                    <a:cubicBezTo>
                      <a:pt x="15029" y="379488"/>
                      <a:pt x="12993" y="366049"/>
                      <a:pt x="10144" y="353817"/>
                    </a:cubicBezTo>
                    <a:cubicBezTo>
                      <a:pt x="6764" y="339306"/>
                      <a:pt x="2562" y="324903"/>
                      <a:pt x="845" y="310065"/>
                    </a:cubicBezTo>
                    <a:cubicBezTo>
                      <a:pt x="-2369" y="282300"/>
                      <a:pt x="4198" y="253187"/>
                      <a:pt x="10257" y="226208"/>
                    </a:cubicBezTo>
                    <a:cubicBezTo>
                      <a:pt x="15856" y="201275"/>
                      <a:pt x="25992" y="179499"/>
                      <a:pt x="40548" y="158367"/>
                    </a:cubicBezTo>
                    <a:cubicBezTo>
                      <a:pt x="46919" y="149117"/>
                      <a:pt x="58936" y="140737"/>
                      <a:pt x="60597" y="129069"/>
                    </a:cubicBezTo>
                    <a:cubicBezTo>
                      <a:pt x="62427" y="116208"/>
                      <a:pt x="52237" y="102101"/>
                      <a:pt x="46556" y="91281"/>
                    </a:cubicBezTo>
                    <a:cubicBezTo>
                      <a:pt x="36244" y="71641"/>
                      <a:pt x="23630" y="50602"/>
                      <a:pt x="42754" y="31478"/>
                    </a:cubicBezTo>
                    <a:cubicBezTo>
                      <a:pt x="68615" y="5618"/>
                      <a:pt x="148891" y="-24162"/>
                      <a:pt x="158096" y="31705"/>
                    </a:cubicBezTo>
                    <a:cubicBezTo>
                      <a:pt x="159880" y="42533"/>
                      <a:pt x="158444" y="56615"/>
                      <a:pt x="163918" y="66448"/>
                    </a:cubicBezTo>
                    <a:cubicBezTo>
                      <a:pt x="169086" y="75730"/>
                      <a:pt x="179180" y="74618"/>
                      <a:pt x="188364" y="74285"/>
                    </a:cubicBezTo>
                    <a:cubicBezTo>
                      <a:pt x="201915" y="73793"/>
                      <a:pt x="215322" y="74327"/>
                      <a:pt x="228857" y="74904"/>
                    </a:cubicBezTo>
                    <a:cubicBezTo>
                      <a:pt x="238207" y="75303"/>
                      <a:pt x="246191" y="74904"/>
                      <a:pt x="251718" y="66417"/>
                    </a:cubicBezTo>
                    <a:cubicBezTo>
                      <a:pt x="258036" y="56716"/>
                      <a:pt x="262457" y="47676"/>
                      <a:pt x="270042" y="38651"/>
                    </a:cubicBezTo>
                    <a:cubicBezTo>
                      <a:pt x="277029" y="30337"/>
                      <a:pt x="280997" y="19801"/>
                      <a:pt x="291243" y="14704"/>
                    </a:cubicBezTo>
                    <a:cubicBezTo>
                      <a:pt x="311125" y="4813"/>
                      <a:pt x="335250" y="20908"/>
                      <a:pt x="350480" y="32879"/>
                    </a:cubicBezTo>
                    <a:cubicBezTo>
                      <a:pt x="366059" y="45124"/>
                      <a:pt x="386946" y="63102"/>
                      <a:pt x="385704" y="84836"/>
                    </a:cubicBezTo>
                    <a:cubicBezTo>
                      <a:pt x="385103" y="95365"/>
                      <a:pt x="380068" y="102839"/>
                      <a:pt x="372488" y="109652"/>
                    </a:cubicBezTo>
                    <a:cubicBezTo>
                      <a:pt x="364865" y="116504"/>
                      <a:pt x="349991" y="127636"/>
                      <a:pt x="352762" y="139420"/>
                    </a:cubicBezTo>
                    <a:cubicBezTo>
                      <a:pt x="357355" y="158947"/>
                      <a:pt x="394407" y="176235"/>
                      <a:pt x="381946" y="200782"/>
                    </a:cubicBezTo>
                    <a:cubicBezTo>
                      <a:pt x="376998" y="210529"/>
                      <a:pt x="365466" y="209583"/>
                      <a:pt x="356187" y="209619"/>
                    </a:cubicBezTo>
                    <a:cubicBezTo>
                      <a:pt x="341113" y="209678"/>
                      <a:pt x="325909" y="209650"/>
                      <a:pt x="310872" y="210789"/>
                    </a:cubicBezTo>
                    <a:cubicBezTo>
                      <a:pt x="253562" y="215129"/>
                      <a:pt x="196671" y="248630"/>
                      <a:pt x="168818" y="299378"/>
                    </a:cubicBezTo>
                    <a:cubicBezTo>
                      <a:pt x="153559" y="327181"/>
                      <a:pt x="156056" y="358734"/>
                      <a:pt x="151177" y="389161"/>
                    </a:cubicBezTo>
                    <a:cubicBezTo>
                      <a:pt x="148612" y="405154"/>
                      <a:pt x="138445" y="407018"/>
                      <a:pt x="123817" y="409319"/>
                    </a:cubicBezTo>
                    <a:cubicBezTo>
                      <a:pt x="120600" y="409825"/>
                      <a:pt x="82506" y="412362"/>
                      <a:pt x="82524" y="411796"/>
                    </a:cubicBezTo>
                    <a:close/>
                  </a:path>
                </a:pathLst>
              </a:custGeom>
              <a:solidFill>
                <a:schemeClr val="bg1"/>
              </a:solidFill>
              <a:ln w="1180" cap="flat">
                <a:solidFill>
                  <a:schemeClr val="tx2">
                    <a:lumMod val="20000"/>
                    <a:lumOff val="80000"/>
                  </a:schemeClr>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44" name="Freeform: Shape 143">
                <a:extLst>
                  <a:ext uri="{FF2B5EF4-FFF2-40B4-BE49-F238E27FC236}">
                    <a16:creationId xmlns:a16="http://schemas.microsoft.com/office/drawing/2014/main" id="{C89ED221-582E-408D-BF97-AE845CA019D4}"/>
                  </a:ext>
                </a:extLst>
              </p:cNvPr>
              <p:cNvSpPr/>
              <p:nvPr/>
            </p:nvSpPr>
            <p:spPr>
              <a:xfrm>
                <a:off x="2218544" y="2962501"/>
                <a:ext cx="78176" cy="126582"/>
              </a:xfrm>
              <a:custGeom>
                <a:avLst/>
                <a:gdLst>
                  <a:gd name="connsiteX0" fmla="*/ 252311 w 408113"/>
                  <a:gd name="connsiteY0" fmla="*/ 0 h 660811"/>
                  <a:gd name="connsiteX1" fmla="*/ 302318 w 408113"/>
                  <a:gd name="connsiteY1" fmla="*/ 3999 h 660811"/>
                  <a:gd name="connsiteX2" fmla="*/ 358900 w 408113"/>
                  <a:gd name="connsiteY2" fmla="*/ 17421 h 660811"/>
                  <a:gd name="connsiteX3" fmla="*/ 386091 w 408113"/>
                  <a:gd name="connsiteY3" fmla="*/ 22522 h 660811"/>
                  <a:gd name="connsiteX4" fmla="*/ 406642 w 408113"/>
                  <a:gd name="connsiteY4" fmla="*/ 34171 h 660811"/>
                  <a:gd name="connsiteX5" fmla="*/ 402267 w 408113"/>
                  <a:gd name="connsiteY5" fmla="*/ 59636 h 660811"/>
                  <a:gd name="connsiteX6" fmla="*/ 355057 w 408113"/>
                  <a:gd name="connsiteY6" fmla="*/ 115882 h 660811"/>
                  <a:gd name="connsiteX7" fmla="*/ 322261 w 408113"/>
                  <a:gd name="connsiteY7" fmla="*/ 157833 h 660811"/>
                  <a:gd name="connsiteX8" fmla="*/ 273746 w 408113"/>
                  <a:gd name="connsiteY8" fmla="*/ 215262 h 660811"/>
                  <a:gd name="connsiteX9" fmla="*/ 251829 w 408113"/>
                  <a:gd name="connsiteY9" fmla="*/ 243173 h 660811"/>
                  <a:gd name="connsiteX10" fmla="*/ 260247 w 408113"/>
                  <a:gd name="connsiteY10" fmla="*/ 263358 h 660811"/>
                  <a:gd name="connsiteX11" fmla="*/ 279068 w 408113"/>
                  <a:gd name="connsiteY11" fmla="*/ 264621 h 660811"/>
                  <a:gd name="connsiteX12" fmla="*/ 301067 w 408113"/>
                  <a:gd name="connsiteY12" fmla="*/ 268581 h 660811"/>
                  <a:gd name="connsiteX13" fmla="*/ 313745 w 408113"/>
                  <a:gd name="connsiteY13" fmla="*/ 293857 h 660811"/>
                  <a:gd name="connsiteX14" fmla="*/ 302918 w 408113"/>
                  <a:gd name="connsiteY14" fmla="*/ 313940 h 660811"/>
                  <a:gd name="connsiteX15" fmla="*/ 240941 w 408113"/>
                  <a:gd name="connsiteY15" fmla="*/ 385508 h 660811"/>
                  <a:gd name="connsiteX16" fmla="*/ 199368 w 408113"/>
                  <a:gd name="connsiteY16" fmla="*/ 436993 h 660811"/>
                  <a:gd name="connsiteX17" fmla="*/ 128098 w 408113"/>
                  <a:gd name="connsiteY17" fmla="*/ 522467 h 660811"/>
                  <a:gd name="connsiteX18" fmla="*/ 61132 w 408113"/>
                  <a:gd name="connsiteY18" fmla="*/ 604622 h 660811"/>
                  <a:gd name="connsiteX19" fmla="*/ 39996 w 408113"/>
                  <a:gd name="connsiteY19" fmla="*/ 630823 h 660811"/>
                  <a:gd name="connsiteX20" fmla="*/ 34524 w 408113"/>
                  <a:gd name="connsiteY20" fmla="*/ 636153 h 660811"/>
                  <a:gd name="connsiteX21" fmla="*/ 20419 w 408113"/>
                  <a:gd name="connsiteY21" fmla="*/ 651770 h 660811"/>
                  <a:gd name="connsiteX22" fmla="*/ 12570 w 408113"/>
                  <a:gd name="connsiteY22" fmla="*/ 659711 h 660811"/>
                  <a:gd name="connsiteX23" fmla="*/ 10 w 408113"/>
                  <a:gd name="connsiteY23" fmla="*/ 653035 h 660811"/>
                  <a:gd name="connsiteX24" fmla="*/ 7380 w 408113"/>
                  <a:gd name="connsiteY24" fmla="*/ 633585 h 660811"/>
                  <a:gd name="connsiteX25" fmla="*/ 17632 w 408113"/>
                  <a:gd name="connsiteY25" fmla="*/ 614523 h 660811"/>
                  <a:gd name="connsiteX26" fmla="*/ 24114 w 408113"/>
                  <a:gd name="connsiteY26" fmla="*/ 602028 h 660811"/>
                  <a:gd name="connsiteX27" fmla="*/ 36899 w 408113"/>
                  <a:gd name="connsiteY27" fmla="*/ 580169 h 660811"/>
                  <a:gd name="connsiteX28" fmla="*/ 149047 w 408113"/>
                  <a:gd name="connsiteY28" fmla="*/ 372949 h 660811"/>
                  <a:gd name="connsiteX29" fmla="*/ 151527 w 408113"/>
                  <a:gd name="connsiteY29" fmla="*/ 358110 h 660811"/>
                  <a:gd name="connsiteX30" fmla="*/ 138440 w 408113"/>
                  <a:gd name="connsiteY30" fmla="*/ 351606 h 660811"/>
                  <a:gd name="connsiteX31" fmla="*/ 99109 w 408113"/>
                  <a:gd name="connsiteY31" fmla="*/ 347871 h 660811"/>
                  <a:gd name="connsiteX32" fmla="*/ 75567 w 408113"/>
                  <a:gd name="connsiteY32" fmla="*/ 331241 h 660811"/>
                  <a:gd name="connsiteX33" fmla="*/ 72961 w 408113"/>
                  <a:gd name="connsiteY33" fmla="*/ 313539 h 660811"/>
                  <a:gd name="connsiteX34" fmla="*/ 84295 w 408113"/>
                  <a:gd name="connsiteY34" fmla="*/ 289513 h 660811"/>
                  <a:gd name="connsiteX35" fmla="*/ 99879 w 408113"/>
                  <a:gd name="connsiteY35" fmla="*/ 259812 h 660811"/>
                  <a:gd name="connsiteX36" fmla="*/ 200524 w 408113"/>
                  <a:gd name="connsiteY36" fmla="*/ 70441 h 660811"/>
                  <a:gd name="connsiteX37" fmla="*/ 223750 w 408113"/>
                  <a:gd name="connsiteY37" fmla="*/ 24231 h 660811"/>
                  <a:gd name="connsiteX38" fmla="*/ 252311 w 408113"/>
                  <a:gd name="connsiteY38" fmla="*/ 0 h 66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8113" h="660811">
                    <a:moveTo>
                      <a:pt x="252311" y="0"/>
                    </a:moveTo>
                    <a:cubicBezTo>
                      <a:pt x="272532" y="1680"/>
                      <a:pt x="287404" y="3552"/>
                      <a:pt x="302318" y="3999"/>
                    </a:cubicBezTo>
                    <a:cubicBezTo>
                      <a:pt x="322218" y="4595"/>
                      <a:pt x="340397" y="11238"/>
                      <a:pt x="358900" y="17421"/>
                    </a:cubicBezTo>
                    <a:cubicBezTo>
                      <a:pt x="367565" y="20316"/>
                      <a:pt x="376985" y="21006"/>
                      <a:pt x="386091" y="22522"/>
                    </a:cubicBezTo>
                    <a:cubicBezTo>
                      <a:pt x="394414" y="23907"/>
                      <a:pt x="402889" y="25295"/>
                      <a:pt x="406642" y="34171"/>
                    </a:cubicBezTo>
                    <a:cubicBezTo>
                      <a:pt x="410533" y="43374"/>
                      <a:pt x="408497" y="52131"/>
                      <a:pt x="402267" y="59636"/>
                    </a:cubicBezTo>
                    <a:cubicBezTo>
                      <a:pt x="386632" y="78470"/>
                      <a:pt x="370556" y="96940"/>
                      <a:pt x="355057" y="115882"/>
                    </a:cubicBezTo>
                    <a:cubicBezTo>
                      <a:pt x="343819" y="129616"/>
                      <a:pt x="333531" y="144128"/>
                      <a:pt x="322261" y="157833"/>
                    </a:cubicBezTo>
                    <a:cubicBezTo>
                      <a:pt x="306345" y="177187"/>
                      <a:pt x="289813" y="196032"/>
                      <a:pt x="273746" y="215262"/>
                    </a:cubicBezTo>
                    <a:cubicBezTo>
                      <a:pt x="266162" y="224338"/>
                      <a:pt x="258659" y="233530"/>
                      <a:pt x="251829" y="243173"/>
                    </a:cubicBezTo>
                    <a:cubicBezTo>
                      <a:pt x="245281" y="252418"/>
                      <a:pt x="249104" y="261384"/>
                      <a:pt x="260247" y="263358"/>
                    </a:cubicBezTo>
                    <a:cubicBezTo>
                      <a:pt x="266401" y="264449"/>
                      <a:pt x="272836" y="263845"/>
                      <a:pt x="279068" y="264621"/>
                    </a:cubicBezTo>
                    <a:cubicBezTo>
                      <a:pt x="286461" y="265541"/>
                      <a:pt x="293983" y="266427"/>
                      <a:pt x="301067" y="268581"/>
                    </a:cubicBezTo>
                    <a:cubicBezTo>
                      <a:pt x="312341" y="272008"/>
                      <a:pt x="317783" y="282644"/>
                      <a:pt x="313745" y="293857"/>
                    </a:cubicBezTo>
                    <a:cubicBezTo>
                      <a:pt x="311187" y="300958"/>
                      <a:pt x="307713" y="308206"/>
                      <a:pt x="302918" y="313940"/>
                    </a:cubicBezTo>
                    <a:cubicBezTo>
                      <a:pt x="282675" y="338150"/>
                      <a:pt x="262332" y="362322"/>
                      <a:pt x="240941" y="385508"/>
                    </a:cubicBezTo>
                    <a:cubicBezTo>
                      <a:pt x="225899" y="401813"/>
                      <a:pt x="213246" y="419855"/>
                      <a:pt x="199368" y="436993"/>
                    </a:cubicBezTo>
                    <a:cubicBezTo>
                      <a:pt x="176024" y="465818"/>
                      <a:pt x="151726" y="493868"/>
                      <a:pt x="128098" y="522467"/>
                    </a:cubicBezTo>
                    <a:cubicBezTo>
                      <a:pt x="105595" y="549702"/>
                      <a:pt x="83422" y="577211"/>
                      <a:pt x="61132" y="604622"/>
                    </a:cubicBezTo>
                    <a:cubicBezTo>
                      <a:pt x="54053" y="613328"/>
                      <a:pt x="47108" y="622144"/>
                      <a:pt x="39996" y="630823"/>
                    </a:cubicBezTo>
                    <a:cubicBezTo>
                      <a:pt x="38393" y="632779"/>
                      <a:pt x="36246" y="634281"/>
                      <a:pt x="34524" y="636153"/>
                    </a:cubicBezTo>
                    <a:cubicBezTo>
                      <a:pt x="29777" y="641317"/>
                      <a:pt x="25158" y="646599"/>
                      <a:pt x="20419" y="651770"/>
                    </a:cubicBezTo>
                    <a:cubicBezTo>
                      <a:pt x="17900" y="654519"/>
                      <a:pt x="15587" y="657648"/>
                      <a:pt x="12570" y="659711"/>
                    </a:cubicBezTo>
                    <a:cubicBezTo>
                      <a:pt x="5715" y="664396"/>
                      <a:pt x="264" y="661410"/>
                      <a:pt x="10" y="653035"/>
                    </a:cubicBezTo>
                    <a:cubicBezTo>
                      <a:pt x="-215" y="645591"/>
                      <a:pt x="3404" y="639625"/>
                      <a:pt x="7380" y="633585"/>
                    </a:cubicBezTo>
                    <a:cubicBezTo>
                      <a:pt x="11331" y="627581"/>
                      <a:pt x="14278" y="620915"/>
                      <a:pt x="17632" y="614523"/>
                    </a:cubicBezTo>
                    <a:cubicBezTo>
                      <a:pt x="19813" y="610368"/>
                      <a:pt x="21796" y="606103"/>
                      <a:pt x="24114" y="602028"/>
                    </a:cubicBezTo>
                    <a:cubicBezTo>
                      <a:pt x="28287" y="594691"/>
                      <a:pt x="32782" y="587537"/>
                      <a:pt x="36899" y="580169"/>
                    </a:cubicBezTo>
                    <a:cubicBezTo>
                      <a:pt x="48509" y="559392"/>
                      <a:pt x="146514" y="376710"/>
                      <a:pt x="149047" y="372949"/>
                    </a:cubicBezTo>
                    <a:cubicBezTo>
                      <a:pt x="152133" y="368366"/>
                      <a:pt x="154370" y="363632"/>
                      <a:pt x="151527" y="358110"/>
                    </a:cubicBezTo>
                    <a:cubicBezTo>
                      <a:pt x="148783" y="352779"/>
                      <a:pt x="143577" y="352099"/>
                      <a:pt x="138440" y="351606"/>
                    </a:cubicBezTo>
                    <a:cubicBezTo>
                      <a:pt x="125328" y="350350"/>
                      <a:pt x="112115" y="349814"/>
                      <a:pt x="99109" y="347871"/>
                    </a:cubicBezTo>
                    <a:cubicBezTo>
                      <a:pt x="88880" y="346343"/>
                      <a:pt x="81333" y="339621"/>
                      <a:pt x="75567" y="331241"/>
                    </a:cubicBezTo>
                    <a:cubicBezTo>
                      <a:pt x="71888" y="325894"/>
                      <a:pt x="69908" y="320020"/>
                      <a:pt x="72961" y="313539"/>
                    </a:cubicBezTo>
                    <a:cubicBezTo>
                      <a:pt x="76734" y="305528"/>
                      <a:pt x="80318" y="297421"/>
                      <a:pt x="84295" y="289513"/>
                    </a:cubicBezTo>
                    <a:cubicBezTo>
                      <a:pt x="89318" y="279526"/>
                      <a:pt x="94561" y="269645"/>
                      <a:pt x="99879" y="259812"/>
                    </a:cubicBezTo>
                    <a:cubicBezTo>
                      <a:pt x="109029" y="242896"/>
                      <a:pt x="196790" y="77546"/>
                      <a:pt x="200524" y="70441"/>
                    </a:cubicBezTo>
                    <a:cubicBezTo>
                      <a:pt x="203525" y="64730"/>
                      <a:pt x="219404" y="34097"/>
                      <a:pt x="223750" y="24231"/>
                    </a:cubicBezTo>
                    <a:cubicBezTo>
                      <a:pt x="229294" y="11649"/>
                      <a:pt x="245170" y="-34"/>
                      <a:pt x="252311" y="0"/>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45" name="Freeform: Shape 144">
                <a:extLst>
                  <a:ext uri="{FF2B5EF4-FFF2-40B4-BE49-F238E27FC236}">
                    <a16:creationId xmlns:a16="http://schemas.microsoft.com/office/drawing/2014/main" id="{DFD007AC-0209-41D6-8C36-059B0216D16D}"/>
                  </a:ext>
                </a:extLst>
              </p:cNvPr>
              <p:cNvSpPr/>
              <p:nvPr/>
            </p:nvSpPr>
            <p:spPr>
              <a:xfrm>
                <a:off x="2067592" y="2950676"/>
                <a:ext cx="57041" cy="121355"/>
              </a:xfrm>
              <a:custGeom>
                <a:avLst/>
                <a:gdLst>
                  <a:gd name="connsiteX0" fmla="*/ 164480 w 297780"/>
                  <a:gd name="connsiteY0" fmla="*/ 219157 h 633525"/>
                  <a:gd name="connsiteX1" fmla="*/ 182681 w 297780"/>
                  <a:gd name="connsiteY1" fmla="*/ 226725 h 633525"/>
                  <a:gd name="connsiteX2" fmla="*/ 196362 w 297780"/>
                  <a:gd name="connsiteY2" fmla="*/ 213744 h 633525"/>
                  <a:gd name="connsiteX3" fmla="*/ 235349 w 297780"/>
                  <a:gd name="connsiteY3" fmla="*/ 209878 h 633525"/>
                  <a:gd name="connsiteX4" fmla="*/ 243785 w 297780"/>
                  <a:gd name="connsiteY4" fmla="*/ 234345 h 633525"/>
                  <a:gd name="connsiteX5" fmla="*/ 298015 w 297780"/>
                  <a:gd name="connsiteY5" fmla="*/ 627478 h 633525"/>
                  <a:gd name="connsiteX6" fmla="*/ 293232 w 297780"/>
                  <a:gd name="connsiteY6" fmla="*/ 633678 h 633525"/>
                  <a:gd name="connsiteX7" fmla="*/ 287448 w 297780"/>
                  <a:gd name="connsiteY7" fmla="*/ 627977 h 633525"/>
                  <a:gd name="connsiteX8" fmla="*/ 186001 w 297780"/>
                  <a:gd name="connsiteY8" fmla="*/ 362837 h 633525"/>
                  <a:gd name="connsiteX9" fmla="*/ 165306 w 297780"/>
                  <a:gd name="connsiteY9" fmla="*/ 361307 h 633525"/>
                  <a:gd name="connsiteX10" fmla="*/ 143199 w 297780"/>
                  <a:gd name="connsiteY10" fmla="*/ 381763 h 633525"/>
                  <a:gd name="connsiteX11" fmla="*/ 105478 w 297780"/>
                  <a:gd name="connsiteY11" fmla="*/ 380000 h 633525"/>
                  <a:gd name="connsiteX12" fmla="*/ 14131 w 297780"/>
                  <a:gd name="connsiteY12" fmla="*/ 134769 h 633525"/>
                  <a:gd name="connsiteX13" fmla="*/ 5863 w 297780"/>
                  <a:gd name="connsiteY13" fmla="*/ 114767 h 633525"/>
                  <a:gd name="connsiteX14" fmla="*/ 13443 w 297780"/>
                  <a:gd name="connsiteY14" fmla="*/ 70259 h 633525"/>
                  <a:gd name="connsiteX15" fmla="*/ 90497 w 297780"/>
                  <a:gd name="connsiteY15" fmla="*/ 8391 h 633525"/>
                  <a:gd name="connsiteX16" fmla="*/ 91888 w 297780"/>
                  <a:gd name="connsiteY16" fmla="*/ 7282 h 633525"/>
                  <a:gd name="connsiteX17" fmla="*/ 129479 w 297780"/>
                  <a:gd name="connsiteY17" fmla="*/ 14107 h 633525"/>
                  <a:gd name="connsiteX18" fmla="*/ 164480 w 297780"/>
                  <a:gd name="connsiteY18" fmla="*/ 219157 h 63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7780" h="633525">
                    <a:moveTo>
                      <a:pt x="164480" y="219157"/>
                    </a:moveTo>
                    <a:cubicBezTo>
                      <a:pt x="166238" y="228954"/>
                      <a:pt x="174431" y="232420"/>
                      <a:pt x="182681" y="226725"/>
                    </a:cubicBezTo>
                    <a:cubicBezTo>
                      <a:pt x="187796" y="223193"/>
                      <a:pt x="192125" y="218385"/>
                      <a:pt x="196362" y="213744"/>
                    </a:cubicBezTo>
                    <a:cubicBezTo>
                      <a:pt x="206362" y="202794"/>
                      <a:pt x="225324" y="200656"/>
                      <a:pt x="235349" y="209878"/>
                    </a:cubicBezTo>
                    <a:cubicBezTo>
                      <a:pt x="242471" y="216430"/>
                      <a:pt x="242740" y="225522"/>
                      <a:pt x="243785" y="234345"/>
                    </a:cubicBezTo>
                    <a:cubicBezTo>
                      <a:pt x="247021" y="261644"/>
                      <a:pt x="301399" y="616760"/>
                      <a:pt x="298015" y="627478"/>
                    </a:cubicBezTo>
                    <a:cubicBezTo>
                      <a:pt x="297277" y="629815"/>
                      <a:pt x="294870" y="631625"/>
                      <a:pt x="293232" y="633678"/>
                    </a:cubicBezTo>
                    <a:cubicBezTo>
                      <a:pt x="291235" y="631798"/>
                      <a:pt x="288117" y="630248"/>
                      <a:pt x="287448" y="627977"/>
                    </a:cubicBezTo>
                    <a:cubicBezTo>
                      <a:pt x="285355" y="620876"/>
                      <a:pt x="193789" y="370566"/>
                      <a:pt x="186001" y="362837"/>
                    </a:cubicBezTo>
                    <a:cubicBezTo>
                      <a:pt x="179609" y="356493"/>
                      <a:pt x="172354" y="355622"/>
                      <a:pt x="165306" y="361307"/>
                    </a:cubicBezTo>
                    <a:cubicBezTo>
                      <a:pt x="157494" y="367608"/>
                      <a:pt x="149375" y="373984"/>
                      <a:pt x="143199" y="381763"/>
                    </a:cubicBezTo>
                    <a:cubicBezTo>
                      <a:pt x="131301" y="396752"/>
                      <a:pt x="115588" y="392919"/>
                      <a:pt x="105478" y="380000"/>
                    </a:cubicBezTo>
                    <a:cubicBezTo>
                      <a:pt x="99682" y="372593"/>
                      <a:pt x="17102" y="146703"/>
                      <a:pt x="14131" y="134769"/>
                    </a:cubicBezTo>
                    <a:cubicBezTo>
                      <a:pt x="12374" y="127731"/>
                      <a:pt x="9589" y="120991"/>
                      <a:pt x="5863" y="114767"/>
                    </a:cubicBezTo>
                    <a:cubicBezTo>
                      <a:pt x="-3974" y="98465"/>
                      <a:pt x="-1423" y="82141"/>
                      <a:pt x="13443" y="70259"/>
                    </a:cubicBezTo>
                    <a:cubicBezTo>
                      <a:pt x="39174" y="49694"/>
                      <a:pt x="64858" y="29071"/>
                      <a:pt x="90497" y="8391"/>
                    </a:cubicBezTo>
                    <a:cubicBezTo>
                      <a:pt x="90959" y="8020"/>
                      <a:pt x="91412" y="7635"/>
                      <a:pt x="91888" y="7282"/>
                    </a:cubicBezTo>
                    <a:cubicBezTo>
                      <a:pt x="107402" y="-4207"/>
                      <a:pt x="119176" y="-2224"/>
                      <a:pt x="129479" y="14107"/>
                    </a:cubicBezTo>
                    <a:cubicBezTo>
                      <a:pt x="137826" y="27339"/>
                      <a:pt x="163202" y="212029"/>
                      <a:pt x="164480" y="219157"/>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46" name="Freeform: Shape 145">
                <a:extLst>
                  <a:ext uri="{FF2B5EF4-FFF2-40B4-BE49-F238E27FC236}">
                    <a16:creationId xmlns:a16="http://schemas.microsoft.com/office/drawing/2014/main" id="{8834D227-18F6-4B9C-8AD9-E9E681B19634}"/>
                  </a:ext>
                </a:extLst>
              </p:cNvPr>
              <p:cNvSpPr/>
              <p:nvPr/>
            </p:nvSpPr>
            <p:spPr>
              <a:xfrm>
                <a:off x="2165546" y="2974311"/>
                <a:ext cx="34315" cy="84767"/>
              </a:xfrm>
              <a:custGeom>
                <a:avLst/>
                <a:gdLst>
                  <a:gd name="connsiteX0" fmla="*/ 147498 w 179142"/>
                  <a:gd name="connsiteY0" fmla="*/ 14 h 442518"/>
                  <a:gd name="connsiteX1" fmla="*/ 159528 w 179142"/>
                  <a:gd name="connsiteY1" fmla="*/ 20 h 442518"/>
                  <a:gd name="connsiteX2" fmla="*/ 177502 w 179142"/>
                  <a:gd name="connsiteY2" fmla="*/ 27678 h 442518"/>
                  <a:gd name="connsiteX3" fmla="*/ 172409 w 179142"/>
                  <a:gd name="connsiteY3" fmla="*/ 36304 h 442518"/>
                  <a:gd name="connsiteX4" fmla="*/ 137395 w 179142"/>
                  <a:gd name="connsiteY4" fmla="*/ 100255 h 442518"/>
                  <a:gd name="connsiteX5" fmla="*/ 112888 w 179142"/>
                  <a:gd name="connsiteY5" fmla="*/ 145226 h 442518"/>
                  <a:gd name="connsiteX6" fmla="*/ 120340 w 179142"/>
                  <a:gd name="connsiteY6" fmla="*/ 161633 h 442518"/>
                  <a:gd name="connsiteX7" fmla="*/ 141265 w 179142"/>
                  <a:gd name="connsiteY7" fmla="*/ 165016 h 442518"/>
                  <a:gd name="connsiteX8" fmla="*/ 151182 w 179142"/>
                  <a:gd name="connsiteY8" fmla="*/ 186126 h 442518"/>
                  <a:gd name="connsiteX9" fmla="*/ 62 w 179142"/>
                  <a:gd name="connsiteY9" fmla="*/ 443583 h 442518"/>
                  <a:gd name="connsiteX10" fmla="*/ 50996 w 179142"/>
                  <a:gd name="connsiteY10" fmla="*/ 250666 h 442518"/>
                  <a:gd name="connsiteX11" fmla="*/ 35503 w 179142"/>
                  <a:gd name="connsiteY11" fmla="*/ 237669 h 442518"/>
                  <a:gd name="connsiteX12" fmla="*/ 22080 w 179142"/>
                  <a:gd name="connsiteY12" fmla="*/ 236670 h 442518"/>
                  <a:gd name="connsiteX13" fmla="*/ 6339 w 179142"/>
                  <a:gd name="connsiteY13" fmla="*/ 209300 h 442518"/>
                  <a:gd name="connsiteX14" fmla="*/ 51065 w 179142"/>
                  <a:gd name="connsiteY14" fmla="*/ 50959 h 442518"/>
                  <a:gd name="connsiteX15" fmla="*/ 68900 w 179142"/>
                  <a:gd name="connsiteY15" fmla="*/ 11198 h 442518"/>
                  <a:gd name="connsiteX16" fmla="*/ 85107 w 179142"/>
                  <a:gd name="connsiteY16" fmla="*/ 3810 h 442518"/>
                  <a:gd name="connsiteX17" fmla="*/ 147498 w 179142"/>
                  <a:gd name="connsiteY17" fmla="*/ 14 h 44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142" h="442518">
                    <a:moveTo>
                      <a:pt x="147498" y="14"/>
                    </a:moveTo>
                    <a:cubicBezTo>
                      <a:pt x="152411" y="14"/>
                      <a:pt x="155970" y="-21"/>
                      <a:pt x="159528" y="20"/>
                    </a:cubicBezTo>
                    <a:cubicBezTo>
                      <a:pt x="175400" y="200"/>
                      <a:pt x="183782" y="12995"/>
                      <a:pt x="177502" y="27678"/>
                    </a:cubicBezTo>
                    <a:cubicBezTo>
                      <a:pt x="176200" y="30722"/>
                      <a:pt x="174064" y="33402"/>
                      <a:pt x="172409" y="36304"/>
                    </a:cubicBezTo>
                    <a:cubicBezTo>
                      <a:pt x="167363" y="45150"/>
                      <a:pt x="141259" y="92535"/>
                      <a:pt x="137395" y="100255"/>
                    </a:cubicBezTo>
                    <a:cubicBezTo>
                      <a:pt x="135986" y="103072"/>
                      <a:pt x="119356" y="132890"/>
                      <a:pt x="112888" y="145226"/>
                    </a:cubicBezTo>
                    <a:cubicBezTo>
                      <a:pt x="108198" y="154171"/>
                      <a:pt x="110443" y="159368"/>
                      <a:pt x="120340" y="161633"/>
                    </a:cubicBezTo>
                    <a:cubicBezTo>
                      <a:pt x="127213" y="163205"/>
                      <a:pt x="134375" y="163498"/>
                      <a:pt x="141265" y="165016"/>
                    </a:cubicBezTo>
                    <a:cubicBezTo>
                      <a:pt x="152072" y="167397"/>
                      <a:pt x="155989" y="176106"/>
                      <a:pt x="151182" y="186126"/>
                    </a:cubicBezTo>
                    <a:cubicBezTo>
                      <a:pt x="146096" y="196727"/>
                      <a:pt x="1638" y="446999"/>
                      <a:pt x="62" y="443583"/>
                    </a:cubicBezTo>
                    <a:cubicBezTo>
                      <a:pt x="-2104" y="438888"/>
                      <a:pt x="53480" y="266816"/>
                      <a:pt x="50996" y="250666"/>
                    </a:cubicBezTo>
                    <a:cubicBezTo>
                      <a:pt x="49668" y="242031"/>
                      <a:pt x="44499" y="237901"/>
                      <a:pt x="35503" y="237669"/>
                    </a:cubicBezTo>
                    <a:cubicBezTo>
                      <a:pt x="31005" y="237553"/>
                      <a:pt x="26218" y="238033"/>
                      <a:pt x="22080" y="236670"/>
                    </a:cubicBezTo>
                    <a:cubicBezTo>
                      <a:pt x="11039" y="233035"/>
                      <a:pt x="4315" y="220711"/>
                      <a:pt x="6339" y="209300"/>
                    </a:cubicBezTo>
                    <a:cubicBezTo>
                      <a:pt x="7919" y="200392"/>
                      <a:pt x="50385" y="63198"/>
                      <a:pt x="51065" y="50959"/>
                    </a:cubicBezTo>
                    <a:cubicBezTo>
                      <a:pt x="51931" y="35373"/>
                      <a:pt x="56545" y="21308"/>
                      <a:pt x="68900" y="11198"/>
                    </a:cubicBezTo>
                    <a:cubicBezTo>
                      <a:pt x="73386" y="7527"/>
                      <a:pt x="79481" y="4325"/>
                      <a:pt x="85107" y="3810"/>
                    </a:cubicBezTo>
                    <a:cubicBezTo>
                      <a:pt x="106294" y="1872"/>
                      <a:pt x="127591" y="1129"/>
                      <a:pt x="147498" y="14"/>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grpSp>
      </p:grpSp>
      <p:grpSp>
        <p:nvGrpSpPr>
          <p:cNvPr id="162" name="Group 161">
            <a:extLst>
              <a:ext uri="{FF2B5EF4-FFF2-40B4-BE49-F238E27FC236}">
                <a16:creationId xmlns:a16="http://schemas.microsoft.com/office/drawing/2014/main" id="{E7F27747-0C61-488C-A9CD-642555F2733E}"/>
              </a:ext>
            </a:extLst>
          </p:cNvPr>
          <p:cNvGrpSpPr/>
          <p:nvPr/>
        </p:nvGrpSpPr>
        <p:grpSpPr>
          <a:xfrm>
            <a:off x="4471839" y="4302659"/>
            <a:ext cx="1624161" cy="1103804"/>
            <a:chOff x="1180661" y="2798916"/>
            <a:chExt cx="1624161" cy="1103804"/>
          </a:xfrm>
        </p:grpSpPr>
        <p:grpSp>
          <p:nvGrpSpPr>
            <p:cNvPr id="163" name="Group 162">
              <a:extLst>
                <a:ext uri="{FF2B5EF4-FFF2-40B4-BE49-F238E27FC236}">
                  <a16:creationId xmlns:a16="http://schemas.microsoft.com/office/drawing/2014/main" id="{100AAB55-CE6A-4365-AC6E-AE2416A29F31}"/>
                </a:ext>
              </a:extLst>
            </p:cNvPr>
            <p:cNvGrpSpPr/>
            <p:nvPr/>
          </p:nvGrpSpPr>
          <p:grpSpPr>
            <a:xfrm>
              <a:off x="1585096" y="2798916"/>
              <a:ext cx="208743" cy="549057"/>
              <a:chOff x="1424142" y="2891946"/>
              <a:chExt cx="208743" cy="549057"/>
            </a:xfrm>
          </p:grpSpPr>
          <p:grpSp>
            <p:nvGrpSpPr>
              <p:cNvPr id="175" name="Group 174">
                <a:extLst>
                  <a:ext uri="{FF2B5EF4-FFF2-40B4-BE49-F238E27FC236}">
                    <a16:creationId xmlns:a16="http://schemas.microsoft.com/office/drawing/2014/main" id="{C4E622E2-057E-4690-94D9-F44AEBD3D9C1}"/>
                  </a:ext>
                </a:extLst>
              </p:cNvPr>
              <p:cNvGrpSpPr/>
              <p:nvPr/>
            </p:nvGrpSpPr>
            <p:grpSpPr>
              <a:xfrm>
                <a:off x="1424142" y="2891946"/>
                <a:ext cx="208743" cy="549057"/>
                <a:chOff x="-5880972" y="457200"/>
                <a:chExt cx="2911476" cy="7658100"/>
              </a:xfrm>
              <a:solidFill>
                <a:schemeClr val="bg2">
                  <a:lumMod val="40000"/>
                  <a:lumOff val="60000"/>
                </a:schemeClr>
              </a:solidFill>
            </p:grpSpPr>
            <p:sp>
              <p:nvSpPr>
                <p:cNvPr id="179" name="Freeform 5">
                  <a:extLst>
                    <a:ext uri="{FF2B5EF4-FFF2-40B4-BE49-F238E27FC236}">
                      <a16:creationId xmlns:a16="http://schemas.microsoft.com/office/drawing/2014/main" id="{2AD06CC1-3CA1-4814-9545-DA550F644BC9}"/>
                    </a:ext>
                  </a:extLst>
                </p:cNvPr>
                <p:cNvSpPr>
                  <a:spLocks noEditPoints="1"/>
                </p:cNvSpPr>
                <p:nvPr/>
              </p:nvSpPr>
              <p:spPr bwMode="auto">
                <a:xfrm>
                  <a:off x="-5223746" y="457200"/>
                  <a:ext cx="1597025" cy="1597025"/>
                </a:xfrm>
                <a:custGeom>
                  <a:avLst/>
                  <a:gdLst>
                    <a:gd name="T0" fmla="*/ 213 w 426"/>
                    <a:gd name="T1" fmla="*/ 427 h 427"/>
                    <a:gd name="T2" fmla="*/ 426 w 426"/>
                    <a:gd name="T3" fmla="*/ 213 h 427"/>
                    <a:gd name="T4" fmla="*/ 213 w 426"/>
                    <a:gd name="T5" fmla="*/ 0 h 427"/>
                    <a:gd name="T6" fmla="*/ 0 w 426"/>
                    <a:gd name="T7" fmla="*/ 213 h 427"/>
                    <a:gd name="T8" fmla="*/ 213 w 426"/>
                    <a:gd name="T9" fmla="*/ 427 h 427"/>
                    <a:gd name="T10" fmla="*/ 213 w 426"/>
                    <a:gd name="T11" fmla="*/ 85 h 427"/>
                    <a:gd name="T12" fmla="*/ 341 w 426"/>
                    <a:gd name="T13" fmla="*/ 213 h 427"/>
                    <a:gd name="T14" fmla="*/ 213 w 426"/>
                    <a:gd name="T15" fmla="*/ 341 h 427"/>
                    <a:gd name="T16" fmla="*/ 85 w 426"/>
                    <a:gd name="T17" fmla="*/ 213 h 427"/>
                    <a:gd name="T18" fmla="*/ 213 w 426"/>
                    <a:gd name="T19" fmla="*/ 8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7">
                      <a:moveTo>
                        <a:pt x="213" y="427"/>
                      </a:moveTo>
                      <a:cubicBezTo>
                        <a:pt x="331" y="427"/>
                        <a:pt x="426" y="331"/>
                        <a:pt x="426" y="213"/>
                      </a:cubicBezTo>
                      <a:cubicBezTo>
                        <a:pt x="426" y="96"/>
                        <a:pt x="331" y="0"/>
                        <a:pt x="213" y="0"/>
                      </a:cubicBezTo>
                      <a:cubicBezTo>
                        <a:pt x="95" y="0"/>
                        <a:pt x="0" y="96"/>
                        <a:pt x="0" y="213"/>
                      </a:cubicBezTo>
                      <a:cubicBezTo>
                        <a:pt x="0" y="331"/>
                        <a:pt x="95" y="427"/>
                        <a:pt x="213" y="427"/>
                      </a:cubicBezTo>
                      <a:close/>
                      <a:moveTo>
                        <a:pt x="213" y="85"/>
                      </a:moveTo>
                      <a:cubicBezTo>
                        <a:pt x="284" y="85"/>
                        <a:pt x="341" y="143"/>
                        <a:pt x="341" y="213"/>
                      </a:cubicBezTo>
                      <a:cubicBezTo>
                        <a:pt x="341" y="284"/>
                        <a:pt x="284" y="341"/>
                        <a:pt x="213" y="341"/>
                      </a:cubicBezTo>
                      <a:cubicBezTo>
                        <a:pt x="142" y="341"/>
                        <a:pt x="85" y="284"/>
                        <a:pt x="85" y="213"/>
                      </a:cubicBezTo>
                      <a:cubicBezTo>
                        <a:pt x="85" y="143"/>
                        <a:pt x="142" y="85"/>
                        <a:pt x="213" y="85"/>
                      </a:cubicBezTo>
                      <a:close/>
                    </a:path>
                  </a:pathLst>
                </a:custGeom>
                <a:solidFill>
                  <a:schemeClr val="accent4"/>
                </a:solidFill>
                <a:ln w="9525">
                  <a:solidFill>
                    <a:schemeClr val="accent4"/>
                  </a:solidFill>
                  <a:round/>
                  <a:headEnd/>
                  <a:tailEnd/>
                </a:ln>
              </p:spPr>
              <p:txBody>
                <a:bodyPr vert="horz" wrap="square" lIns="91404" tIns="45702" rIns="91404" bIns="45702" numCol="1" anchor="t" anchorCtr="0" compatLnSpc="1">
                  <a:prstTxWarp prst="textNoShape">
                    <a:avLst/>
                  </a:prstTxWarp>
                </a:bodyPr>
                <a:lstStyle/>
                <a:p>
                  <a:pPr marL="0" marR="0" lvl="0" indent="0" algn="l" defTabSz="91412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E4D4D">
                        <a:lumMod val="40000"/>
                        <a:lumOff val="60000"/>
                      </a:srgbClr>
                    </a:solidFill>
                    <a:effectLst/>
                    <a:uLnTx/>
                    <a:uFillTx/>
                    <a:latin typeface="Arial"/>
                    <a:ea typeface="MS PGothic" charset="0"/>
                    <a:cs typeface="+mn-cs"/>
                  </a:endParaRPr>
                </a:p>
              </p:txBody>
            </p:sp>
            <p:sp>
              <p:nvSpPr>
                <p:cNvPr id="180" name="Freeform 6">
                  <a:extLst>
                    <a:ext uri="{FF2B5EF4-FFF2-40B4-BE49-F238E27FC236}">
                      <a16:creationId xmlns:a16="http://schemas.microsoft.com/office/drawing/2014/main" id="{5D174F84-EC61-4CAB-A1AE-83612CC1CAD3}"/>
                    </a:ext>
                  </a:extLst>
                </p:cNvPr>
                <p:cNvSpPr>
                  <a:spLocks noEditPoints="1"/>
                </p:cNvSpPr>
                <p:nvPr/>
              </p:nvSpPr>
              <p:spPr bwMode="auto">
                <a:xfrm>
                  <a:off x="-5880972" y="2371725"/>
                  <a:ext cx="2911476" cy="5743575"/>
                </a:xfrm>
                <a:custGeom>
                  <a:avLst/>
                  <a:gdLst>
                    <a:gd name="T0" fmla="*/ 771 w 776"/>
                    <a:gd name="T1" fmla="*/ 703 h 1536"/>
                    <a:gd name="T2" fmla="*/ 715 w 776"/>
                    <a:gd name="T3" fmla="*/ 207 h 1536"/>
                    <a:gd name="T4" fmla="*/ 497 w 776"/>
                    <a:gd name="T5" fmla="*/ 0 h 1536"/>
                    <a:gd name="T6" fmla="*/ 279 w 776"/>
                    <a:gd name="T7" fmla="*/ 0 h 1536"/>
                    <a:gd name="T8" fmla="*/ 61 w 776"/>
                    <a:gd name="T9" fmla="*/ 207 h 1536"/>
                    <a:gd name="T10" fmla="*/ 5 w 776"/>
                    <a:gd name="T11" fmla="*/ 703 h 1536"/>
                    <a:gd name="T12" fmla="*/ 40 w 776"/>
                    <a:gd name="T13" fmla="*/ 816 h 1536"/>
                    <a:gd name="T14" fmla="*/ 128 w 776"/>
                    <a:gd name="T15" fmla="*/ 859 h 1536"/>
                    <a:gd name="T16" fmla="*/ 175 w 776"/>
                    <a:gd name="T17" fmla="*/ 1496 h 1536"/>
                    <a:gd name="T18" fmla="*/ 217 w 776"/>
                    <a:gd name="T19" fmla="*/ 1536 h 1536"/>
                    <a:gd name="T20" fmla="*/ 559 w 776"/>
                    <a:gd name="T21" fmla="*/ 1536 h 1536"/>
                    <a:gd name="T22" fmla="*/ 601 w 776"/>
                    <a:gd name="T23" fmla="*/ 1496 h 1536"/>
                    <a:gd name="T24" fmla="*/ 648 w 776"/>
                    <a:gd name="T25" fmla="*/ 859 h 1536"/>
                    <a:gd name="T26" fmla="*/ 736 w 776"/>
                    <a:gd name="T27" fmla="*/ 816 h 1536"/>
                    <a:gd name="T28" fmla="*/ 771 w 776"/>
                    <a:gd name="T29" fmla="*/ 703 h 1536"/>
                    <a:gd name="T30" fmla="*/ 672 w 776"/>
                    <a:gd name="T31" fmla="*/ 759 h 1536"/>
                    <a:gd name="T32" fmla="*/ 641 w 776"/>
                    <a:gd name="T33" fmla="*/ 774 h 1536"/>
                    <a:gd name="T34" fmla="*/ 609 w 776"/>
                    <a:gd name="T35" fmla="*/ 774 h 1536"/>
                    <a:gd name="T36" fmla="*/ 566 w 776"/>
                    <a:gd name="T37" fmla="*/ 813 h 1536"/>
                    <a:gd name="T38" fmla="*/ 519 w 776"/>
                    <a:gd name="T39" fmla="*/ 1451 h 1536"/>
                    <a:gd name="T40" fmla="*/ 257 w 776"/>
                    <a:gd name="T41" fmla="*/ 1451 h 1536"/>
                    <a:gd name="T42" fmla="*/ 210 w 776"/>
                    <a:gd name="T43" fmla="*/ 813 h 1536"/>
                    <a:gd name="T44" fmla="*/ 167 w 776"/>
                    <a:gd name="T45" fmla="*/ 774 h 1536"/>
                    <a:gd name="T46" fmla="*/ 135 w 776"/>
                    <a:gd name="T47" fmla="*/ 774 h 1536"/>
                    <a:gd name="T48" fmla="*/ 104 w 776"/>
                    <a:gd name="T49" fmla="*/ 759 h 1536"/>
                    <a:gd name="T50" fmla="*/ 90 w 776"/>
                    <a:gd name="T51" fmla="*/ 713 h 1536"/>
                    <a:gd name="T52" fmla="*/ 146 w 776"/>
                    <a:gd name="T53" fmla="*/ 217 h 1536"/>
                    <a:gd name="T54" fmla="*/ 279 w 776"/>
                    <a:gd name="T55" fmla="*/ 85 h 1536"/>
                    <a:gd name="T56" fmla="*/ 497 w 776"/>
                    <a:gd name="T57" fmla="*/ 85 h 1536"/>
                    <a:gd name="T58" fmla="*/ 630 w 776"/>
                    <a:gd name="T59" fmla="*/ 217 h 1536"/>
                    <a:gd name="T60" fmla="*/ 686 w 776"/>
                    <a:gd name="T61" fmla="*/ 713 h 1536"/>
                    <a:gd name="T62" fmla="*/ 672 w 776"/>
                    <a:gd name="T63" fmla="*/ 759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6" h="1536">
                      <a:moveTo>
                        <a:pt x="771" y="703"/>
                      </a:moveTo>
                      <a:cubicBezTo>
                        <a:pt x="715" y="207"/>
                        <a:pt x="715" y="207"/>
                        <a:pt x="715" y="207"/>
                      </a:cubicBezTo>
                      <a:cubicBezTo>
                        <a:pt x="701" y="89"/>
                        <a:pt x="608" y="0"/>
                        <a:pt x="497" y="0"/>
                      </a:cubicBezTo>
                      <a:cubicBezTo>
                        <a:pt x="279" y="0"/>
                        <a:pt x="279" y="0"/>
                        <a:pt x="279" y="0"/>
                      </a:cubicBezTo>
                      <a:cubicBezTo>
                        <a:pt x="168" y="0"/>
                        <a:pt x="75" y="89"/>
                        <a:pt x="61" y="207"/>
                      </a:cubicBezTo>
                      <a:cubicBezTo>
                        <a:pt x="5" y="703"/>
                        <a:pt x="5" y="703"/>
                        <a:pt x="5" y="703"/>
                      </a:cubicBezTo>
                      <a:cubicBezTo>
                        <a:pt x="0" y="744"/>
                        <a:pt x="13" y="786"/>
                        <a:pt x="40" y="816"/>
                      </a:cubicBezTo>
                      <a:cubicBezTo>
                        <a:pt x="63" y="842"/>
                        <a:pt x="94" y="857"/>
                        <a:pt x="128" y="859"/>
                      </a:cubicBezTo>
                      <a:cubicBezTo>
                        <a:pt x="175" y="1496"/>
                        <a:pt x="175" y="1496"/>
                        <a:pt x="175" y="1496"/>
                      </a:cubicBezTo>
                      <a:cubicBezTo>
                        <a:pt x="176" y="1519"/>
                        <a:pt x="195" y="1536"/>
                        <a:pt x="217" y="1536"/>
                      </a:cubicBezTo>
                      <a:cubicBezTo>
                        <a:pt x="559" y="1536"/>
                        <a:pt x="559" y="1536"/>
                        <a:pt x="559" y="1536"/>
                      </a:cubicBezTo>
                      <a:cubicBezTo>
                        <a:pt x="581" y="1536"/>
                        <a:pt x="600" y="1519"/>
                        <a:pt x="601" y="1496"/>
                      </a:cubicBezTo>
                      <a:cubicBezTo>
                        <a:pt x="648" y="859"/>
                        <a:pt x="648" y="859"/>
                        <a:pt x="648" y="859"/>
                      </a:cubicBezTo>
                      <a:cubicBezTo>
                        <a:pt x="682" y="857"/>
                        <a:pt x="713" y="842"/>
                        <a:pt x="736" y="816"/>
                      </a:cubicBezTo>
                      <a:cubicBezTo>
                        <a:pt x="763" y="785"/>
                        <a:pt x="776" y="744"/>
                        <a:pt x="771" y="703"/>
                      </a:cubicBezTo>
                      <a:close/>
                      <a:moveTo>
                        <a:pt x="672" y="759"/>
                      </a:moveTo>
                      <a:cubicBezTo>
                        <a:pt x="667" y="764"/>
                        <a:pt x="657" y="774"/>
                        <a:pt x="641" y="774"/>
                      </a:cubicBezTo>
                      <a:cubicBezTo>
                        <a:pt x="609" y="774"/>
                        <a:pt x="609" y="774"/>
                        <a:pt x="609" y="774"/>
                      </a:cubicBezTo>
                      <a:cubicBezTo>
                        <a:pt x="586" y="774"/>
                        <a:pt x="568" y="791"/>
                        <a:pt x="566" y="813"/>
                      </a:cubicBezTo>
                      <a:cubicBezTo>
                        <a:pt x="519" y="1451"/>
                        <a:pt x="519" y="1451"/>
                        <a:pt x="519" y="1451"/>
                      </a:cubicBezTo>
                      <a:cubicBezTo>
                        <a:pt x="257" y="1451"/>
                        <a:pt x="257" y="1451"/>
                        <a:pt x="257" y="1451"/>
                      </a:cubicBezTo>
                      <a:cubicBezTo>
                        <a:pt x="210" y="813"/>
                        <a:pt x="210" y="813"/>
                        <a:pt x="210" y="813"/>
                      </a:cubicBezTo>
                      <a:cubicBezTo>
                        <a:pt x="208" y="791"/>
                        <a:pt x="190" y="774"/>
                        <a:pt x="167" y="774"/>
                      </a:cubicBezTo>
                      <a:cubicBezTo>
                        <a:pt x="135" y="774"/>
                        <a:pt x="135" y="774"/>
                        <a:pt x="135" y="774"/>
                      </a:cubicBezTo>
                      <a:cubicBezTo>
                        <a:pt x="119" y="774"/>
                        <a:pt x="108" y="764"/>
                        <a:pt x="104" y="759"/>
                      </a:cubicBezTo>
                      <a:cubicBezTo>
                        <a:pt x="93" y="747"/>
                        <a:pt x="88" y="730"/>
                        <a:pt x="90" y="713"/>
                      </a:cubicBezTo>
                      <a:cubicBezTo>
                        <a:pt x="146" y="217"/>
                        <a:pt x="146" y="217"/>
                        <a:pt x="146" y="217"/>
                      </a:cubicBezTo>
                      <a:cubicBezTo>
                        <a:pt x="155" y="142"/>
                        <a:pt x="212" y="85"/>
                        <a:pt x="279" y="85"/>
                      </a:cubicBezTo>
                      <a:cubicBezTo>
                        <a:pt x="497" y="85"/>
                        <a:pt x="497" y="85"/>
                        <a:pt x="497" y="85"/>
                      </a:cubicBezTo>
                      <a:cubicBezTo>
                        <a:pt x="564" y="85"/>
                        <a:pt x="621" y="142"/>
                        <a:pt x="630" y="217"/>
                      </a:cubicBezTo>
                      <a:cubicBezTo>
                        <a:pt x="686" y="713"/>
                        <a:pt x="686" y="713"/>
                        <a:pt x="686" y="713"/>
                      </a:cubicBezTo>
                      <a:cubicBezTo>
                        <a:pt x="688" y="730"/>
                        <a:pt x="683" y="747"/>
                        <a:pt x="672" y="759"/>
                      </a:cubicBezTo>
                      <a:close/>
                    </a:path>
                  </a:pathLst>
                </a:custGeom>
                <a:solidFill>
                  <a:schemeClr val="accent4"/>
                </a:solidFill>
                <a:ln w="9525">
                  <a:solidFill>
                    <a:schemeClr val="accent4"/>
                  </a:solidFill>
                  <a:round/>
                  <a:headEnd/>
                  <a:tailEnd/>
                </a:ln>
              </p:spPr>
              <p:txBody>
                <a:bodyPr vert="horz" wrap="square" lIns="91404" tIns="45702" rIns="91404" bIns="45702" numCol="1" anchor="t" anchorCtr="0" compatLnSpc="1">
                  <a:prstTxWarp prst="textNoShape">
                    <a:avLst/>
                  </a:prstTxWarp>
                </a:bodyPr>
                <a:lstStyle/>
                <a:p>
                  <a:pPr marL="0" marR="0" lvl="0" indent="0" algn="l" defTabSz="91412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4E4D4D">
                        <a:lumMod val="40000"/>
                        <a:lumOff val="60000"/>
                      </a:srgbClr>
                    </a:solidFill>
                    <a:effectLst/>
                    <a:uLnTx/>
                    <a:uFillTx/>
                    <a:latin typeface="Arial"/>
                    <a:ea typeface="MS PGothic" charset="0"/>
                    <a:cs typeface="+mn-cs"/>
                  </a:endParaRPr>
                </a:p>
              </p:txBody>
            </p:sp>
          </p:grpSp>
          <p:grpSp>
            <p:nvGrpSpPr>
              <p:cNvPr id="176" name="Group 175">
                <a:extLst>
                  <a:ext uri="{FF2B5EF4-FFF2-40B4-BE49-F238E27FC236}">
                    <a16:creationId xmlns:a16="http://schemas.microsoft.com/office/drawing/2014/main" id="{0C602608-64DE-4345-84DA-9917FBD98813}"/>
                  </a:ext>
                </a:extLst>
              </p:cNvPr>
              <p:cNvGrpSpPr/>
              <p:nvPr/>
            </p:nvGrpSpPr>
            <p:grpSpPr>
              <a:xfrm>
                <a:off x="1525565" y="3102919"/>
                <a:ext cx="43964" cy="43964"/>
                <a:chOff x="1304925" y="2736056"/>
                <a:chExt cx="109537" cy="109537"/>
              </a:xfrm>
              <a:solidFill>
                <a:schemeClr val="bg2">
                  <a:lumMod val="40000"/>
                  <a:lumOff val="60000"/>
                </a:schemeClr>
              </a:solidFill>
            </p:grpSpPr>
            <p:cxnSp>
              <p:nvCxnSpPr>
                <p:cNvPr id="177" name="Straight Connector 176">
                  <a:extLst>
                    <a:ext uri="{FF2B5EF4-FFF2-40B4-BE49-F238E27FC236}">
                      <a16:creationId xmlns:a16="http://schemas.microsoft.com/office/drawing/2014/main" id="{76FA0883-6E75-4812-B5C8-C49A2379F063}"/>
                    </a:ext>
                  </a:extLst>
                </p:cNvPr>
                <p:cNvCxnSpPr/>
                <p:nvPr/>
              </p:nvCxnSpPr>
              <p:spPr>
                <a:xfrm>
                  <a:off x="1304925" y="2736056"/>
                  <a:ext cx="109537" cy="109537"/>
                </a:xfrm>
                <a:prstGeom prst="line">
                  <a:avLst/>
                </a:prstGeom>
                <a:grpFill/>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31F1E907-8E10-4CDD-A174-608D28E94333}"/>
                    </a:ext>
                  </a:extLst>
                </p:cNvPr>
                <p:cNvCxnSpPr/>
                <p:nvPr/>
              </p:nvCxnSpPr>
              <p:spPr>
                <a:xfrm flipH="1">
                  <a:off x="1304925" y="2736056"/>
                  <a:ext cx="109537" cy="109537"/>
                </a:xfrm>
                <a:prstGeom prst="line">
                  <a:avLst/>
                </a:prstGeom>
                <a:grpFill/>
                <a:ln w="19050" cap="rnd">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grpSp>
        <p:sp>
          <p:nvSpPr>
            <p:cNvPr id="164" name="Rectangle 163">
              <a:extLst>
                <a:ext uri="{FF2B5EF4-FFF2-40B4-BE49-F238E27FC236}">
                  <a16:creationId xmlns:a16="http://schemas.microsoft.com/office/drawing/2014/main" id="{440336C3-A4D5-44C6-BD65-E98CB9F07296}"/>
                </a:ext>
              </a:extLst>
            </p:cNvPr>
            <p:cNvSpPr/>
            <p:nvPr/>
          </p:nvSpPr>
          <p:spPr>
            <a:xfrm>
              <a:off x="1180661" y="3444133"/>
              <a:ext cx="1624161" cy="458587"/>
            </a:xfrm>
            <a:prstGeom prst="rect">
              <a:avLst/>
            </a:prstGeom>
          </p:spPr>
          <p:txBody>
            <a:bodyPr wrap="square">
              <a:spAutoFit/>
            </a:bodyPr>
            <a:lstStyle/>
            <a:p>
              <a:pPr marL="0" marR="0" lvl="0" indent="0" algn="ctr" defTabSz="914195"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4F8A"/>
                  </a:solidFill>
                  <a:effectLst/>
                  <a:uLnTx/>
                  <a:uFillTx/>
                  <a:latin typeface="Arial"/>
                  <a:ea typeface="MS PGothic" charset="0"/>
                  <a:cs typeface="+mn-cs"/>
                </a:rPr>
                <a:t>Worsening HF</a:t>
              </a:r>
              <a:br>
                <a:rPr kumimoji="0" lang="en-US" sz="1400" b="1" i="0" u="none" strike="noStrike" kern="1200" cap="none" spc="0" normalizeH="0" baseline="0" noProof="0">
                  <a:ln>
                    <a:noFill/>
                  </a:ln>
                  <a:solidFill>
                    <a:srgbClr val="704F8A"/>
                  </a:solidFill>
                  <a:effectLst/>
                  <a:uLnTx/>
                  <a:uFillTx/>
                  <a:latin typeface="Arial"/>
                  <a:ea typeface="MS PGothic" charset="0"/>
                  <a:cs typeface="+mn-cs"/>
                </a:rPr>
              </a:br>
              <a:r>
                <a:rPr kumimoji="0" lang="en-US" sz="1400" b="1" i="0" u="none" strike="noStrike" kern="1200" cap="none" spc="0" normalizeH="0" baseline="0" noProof="0">
                  <a:ln>
                    <a:noFill/>
                  </a:ln>
                  <a:solidFill>
                    <a:srgbClr val="704F8A"/>
                  </a:solidFill>
                  <a:effectLst/>
                  <a:uLnTx/>
                  <a:uFillTx/>
                  <a:latin typeface="Arial"/>
                  <a:ea typeface="MS PGothic" charset="0"/>
                  <a:cs typeface="+mn-cs"/>
                </a:rPr>
                <a:t>event</a:t>
              </a:r>
            </a:p>
          </p:txBody>
        </p:sp>
        <p:grpSp>
          <p:nvGrpSpPr>
            <p:cNvPr id="165" name="Group 164">
              <a:extLst>
                <a:ext uri="{FF2B5EF4-FFF2-40B4-BE49-F238E27FC236}">
                  <a16:creationId xmlns:a16="http://schemas.microsoft.com/office/drawing/2014/main" id="{8B235A9A-1738-4E95-9BDC-81703EB7FF3A}"/>
                </a:ext>
              </a:extLst>
            </p:cNvPr>
            <p:cNvGrpSpPr/>
            <p:nvPr/>
          </p:nvGrpSpPr>
          <p:grpSpPr>
            <a:xfrm>
              <a:off x="1937381" y="2881467"/>
              <a:ext cx="476523" cy="476523"/>
              <a:chOff x="1937381" y="2881467"/>
              <a:chExt cx="476523" cy="476523"/>
            </a:xfrm>
          </p:grpSpPr>
          <p:sp>
            <p:nvSpPr>
              <p:cNvPr id="166" name="Oval 165">
                <a:extLst>
                  <a:ext uri="{FF2B5EF4-FFF2-40B4-BE49-F238E27FC236}">
                    <a16:creationId xmlns:a16="http://schemas.microsoft.com/office/drawing/2014/main" id="{C6323747-1AAA-4157-A4D5-348510ADBABB}"/>
                  </a:ext>
                </a:extLst>
              </p:cNvPr>
              <p:cNvSpPr/>
              <p:nvPr/>
            </p:nvSpPr>
            <p:spPr>
              <a:xfrm>
                <a:off x="1937381" y="2881467"/>
                <a:ext cx="476523" cy="47652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
            <p:nvSpPr>
              <p:cNvPr id="167" name="Freeform: Shape 166">
                <a:extLst>
                  <a:ext uri="{FF2B5EF4-FFF2-40B4-BE49-F238E27FC236}">
                    <a16:creationId xmlns:a16="http://schemas.microsoft.com/office/drawing/2014/main" id="{918E4163-9DEB-45A6-BA46-43C7F5DE7CF1}"/>
                  </a:ext>
                </a:extLst>
              </p:cNvPr>
              <p:cNvSpPr/>
              <p:nvPr/>
            </p:nvSpPr>
            <p:spPr>
              <a:xfrm>
                <a:off x="2090029" y="3089517"/>
                <a:ext cx="168169" cy="211802"/>
              </a:xfrm>
              <a:custGeom>
                <a:avLst/>
                <a:gdLst>
                  <a:gd name="connsiteX0" fmla="*/ 222778 w 877918"/>
                  <a:gd name="connsiteY0" fmla="*/ 511174 h 1105703"/>
                  <a:gd name="connsiteX1" fmla="*/ 400189 w 877918"/>
                  <a:gd name="connsiteY1" fmla="*/ 363245 h 1105703"/>
                  <a:gd name="connsiteX2" fmla="*/ 408764 w 877918"/>
                  <a:gd name="connsiteY2" fmla="*/ 332488 h 1105703"/>
                  <a:gd name="connsiteX3" fmla="*/ 408767 w 877918"/>
                  <a:gd name="connsiteY3" fmla="*/ 282760 h 1105703"/>
                  <a:gd name="connsiteX4" fmla="*/ 613080 w 877918"/>
                  <a:gd name="connsiteY4" fmla="*/ 179778 h 1105703"/>
                  <a:gd name="connsiteX5" fmla="*/ 726753 w 877918"/>
                  <a:gd name="connsiteY5" fmla="*/ 185394 h 1105703"/>
                  <a:gd name="connsiteX6" fmla="*/ 751506 w 877918"/>
                  <a:gd name="connsiteY6" fmla="*/ 201489 h 1105703"/>
                  <a:gd name="connsiteX7" fmla="*/ 767532 w 877918"/>
                  <a:gd name="connsiteY7" fmla="*/ 252859 h 1105703"/>
                  <a:gd name="connsiteX8" fmla="*/ 760510 w 877918"/>
                  <a:gd name="connsiteY8" fmla="*/ 302453 h 1105703"/>
                  <a:gd name="connsiteX9" fmla="*/ 736855 w 877918"/>
                  <a:gd name="connsiteY9" fmla="*/ 332406 h 1105703"/>
                  <a:gd name="connsiteX10" fmla="*/ 682103 w 877918"/>
                  <a:gd name="connsiteY10" fmla="*/ 337144 h 1105703"/>
                  <a:gd name="connsiteX11" fmla="*/ 636097 w 877918"/>
                  <a:gd name="connsiteY11" fmla="*/ 343428 h 1105703"/>
                  <a:gd name="connsiteX12" fmla="*/ 635664 w 877918"/>
                  <a:gd name="connsiteY12" fmla="*/ 388805 h 1105703"/>
                  <a:gd name="connsiteX13" fmla="*/ 661777 w 877918"/>
                  <a:gd name="connsiteY13" fmla="*/ 430385 h 1105703"/>
                  <a:gd name="connsiteX14" fmla="*/ 876131 w 877918"/>
                  <a:gd name="connsiteY14" fmla="*/ 709154 h 1105703"/>
                  <a:gd name="connsiteX15" fmla="*/ 878426 w 877918"/>
                  <a:gd name="connsiteY15" fmla="*/ 770373 h 1105703"/>
                  <a:gd name="connsiteX16" fmla="*/ 875279 w 877918"/>
                  <a:gd name="connsiteY16" fmla="*/ 884875 h 1105703"/>
                  <a:gd name="connsiteX17" fmla="*/ 841159 w 877918"/>
                  <a:gd name="connsiteY17" fmla="*/ 1037584 h 1105703"/>
                  <a:gd name="connsiteX18" fmla="*/ 820062 w 877918"/>
                  <a:gd name="connsiteY18" fmla="*/ 1075550 h 1105703"/>
                  <a:gd name="connsiteX19" fmla="*/ 724459 w 877918"/>
                  <a:gd name="connsiteY19" fmla="*/ 1104614 h 1105703"/>
                  <a:gd name="connsiteX20" fmla="*/ 616913 w 877918"/>
                  <a:gd name="connsiteY20" fmla="*/ 1088248 h 1105703"/>
                  <a:gd name="connsiteX21" fmla="*/ 259856 w 877918"/>
                  <a:gd name="connsiteY21" fmla="*/ 933771 h 1105703"/>
                  <a:gd name="connsiteX22" fmla="*/ 189007 w 877918"/>
                  <a:gd name="connsiteY22" fmla="*/ 858964 h 1105703"/>
                  <a:gd name="connsiteX23" fmla="*/ 161520 w 877918"/>
                  <a:gd name="connsiteY23" fmla="*/ 820335 h 1105703"/>
                  <a:gd name="connsiteX24" fmla="*/ 121465 w 877918"/>
                  <a:gd name="connsiteY24" fmla="*/ 789009 h 1105703"/>
                  <a:gd name="connsiteX25" fmla="*/ 41348 w 877918"/>
                  <a:gd name="connsiteY25" fmla="*/ 369068 h 1105703"/>
                  <a:gd name="connsiteX26" fmla="*/ 52303 w 877918"/>
                  <a:gd name="connsiteY26" fmla="*/ 313194 h 1105703"/>
                  <a:gd name="connsiteX27" fmla="*/ 45766 w 877918"/>
                  <a:gd name="connsiteY27" fmla="*/ 260318 h 1105703"/>
                  <a:gd name="connsiteX28" fmla="*/ 39511 w 877918"/>
                  <a:gd name="connsiteY28" fmla="*/ 209234 h 1105703"/>
                  <a:gd name="connsiteX29" fmla="*/ 11907 w 877918"/>
                  <a:gd name="connsiteY29" fmla="*/ 117317 h 1105703"/>
                  <a:gd name="connsiteX30" fmla="*/ 907 w 877918"/>
                  <a:gd name="connsiteY30" fmla="*/ 70014 h 1105703"/>
                  <a:gd name="connsiteX31" fmla="*/ 6623 w 877918"/>
                  <a:gd name="connsiteY31" fmla="*/ 26177 h 1105703"/>
                  <a:gd name="connsiteX32" fmla="*/ 42138 w 877918"/>
                  <a:gd name="connsiteY32" fmla="*/ 3359 h 1105703"/>
                  <a:gd name="connsiteX33" fmla="*/ 98369 w 877918"/>
                  <a:gd name="connsiteY33" fmla="*/ 75 h 1105703"/>
                  <a:gd name="connsiteX34" fmla="*/ 150058 w 877918"/>
                  <a:gd name="connsiteY34" fmla="*/ 4702 h 1105703"/>
                  <a:gd name="connsiteX35" fmla="*/ 175935 w 877918"/>
                  <a:gd name="connsiteY35" fmla="*/ 33509 h 1105703"/>
                  <a:gd name="connsiteX36" fmla="*/ 175686 w 877918"/>
                  <a:gd name="connsiteY36" fmla="*/ 82163 h 1105703"/>
                  <a:gd name="connsiteX37" fmla="*/ 168044 w 877918"/>
                  <a:gd name="connsiteY37" fmla="*/ 142449 h 1105703"/>
                  <a:gd name="connsiteX38" fmla="*/ 162463 w 877918"/>
                  <a:gd name="connsiteY38" fmla="*/ 251774 h 1105703"/>
                  <a:gd name="connsiteX39" fmla="*/ 174159 w 877918"/>
                  <a:gd name="connsiteY39" fmla="*/ 303871 h 1105703"/>
                  <a:gd name="connsiteX40" fmla="*/ 201838 w 877918"/>
                  <a:gd name="connsiteY40" fmla="*/ 346063 h 1105703"/>
                  <a:gd name="connsiteX41" fmla="*/ 217830 w 877918"/>
                  <a:gd name="connsiteY41" fmla="*/ 362492 h 1105703"/>
                  <a:gd name="connsiteX42" fmla="*/ 235400 w 877918"/>
                  <a:gd name="connsiteY42" fmla="*/ 371934 h 1105703"/>
                  <a:gd name="connsiteX43" fmla="*/ 248974 w 877918"/>
                  <a:gd name="connsiteY43" fmla="*/ 413542 h 1105703"/>
                  <a:gd name="connsiteX44" fmla="*/ 229730 w 877918"/>
                  <a:gd name="connsiteY44" fmla="*/ 461133 h 1105703"/>
                  <a:gd name="connsiteX45" fmla="*/ 222916 w 877918"/>
                  <a:gd name="connsiteY45" fmla="*/ 485836 h 1105703"/>
                  <a:gd name="connsiteX46" fmla="*/ 222778 w 877918"/>
                  <a:gd name="connsiteY46" fmla="*/ 511174 h 1105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7918" h="1105703">
                    <a:moveTo>
                      <a:pt x="222778" y="511174"/>
                    </a:moveTo>
                    <a:cubicBezTo>
                      <a:pt x="276503" y="414951"/>
                      <a:pt x="394749" y="365568"/>
                      <a:pt x="400189" y="363245"/>
                    </a:cubicBezTo>
                    <a:cubicBezTo>
                      <a:pt x="413533" y="357547"/>
                      <a:pt x="410075" y="344521"/>
                      <a:pt x="408764" y="332488"/>
                    </a:cubicBezTo>
                    <a:cubicBezTo>
                      <a:pt x="406986" y="316166"/>
                      <a:pt x="404371" y="298846"/>
                      <a:pt x="408767" y="282760"/>
                    </a:cubicBezTo>
                    <a:cubicBezTo>
                      <a:pt x="411004" y="274574"/>
                      <a:pt x="434291" y="183607"/>
                      <a:pt x="613080" y="179778"/>
                    </a:cubicBezTo>
                    <a:cubicBezTo>
                      <a:pt x="651056" y="178975"/>
                      <a:pt x="689041" y="180852"/>
                      <a:pt x="726753" y="185394"/>
                    </a:cubicBezTo>
                    <a:cubicBezTo>
                      <a:pt x="737877" y="186745"/>
                      <a:pt x="746375" y="191317"/>
                      <a:pt x="751506" y="201489"/>
                    </a:cubicBezTo>
                    <a:cubicBezTo>
                      <a:pt x="759005" y="216355"/>
                      <a:pt x="764973" y="236431"/>
                      <a:pt x="767532" y="252859"/>
                    </a:cubicBezTo>
                    <a:cubicBezTo>
                      <a:pt x="770260" y="270370"/>
                      <a:pt x="766793" y="286116"/>
                      <a:pt x="760510" y="302453"/>
                    </a:cubicBezTo>
                    <a:cubicBezTo>
                      <a:pt x="755428" y="315666"/>
                      <a:pt x="752535" y="329034"/>
                      <a:pt x="736855" y="332406"/>
                    </a:cubicBezTo>
                    <a:cubicBezTo>
                      <a:pt x="719679" y="336100"/>
                      <a:pt x="699713" y="336555"/>
                      <a:pt x="682103" y="337144"/>
                    </a:cubicBezTo>
                    <a:cubicBezTo>
                      <a:pt x="669841" y="337554"/>
                      <a:pt x="643891" y="330108"/>
                      <a:pt x="636097" y="343428"/>
                    </a:cubicBezTo>
                    <a:cubicBezTo>
                      <a:pt x="629066" y="355444"/>
                      <a:pt x="631832" y="376354"/>
                      <a:pt x="635664" y="388805"/>
                    </a:cubicBezTo>
                    <a:cubicBezTo>
                      <a:pt x="640489" y="404479"/>
                      <a:pt x="648248" y="421437"/>
                      <a:pt x="661777" y="430385"/>
                    </a:cubicBezTo>
                    <a:cubicBezTo>
                      <a:pt x="847546" y="553259"/>
                      <a:pt x="874997" y="693461"/>
                      <a:pt x="876131" y="709154"/>
                    </a:cubicBezTo>
                    <a:cubicBezTo>
                      <a:pt x="877600" y="729465"/>
                      <a:pt x="878084" y="750011"/>
                      <a:pt x="878426" y="770373"/>
                    </a:cubicBezTo>
                    <a:cubicBezTo>
                      <a:pt x="879066" y="808476"/>
                      <a:pt x="878513" y="846913"/>
                      <a:pt x="875279" y="884875"/>
                    </a:cubicBezTo>
                    <a:cubicBezTo>
                      <a:pt x="866528" y="987576"/>
                      <a:pt x="844348" y="1029466"/>
                      <a:pt x="841159" y="1037584"/>
                    </a:cubicBezTo>
                    <a:cubicBezTo>
                      <a:pt x="835290" y="1052524"/>
                      <a:pt x="831802" y="1064232"/>
                      <a:pt x="820062" y="1075550"/>
                    </a:cubicBezTo>
                    <a:cubicBezTo>
                      <a:pt x="794254" y="1100432"/>
                      <a:pt x="759843" y="1111218"/>
                      <a:pt x="724459" y="1104614"/>
                    </a:cubicBezTo>
                    <a:cubicBezTo>
                      <a:pt x="689090" y="1098013"/>
                      <a:pt x="651476" y="1098483"/>
                      <a:pt x="616913" y="1088248"/>
                    </a:cubicBezTo>
                    <a:cubicBezTo>
                      <a:pt x="599990" y="1083237"/>
                      <a:pt x="451296" y="1062713"/>
                      <a:pt x="259856" y="933771"/>
                    </a:cubicBezTo>
                    <a:cubicBezTo>
                      <a:pt x="231657" y="914778"/>
                      <a:pt x="207967" y="887323"/>
                      <a:pt x="189007" y="858964"/>
                    </a:cubicBezTo>
                    <a:cubicBezTo>
                      <a:pt x="180108" y="845654"/>
                      <a:pt x="172689" y="831991"/>
                      <a:pt x="161520" y="820335"/>
                    </a:cubicBezTo>
                    <a:cubicBezTo>
                      <a:pt x="149536" y="807828"/>
                      <a:pt x="133873" y="800899"/>
                      <a:pt x="121465" y="789009"/>
                    </a:cubicBezTo>
                    <a:cubicBezTo>
                      <a:pt x="-49751" y="624940"/>
                      <a:pt x="40089" y="384101"/>
                      <a:pt x="41348" y="369068"/>
                    </a:cubicBezTo>
                    <a:cubicBezTo>
                      <a:pt x="42964" y="349784"/>
                      <a:pt x="49345" y="332082"/>
                      <a:pt x="52303" y="313194"/>
                    </a:cubicBezTo>
                    <a:cubicBezTo>
                      <a:pt x="55204" y="294669"/>
                      <a:pt x="49834" y="278129"/>
                      <a:pt x="45766" y="260318"/>
                    </a:cubicBezTo>
                    <a:cubicBezTo>
                      <a:pt x="41909" y="243436"/>
                      <a:pt x="42790" y="226093"/>
                      <a:pt x="39511" y="209234"/>
                    </a:cubicBezTo>
                    <a:cubicBezTo>
                      <a:pt x="36543" y="193976"/>
                      <a:pt x="19842" y="134759"/>
                      <a:pt x="11907" y="117317"/>
                    </a:cubicBezTo>
                    <a:cubicBezTo>
                      <a:pt x="4837" y="101774"/>
                      <a:pt x="1641" y="87220"/>
                      <a:pt x="907" y="70014"/>
                    </a:cubicBezTo>
                    <a:cubicBezTo>
                      <a:pt x="285" y="55449"/>
                      <a:pt x="-2568" y="38605"/>
                      <a:pt x="6623" y="26177"/>
                    </a:cubicBezTo>
                    <a:cubicBezTo>
                      <a:pt x="15934" y="13585"/>
                      <a:pt x="26502" y="4902"/>
                      <a:pt x="42138" y="3359"/>
                    </a:cubicBezTo>
                    <a:cubicBezTo>
                      <a:pt x="60889" y="1509"/>
                      <a:pt x="79473" y="-406"/>
                      <a:pt x="98369" y="75"/>
                    </a:cubicBezTo>
                    <a:cubicBezTo>
                      <a:pt x="114691" y="490"/>
                      <a:pt x="134437" y="126"/>
                      <a:pt x="150058" y="4702"/>
                    </a:cubicBezTo>
                    <a:cubicBezTo>
                      <a:pt x="163081" y="8518"/>
                      <a:pt x="171447" y="21245"/>
                      <a:pt x="175935" y="33509"/>
                    </a:cubicBezTo>
                    <a:cubicBezTo>
                      <a:pt x="181571" y="48911"/>
                      <a:pt x="177613" y="66408"/>
                      <a:pt x="175686" y="82163"/>
                    </a:cubicBezTo>
                    <a:cubicBezTo>
                      <a:pt x="173227" y="102269"/>
                      <a:pt x="170548" y="122349"/>
                      <a:pt x="168044" y="142449"/>
                    </a:cubicBezTo>
                    <a:cubicBezTo>
                      <a:pt x="163554" y="178482"/>
                      <a:pt x="157121" y="215533"/>
                      <a:pt x="162463" y="251774"/>
                    </a:cubicBezTo>
                    <a:cubicBezTo>
                      <a:pt x="164958" y="268697"/>
                      <a:pt x="166928" y="288283"/>
                      <a:pt x="174159" y="303871"/>
                    </a:cubicBezTo>
                    <a:cubicBezTo>
                      <a:pt x="181355" y="319167"/>
                      <a:pt x="190673" y="333371"/>
                      <a:pt x="201838" y="346063"/>
                    </a:cubicBezTo>
                    <a:cubicBezTo>
                      <a:pt x="206816" y="351874"/>
                      <a:pt x="211588" y="357954"/>
                      <a:pt x="217830" y="362492"/>
                    </a:cubicBezTo>
                    <a:cubicBezTo>
                      <a:pt x="223311" y="366478"/>
                      <a:pt x="229808" y="368221"/>
                      <a:pt x="235400" y="371934"/>
                    </a:cubicBezTo>
                    <a:cubicBezTo>
                      <a:pt x="250725" y="382111"/>
                      <a:pt x="257113" y="396965"/>
                      <a:pt x="248974" y="413542"/>
                    </a:cubicBezTo>
                    <a:cubicBezTo>
                      <a:pt x="241226" y="428833"/>
                      <a:pt x="234788" y="444754"/>
                      <a:pt x="229730" y="461133"/>
                    </a:cubicBezTo>
                    <a:cubicBezTo>
                      <a:pt x="227294" y="469257"/>
                      <a:pt x="224580" y="477522"/>
                      <a:pt x="222916" y="485836"/>
                    </a:cubicBezTo>
                    <a:cubicBezTo>
                      <a:pt x="221800" y="491410"/>
                      <a:pt x="218212" y="507455"/>
                      <a:pt x="222778" y="511174"/>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68" name="Freeform: Shape 167">
                <a:extLst>
                  <a:ext uri="{FF2B5EF4-FFF2-40B4-BE49-F238E27FC236}">
                    <a16:creationId xmlns:a16="http://schemas.microsoft.com/office/drawing/2014/main" id="{A3E69AB8-D0BF-43A7-A6FC-C3A86EF5D61C}"/>
                  </a:ext>
                </a:extLst>
              </p:cNvPr>
              <p:cNvSpPr/>
              <p:nvPr/>
            </p:nvSpPr>
            <p:spPr>
              <a:xfrm>
                <a:off x="2130359" y="3070598"/>
                <a:ext cx="73858" cy="78858"/>
              </a:xfrm>
              <a:custGeom>
                <a:avLst/>
                <a:gdLst>
                  <a:gd name="connsiteX0" fmla="*/ 82524 w 385572"/>
                  <a:gd name="connsiteY0" fmla="*/ 411796 h 411672"/>
                  <a:gd name="connsiteX1" fmla="*/ 20544 w 385572"/>
                  <a:gd name="connsiteY1" fmla="*/ 390877 h 411672"/>
                  <a:gd name="connsiteX2" fmla="*/ 10144 w 385572"/>
                  <a:gd name="connsiteY2" fmla="*/ 353817 h 411672"/>
                  <a:gd name="connsiteX3" fmla="*/ 845 w 385572"/>
                  <a:gd name="connsiteY3" fmla="*/ 310065 h 411672"/>
                  <a:gd name="connsiteX4" fmla="*/ 10257 w 385572"/>
                  <a:gd name="connsiteY4" fmla="*/ 226208 h 411672"/>
                  <a:gd name="connsiteX5" fmla="*/ 40548 w 385572"/>
                  <a:gd name="connsiteY5" fmla="*/ 158367 h 411672"/>
                  <a:gd name="connsiteX6" fmla="*/ 60597 w 385572"/>
                  <a:gd name="connsiteY6" fmla="*/ 129069 h 411672"/>
                  <a:gd name="connsiteX7" fmla="*/ 46556 w 385572"/>
                  <a:gd name="connsiteY7" fmla="*/ 91281 h 411672"/>
                  <a:gd name="connsiteX8" fmla="*/ 42754 w 385572"/>
                  <a:gd name="connsiteY8" fmla="*/ 31478 h 411672"/>
                  <a:gd name="connsiteX9" fmla="*/ 158096 w 385572"/>
                  <a:gd name="connsiteY9" fmla="*/ 31705 h 411672"/>
                  <a:gd name="connsiteX10" fmla="*/ 163918 w 385572"/>
                  <a:gd name="connsiteY10" fmla="*/ 66448 h 411672"/>
                  <a:gd name="connsiteX11" fmla="*/ 188364 w 385572"/>
                  <a:gd name="connsiteY11" fmla="*/ 74285 h 411672"/>
                  <a:gd name="connsiteX12" fmla="*/ 228857 w 385572"/>
                  <a:gd name="connsiteY12" fmla="*/ 74904 h 411672"/>
                  <a:gd name="connsiteX13" fmla="*/ 251718 w 385572"/>
                  <a:gd name="connsiteY13" fmla="*/ 66417 h 411672"/>
                  <a:gd name="connsiteX14" fmla="*/ 270042 w 385572"/>
                  <a:gd name="connsiteY14" fmla="*/ 38651 h 411672"/>
                  <a:gd name="connsiteX15" fmla="*/ 291243 w 385572"/>
                  <a:gd name="connsiteY15" fmla="*/ 14704 h 411672"/>
                  <a:gd name="connsiteX16" fmla="*/ 350480 w 385572"/>
                  <a:gd name="connsiteY16" fmla="*/ 32879 h 411672"/>
                  <a:gd name="connsiteX17" fmla="*/ 385704 w 385572"/>
                  <a:gd name="connsiteY17" fmla="*/ 84836 h 411672"/>
                  <a:gd name="connsiteX18" fmla="*/ 372488 w 385572"/>
                  <a:gd name="connsiteY18" fmla="*/ 109652 h 411672"/>
                  <a:gd name="connsiteX19" fmla="*/ 352762 w 385572"/>
                  <a:gd name="connsiteY19" fmla="*/ 139420 h 411672"/>
                  <a:gd name="connsiteX20" fmla="*/ 381946 w 385572"/>
                  <a:gd name="connsiteY20" fmla="*/ 200782 h 411672"/>
                  <a:gd name="connsiteX21" fmla="*/ 356187 w 385572"/>
                  <a:gd name="connsiteY21" fmla="*/ 209619 h 411672"/>
                  <a:gd name="connsiteX22" fmla="*/ 310872 w 385572"/>
                  <a:gd name="connsiteY22" fmla="*/ 210789 h 411672"/>
                  <a:gd name="connsiteX23" fmla="*/ 168818 w 385572"/>
                  <a:gd name="connsiteY23" fmla="*/ 299378 h 411672"/>
                  <a:gd name="connsiteX24" fmla="*/ 151177 w 385572"/>
                  <a:gd name="connsiteY24" fmla="*/ 389161 h 411672"/>
                  <a:gd name="connsiteX25" fmla="*/ 123817 w 385572"/>
                  <a:gd name="connsiteY25" fmla="*/ 409319 h 411672"/>
                  <a:gd name="connsiteX26" fmla="*/ 82524 w 385572"/>
                  <a:gd name="connsiteY26" fmla="*/ 411796 h 41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5572" h="411672">
                    <a:moveTo>
                      <a:pt x="82524" y="411796"/>
                    </a:moveTo>
                    <a:cubicBezTo>
                      <a:pt x="60100" y="410801"/>
                      <a:pt x="32131" y="414802"/>
                      <a:pt x="20544" y="390877"/>
                    </a:cubicBezTo>
                    <a:cubicBezTo>
                      <a:pt x="15029" y="379488"/>
                      <a:pt x="12993" y="366049"/>
                      <a:pt x="10144" y="353817"/>
                    </a:cubicBezTo>
                    <a:cubicBezTo>
                      <a:pt x="6764" y="339306"/>
                      <a:pt x="2562" y="324903"/>
                      <a:pt x="845" y="310065"/>
                    </a:cubicBezTo>
                    <a:cubicBezTo>
                      <a:pt x="-2369" y="282300"/>
                      <a:pt x="4198" y="253187"/>
                      <a:pt x="10257" y="226208"/>
                    </a:cubicBezTo>
                    <a:cubicBezTo>
                      <a:pt x="15856" y="201275"/>
                      <a:pt x="25992" y="179499"/>
                      <a:pt x="40548" y="158367"/>
                    </a:cubicBezTo>
                    <a:cubicBezTo>
                      <a:pt x="46919" y="149117"/>
                      <a:pt x="58936" y="140737"/>
                      <a:pt x="60597" y="129069"/>
                    </a:cubicBezTo>
                    <a:cubicBezTo>
                      <a:pt x="62427" y="116208"/>
                      <a:pt x="52237" y="102101"/>
                      <a:pt x="46556" y="91281"/>
                    </a:cubicBezTo>
                    <a:cubicBezTo>
                      <a:pt x="36244" y="71641"/>
                      <a:pt x="23630" y="50602"/>
                      <a:pt x="42754" y="31478"/>
                    </a:cubicBezTo>
                    <a:cubicBezTo>
                      <a:pt x="68615" y="5618"/>
                      <a:pt x="148891" y="-24162"/>
                      <a:pt x="158096" y="31705"/>
                    </a:cubicBezTo>
                    <a:cubicBezTo>
                      <a:pt x="159880" y="42533"/>
                      <a:pt x="158444" y="56615"/>
                      <a:pt x="163918" y="66448"/>
                    </a:cubicBezTo>
                    <a:cubicBezTo>
                      <a:pt x="169086" y="75730"/>
                      <a:pt x="179180" y="74618"/>
                      <a:pt x="188364" y="74285"/>
                    </a:cubicBezTo>
                    <a:cubicBezTo>
                      <a:pt x="201915" y="73793"/>
                      <a:pt x="215322" y="74327"/>
                      <a:pt x="228857" y="74904"/>
                    </a:cubicBezTo>
                    <a:cubicBezTo>
                      <a:pt x="238207" y="75303"/>
                      <a:pt x="246191" y="74904"/>
                      <a:pt x="251718" y="66417"/>
                    </a:cubicBezTo>
                    <a:cubicBezTo>
                      <a:pt x="258036" y="56716"/>
                      <a:pt x="262457" y="47676"/>
                      <a:pt x="270042" y="38651"/>
                    </a:cubicBezTo>
                    <a:cubicBezTo>
                      <a:pt x="277029" y="30337"/>
                      <a:pt x="280997" y="19801"/>
                      <a:pt x="291243" y="14704"/>
                    </a:cubicBezTo>
                    <a:cubicBezTo>
                      <a:pt x="311125" y="4813"/>
                      <a:pt x="335250" y="20908"/>
                      <a:pt x="350480" y="32879"/>
                    </a:cubicBezTo>
                    <a:cubicBezTo>
                      <a:pt x="366059" y="45124"/>
                      <a:pt x="386946" y="63102"/>
                      <a:pt x="385704" y="84836"/>
                    </a:cubicBezTo>
                    <a:cubicBezTo>
                      <a:pt x="385103" y="95365"/>
                      <a:pt x="380068" y="102839"/>
                      <a:pt x="372488" y="109652"/>
                    </a:cubicBezTo>
                    <a:cubicBezTo>
                      <a:pt x="364865" y="116504"/>
                      <a:pt x="349991" y="127636"/>
                      <a:pt x="352762" y="139420"/>
                    </a:cubicBezTo>
                    <a:cubicBezTo>
                      <a:pt x="357355" y="158947"/>
                      <a:pt x="394407" y="176235"/>
                      <a:pt x="381946" y="200782"/>
                    </a:cubicBezTo>
                    <a:cubicBezTo>
                      <a:pt x="376998" y="210529"/>
                      <a:pt x="365466" y="209583"/>
                      <a:pt x="356187" y="209619"/>
                    </a:cubicBezTo>
                    <a:cubicBezTo>
                      <a:pt x="341113" y="209678"/>
                      <a:pt x="325909" y="209650"/>
                      <a:pt x="310872" y="210789"/>
                    </a:cubicBezTo>
                    <a:cubicBezTo>
                      <a:pt x="253562" y="215129"/>
                      <a:pt x="196671" y="248630"/>
                      <a:pt x="168818" y="299378"/>
                    </a:cubicBezTo>
                    <a:cubicBezTo>
                      <a:pt x="153559" y="327181"/>
                      <a:pt x="156056" y="358734"/>
                      <a:pt x="151177" y="389161"/>
                    </a:cubicBezTo>
                    <a:cubicBezTo>
                      <a:pt x="148612" y="405154"/>
                      <a:pt x="138445" y="407018"/>
                      <a:pt x="123817" y="409319"/>
                    </a:cubicBezTo>
                    <a:cubicBezTo>
                      <a:pt x="120600" y="409825"/>
                      <a:pt x="82506" y="412362"/>
                      <a:pt x="82524" y="411796"/>
                    </a:cubicBezTo>
                    <a:close/>
                  </a:path>
                </a:pathLst>
              </a:custGeom>
              <a:solidFill>
                <a:schemeClr val="bg1"/>
              </a:solidFill>
              <a:ln w="1180" cap="flat">
                <a:solidFill>
                  <a:schemeClr val="tx2">
                    <a:lumMod val="20000"/>
                    <a:lumOff val="80000"/>
                  </a:schemeClr>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72" name="Freeform: Shape 171">
                <a:extLst>
                  <a:ext uri="{FF2B5EF4-FFF2-40B4-BE49-F238E27FC236}">
                    <a16:creationId xmlns:a16="http://schemas.microsoft.com/office/drawing/2014/main" id="{50AB863F-4351-4FDF-8CA6-27F237537693}"/>
                  </a:ext>
                </a:extLst>
              </p:cNvPr>
              <p:cNvSpPr/>
              <p:nvPr/>
            </p:nvSpPr>
            <p:spPr>
              <a:xfrm>
                <a:off x="2218544" y="2962501"/>
                <a:ext cx="78176" cy="126582"/>
              </a:xfrm>
              <a:custGeom>
                <a:avLst/>
                <a:gdLst>
                  <a:gd name="connsiteX0" fmla="*/ 252311 w 408113"/>
                  <a:gd name="connsiteY0" fmla="*/ 0 h 660811"/>
                  <a:gd name="connsiteX1" fmla="*/ 302318 w 408113"/>
                  <a:gd name="connsiteY1" fmla="*/ 3999 h 660811"/>
                  <a:gd name="connsiteX2" fmla="*/ 358900 w 408113"/>
                  <a:gd name="connsiteY2" fmla="*/ 17421 h 660811"/>
                  <a:gd name="connsiteX3" fmla="*/ 386091 w 408113"/>
                  <a:gd name="connsiteY3" fmla="*/ 22522 h 660811"/>
                  <a:gd name="connsiteX4" fmla="*/ 406642 w 408113"/>
                  <a:gd name="connsiteY4" fmla="*/ 34171 h 660811"/>
                  <a:gd name="connsiteX5" fmla="*/ 402267 w 408113"/>
                  <a:gd name="connsiteY5" fmla="*/ 59636 h 660811"/>
                  <a:gd name="connsiteX6" fmla="*/ 355057 w 408113"/>
                  <a:gd name="connsiteY6" fmla="*/ 115882 h 660811"/>
                  <a:gd name="connsiteX7" fmla="*/ 322261 w 408113"/>
                  <a:gd name="connsiteY7" fmla="*/ 157833 h 660811"/>
                  <a:gd name="connsiteX8" fmla="*/ 273746 w 408113"/>
                  <a:gd name="connsiteY8" fmla="*/ 215262 h 660811"/>
                  <a:gd name="connsiteX9" fmla="*/ 251829 w 408113"/>
                  <a:gd name="connsiteY9" fmla="*/ 243173 h 660811"/>
                  <a:gd name="connsiteX10" fmla="*/ 260247 w 408113"/>
                  <a:gd name="connsiteY10" fmla="*/ 263358 h 660811"/>
                  <a:gd name="connsiteX11" fmla="*/ 279068 w 408113"/>
                  <a:gd name="connsiteY11" fmla="*/ 264621 h 660811"/>
                  <a:gd name="connsiteX12" fmla="*/ 301067 w 408113"/>
                  <a:gd name="connsiteY12" fmla="*/ 268581 h 660811"/>
                  <a:gd name="connsiteX13" fmla="*/ 313745 w 408113"/>
                  <a:gd name="connsiteY13" fmla="*/ 293857 h 660811"/>
                  <a:gd name="connsiteX14" fmla="*/ 302918 w 408113"/>
                  <a:gd name="connsiteY14" fmla="*/ 313940 h 660811"/>
                  <a:gd name="connsiteX15" fmla="*/ 240941 w 408113"/>
                  <a:gd name="connsiteY15" fmla="*/ 385508 h 660811"/>
                  <a:gd name="connsiteX16" fmla="*/ 199368 w 408113"/>
                  <a:gd name="connsiteY16" fmla="*/ 436993 h 660811"/>
                  <a:gd name="connsiteX17" fmla="*/ 128098 w 408113"/>
                  <a:gd name="connsiteY17" fmla="*/ 522467 h 660811"/>
                  <a:gd name="connsiteX18" fmla="*/ 61132 w 408113"/>
                  <a:gd name="connsiteY18" fmla="*/ 604622 h 660811"/>
                  <a:gd name="connsiteX19" fmla="*/ 39996 w 408113"/>
                  <a:gd name="connsiteY19" fmla="*/ 630823 h 660811"/>
                  <a:gd name="connsiteX20" fmla="*/ 34524 w 408113"/>
                  <a:gd name="connsiteY20" fmla="*/ 636153 h 660811"/>
                  <a:gd name="connsiteX21" fmla="*/ 20419 w 408113"/>
                  <a:gd name="connsiteY21" fmla="*/ 651770 h 660811"/>
                  <a:gd name="connsiteX22" fmla="*/ 12570 w 408113"/>
                  <a:gd name="connsiteY22" fmla="*/ 659711 h 660811"/>
                  <a:gd name="connsiteX23" fmla="*/ 10 w 408113"/>
                  <a:gd name="connsiteY23" fmla="*/ 653035 h 660811"/>
                  <a:gd name="connsiteX24" fmla="*/ 7380 w 408113"/>
                  <a:gd name="connsiteY24" fmla="*/ 633585 h 660811"/>
                  <a:gd name="connsiteX25" fmla="*/ 17632 w 408113"/>
                  <a:gd name="connsiteY25" fmla="*/ 614523 h 660811"/>
                  <a:gd name="connsiteX26" fmla="*/ 24114 w 408113"/>
                  <a:gd name="connsiteY26" fmla="*/ 602028 h 660811"/>
                  <a:gd name="connsiteX27" fmla="*/ 36899 w 408113"/>
                  <a:gd name="connsiteY27" fmla="*/ 580169 h 660811"/>
                  <a:gd name="connsiteX28" fmla="*/ 149047 w 408113"/>
                  <a:gd name="connsiteY28" fmla="*/ 372949 h 660811"/>
                  <a:gd name="connsiteX29" fmla="*/ 151527 w 408113"/>
                  <a:gd name="connsiteY29" fmla="*/ 358110 h 660811"/>
                  <a:gd name="connsiteX30" fmla="*/ 138440 w 408113"/>
                  <a:gd name="connsiteY30" fmla="*/ 351606 h 660811"/>
                  <a:gd name="connsiteX31" fmla="*/ 99109 w 408113"/>
                  <a:gd name="connsiteY31" fmla="*/ 347871 h 660811"/>
                  <a:gd name="connsiteX32" fmla="*/ 75567 w 408113"/>
                  <a:gd name="connsiteY32" fmla="*/ 331241 h 660811"/>
                  <a:gd name="connsiteX33" fmla="*/ 72961 w 408113"/>
                  <a:gd name="connsiteY33" fmla="*/ 313539 h 660811"/>
                  <a:gd name="connsiteX34" fmla="*/ 84295 w 408113"/>
                  <a:gd name="connsiteY34" fmla="*/ 289513 h 660811"/>
                  <a:gd name="connsiteX35" fmla="*/ 99879 w 408113"/>
                  <a:gd name="connsiteY35" fmla="*/ 259812 h 660811"/>
                  <a:gd name="connsiteX36" fmla="*/ 200524 w 408113"/>
                  <a:gd name="connsiteY36" fmla="*/ 70441 h 660811"/>
                  <a:gd name="connsiteX37" fmla="*/ 223750 w 408113"/>
                  <a:gd name="connsiteY37" fmla="*/ 24231 h 660811"/>
                  <a:gd name="connsiteX38" fmla="*/ 252311 w 408113"/>
                  <a:gd name="connsiteY38" fmla="*/ 0 h 66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8113" h="660811">
                    <a:moveTo>
                      <a:pt x="252311" y="0"/>
                    </a:moveTo>
                    <a:cubicBezTo>
                      <a:pt x="272532" y="1680"/>
                      <a:pt x="287404" y="3552"/>
                      <a:pt x="302318" y="3999"/>
                    </a:cubicBezTo>
                    <a:cubicBezTo>
                      <a:pt x="322218" y="4595"/>
                      <a:pt x="340397" y="11238"/>
                      <a:pt x="358900" y="17421"/>
                    </a:cubicBezTo>
                    <a:cubicBezTo>
                      <a:pt x="367565" y="20316"/>
                      <a:pt x="376985" y="21006"/>
                      <a:pt x="386091" y="22522"/>
                    </a:cubicBezTo>
                    <a:cubicBezTo>
                      <a:pt x="394414" y="23907"/>
                      <a:pt x="402889" y="25295"/>
                      <a:pt x="406642" y="34171"/>
                    </a:cubicBezTo>
                    <a:cubicBezTo>
                      <a:pt x="410533" y="43374"/>
                      <a:pt x="408497" y="52131"/>
                      <a:pt x="402267" y="59636"/>
                    </a:cubicBezTo>
                    <a:cubicBezTo>
                      <a:pt x="386632" y="78470"/>
                      <a:pt x="370556" y="96940"/>
                      <a:pt x="355057" y="115882"/>
                    </a:cubicBezTo>
                    <a:cubicBezTo>
                      <a:pt x="343819" y="129616"/>
                      <a:pt x="333531" y="144128"/>
                      <a:pt x="322261" y="157833"/>
                    </a:cubicBezTo>
                    <a:cubicBezTo>
                      <a:pt x="306345" y="177187"/>
                      <a:pt x="289813" y="196032"/>
                      <a:pt x="273746" y="215262"/>
                    </a:cubicBezTo>
                    <a:cubicBezTo>
                      <a:pt x="266162" y="224338"/>
                      <a:pt x="258659" y="233530"/>
                      <a:pt x="251829" y="243173"/>
                    </a:cubicBezTo>
                    <a:cubicBezTo>
                      <a:pt x="245281" y="252418"/>
                      <a:pt x="249104" y="261384"/>
                      <a:pt x="260247" y="263358"/>
                    </a:cubicBezTo>
                    <a:cubicBezTo>
                      <a:pt x="266401" y="264449"/>
                      <a:pt x="272836" y="263845"/>
                      <a:pt x="279068" y="264621"/>
                    </a:cubicBezTo>
                    <a:cubicBezTo>
                      <a:pt x="286461" y="265541"/>
                      <a:pt x="293983" y="266427"/>
                      <a:pt x="301067" y="268581"/>
                    </a:cubicBezTo>
                    <a:cubicBezTo>
                      <a:pt x="312341" y="272008"/>
                      <a:pt x="317783" y="282644"/>
                      <a:pt x="313745" y="293857"/>
                    </a:cubicBezTo>
                    <a:cubicBezTo>
                      <a:pt x="311187" y="300958"/>
                      <a:pt x="307713" y="308206"/>
                      <a:pt x="302918" y="313940"/>
                    </a:cubicBezTo>
                    <a:cubicBezTo>
                      <a:pt x="282675" y="338150"/>
                      <a:pt x="262332" y="362322"/>
                      <a:pt x="240941" y="385508"/>
                    </a:cubicBezTo>
                    <a:cubicBezTo>
                      <a:pt x="225899" y="401813"/>
                      <a:pt x="213246" y="419855"/>
                      <a:pt x="199368" y="436993"/>
                    </a:cubicBezTo>
                    <a:cubicBezTo>
                      <a:pt x="176024" y="465818"/>
                      <a:pt x="151726" y="493868"/>
                      <a:pt x="128098" y="522467"/>
                    </a:cubicBezTo>
                    <a:cubicBezTo>
                      <a:pt x="105595" y="549702"/>
                      <a:pt x="83422" y="577211"/>
                      <a:pt x="61132" y="604622"/>
                    </a:cubicBezTo>
                    <a:cubicBezTo>
                      <a:pt x="54053" y="613328"/>
                      <a:pt x="47108" y="622144"/>
                      <a:pt x="39996" y="630823"/>
                    </a:cubicBezTo>
                    <a:cubicBezTo>
                      <a:pt x="38393" y="632779"/>
                      <a:pt x="36246" y="634281"/>
                      <a:pt x="34524" y="636153"/>
                    </a:cubicBezTo>
                    <a:cubicBezTo>
                      <a:pt x="29777" y="641317"/>
                      <a:pt x="25158" y="646599"/>
                      <a:pt x="20419" y="651770"/>
                    </a:cubicBezTo>
                    <a:cubicBezTo>
                      <a:pt x="17900" y="654519"/>
                      <a:pt x="15587" y="657648"/>
                      <a:pt x="12570" y="659711"/>
                    </a:cubicBezTo>
                    <a:cubicBezTo>
                      <a:pt x="5715" y="664396"/>
                      <a:pt x="264" y="661410"/>
                      <a:pt x="10" y="653035"/>
                    </a:cubicBezTo>
                    <a:cubicBezTo>
                      <a:pt x="-215" y="645591"/>
                      <a:pt x="3404" y="639625"/>
                      <a:pt x="7380" y="633585"/>
                    </a:cubicBezTo>
                    <a:cubicBezTo>
                      <a:pt x="11331" y="627581"/>
                      <a:pt x="14278" y="620915"/>
                      <a:pt x="17632" y="614523"/>
                    </a:cubicBezTo>
                    <a:cubicBezTo>
                      <a:pt x="19813" y="610368"/>
                      <a:pt x="21796" y="606103"/>
                      <a:pt x="24114" y="602028"/>
                    </a:cubicBezTo>
                    <a:cubicBezTo>
                      <a:pt x="28287" y="594691"/>
                      <a:pt x="32782" y="587537"/>
                      <a:pt x="36899" y="580169"/>
                    </a:cubicBezTo>
                    <a:cubicBezTo>
                      <a:pt x="48509" y="559392"/>
                      <a:pt x="146514" y="376710"/>
                      <a:pt x="149047" y="372949"/>
                    </a:cubicBezTo>
                    <a:cubicBezTo>
                      <a:pt x="152133" y="368366"/>
                      <a:pt x="154370" y="363632"/>
                      <a:pt x="151527" y="358110"/>
                    </a:cubicBezTo>
                    <a:cubicBezTo>
                      <a:pt x="148783" y="352779"/>
                      <a:pt x="143577" y="352099"/>
                      <a:pt x="138440" y="351606"/>
                    </a:cubicBezTo>
                    <a:cubicBezTo>
                      <a:pt x="125328" y="350350"/>
                      <a:pt x="112115" y="349814"/>
                      <a:pt x="99109" y="347871"/>
                    </a:cubicBezTo>
                    <a:cubicBezTo>
                      <a:pt x="88880" y="346343"/>
                      <a:pt x="81333" y="339621"/>
                      <a:pt x="75567" y="331241"/>
                    </a:cubicBezTo>
                    <a:cubicBezTo>
                      <a:pt x="71888" y="325894"/>
                      <a:pt x="69908" y="320020"/>
                      <a:pt x="72961" y="313539"/>
                    </a:cubicBezTo>
                    <a:cubicBezTo>
                      <a:pt x="76734" y="305528"/>
                      <a:pt x="80318" y="297421"/>
                      <a:pt x="84295" y="289513"/>
                    </a:cubicBezTo>
                    <a:cubicBezTo>
                      <a:pt x="89318" y="279526"/>
                      <a:pt x="94561" y="269645"/>
                      <a:pt x="99879" y="259812"/>
                    </a:cubicBezTo>
                    <a:cubicBezTo>
                      <a:pt x="109029" y="242896"/>
                      <a:pt x="196790" y="77546"/>
                      <a:pt x="200524" y="70441"/>
                    </a:cubicBezTo>
                    <a:cubicBezTo>
                      <a:pt x="203525" y="64730"/>
                      <a:pt x="219404" y="34097"/>
                      <a:pt x="223750" y="24231"/>
                    </a:cubicBezTo>
                    <a:cubicBezTo>
                      <a:pt x="229294" y="11649"/>
                      <a:pt x="245170" y="-34"/>
                      <a:pt x="252311" y="0"/>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73" name="Freeform: Shape 172">
                <a:extLst>
                  <a:ext uri="{FF2B5EF4-FFF2-40B4-BE49-F238E27FC236}">
                    <a16:creationId xmlns:a16="http://schemas.microsoft.com/office/drawing/2014/main" id="{D1B07492-BDBD-4CCE-A5E7-60A5CC5A8C93}"/>
                  </a:ext>
                </a:extLst>
              </p:cNvPr>
              <p:cNvSpPr/>
              <p:nvPr/>
            </p:nvSpPr>
            <p:spPr>
              <a:xfrm>
                <a:off x="2067592" y="2950676"/>
                <a:ext cx="57041" cy="121355"/>
              </a:xfrm>
              <a:custGeom>
                <a:avLst/>
                <a:gdLst>
                  <a:gd name="connsiteX0" fmla="*/ 164480 w 297780"/>
                  <a:gd name="connsiteY0" fmla="*/ 219157 h 633525"/>
                  <a:gd name="connsiteX1" fmla="*/ 182681 w 297780"/>
                  <a:gd name="connsiteY1" fmla="*/ 226725 h 633525"/>
                  <a:gd name="connsiteX2" fmla="*/ 196362 w 297780"/>
                  <a:gd name="connsiteY2" fmla="*/ 213744 h 633525"/>
                  <a:gd name="connsiteX3" fmla="*/ 235349 w 297780"/>
                  <a:gd name="connsiteY3" fmla="*/ 209878 h 633525"/>
                  <a:gd name="connsiteX4" fmla="*/ 243785 w 297780"/>
                  <a:gd name="connsiteY4" fmla="*/ 234345 h 633525"/>
                  <a:gd name="connsiteX5" fmla="*/ 298015 w 297780"/>
                  <a:gd name="connsiteY5" fmla="*/ 627478 h 633525"/>
                  <a:gd name="connsiteX6" fmla="*/ 293232 w 297780"/>
                  <a:gd name="connsiteY6" fmla="*/ 633678 h 633525"/>
                  <a:gd name="connsiteX7" fmla="*/ 287448 w 297780"/>
                  <a:gd name="connsiteY7" fmla="*/ 627977 h 633525"/>
                  <a:gd name="connsiteX8" fmla="*/ 186001 w 297780"/>
                  <a:gd name="connsiteY8" fmla="*/ 362837 h 633525"/>
                  <a:gd name="connsiteX9" fmla="*/ 165306 w 297780"/>
                  <a:gd name="connsiteY9" fmla="*/ 361307 h 633525"/>
                  <a:gd name="connsiteX10" fmla="*/ 143199 w 297780"/>
                  <a:gd name="connsiteY10" fmla="*/ 381763 h 633525"/>
                  <a:gd name="connsiteX11" fmla="*/ 105478 w 297780"/>
                  <a:gd name="connsiteY11" fmla="*/ 380000 h 633525"/>
                  <a:gd name="connsiteX12" fmla="*/ 14131 w 297780"/>
                  <a:gd name="connsiteY12" fmla="*/ 134769 h 633525"/>
                  <a:gd name="connsiteX13" fmla="*/ 5863 w 297780"/>
                  <a:gd name="connsiteY13" fmla="*/ 114767 h 633525"/>
                  <a:gd name="connsiteX14" fmla="*/ 13443 w 297780"/>
                  <a:gd name="connsiteY14" fmla="*/ 70259 h 633525"/>
                  <a:gd name="connsiteX15" fmla="*/ 90497 w 297780"/>
                  <a:gd name="connsiteY15" fmla="*/ 8391 h 633525"/>
                  <a:gd name="connsiteX16" fmla="*/ 91888 w 297780"/>
                  <a:gd name="connsiteY16" fmla="*/ 7282 h 633525"/>
                  <a:gd name="connsiteX17" fmla="*/ 129479 w 297780"/>
                  <a:gd name="connsiteY17" fmla="*/ 14107 h 633525"/>
                  <a:gd name="connsiteX18" fmla="*/ 164480 w 297780"/>
                  <a:gd name="connsiteY18" fmla="*/ 219157 h 63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7780" h="633525">
                    <a:moveTo>
                      <a:pt x="164480" y="219157"/>
                    </a:moveTo>
                    <a:cubicBezTo>
                      <a:pt x="166238" y="228954"/>
                      <a:pt x="174431" y="232420"/>
                      <a:pt x="182681" y="226725"/>
                    </a:cubicBezTo>
                    <a:cubicBezTo>
                      <a:pt x="187796" y="223193"/>
                      <a:pt x="192125" y="218385"/>
                      <a:pt x="196362" y="213744"/>
                    </a:cubicBezTo>
                    <a:cubicBezTo>
                      <a:pt x="206362" y="202794"/>
                      <a:pt x="225324" y="200656"/>
                      <a:pt x="235349" y="209878"/>
                    </a:cubicBezTo>
                    <a:cubicBezTo>
                      <a:pt x="242471" y="216430"/>
                      <a:pt x="242740" y="225522"/>
                      <a:pt x="243785" y="234345"/>
                    </a:cubicBezTo>
                    <a:cubicBezTo>
                      <a:pt x="247021" y="261644"/>
                      <a:pt x="301399" y="616760"/>
                      <a:pt x="298015" y="627478"/>
                    </a:cubicBezTo>
                    <a:cubicBezTo>
                      <a:pt x="297277" y="629815"/>
                      <a:pt x="294870" y="631625"/>
                      <a:pt x="293232" y="633678"/>
                    </a:cubicBezTo>
                    <a:cubicBezTo>
                      <a:pt x="291235" y="631798"/>
                      <a:pt x="288117" y="630248"/>
                      <a:pt x="287448" y="627977"/>
                    </a:cubicBezTo>
                    <a:cubicBezTo>
                      <a:pt x="285355" y="620876"/>
                      <a:pt x="193789" y="370566"/>
                      <a:pt x="186001" y="362837"/>
                    </a:cubicBezTo>
                    <a:cubicBezTo>
                      <a:pt x="179609" y="356493"/>
                      <a:pt x="172354" y="355622"/>
                      <a:pt x="165306" y="361307"/>
                    </a:cubicBezTo>
                    <a:cubicBezTo>
                      <a:pt x="157494" y="367608"/>
                      <a:pt x="149375" y="373984"/>
                      <a:pt x="143199" y="381763"/>
                    </a:cubicBezTo>
                    <a:cubicBezTo>
                      <a:pt x="131301" y="396752"/>
                      <a:pt x="115588" y="392919"/>
                      <a:pt x="105478" y="380000"/>
                    </a:cubicBezTo>
                    <a:cubicBezTo>
                      <a:pt x="99682" y="372593"/>
                      <a:pt x="17102" y="146703"/>
                      <a:pt x="14131" y="134769"/>
                    </a:cubicBezTo>
                    <a:cubicBezTo>
                      <a:pt x="12374" y="127731"/>
                      <a:pt x="9589" y="120991"/>
                      <a:pt x="5863" y="114767"/>
                    </a:cubicBezTo>
                    <a:cubicBezTo>
                      <a:pt x="-3974" y="98465"/>
                      <a:pt x="-1423" y="82141"/>
                      <a:pt x="13443" y="70259"/>
                    </a:cubicBezTo>
                    <a:cubicBezTo>
                      <a:pt x="39174" y="49694"/>
                      <a:pt x="64858" y="29071"/>
                      <a:pt x="90497" y="8391"/>
                    </a:cubicBezTo>
                    <a:cubicBezTo>
                      <a:pt x="90959" y="8020"/>
                      <a:pt x="91412" y="7635"/>
                      <a:pt x="91888" y="7282"/>
                    </a:cubicBezTo>
                    <a:cubicBezTo>
                      <a:pt x="107402" y="-4207"/>
                      <a:pt x="119176" y="-2224"/>
                      <a:pt x="129479" y="14107"/>
                    </a:cubicBezTo>
                    <a:cubicBezTo>
                      <a:pt x="137826" y="27339"/>
                      <a:pt x="163202" y="212029"/>
                      <a:pt x="164480" y="219157"/>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sp>
            <p:nvSpPr>
              <p:cNvPr id="174" name="Freeform: Shape 173">
                <a:extLst>
                  <a:ext uri="{FF2B5EF4-FFF2-40B4-BE49-F238E27FC236}">
                    <a16:creationId xmlns:a16="http://schemas.microsoft.com/office/drawing/2014/main" id="{D69A92C6-8064-4EED-BA5B-A5C4F5726164}"/>
                  </a:ext>
                </a:extLst>
              </p:cNvPr>
              <p:cNvSpPr/>
              <p:nvPr/>
            </p:nvSpPr>
            <p:spPr>
              <a:xfrm>
                <a:off x="2165546" y="2974311"/>
                <a:ext cx="34315" cy="84767"/>
              </a:xfrm>
              <a:custGeom>
                <a:avLst/>
                <a:gdLst>
                  <a:gd name="connsiteX0" fmla="*/ 147498 w 179142"/>
                  <a:gd name="connsiteY0" fmla="*/ 14 h 442518"/>
                  <a:gd name="connsiteX1" fmla="*/ 159528 w 179142"/>
                  <a:gd name="connsiteY1" fmla="*/ 20 h 442518"/>
                  <a:gd name="connsiteX2" fmla="*/ 177502 w 179142"/>
                  <a:gd name="connsiteY2" fmla="*/ 27678 h 442518"/>
                  <a:gd name="connsiteX3" fmla="*/ 172409 w 179142"/>
                  <a:gd name="connsiteY3" fmla="*/ 36304 h 442518"/>
                  <a:gd name="connsiteX4" fmla="*/ 137395 w 179142"/>
                  <a:gd name="connsiteY4" fmla="*/ 100255 h 442518"/>
                  <a:gd name="connsiteX5" fmla="*/ 112888 w 179142"/>
                  <a:gd name="connsiteY5" fmla="*/ 145226 h 442518"/>
                  <a:gd name="connsiteX6" fmla="*/ 120340 w 179142"/>
                  <a:gd name="connsiteY6" fmla="*/ 161633 h 442518"/>
                  <a:gd name="connsiteX7" fmla="*/ 141265 w 179142"/>
                  <a:gd name="connsiteY7" fmla="*/ 165016 h 442518"/>
                  <a:gd name="connsiteX8" fmla="*/ 151182 w 179142"/>
                  <a:gd name="connsiteY8" fmla="*/ 186126 h 442518"/>
                  <a:gd name="connsiteX9" fmla="*/ 62 w 179142"/>
                  <a:gd name="connsiteY9" fmla="*/ 443583 h 442518"/>
                  <a:gd name="connsiteX10" fmla="*/ 50996 w 179142"/>
                  <a:gd name="connsiteY10" fmla="*/ 250666 h 442518"/>
                  <a:gd name="connsiteX11" fmla="*/ 35503 w 179142"/>
                  <a:gd name="connsiteY11" fmla="*/ 237669 h 442518"/>
                  <a:gd name="connsiteX12" fmla="*/ 22080 w 179142"/>
                  <a:gd name="connsiteY12" fmla="*/ 236670 h 442518"/>
                  <a:gd name="connsiteX13" fmla="*/ 6339 w 179142"/>
                  <a:gd name="connsiteY13" fmla="*/ 209300 h 442518"/>
                  <a:gd name="connsiteX14" fmla="*/ 51065 w 179142"/>
                  <a:gd name="connsiteY14" fmla="*/ 50959 h 442518"/>
                  <a:gd name="connsiteX15" fmla="*/ 68900 w 179142"/>
                  <a:gd name="connsiteY15" fmla="*/ 11198 h 442518"/>
                  <a:gd name="connsiteX16" fmla="*/ 85107 w 179142"/>
                  <a:gd name="connsiteY16" fmla="*/ 3810 h 442518"/>
                  <a:gd name="connsiteX17" fmla="*/ 147498 w 179142"/>
                  <a:gd name="connsiteY17" fmla="*/ 14 h 44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142" h="442518">
                    <a:moveTo>
                      <a:pt x="147498" y="14"/>
                    </a:moveTo>
                    <a:cubicBezTo>
                      <a:pt x="152411" y="14"/>
                      <a:pt x="155970" y="-21"/>
                      <a:pt x="159528" y="20"/>
                    </a:cubicBezTo>
                    <a:cubicBezTo>
                      <a:pt x="175400" y="200"/>
                      <a:pt x="183782" y="12995"/>
                      <a:pt x="177502" y="27678"/>
                    </a:cubicBezTo>
                    <a:cubicBezTo>
                      <a:pt x="176200" y="30722"/>
                      <a:pt x="174064" y="33402"/>
                      <a:pt x="172409" y="36304"/>
                    </a:cubicBezTo>
                    <a:cubicBezTo>
                      <a:pt x="167363" y="45150"/>
                      <a:pt x="141259" y="92535"/>
                      <a:pt x="137395" y="100255"/>
                    </a:cubicBezTo>
                    <a:cubicBezTo>
                      <a:pt x="135986" y="103072"/>
                      <a:pt x="119356" y="132890"/>
                      <a:pt x="112888" y="145226"/>
                    </a:cubicBezTo>
                    <a:cubicBezTo>
                      <a:pt x="108198" y="154171"/>
                      <a:pt x="110443" y="159368"/>
                      <a:pt x="120340" y="161633"/>
                    </a:cubicBezTo>
                    <a:cubicBezTo>
                      <a:pt x="127213" y="163205"/>
                      <a:pt x="134375" y="163498"/>
                      <a:pt x="141265" y="165016"/>
                    </a:cubicBezTo>
                    <a:cubicBezTo>
                      <a:pt x="152072" y="167397"/>
                      <a:pt x="155989" y="176106"/>
                      <a:pt x="151182" y="186126"/>
                    </a:cubicBezTo>
                    <a:cubicBezTo>
                      <a:pt x="146096" y="196727"/>
                      <a:pt x="1638" y="446999"/>
                      <a:pt x="62" y="443583"/>
                    </a:cubicBezTo>
                    <a:cubicBezTo>
                      <a:pt x="-2104" y="438888"/>
                      <a:pt x="53480" y="266816"/>
                      <a:pt x="50996" y="250666"/>
                    </a:cubicBezTo>
                    <a:cubicBezTo>
                      <a:pt x="49668" y="242031"/>
                      <a:pt x="44499" y="237901"/>
                      <a:pt x="35503" y="237669"/>
                    </a:cubicBezTo>
                    <a:cubicBezTo>
                      <a:pt x="31005" y="237553"/>
                      <a:pt x="26218" y="238033"/>
                      <a:pt x="22080" y="236670"/>
                    </a:cubicBezTo>
                    <a:cubicBezTo>
                      <a:pt x="11039" y="233035"/>
                      <a:pt x="4315" y="220711"/>
                      <a:pt x="6339" y="209300"/>
                    </a:cubicBezTo>
                    <a:cubicBezTo>
                      <a:pt x="7919" y="200392"/>
                      <a:pt x="50385" y="63198"/>
                      <a:pt x="51065" y="50959"/>
                    </a:cubicBezTo>
                    <a:cubicBezTo>
                      <a:pt x="51931" y="35373"/>
                      <a:pt x="56545" y="21308"/>
                      <a:pt x="68900" y="11198"/>
                    </a:cubicBezTo>
                    <a:cubicBezTo>
                      <a:pt x="73386" y="7527"/>
                      <a:pt x="79481" y="4325"/>
                      <a:pt x="85107" y="3810"/>
                    </a:cubicBezTo>
                    <a:cubicBezTo>
                      <a:pt x="106294" y="1872"/>
                      <a:pt x="127591" y="1129"/>
                      <a:pt x="147498" y="14"/>
                    </a:cubicBezTo>
                    <a:close/>
                  </a:path>
                </a:pathLst>
              </a:custGeom>
              <a:solidFill>
                <a:schemeClr val="bg1"/>
              </a:solidFill>
              <a:ln w="1180" cap="flat">
                <a:solidFill>
                  <a:schemeClr val="bg1"/>
                </a:solidFill>
                <a:prstDash val="solid"/>
                <a:miter/>
              </a:ln>
            </p:spPr>
            <p:txBody>
              <a:bodyPr rtlCol="0" anchor="ctr"/>
              <a:lstStyle/>
              <a:p>
                <a:pPr marL="0" marR="0" lvl="0" indent="0" algn="l" defTabSz="914195"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a:ea typeface="MS PGothic" charset="0"/>
                  <a:cs typeface="+mn-cs"/>
                </a:endParaRPr>
              </a:p>
            </p:txBody>
          </p:sp>
        </p:grpSp>
      </p:grpSp>
      <p:sp>
        <p:nvSpPr>
          <p:cNvPr id="62" name="Text Placeholder 1">
            <a:extLst>
              <a:ext uri="{FF2B5EF4-FFF2-40B4-BE49-F238E27FC236}">
                <a16:creationId xmlns:a16="http://schemas.microsoft.com/office/drawing/2014/main" id="{6ECAE76C-E16F-4BDB-B160-C0BF3708674E}"/>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custDataLst>
      <p:tags r:id="rId1"/>
    </p:custDataLst>
    <p:extLst>
      <p:ext uri="{BB962C8B-B14F-4D97-AF65-F5344CB8AC3E}">
        <p14:creationId xmlns:p14="http://schemas.microsoft.com/office/powerpoint/2010/main" val="60207815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CF7C31AA-9331-4ED6-A976-11CB808A9D09}"/>
              </a:ext>
            </a:extLst>
          </p:cNvPr>
          <p:cNvGraphicFramePr>
            <a:graphicFrameLocks noGrp="1"/>
          </p:cNvGraphicFramePr>
          <p:nvPr>
            <p:ph sz="quarter" idx="13"/>
          </p:nvPr>
        </p:nvGraphicFramePr>
        <p:xfrm>
          <a:off x="596900" y="1231472"/>
          <a:ext cx="9928224" cy="4434840"/>
        </p:xfrm>
        <a:graphic>
          <a:graphicData uri="http://schemas.openxmlformats.org/drawingml/2006/table">
            <a:tbl>
              <a:tblPr firstRow="1" bandRow="1">
                <a:tableStyleId>{74C1A8A3-306A-4EB7-A6B1-4F7E0EB9C5D6}</a:tableStyleId>
              </a:tblPr>
              <a:tblGrid>
                <a:gridCol w="977900">
                  <a:extLst>
                    <a:ext uri="{9D8B030D-6E8A-4147-A177-3AD203B41FA5}">
                      <a16:colId xmlns:a16="http://schemas.microsoft.com/office/drawing/2014/main" val="127886144"/>
                    </a:ext>
                  </a:extLst>
                </a:gridCol>
                <a:gridCol w="1462314">
                  <a:extLst>
                    <a:ext uri="{9D8B030D-6E8A-4147-A177-3AD203B41FA5}">
                      <a16:colId xmlns:a16="http://schemas.microsoft.com/office/drawing/2014/main" val="1475989764"/>
                    </a:ext>
                  </a:extLst>
                </a:gridCol>
                <a:gridCol w="645886">
                  <a:extLst>
                    <a:ext uri="{9D8B030D-6E8A-4147-A177-3AD203B41FA5}">
                      <a16:colId xmlns:a16="http://schemas.microsoft.com/office/drawing/2014/main" val="2422419699"/>
                    </a:ext>
                  </a:extLst>
                </a:gridCol>
                <a:gridCol w="725714">
                  <a:extLst>
                    <a:ext uri="{9D8B030D-6E8A-4147-A177-3AD203B41FA5}">
                      <a16:colId xmlns:a16="http://schemas.microsoft.com/office/drawing/2014/main" val="3661897876"/>
                    </a:ext>
                  </a:extLst>
                </a:gridCol>
                <a:gridCol w="544286">
                  <a:extLst>
                    <a:ext uri="{9D8B030D-6E8A-4147-A177-3AD203B41FA5}">
                      <a16:colId xmlns:a16="http://schemas.microsoft.com/office/drawing/2014/main" val="2739944311"/>
                    </a:ext>
                  </a:extLst>
                </a:gridCol>
                <a:gridCol w="664029">
                  <a:extLst>
                    <a:ext uri="{9D8B030D-6E8A-4147-A177-3AD203B41FA5}">
                      <a16:colId xmlns:a16="http://schemas.microsoft.com/office/drawing/2014/main" val="527761010"/>
                    </a:ext>
                  </a:extLst>
                </a:gridCol>
                <a:gridCol w="2206171">
                  <a:extLst>
                    <a:ext uri="{9D8B030D-6E8A-4147-A177-3AD203B41FA5}">
                      <a16:colId xmlns:a16="http://schemas.microsoft.com/office/drawing/2014/main" val="3748053111"/>
                    </a:ext>
                  </a:extLst>
                </a:gridCol>
                <a:gridCol w="1320800">
                  <a:extLst>
                    <a:ext uri="{9D8B030D-6E8A-4147-A177-3AD203B41FA5}">
                      <a16:colId xmlns:a16="http://schemas.microsoft.com/office/drawing/2014/main" val="62612671"/>
                    </a:ext>
                  </a:extLst>
                </a:gridCol>
                <a:gridCol w="1381124">
                  <a:extLst>
                    <a:ext uri="{9D8B030D-6E8A-4147-A177-3AD203B41FA5}">
                      <a16:colId xmlns:a16="http://schemas.microsoft.com/office/drawing/2014/main" val="3778172607"/>
                    </a:ext>
                  </a:extLst>
                </a:gridCol>
              </a:tblGrid>
              <a:tr h="374846">
                <a:tc rowSpan="2">
                  <a:txBody>
                    <a:bodyPr/>
                    <a:lstStyle/>
                    <a:p>
                      <a:r>
                        <a:rPr lang="en-US" sz="1100" b="1" dirty="0"/>
                        <a:t>Drug</a:t>
                      </a:r>
                    </a:p>
                  </a:txBody>
                  <a:tcPr anchor="ctr"/>
                </a:tc>
                <a:tc gridSpan="4">
                  <a:txBody>
                    <a:bodyPr/>
                    <a:lstStyle/>
                    <a:p>
                      <a:pPr algn="ctr"/>
                      <a:r>
                        <a:rPr lang="en-US" sz="1100" b="1" dirty="0"/>
                        <a:t>Evidence across GFR strata according to baseline eGFR enrollment criteria</a:t>
                      </a:r>
                    </a:p>
                  </a:txBody>
                  <a:tcPr>
                    <a:solidFill>
                      <a:schemeClr val="accent5"/>
                    </a:solidFill>
                  </a:tcPr>
                </a:tc>
                <a:tc hMerge="1">
                  <a:txBody>
                    <a:bodyPr/>
                    <a:lstStyle/>
                    <a:p>
                      <a:endParaRPr lang="en-US" dirty="0"/>
                    </a:p>
                  </a:txBody>
                  <a:tcPr/>
                </a:tc>
                <a:tc hMerge="1">
                  <a:txBody>
                    <a:bodyPr/>
                    <a:lstStyle/>
                    <a:p>
                      <a:endParaRPr lang="en-US" dirty="0"/>
                    </a:p>
                  </a:txBody>
                  <a:tcPr/>
                </a:tc>
                <a:tc hMerge="1">
                  <a:txBody>
                    <a:bodyPr/>
                    <a:lstStyle/>
                    <a:p>
                      <a:endParaRPr lang="en-US" sz="1200" b="1" dirty="0"/>
                    </a:p>
                  </a:txBody>
                  <a:tcPr>
                    <a:lnB w="28575" cap="flat" cmpd="sng" algn="ctr">
                      <a:solidFill>
                        <a:schemeClr val="tx1"/>
                      </a:solidFill>
                      <a:prstDash val="solid"/>
                      <a:round/>
                      <a:headEnd type="none" w="med" len="med"/>
                      <a:tailEnd type="none" w="med" len="med"/>
                    </a:lnB>
                  </a:tcPr>
                </a:tc>
                <a:tc rowSpan="2">
                  <a:txBody>
                    <a:bodyPr/>
                    <a:lstStyle/>
                    <a:p>
                      <a:pPr algn="ctr"/>
                      <a:r>
                        <a:rPr lang="en-US" sz="1100" b="1" dirty="0"/>
                        <a:t>Acute drop GFR</a:t>
                      </a:r>
                    </a:p>
                  </a:txBody>
                  <a:tcPr/>
                </a:tc>
                <a:tc rowSpan="2">
                  <a:txBody>
                    <a:bodyPr/>
                    <a:lstStyle/>
                    <a:p>
                      <a:pPr algn="ctr"/>
                      <a:r>
                        <a:rPr lang="en-US" sz="1100" b="1" dirty="0"/>
                        <a:t>Impact on GFR slope in HF trial</a:t>
                      </a:r>
                    </a:p>
                  </a:txBody>
                  <a:tcPr/>
                </a:tc>
                <a:tc rowSpan="2">
                  <a:txBody>
                    <a:bodyPr/>
                    <a:lstStyle/>
                    <a:p>
                      <a:pPr algn="ctr"/>
                      <a:r>
                        <a:rPr lang="en-US" sz="1100" b="1" dirty="0"/>
                        <a:t>CKD treatment interaction</a:t>
                      </a:r>
                    </a:p>
                  </a:txBody>
                  <a:tcPr/>
                </a:tc>
                <a:tc rowSpan="2">
                  <a:txBody>
                    <a:bodyPr/>
                    <a:lstStyle/>
                    <a:p>
                      <a:pPr algn="ctr"/>
                      <a:r>
                        <a:rPr lang="en-US" sz="1100" b="1" dirty="0"/>
                        <a:t>Treatment effect with CKD</a:t>
                      </a:r>
                    </a:p>
                  </a:txBody>
                  <a:tcPr/>
                </a:tc>
                <a:extLst>
                  <a:ext uri="{0D108BD9-81ED-4DB2-BD59-A6C34878D82A}">
                    <a16:rowId xmlns:a16="http://schemas.microsoft.com/office/drawing/2014/main" val="631965707"/>
                  </a:ext>
                </a:extLst>
              </a:tr>
              <a:tr h="227585">
                <a:tc vMerge="1">
                  <a:txBody>
                    <a:bodyPr/>
                    <a:lstStyle/>
                    <a:p>
                      <a:endParaRPr lang="en-US"/>
                    </a:p>
                  </a:txBody>
                  <a:tcPr/>
                </a:tc>
                <a:tc>
                  <a:txBody>
                    <a:bodyPr/>
                    <a:lstStyle/>
                    <a:p>
                      <a:pPr algn="ctr"/>
                      <a:r>
                        <a:rPr lang="en-US" sz="1100" b="1" dirty="0">
                          <a:solidFill>
                            <a:schemeClr val="bg1"/>
                          </a:solidFill>
                        </a:rPr>
                        <a:t>ESKD</a:t>
                      </a:r>
                    </a:p>
                  </a:txBody>
                  <a:tcPr>
                    <a:lnL w="25400" cmpd="sng">
                      <a:noFill/>
                    </a:lnL>
                    <a:lnR w="25400" cmpd="sng">
                      <a:noFill/>
                    </a:lnR>
                    <a:lnB w="28575" cap="flat" cmpd="sng" algn="ctr">
                      <a:solidFill>
                        <a:schemeClr val="tx1"/>
                      </a:solidFill>
                      <a:prstDash val="solid"/>
                      <a:round/>
                      <a:headEnd type="none" w="med" len="med"/>
                      <a:tailEnd type="none" w="med" len="med"/>
                    </a:lnB>
                    <a:solidFill>
                      <a:schemeClr val="accent5"/>
                    </a:solidFill>
                  </a:tcPr>
                </a:tc>
                <a:tc>
                  <a:txBody>
                    <a:bodyPr/>
                    <a:lstStyle/>
                    <a:p>
                      <a:pPr algn="ctr"/>
                      <a:r>
                        <a:rPr lang="en-US" sz="1100" b="1" dirty="0">
                          <a:solidFill>
                            <a:schemeClr val="bg1"/>
                          </a:solidFill>
                        </a:rPr>
                        <a:t>15–30</a:t>
                      </a:r>
                    </a:p>
                  </a:txBody>
                  <a:tcPr>
                    <a:lnL>
                      <a:noFill/>
                    </a:lnL>
                    <a:lnB w="28575" cap="flat" cmpd="sng" algn="ctr">
                      <a:solidFill>
                        <a:schemeClr val="tx1"/>
                      </a:solidFill>
                      <a:prstDash val="solid"/>
                      <a:round/>
                      <a:headEnd type="none" w="med" len="med"/>
                      <a:tailEnd type="none" w="med" len="med"/>
                    </a:lnB>
                    <a:solidFill>
                      <a:schemeClr val="accent5"/>
                    </a:solidFill>
                  </a:tcPr>
                </a:tc>
                <a:tc>
                  <a:txBody>
                    <a:bodyPr/>
                    <a:lstStyle/>
                    <a:p>
                      <a:pPr algn="ctr"/>
                      <a:r>
                        <a:rPr lang="en-US" sz="1100" b="1" dirty="0">
                          <a:solidFill>
                            <a:schemeClr val="bg1"/>
                          </a:solidFill>
                        </a:rPr>
                        <a:t>30–60</a:t>
                      </a:r>
                    </a:p>
                  </a:txBody>
                  <a:tcPr>
                    <a:lnR w="25400" cmpd="sng">
                      <a:noFill/>
                    </a:lnR>
                    <a:lnB w="28575" cap="flat" cmpd="sng" algn="ctr">
                      <a:solidFill>
                        <a:schemeClr val="tx1"/>
                      </a:solidFill>
                      <a:prstDash val="solid"/>
                      <a:round/>
                      <a:headEnd type="none" w="med" len="med"/>
                      <a:tailEnd type="none" w="med" len="med"/>
                    </a:lnB>
                    <a:solidFill>
                      <a:schemeClr val="accent5"/>
                    </a:solidFill>
                  </a:tcPr>
                </a:tc>
                <a:tc>
                  <a:txBody>
                    <a:bodyPr/>
                    <a:lstStyle/>
                    <a:p>
                      <a:pPr algn="ctr"/>
                      <a:r>
                        <a:rPr lang="en-US" sz="1100" b="1" dirty="0">
                          <a:solidFill>
                            <a:schemeClr val="bg1"/>
                          </a:solidFill>
                        </a:rPr>
                        <a:t>&gt;60</a:t>
                      </a:r>
                    </a:p>
                  </a:txBody>
                  <a:tcPr>
                    <a:lnL>
                      <a:noFill/>
                    </a:lnL>
                    <a:lnR w="254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704F8A"/>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6672076"/>
                  </a:ext>
                </a:extLst>
              </a:tr>
              <a:tr h="669368">
                <a:tc>
                  <a:txBody>
                    <a:bodyPr/>
                    <a:lstStyle/>
                    <a:p>
                      <a:r>
                        <a:rPr lang="en-US" sz="1100" dirty="0"/>
                        <a:t>ACEi/ARB</a:t>
                      </a:r>
                    </a:p>
                  </a:txBody>
                  <a:tcPr>
                    <a:solidFill>
                      <a:srgbClr val="E7E7E7"/>
                    </a:solidFill>
                  </a:tcPr>
                </a:tc>
                <a:tc>
                  <a:txBody>
                    <a:bodyPr/>
                    <a:lstStyle/>
                    <a:p>
                      <a:pPr algn="ctr"/>
                      <a:r>
                        <a:rPr lang="en-US" sz="1100" dirty="0"/>
                        <a:t>Moderate evidence if on dialysis, weak evidence if not on dialysis</a:t>
                      </a:r>
                    </a:p>
                  </a:txBody>
                  <a:tcPr>
                    <a:lnT w="28575" cap="flat" cmpd="sng" algn="ctr">
                      <a:solidFill>
                        <a:schemeClr val="tx1"/>
                      </a:solidFill>
                      <a:prstDash val="solid"/>
                      <a:round/>
                      <a:headEnd type="none" w="med" len="med"/>
                      <a:tailEnd type="none" w="med" len="med"/>
                    </a:lnT>
                    <a:solidFill>
                      <a:srgbClr val="CCE9AD"/>
                    </a:solidFill>
                  </a:tcPr>
                </a:tc>
                <a:tc>
                  <a:txBody>
                    <a:bodyPr/>
                    <a:lstStyle/>
                    <a:p>
                      <a:pPr algn="ctr"/>
                      <a:endParaRPr lang="en-US" sz="1100" dirty="0"/>
                    </a:p>
                  </a:txBody>
                  <a:tcPr>
                    <a:lnT w="28575" cap="flat" cmpd="sng" algn="ctr">
                      <a:solidFill>
                        <a:schemeClr val="tx1"/>
                      </a:solidFill>
                      <a:prstDash val="solid"/>
                      <a:round/>
                      <a:headEnd type="none" w="med" len="med"/>
                      <a:tailEnd type="none" w="med" len="med"/>
                    </a:lnT>
                    <a:solidFill>
                      <a:srgbClr val="92D050"/>
                    </a:solidFill>
                  </a:tcPr>
                </a:tc>
                <a:tc>
                  <a:txBody>
                    <a:bodyPr/>
                    <a:lstStyle/>
                    <a:p>
                      <a:pPr algn="ctr"/>
                      <a:endParaRPr lang="en-US" sz="1100" dirty="0"/>
                    </a:p>
                  </a:txBody>
                  <a:tcPr>
                    <a:lnT w="28575" cap="flat" cmpd="sng" algn="ctr">
                      <a:solidFill>
                        <a:schemeClr val="tx1"/>
                      </a:solidFill>
                      <a:prstDash val="solid"/>
                      <a:round/>
                      <a:headEnd type="none" w="med" len="med"/>
                      <a:tailEnd type="none" w="med" len="med"/>
                    </a:lnT>
                    <a:solidFill>
                      <a:srgbClr val="00B050"/>
                    </a:solidFill>
                  </a:tcPr>
                </a:tc>
                <a:tc>
                  <a:txBody>
                    <a:bodyPr/>
                    <a:lstStyle/>
                    <a:p>
                      <a:pPr algn="ctr"/>
                      <a:endParaRPr lang="en-US" sz="1100" dirty="0"/>
                    </a:p>
                  </a:txBody>
                  <a:tcPr>
                    <a:lnT w="28575" cap="flat" cmpd="sng" algn="ctr">
                      <a:solidFill>
                        <a:schemeClr val="tx1"/>
                      </a:solidFill>
                      <a:prstDash val="solid"/>
                      <a:round/>
                      <a:headEnd type="none" w="med" len="med"/>
                      <a:tailEnd type="none" w="med" len="med"/>
                    </a:lnT>
                    <a:solidFill>
                      <a:srgbClr val="00B050"/>
                    </a:solidFill>
                  </a:tcPr>
                </a:tc>
                <a:tc>
                  <a:txBody>
                    <a:bodyPr/>
                    <a:lstStyle/>
                    <a:p>
                      <a:pPr algn="ctr"/>
                      <a:r>
                        <a:rPr lang="en-US" sz="1100" dirty="0"/>
                        <a:t>Yes </a:t>
                      </a:r>
                    </a:p>
                  </a:txBody>
                  <a:tcPr>
                    <a:solidFill>
                      <a:srgbClr val="E7E7E7"/>
                    </a:solidFill>
                  </a:tcPr>
                </a:tc>
                <a:tc>
                  <a:txBody>
                    <a:bodyPr/>
                    <a:lstStyle/>
                    <a:p>
                      <a:pPr algn="ctr"/>
                      <a:r>
                        <a:rPr lang="en-US" sz="1100" dirty="0"/>
                        <a:t>No (beneficial effect of around 1–2 ml/min/ 1.73 m</a:t>
                      </a:r>
                      <a:r>
                        <a:rPr lang="en-US" sz="1100" baseline="30000" dirty="0"/>
                        <a:t>2</a:t>
                      </a:r>
                      <a:r>
                        <a:rPr lang="en-US" sz="1100" baseline="0" dirty="0"/>
                        <a:t> per year in CKD trials)</a:t>
                      </a:r>
                      <a:endParaRPr lang="en-US" sz="1100" dirty="0"/>
                    </a:p>
                  </a:txBody>
                  <a:tcPr>
                    <a:solidFill>
                      <a:srgbClr val="E7E7E7"/>
                    </a:solidFill>
                  </a:tcPr>
                </a:tc>
                <a:tc>
                  <a:txBody>
                    <a:bodyPr/>
                    <a:lstStyle/>
                    <a:p>
                      <a:pPr algn="ctr"/>
                      <a:r>
                        <a:rPr lang="en-US" sz="1100" dirty="0"/>
                        <a:t>No</a:t>
                      </a:r>
                    </a:p>
                  </a:txBody>
                  <a:tcPr>
                    <a:solidFill>
                      <a:srgbClr val="E7E7E7"/>
                    </a:solidFill>
                  </a:tcPr>
                </a:tc>
                <a:tc>
                  <a:txBody>
                    <a:bodyPr/>
                    <a:lstStyle/>
                    <a:p>
                      <a:pPr algn="ctr"/>
                      <a:r>
                        <a:rPr lang="en-US" sz="1100" dirty="0"/>
                        <a:t>Relative benefit: ~ Absolute benefit: ↑</a:t>
                      </a:r>
                    </a:p>
                  </a:txBody>
                  <a:tcPr>
                    <a:solidFill>
                      <a:srgbClr val="E7E7E7"/>
                    </a:solidFill>
                  </a:tcPr>
                </a:tc>
                <a:extLst>
                  <a:ext uri="{0D108BD9-81ED-4DB2-BD59-A6C34878D82A}">
                    <a16:rowId xmlns:a16="http://schemas.microsoft.com/office/drawing/2014/main" val="3749535002"/>
                  </a:ext>
                </a:extLst>
              </a:tr>
              <a:tr h="522107">
                <a:tc>
                  <a:txBody>
                    <a:bodyPr/>
                    <a:lstStyle/>
                    <a:p>
                      <a:r>
                        <a:rPr lang="en-US" sz="1100" dirty="0"/>
                        <a:t>Beta blockers</a:t>
                      </a:r>
                    </a:p>
                  </a:txBody>
                  <a:tcPr>
                    <a:solidFill>
                      <a:schemeClr val="bg1"/>
                    </a:solidFill>
                  </a:tcPr>
                </a:tc>
                <a:tc>
                  <a:txBody>
                    <a:bodyPr/>
                    <a:lstStyle/>
                    <a:p>
                      <a:pPr algn="ctr"/>
                      <a:endParaRPr lang="en-US" sz="1100" dirty="0"/>
                    </a:p>
                  </a:txBody>
                  <a:tcPr>
                    <a:solidFill>
                      <a:srgbClr val="92D050"/>
                    </a:solidFill>
                  </a:tcPr>
                </a:tc>
                <a:tc>
                  <a:txBody>
                    <a:bodyPr/>
                    <a:lstStyle/>
                    <a:p>
                      <a:pPr algn="ctr"/>
                      <a:endParaRPr lang="en-US" sz="1100" dirty="0"/>
                    </a:p>
                  </a:txBody>
                  <a:tcPr>
                    <a:solidFill>
                      <a:srgbClr val="92D050"/>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No</a:t>
                      </a:r>
                    </a:p>
                  </a:txBody>
                  <a:tcPr>
                    <a:solidFill>
                      <a:schemeClr val="bg1"/>
                    </a:solidFill>
                  </a:tcPr>
                </a:tc>
                <a:tc>
                  <a:txBody>
                    <a:bodyPr/>
                    <a:lstStyle/>
                    <a:p>
                      <a:pPr algn="ctr"/>
                      <a:r>
                        <a:rPr lang="en-US" sz="1100" dirty="0"/>
                        <a:t>No</a:t>
                      </a:r>
                    </a:p>
                  </a:txBody>
                  <a:tcPr>
                    <a:solidFill>
                      <a:schemeClr val="bg1"/>
                    </a:solidFill>
                  </a:tcPr>
                </a:tc>
                <a:tc>
                  <a:txBody>
                    <a:bodyPr/>
                    <a:lstStyle/>
                    <a:p>
                      <a:pPr algn="ctr"/>
                      <a:r>
                        <a:rPr lang="en-US" sz="1100" dirty="0"/>
                        <a:t>Yes (potentially but some conflicting results)</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Relative benefit: ~ Absolute benefit: ↑</a:t>
                      </a:r>
                    </a:p>
                  </a:txBody>
                  <a:tcPr>
                    <a:solidFill>
                      <a:schemeClr val="bg1"/>
                    </a:solidFill>
                  </a:tcPr>
                </a:tc>
                <a:extLst>
                  <a:ext uri="{0D108BD9-81ED-4DB2-BD59-A6C34878D82A}">
                    <a16:rowId xmlns:a16="http://schemas.microsoft.com/office/drawing/2014/main" val="2924717269"/>
                  </a:ext>
                </a:extLst>
              </a:tr>
              <a:tr h="227585">
                <a:tc>
                  <a:txBody>
                    <a:bodyPr/>
                    <a:lstStyle/>
                    <a:p>
                      <a:r>
                        <a:rPr lang="en-US" sz="1100" dirty="0"/>
                        <a:t>MRA</a:t>
                      </a:r>
                    </a:p>
                  </a:txBody>
                  <a:tcPr>
                    <a:solidFill>
                      <a:srgbClr val="E7E7E7"/>
                    </a:solidFill>
                  </a:tcPr>
                </a:tc>
                <a:tc>
                  <a:txBody>
                    <a:bodyPr/>
                    <a:lstStyle/>
                    <a:p>
                      <a:pPr algn="ctr"/>
                      <a:endParaRPr lang="en-US" sz="1100" dirty="0"/>
                    </a:p>
                  </a:txBody>
                  <a:tcPr>
                    <a:solidFill>
                      <a:schemeClr val="accent1"/>
                    </a:solidFill>
                  </a:tcPr>
                </a:tc>
                <a:tc>
                  <a:txBody>
                    <a:bodyPr/>
                    <a:lstStyle/>
                    <a:p>
                      <a:pPr algn="ctr"/>
                      <a:endParaRPr lang="en-US" sz="1100" dirty="0"/>
                    </a:p>
                  </a:txBody>
                  <a:tcPr>
                    <a:solidFill>
                      <a:schemeClr val="accent1"/>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Yes</a:t>
                      </a:r>
                    </a:p>
                  </a:txBody>
                  <a:tcPr>
                    <a:solidFill>
                      <a:srgbClr val="E7E7E7"/>
                    </a:solidFill>
                  </a:tcPr>
                </a:tc>
                <a:tc>
                  <a:txBody>
                    <a:bodyPr/>
                    <a:lstStyle/>
                    <a:p>
                      <a:pPr algn="ctr"/>
                      <a:r>
                        <a:rPr lang="en-US" sz="1100" dirty="0"/>
                        <a:t>No</a:t>
                      </a:r>
                    </a:p>
                  </a:txBody>
                  <a:tcPr>
                    <a:solidFill>
                      <a:srgbClr val="E7E7E7"/>
                    </a:solidFill>
                  </a:tcPr>
                </a:tc>
                <a:tc>
                  <a:txBody>
                    <a:bodyPr/>
                    <a:lstStyle/>
                    <a:p>
                      <a:pPr algn="ctr"/>
                      <a:r>
                        <a:rPr lang="en-US" sz="1100" dirty="0"/>
                        <a:t>No </a:t>
                      </a:r>
                    </a:p>
                  </a:txBody>
                  <a:tcPr>
                    <a:solidFill>
                      <a:srgbClr val="E7E7E7"/>
                    </a:solidFill>
                  </a:tcPr>
                </a:tc>
                <a:tc>
                  <a:txBody>
                    <a:bodyPr/>
                    <a:lstStyle/>
                    <a:p>
                      <a:pPr algn="ctr"/>
                      <a:endParaRPr lang="en-US" sz="1100" dirty="0"/>
                    </a:p>
                  </a:txBody>
                  <a:tcPr>
                    <a:solidFill>
                      <a:srgbClr val="E7E7E7"/>
                    </a:solidFill>
                  </a:tcPr>
                </a:tc>
                <a:extLst>
                  <a:ext uri="{0D108BD9-81ED-4DB2-BD59-A6C34878D82A}">
                    <a16:rowId xmlns:a16="http://schemas.microsoft.com/office/drawing/2014/main" val="3212787283"/>
                  </a:ext>
                </a:extLst>
              </a:tr>
              <a:tr h="374846">
                <a:tc>
                  <a:txBody>
                    <a:bodyPr/>
                    <a:lstStyle/>
                    <a:p>
                      <a:r>
                        <a:rPr lang="en-US" sz="1100" dirty="0"/>
                        <a:t>ARNi</a:t>
                      </a:r>
                    </a:p>
                  </a:txBody>
                  <a:tcPr>
                    <a:solidFill>
                      <a:schemeClr val="bg1"/>
                    </a:solidFill>
                  </a:tcPr>
                </a:tc>
                <a:tc>
                  <a:txBody>
                    <a:bodyPr/>
                    <a:lstStyle/>
                    <a:p>
                      <a:pPr algn="ctr"/>
                      <a:endParaRPr lang="en-US" sz="1100" dirty="0"/>
                    </a:p>
                  </a:txBody>
                  <a:tcPr>
                    <a:solidFill>
                      <a:schemeClr val="accent1"/>
                    </a:solidFill>
                  </a:tcPr>
                </a:tc>
                <a:tc>
                  <a:txBody>
                    <a:bodyPr/>
                    <a:lstStyle/>
                    <a:p>
                      <a:pPr algn="ctr"/>
                      <a:endParaRPr lang="en-US" sz="1100" dirty="0"/>
                    </a:p>
                  </a:txBody>
                  <a:tcPr>
                    <a:solidFill>
                      <a:schemeClr val="accent1"/>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Yes</a:t>
                      </a:r>
                    </a:p>
                  </a:txBody>
                  <a:tcPr>
                    <a:solidFill>
                      <a:schemeClr val="bg1"/>
                    </a:solidFill>
                  </a:tcPr>
                </a:tc>
                <a:tc>
                  <a:txBody>
                    <a:bodyPr/>
                    <a:lstStyle/>
                    <a:p>
                      <a:pPr algn="ctr"/>
                      <a:r>
                        <a:rPr lang="en-US" sz="1100" dirty="0"/>
                        <a:t>Yes (around 0.5 ml/min/1.73 m</a:t>
                      </a:r>
                      <a:r>
                        <a:rPr lang="en-US" sz="1100" baseline="30000" dirty="0"/>
                        <a:t>2</a:t>
                      </a:r>
                      <a:r>
                        <a:rPr lang="en-US" sz="1100" dirty="0"/>
                        <a:t>  per year)</a:t>
                      </a:r>
                    </a:p>
                  </a:txBody>
                  <a:tcPr>
                    <a:solidFill>
                      <a:schemeClr val="bg1"/>
                    </a:solidFill>
                  </a:tcPr>
                </a:tc>
                <a:tc>
                  <a:txBody>
                    <a:bodyPr/>
                    <a:lstStyle/>
                    <a:p>
                      <a:pPr algn="ctr"/>
                      <a:r>
                        <a:rPr lang="en-US" sz="1100" dirty="0"/>
                        <a:t>No</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Relative benefit: ~ Absolute benefit: ↑</a:t>
                      </a:r>
                    </a:p>
                  </a:txBody>
                  <a:tcPr>
                    <a:solidFill>
                      <a:schemeClr val="bg1"/>
                    </a:solidFill>
                  </a:tcPr>
                </a:tc>
                <a:extLst>
                  <a:ext uri="{0D108BD9-81ED-4DB2-BD59-A6C34878D82A}">
                    <a16:rowId xmlns:a16="http://schemas.microsoft.com/office/drawing/2014/main" val="1178090535"/>
                  </a:ext>
                </a:extLst>
              </a:tr>
              <a:tr h="374846">
                <a:tc>
                  <a:txBody>
                    <a:bodyPr/>
                    <a:lstStyle/>
                    <a:p>
                      <a:r>
                        <a:rPr lang="en-US" sz="1100" dirty="0"/>
                        <a:t>SGLT2i</a:t>
                      </a:r>
                    </a:p>
                  </a:txBody>
                  <a:tcPr>
                    <a:solidFill>
                      <a:srgbClr val="E7E7E7"/>
                    </a:solidFill>
                  </a:tcPr>
                </a:tc>
                <a:tc>
                  <a:txBody>
                    <a:bodyPr/>
                    <a:lstStyle/>
                    <a:p>
                      <a:pPr algn="ctr"/>
                      <a:endParaRPr lang="en-US" sz="1100" dirty="0"/>
                    </a:p>
                  </a:txBody>
                  <a:tcPr>
                    <a:solidFill>
                      <a:schemeClr val="bg1">
                        <a:lumMod val="85000"/>
                      </a:schemeClr>
                    </a:solidFill>
                  </a:tcPr>
                </a:tc>
                <a:tc>
                  <a:txBody>
                    <a:bodyPr/>
                    <a:lstStyle/>
                    <a:p>
                      <a:pPr algn="ctr"/>
                      <a:r>
                        <a:rPr lang="en-US" sz="1100" dirty="0"/>
                        <a:t>&gt;20</a:t>
                      </a:r>
                    </a:p>
                  </a:txBody>
                  <a:tcPr>
                    <a:solidFill>
                      <a:srgbClr val="00B050"/>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Yes</a:t>
                      </a:r>
                    </a:p>
                  </a:txBody>
                  <a:tcPr>
                    <a:solidFill>
                      <a:srgbClr val="E7E7E7"/>
                    </a:solidFill>
                  </a:tcPr>
                </a:tc>
                <a:tc>
                  <a:txBody>
                    <a:bodyPr/>
                    <a:lstStyle/>
                    <a:p>
                      <a:pPr algn="ctr"/>
                      <a:r>
                        <a:rPr lang="en-US" sz="1100" dirty="0"/>
                        <a:t>Yes (around 1–2 ml/min/1.73 m</a:t>
                      </a:r>
                      <a:r>
                        <a:rPr lang="en-US" sz="1100" baseline="30000" dirty="0"/>
                        <a:t>2</a:t>
                      </a:r>
                      <a:r>
                        <a:rPr lang="en-US" sz="1100" dirty="0"/>
                        <a:t>  per year)</a:t>
                      </a:r>
                    </a:p>
                  </a:txBody>
                  <a:tcPr>
                    <a:solidFill>
                      <a:srgbClr val="E7E7E7"/>
                    </a:solidFill>
                  </a:tcPr>
                </a:tc>
                <a:tc>
                  <a:txBody>
                    <a:bodyPr/>
                    <a:lstStyle/>
                    <a:p>
                      <a:pPr algn="ctr"/>
                      <a:r>
                        <a:rPr lang="en-US" sz="1100" dirty="0"/>
                        <a:t>No</a:t>
                      </a:r>
                    </a:p>
                  </a:txBody>
                  <a:tcPr>
                    <a:solidFill>
                      <a:srgbClr val="E7E7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Relative benefit: ~ Absolute benefit: ↑</a:t>
                      </a:r>
                    </a:p>
                  </a:txBody>
                  <a:tcPr>
                    <a:solidFill>
                      <a:srgbClr val="E7E7E7"/>
                    </a:solidFill>
                  </a:tcPr>
                </a:tc>
                <a:extLst>
                  <a:ext uri="{0D108BD9-81ED-4DB2-BD59-A6C34878D82A}">
                    <a16:rowId xmlns:a16="http://schemas.microsoft.com/office/drawing/2014/main" val="2612248726"/>
                  </a:ext>
                </a:extLst>
              </a:tr>
              <a:tr h="374846">
                <a:tc>
                  <a:txBody>
                    <a:bodyPr/>
                    <a:lstStyle/>
                    <a:p>
                      <a:r>
                        <a:rPr lang="en-US" sz="1100" dirty="0"/>
                        <a:t>Ivabradine</a:t>
                      </a:r>
                    </a:p>
                  </a:txBody>
                  <a:tcPr>
                    <a:solidFill>
                      <a:schemeClr val="bg1"/>
                    </a:solidFill>
                  </a:tcPr>
                </a:tc>
                <a:tc>
                  <a:txBody>
                    <a:bodyPr/>
                    <a:lstStyle/>
                    <a:p>
                      <a:pPr algn="ctr"/>
                      <a:endParaRPr lang="en-US" sz="1100" dirty="0"/>
                    </a:p>
                  </a:txBody>
                  <a:tcPr>
                    <a:solidFill>
                      <a:schemeClr val="bg1">
                        <a:lumMod val="85000"/>
                      </a:schemeClr>
                    </a:solidFill>
                  </a:tcPr>
                </a:tc>
                <a:tc>
                  <a:txBody>
                    <a:bodyPr/>
                    <a:lstStyle/>
                    <a:p>
                      <a:pPr algn="ctr"/>
                      <a:endParaRPr lang="en-US" sz="1100" dirty="0"/>
                    </a:p>
                  </a:txBody>
                  <a:tcPr>
                    <a:solidFill>
                      <a:schemeClr val="bg1">
                        <a:lumMod val="85000"/>
                      </a:schemeClr>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No</a:t>
                      </a:r>
                    </a:p>
                  </a:txBody>
                  <a:tcPr>
                    <a:solidFill>
                      <a:schemeClr val="bg1"/>
                    </a:solidFill>
                  </a:tcPr>
                </a:tc>
                <a:tc>
                  <a:txBody>
                    <a:bodyPr/>
                    <a:lstStyle/>
                    <a:p>
                      <a:pPr algn="ctr"/>
                      <a:r>
                        <a:rPr lang="en-US" sz="1100" dirty="0"/>
                        <a:t>No</a:t>
                      </a:r>
                    </a:p>
                  </a:txBody>
                  <a:tcPr>
                    <a:solidFill>
                      <a:schemeClr val="bg1"/>
                    </a:solidFill>
                  </a:tcPr>
                </a:tc>
                <a:tc>
                  <a:txBody>
                    <a:bodyPr/>
                    <a:lstStyle/>
                    <a:p>
                      <a:pPr algn="ctr"/>
                      <a:r>
                        <a:rPr lang="en-US" sz="1100" dirty="0"/>
                        <a:t>No</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Relative benefit: ~ Absolute benefit: ↑</a:t>
                      </a:r>
                    </a:p>
                  </a:txBody>
                  <a:tcPr>
                    <a:solidFill>
                      <a:schemeClr val="bg1"/>
                    </a:solidFill>
                  </a:tcPr>
                </a:tc>
                <a:extLst>
                  <a:ext uri="{0D108BD9-81ED-4DB2-BD59-A6C34878D82A}">
                    <a16:rowId xmlns:a16="http://schemas.microsoft.com/office/drawing/2014/main" val="4063022048"/>
                  </a:ext>
                </a:extLst>
              </a:tr>
              <a:tr h="374846">
                <a:tc>
                  <a:txBody>
                    <a:bodyPr/>
                    <a:lstStyle/>
                    <a:p>
                      <a:r>
                        <a:rPr lang="en-US" sz="1100" dirty="0"/>
                        <a:t>Vericiguat</a:t>
                      </a:r>
                    </a:p>
                  </a:txBody>
                  <a:tcPr>
                    <a:solidFill>
                      <a:srgbClr val="E7E7E7"/>
                    </a:solidFill>
                  </a:tcPr>
                </a:tc>
                <a:tc>
                  <a:txBody>
                    <a:bodyPr/>
                    <a:lstStyle/>
                    <a:p>
                      <a:pPr algn="ctr"/>
                      <a:endParaRPr lang="en-US" sz="1100" dirty="0"/>
                    </a:p>
                  </a:txBody>
                  <a:tcPr>
                    <a:solidFill>
                      <a:schemeClr val="bg1">
                        <a:lumMod val="85000"/>
                      </a:schemeClr>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No</a:t>
                      </a:r>
                    </a:p>
                  </a:txBody>
                  <a:tcPr>
                    <a:solidFill>
                      <a:srgbClr val="E7E7E7"/>
                    </a:solidFill>
                  </a:tcPr>
                </a:tc>
                <a:tc>
                  <a:txBody>
                    <a:bodyPr/>
                    <a:lstStyle/>
                    <a:p>
                      <a:pPr algn="ctr"/>
                      <a:r>
                        <a:rPr lang="en-US" sz="1100" dirty="0"/>
                        <a:t>No</a:t>
                      </a:r>
                    </a:p>
                  </a:txBody>
                  <a:tcPr>
                    <a:solidFill>
                      <a:srgbClr val="E7E7E7"/>
                    </a:solidFill>
                  </a:tcPr>
                </a:tc>
                <a:tc>
                  <a:txBody>
                    <a:bodyPr/>
                    <a:lstStyle/>
                    <a:p>
                      <a:pPr algn="ctr"/>
                      <a:r>
                        <a:rPr lang="en-US" sz="1100" dirty="0"/>
                        <a:t>No</a:t>
                      </a:r>
                    </a:p>
                  </a:txBody>
                  <a:tcPr>
                    <a:solidFill>
                      <a:srgbClr val="E7E7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Relative benefit: ~ Absolute benefit: ↑</a:t>
                      </a:r>
                    </a:p>
                  </a:txBody>
                  <a:tcPr>
                    <a:solidFill>
                      <a:srgbClr val="E7E7E7"/>
                    </a:solidFill>
                  </a:tcPr>
                </a:tc>
                <a:extLst>
                  <a:ext uri="{0D108BD9-81ED-4DB2-BD59-A6C34878D82A}">
                    <a16:rowId xmlns:a16="http://schemas.microsoft.com/office/drawing/2014/main" val="406016544"/>
                  </a:ext>
                </a:extLst>
              </a:tr>
              <a:tr h="374846">
                <a:tc>
                  <a:txBody>
                    <a:bodyPr/>
                    <a:lstStyle/>
                    <a:p>
                      <a:r>
                        <a:rPr lang="en-US" sz="1100" dirty="0"/>
                        <a:t>Omecamtiv mecarbil*</a:t>
                      </a:r>
                    </a:p>
                  </a:txBody>
                  <a:tcPr>
                    <a:solidFill>
                      <a:schemeClr val="bg1"/>
                    </a:solidFill>
                  </a:tcPr>
                </a:tc>
                <a:tc>
                  <a:txBody>
                    <a:bodyPr/>
                    <a:lstStyle/>
                    <a:p>
                      <a:pPr algn="ctr"/>
                      <a:endParaRPr lang="en-US" sz="1100" dirty="0"/>
                    </a:p>
                  </a:txBody>
                  <a:tcPr>
                    <a:solidFill>
                      <a:schemeClr val="bg1">
                        <a:lumMod val="85000"/>
                      </a:schemeClr>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endParaRPr lang="en-US" sz="1100" dirty="0"/>
                    </a:p>
                  </a:txBody>
                  <a:tcPr>
                    <a:solidFill>
                      <a:srgbClr val="00B050"/>
                    </a:solidFill>
                  </a:tcPr>
                </a:tc>
                <a:tc>
                  <a:txBody>
                    <a:bodyPr/>
                    <a:lstStyle/>
                    <a:p>
                      <a:pPr algn="ctr"/>
                      <a:r>
                        <a:rPr lang="en-US" sz="1100" dirty="0"/>
                        <a:t>No</a:t>
                      </a:r>
                    </a:p>
                  </a:txBody>
                  <a:tcPr>
                    <a:solidFill>
                      <a:schemeClr val="bg1"/>
                    </a:solidFill>
                  </a:tcPr>
                </a:tc>
                <a:tc>
                  <a:txBody>
                    <a:bodyPr/>
                    <a:lstStyle/>
                    <a:p>
                      <a:pPr algn="ctr"/>
                      <a:r>
                        <a:rPr lang="en-US" sz="1100" dirty="0"/>
                        <a:t>No</a:t>
                      </a:r>
                    </a:p>
                  </a:txBody>
                  <a:tcPr>
                    <a:solidFill>
                      <a:schemeClr val="bg1"/>
                    </a:solidFill>
                  </a:tcPr>
                </a:tc>
                <a:tc>
                  <a:txBody>
                    <a:bodyPr/>
                    <a:lstStyle/>
                    <a:p>
                      <a:pPr algn="ctr"/>
                      <a:r>
                        <a:rPr lang="en-US" sz="1100" dirty="0"/>
                        <a:t>No</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Relative benefit: ~ Absolute benefit: ↑</a:t>
                      </a:r>
                    </a:p>
                  </a:txBody>
                  <a:tcPr>
                    <a:solidFill>
                      <a:schemeClr val="bg1"/>
                    </a:solidFill>
                  </a:tcPr>
                </a:tc>
                <a:extLst>
                  <a:ext uri="{0D108BD9-81ED-4DB2-BD59-A6C34878D82A}">
                    <a16:rowId xmlns:a16="http://schemas.microsoft.com/office/drawing/2014/main" val="3979956916"/>
                  </a:ext>
                </a:extLst>
              </a:tr>
            </a:tbl>
          </a:graphicData>
        </a:graphic>
      </p:graphicFrame>
      <p:sp>
        <p:nvSpPr>
          <p:cNvPr id="9" name="Title 8">
            <a:extLst>
              <a:ext uri="{FF2B5EF4-FFF2-40B4-BE49-F238E27FC236}">
                <a16:creationId xmlns:a16="http://schemas.microsoft.com/office/drawing/2014/main" id="{C3F5CC5E-AE47-4FFF-B962-8162DB191DF2}"/>
              </a:ext>
            </a:extLst>
          </p:cNvPr>
          <p:cNvSpPr>
            <a:spLocks noGrp="1"/>
          </p:cNvSpPr>
          <p:nvPr>
            <p:ph type="title"/>
          </p:nvPr>
        </p:nvSpPr>
        <p:spPr>
          <a:xfrm>
            <a:off x="600073" y="164567"/>
            <a:ext cx="10332533" cy="929127"/>
          </a:xfrm>
        </p:spPr>
        <p:txBody>
          <a:bodyPr/>
          <a:lstStyle/>
          <a:p>
            <a:r>
              <a:rPr lang="en-US" sz="1800" dirty="0"/>
              <a:t>A recent ESC consensus paper highlighted that vericiguat is suitable for patients presenting with low renal function in which therapeutic options are limited</a:t>
            </a:r>
            <a:r>
              <a:rPr lang="en-US" sz="1800" baseline="30000" dirty="0"/>
              <a:t>1</a:t>
            </a:r>
            <a:endParaRPr lang="en-US" sz="1800" dirty="0"/>
          </a:p>
        </p:txBody>
      </p:sp>
      <p:sp>
        <p:nvSpPr>
          <p:cNvPr id="5" name="Slide Number Placeholder 4">
            <a:extLst>
              <a:ext uri="{FF2B5EF4-FFF2-40B4-BE49-F238E27FC236}">
                <a16:creationId xmlns:a16="http://schemas.microsoft.com/office/drawing/2014/main" id="{63DC7A5B-B0C2-4A4A-BDAA-5B00C0B33B2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7FCF3439-A4C4-48D0-8D22-AEE610F3CA7F}"/>
              </a:ext>
            </a:extLst>
          </p:cNvPr>
          <p:cNvSpPr txBox="1"/>
          <p:nvPr/>
        </p:nvSpPr>
        <p:spPr>
          <a:xfrm>
            <a:off x="10537824" y="1227389"/>
            <a:ext cx="1206000" cy="261610"/>
          </a:xfrm>
          <a:prstGeom prst="rect">
            <a:avLst/>
          </a:prstGeom>
          <a:solidFill>
            <a:srgbClr val="00B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Strong evidence</a:t>
            </a:r>
          </a:p>
        </p:txBody>
      </p:sp>
      <p:sp>
        <p:nvSpPr>
          <p:cNvPr id="19" name="TextBox 18">
            <a:extLst>
              <a:ext uri="{FF2B5EF4-FFF2-40B4-BE49-F238E27FC236}">
                <a16:creationId xmlns:a16="http://schemas.microsoft.com/office/drawing/2014/main" id="{39A090D5-A52D-4AC3-9DBB-12D7B81CCC5A}"/>
              </a:ext>
            </a:extLst>
          </p:cNvPr>
          <p:cNvSpPr txBox="1"/>
          <p:nvPr/>
        </p:nvSpPr>
        <p:spPr>
          <a:xfrm>
            <a:off x="10537824" y="1488999"/>
            <a:ext cx="1386000" cy="261610"/>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Moderate evidence</a:t>
            </a:r>
          </a:p>
        </p:txBody>
      </p:sp>
      <p:sp>
        <p:nvSpPr>
          <p:cNvPr id="20" name="TextBox 19">
            <a:extLst>
              <a:ext uri="{FF2B5EF4-FFF2-40B4-BE49-F238E27FC236}">
                <a16:creationId xmlns:a16="http://schemas.microsoft.com/office/drawing/2014/main" id="{B31E5934-5C83-48B0-8F5F-D598008E5C25}"/>
              </a:ext>
            </a:extLst>
          </p:cNvPr>
          <p:cNvSpPr txBox="1"/>
          <p:nvPr/>
        </p:nvSpPr>
        <p:spPr>
          <a:xfrm>
            <a:off x="10537824" y="2012219"/>
            <a:ext cx="936000" cy="261610"/>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Not advised</a:t>
            </a:r>
          </a:p>
        </p:txBody>
      </p:sp>
      <p:sp>
        <p:nvSpPr>
          <p:cNvPr id="21" name="TextBox 20">
            <a:extLst>
              <a:ext uri="{FF2B5EF4-FFF2-40B4-BE49-F238E27FC236}">
                <a16:creationId xmlns:a16="http://schemas.microsoft.com/office/drawing/2014/main" id="{AE6CD387-FF02-4044-9601-6737D070814E}"/>
              </a:ext>
            </a:extLst>
          </p:cNvPr>
          <p:cNvSpPr txBox="1"/>
          <p:nvPr/>
        </p:nvSpPr>
        <p:spPr>
          <a:xfrm>
            <a:off x="10537824" y="1750609"/>
            <a:ext cx="684000" cy="261610"/>
          </a:xfrm>
          <a:prstGeom prst="rect">
            <a:avLst/>
          </a:prstGeom>
          <a:solidFill>
            <a:srgbClr val="CCE9AD"/>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No data</a:t>
            </a:r>
          </a:p>
        </p:txBody>
      </p:sp>
      <p:graphicFrame>
        <p:nvGraphicFramePr>
          <p:cNvPr id="12" name="Table 11">
            <a:extLst>
              <a:ext uri="{FF2B5EF4-FFF2-40B4-BE49-F238E27FC236}">
                <a16:creationId xmlns:a16="http://schemas.microsoft.com/office/drawing/2014/main" id="{E9ADB8C5-DA32-412D-874D-84C49BD0428B}"/>
              </a:ext>
            </a:extLst>
          </p:cNvPr>
          <p:cNvGraphicFramePr>
            <a:graphicFrameLocks noGrp="1"/>
          </p:cNvGraphicFramePr>
          <p:nvPr/>
        </p:nvGraphicFramePr>
        <p:xfrm>
          <a:off x="600073" y="6386918"/>
          <a:ext cx="9925052" cy="396000"/>
        </p:xfrm>
        <a:graphic>
          <a:graphicData uri="http://schemas.openxmlformats.org/drawingml/2006/table">
            <a:tbl>
              <a:tblPr firstRow="1" firstCol="1" bandRow="1">
                <a:tableStyleId>{5C22544A-7EE6-4342-B048-85BDC9FD1C3A}</a:tableStyleId>
              </a:tblPr>
              <a:tblGrid>
                <a:gridCol w="4880770">
                  <a:extLst>
                    <a:ext uri="{9D8B030D-6E8A-4147-A177-3AD203B41FA5}">
                      <a16:colId xmlns:a16="http://schemas.microsoft.com/office/drawing/2014/main" val="98394083"/>
                    </a:ext>
                  </a:extLst>
                </a:gridCol>
                <a:gridCol w="5044282">
                  <a:extLst>
                    <a:ext uri="{9D8B030D-6E8A-4147-A177-3AD203B41FA5}">
                      <a16:colId xmlns:a16="http://schemas.microsoft.com/office/drawing/2014/main" val="1727449064"/>
                    </a:ext>
                  </a:extLst>
                </a:gridCol>
              </a:tblGrid>
              <a:tr h="264000">
                <a:tc>
                  <a:txBody>
                    <a:bodyPr/>
                    <a:lstStyle/>
                    <a:p>
                      <a:pPr>
                        <a:spcAft>
                          <a:spcPts val="0"/>
                        </a:spcAft>
                      </a:pPr>
                      <a:r>
                        <a:rPr lang="en-GB" sz="700" b="0" dirty="0">
                          <a:solidFill>
                            <a:schemeClr val="tx1"/>
                          </a:solidFill>
                          <a:effectLst/>
                        </a:rPr>
                        <a:t>▼ </a:t>
                      </a:r>
                      <a:r>
                        <a:rPr lang="es-ES" sz="700" b="0" dirty="0">
                          <a:solidFill>
                            <a:schemeClr val="tx1"/>
                          </a:solidFill>
                          <a:effectLst/>
                        </a:rPr>
                        <a:t>Vericiguat está sometido a seguimiento adicional, lo que permitirá la rápida identificación de nueva información sobre su seguridad. Se pide a los profesionales de la salud que informen sobre cualquier sospecha de reacción advers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 Vericiguat is subject to additional monitoring. This will allow quick identification of new safety information. Healthcare professionals are asked to report any suspected adverse reactions.</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57659"/>
                  </a:ext>
                </a:extLst>
              </a:tr>
              <a:tr h="132000">
                <a:tc>
                  <a:txBody>
                    <a:bodyPr/>
                    <a:lstStyle/>
                    <a:p>
                      <a:pPr>
                        <a:spcAft>
                          <a:spcPts val="0"/>
                        </a:spcAft>
                      </a:pPr>
                      <a:r>
                        <a:rPr lang="es-ES" sz="700" b="0" dirty="0">
                          <a:solidFill>
                            <a:schemeClr val="tx1"/>
                          </a:solidFill>
                          <a:effectLst/>
                        </a:rPr>
                        <a:t>Vericiguat no está comercializado en Españ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Vericiguat is not marketed in Spain.</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553355"/>
                  </a:ext>
                </a:extLst>
              </a:tr>
            </a:tbl>
          </a:graphicData>
        </a:graphic>
      </p:graphicFrame>
      <p:sp>
        <p:nvSpPr>
          <p:cNvPr id="13" name="Footer Placeholder 4">
            <a:extLst>
              <a:ext uri="{FF2B5EF4-FFF2-40B4-BE49-F238E27FC236}">
                <a16:creationId xmlns:a16="http://schemas.microsoft.com/office/drawing/2014/main" id="{5C2A74A2-2EDF-4B16-8FDF-8AB0E577CDD3}"/>
              </a:ext>
            </a:extLst>
          </p:cNvPr>
          <p:cNvSpPr>
            <a:spLocks noGrp="1"/>
          </p:cNvSpPr>
          <p:nvPr>
            <p:ph type="ftr" sz="quarter" idx="16"/>
          </p:nvPr>
        </p:nvSpPr>
        <p:spPr>
          <a:xfrm>
            <a:off x="600073" y="6029343"/>
            <a:ext cx="992505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A decrease in eGFR over time does not automatically mean </a:t>
            </a:r>
            <a:r>
              <a:rPr kumimoji="0" lang="en-GB" sz="800" b="0" i="0" u="none" strike="noStrike" kern="1200" cap="none" spc="0" normalizeH="0" baseline="0" noProof="0" dirty="0" err="1">
                <a:ln>
                  <a:noFill/>
                </a:ln>
                <a:solidFill>
                  <a:srgbClr val="000000"/>
                </a:solidFill>
                <a:effectLst/>
                <a:uLnTx/>
                <a:uFillTx/>
                <a:latin typeface="Arial"/>
                <a:ea typeface="+mn-ea"/>
                <a:cs typeface="+mn-cs"/>
              </a:rPr>
              <a:t>RAASi</a:t>
            </a:r>
            <a:r>
              <a:rPr kumimoji="0" lang="en-GB" sz="800" b="0" i="0" u="none" strike="noStrike" kern="1200" cap="none" spc="0" normalizeH="0" baseline="0" noProof="0" dirty="0">
                <a:ln>
                  <a:noFill/>
                </a:ln>
                <a:solidFill>
                  <a:srgbClr val="000000"/>
                </a:solidFill>
                <a:effectLst/>
                <a:uLnTx/>
                <a:uFillTx/>
                <a:latin typeface="Arial"/>
                <a:ea typeface="+mn-ea"/>
                <a:cs typeface="+mn-cs"/>
              </a:rPr>
              <a:t>/SGLT2i needs to be </a:t>
            </a:r>
            <a:r>
              <a:rPr kumimoji="0" lang="en-GB" sz="800" b="0" i="0" u="none" strike="noStrike" kern="1200" cap="none" spc="0" normalizeH="0" baseline="0" noProof="0" dirty="0" err="1">
                <a:ln>
                  <a:noFill/>
                </a:ln>
                <a:solidFill>
                  <a:srgbClr val="000000"/>
                </a:solidFill>
                <a:effectLst/>
                <a:uLnTx/>
                <a:uFillTx/>
                <a:latin typeface="Arial"/>
                <a:ea typeface="+mn-ea"/>
                <a:cs typeface="+mn-cs"/>
              </a:rPr>
              <a:t>downtitrated</a:t>
            </a:r>
            <a:r>
              <a:rPr kumimoji="0" lang="en-GB" sz="800" b="0" i="0" u="none" strike="noStrike" kern="1200" cap="none" spc="0" normalizeH="0" baseline="0" noProof="0" dirty="0">
                <a:ln>
                  <a:noFill/>
                </a:ln>
                <a:solidFill>
                  <a:srgbClr val="000000"/>
                </a:solidFill>
                <a:effectLst/>
                <a:uLnTx/>
                <a:uFillTx/>
                <a:latin typeface="Arial"/>
                <a:ea typeface="+mn-ea"/>
                <a:cs typeface="+mn-cs"/>
              </a:rPr>
              <a:t> or discontinued. * </a:t>
            </a:r>
            <a:r>
              <a:rPr kumimoji="0" lang="en-GB" sz="800" b="0" i="0" u="none" strike="noStrike" kern="1200" cap="none" spc="0" normalizeH="0" baseline="0" noProof="0" dirty="0" err="1">
                <a:ln>
                  <a:noFill/>
                </a:ln>
                <a:solidFill>
                  <a:srgbClr val="000000"/>
                </a:solidFill>
                <a:effectLst/>
                <a:uLnTx/>
                <a:uFillTx/>
                <a:latin typeface="Arial"/>
                <a:ea typeface="+mn-ea"/>
                <a:cs typeface="+mn-cs"/>
              </a:rPr>
              <a:t>O</a:t>
            </a:r>
            <a:r>
              <a:rPr kumimoji="0" lang="en-GB" sz="800" b="0" i="0" u="none" strike="noStrike" kern="1200" cap="none" spc="0" normalizeH="0" baseline="0" noProof="0" dirty="0" err="1">
                <a:ln>
                  <a:noFill/>
                </a:ln>
                <a:solidFill>
                  <a:srgbClr val="000000"/>
                </a:solidFill>
                <a:effectLst/>
                <a:uLnTx/>
                <a:uFillTx/>
                <a:latin typeface="Arial" panose="020B0604020202020204"/>
                <a:ea typeface="MS PGothic" charset="0"/>
                <a:cs typeface="+mn-cs"/>
              </a:rPr>
              <a:t>mecamtiv</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a:t>
            </a:r>
            <a:r>
              <a:rPr kumimoji="0" lang="en-GB" sz="800" b="0" i="0" u="none" strike="noStrike" kern="1200" cap="none" spc="0" normalizeH="0" baseline="0" noProof="0" dirty="0" err="1">
                <a:ln>
                  <a:noFill/>
                </a:ln>
                <a:solidFill>
                  <a:srgbClr val="000000"/>
                </a:solidFill>
                <a:effectLst/>
                <a:uLnTx/>
                <a:uFillTx/>
                <a:latin typeface="Arial" panose="020B0604020202020204"/>
                <a:ea typeface="MS PGothic" charset="0"/>
                <a:cs typeface="+mn-cs"/>
              </a:rPr>
              <a:t>mecarbil</a:t>
            </a:r>
            <a:r>
              <a:rPr kumimoji="0" lang="en-GB" sz="800" b="0" i="0" u="none" strike="noStrike" kern="1200" cap="none" spc="0" normalizeH="0" baseline="0" noProof="0" dirty="0">
                <a:ln>
                  <a:noFill/>
                </a:ln>
                <a:solidFill>
                  <a:srgbClr val="000000"/>
                </a:solidFill>
                <a:effectLst/>
                <a:uLnTx/>
                <a:uFillTx/>
                <a:latin typeface="Arial" panose="020B0604020202020204"/>
                <a:ea typeface="MS PGothic" charset="0"/>
                <a:cs typeface="+mn-cs"/>
              </a:rPr>
              <a:t> as a therapy is not yet approved for use in Spain.</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ACEi</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ngiotensin-converting enzyme inhibitor; ARB, angiotensin receptor blocker;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ARNi</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ngiotensin receptor–</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neprilysin</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inhibitor; </a:t>
            </a:r>
            <a:r>
              <a:rPr kumimoji="0" lang="en-GB" sz="800" b="0" i="0" u="none" strike="noStrike" kern="1200" cap="none" spc="0" normalizeH="0" baseline="0" noProof="0" dirty="0">
                <a:ln>
                  <a:noFill/>
                </a:ln>
                <a:solidFill>
                  <a:srgbClr val="000000"/>
                </a:solidFill>
                <a:effectLst/>
                <a:uLnTx/>
                <a:uFillTx/>
                <a:latin typeface="Arial"/>
                <a:ea typeface="+mn-ea"/>
                <a:cs typeface="+mn-cs"/>
              </a:rPr>
              <a:t>CKD, chronic kidney disease; CV, cardiovascular; eGFR, estimated glomerular filtration rate; ESKD, end-stage kidney disease; GFR, glomerular filtration rate;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RA, mineralocorticoid receptor antagonist;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RAASi</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renin–angiotensin–aldosterone system inhibitor; SGLT2i, sodium–glucose co‑transporter 2 inhibitor. </a:t>
            </a: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Reference: 1. </a:t>
            </a:r>
            <a:r>
              <a:rPr kumimoji="0" lang="en-GB" sz="800" b="0" i="0" u="none" strike="noStrike" kern="1200" cap="none" spc="0" normalizeH="0" baseline="0" noProof="0" dirty="0">
                <a:ln>
                  <a:noFill/>
                </a:ln>
                <a:solidFill>
                  <a:srgbClr val="000000"/>
                </a:solidFill>
                <a:effectLst/>
                <a:uLnTx/>
                <a:uFillTx/>
                <a:latin typeface="Arial"/>
                <a:ea typeface="+mn-ea"/>
                <a:cs typeface="+mn-cs"/>
              </a:rPr>
              <a:t>Mullens W</a:t>
            </a:r>
            <a:r>
              <a:rPr kumimoji="0" lang="en-GB" sz="800" b="0" i="1" u="none" strike="noStrike" kern="1200" cap="none" spc="0" normalizeH="0" baseline="0" noProof="0" dirty="0">
                <a:ln>
                  <a:noFill/>
                </a:ln>
                <a:solidFill>
                  <a:srgbClr val="000000"/>
                </a:solidFill>
                <a:effectLst/>
                <a:uLnTx/>
                <a:uFillTx/>
                <a:latin typeface="Arial" panose="020B0604020202020204"/>
                <a:ea typeface="+mn-ea"/>
                <a:cs typeface="+mn-cs"/>
              </a:rPr>
              <a:t> et al. Eur J Heart Fail </a:t>
            </a:r>
            <a:r>
              <a:rPr kumimoji="0" lang="en-GB" sz="800" b="0" i="0" u="none" strike="noStrike" kern="1200" cap="none" spc="0" normalizeH="0" baseline="0" noProof="0" dirty="0">
                <a:ln>
                  <a:noFill/>
                </a:ln>
                <a:solidFill>
                  <a:srgbClr val="000000"/>
                </a:solidFill>
                <a:effectLst/>
                <a:uLnTx/>
                <a:uFillTx/>
                <a:latin typeface="Arial"/>
                <a:ea typeface="+mn-ea"/>
                <a:cs typeface="+mn-cs"/>
              </a:rPr>
              <a:t>2022; 24:603–619.</a:t>
            </a:r>
            <a:endParaRPr kumimoji="0" lang="en-GB" sz="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8092224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B84E9-2D59-4CDD-B756-E4EEA5843126}"/>
              </a:ext>
            </a:extLst>
          </p:cNvPr>
          <p:cNvSpPr>
            <a:spLocks noGrp="1"/>
          </p:cNvSpPr>
          <p:nvPr>
            <p:ph type="title"/>
          </p:nvPr>
        </p:nvSpPr>
        <p:spPr>
          <a:xfrm>
            <a:off x="600074" y="3920456"/>
            <a:ext cx="6696076" cy="1001168"/>
          </a:xfrm>
        </p:spPr>
        <p:txBody>
          <a:bodyPr/>
          <a:lstStyle/>
          <a:p>
            <a:r>
              <a:rPr lang="en-GB" dirty="0"/>
              <a:t>Considerations for other clinical characteristics or comorbidities</a:t>
            </a:r>
          </a:p>
        </p:txBody>
      </p:sp>
    </p:spTree>
    <p:extLst>
      <p:ext uri="{BB962C8B-B14F-4D97-AF65-F5344CB8AC3E}">
        <p14:creationId xmlns:p14="http://schemas.microsoft.com/office/powerpoint/2010/main" val="34279278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4">
            <a:extLst>
              <a:ext uri="{FF2B5EF4-FFF2-40B4-BE49-F238E27FC236}">
                <a16:creationId xmlns:a16="http://schemas.microsoft.com/office/drawing/2014/main" id="{D1BB2E5A-AEA3-4435-A697-E240695BC5DF}"/>
              </a:ext>
            </a:extLst>
          </p:cNvPr>
          <p:cNvSpPr txBox="1">
            <a:spLocks/>
          </p:cNvSpPr>
          <p:nvPr/>
        </p:nvSpPr>
        <p:spPr bwMode="auto">
          <a:xfrm>
            <a:off x="4853" y="3834"/>
            <a:ext cx="13066295" cy="1081617"/>
          </a:xfrm>
          <a:prstGeom prst="rect">
            <a:avLst/>
          </a:prstGeom>
          <a:noFill/>
          <a:ln w="19050" algn="ctr">
            <a:noFill/>
            <a:miter lim="800000"/>
            <a:headEnd/>
            <a:tailEnd/>
          </a:ln>
          <a:effectLst/>
        </p:spPr>
        <p:txBody>
          <a:bodyPr vert="horz" wrap="square" lIns="0" tIns="0" rIns="0" bIns="0" rtlCol="0" anchor="t">
            <a:noAutofit/>
          </a:bodyPr>
          <a:lstStyle>
            <a:lvl1pPr marL="285750" indent="-285750" algn="l" defTabSz="914400" rtl="0" eaLnBrk="1" latinLnBrk="0" hangingPunct="1">
              <a:lnSpc>
                <a:spcPct val="100000"/>
              </a:lnSpc>
              <a:spcBef>
                <a:spcPts val="1000"/>
              </a:spcBef>
              <a:buFont typeface="Wingdings" panose="05000000000000000000" pitchFamily="2" charset="2"/>
              <a:buChar char="§"/>
              <a:defRPr lang="en-US" sz="1600" kern="1200">
                <a:solidFill>
                  <a:schemeClr val="tx1"/>
                </a:solidFill>
                <a:latin typeface="+mn-lt"/>
                <a:ea typeface="+mn-ea"/>
                <a:cs typeface="+mn-cs"/>
              </a:defRPr>
            </a:lvl1pPr>
            <a:lvl2pPr marL="5688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2pPr>
            <a:lvl3pPr marL="8532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3pPr>
            <a:lvl4pPr marL="1137600" indent="-284400" algn="l" defTabSz="914400" rtl="0" eaLnBrk="1" latinLnBrk="0" hangingPunct="1">
              <a:lnSpc>
                <a:spcPct val="100000"/>
              </a:lnSpc>
              <a:spcBef>
                <a:spcPts val="600"/>
              </a:spcBef>
              <a:buFont typeface="Wingdings" pitchFamily="2" charset="2"/>
              <a:buChar char="§"/>
              <a:defRPr lang="en-US" sz="1600" kern="1200">
                <a:solidFill>
                  <a:schemeClr val="tx1"/>
                </a:solidFill>
                <a:latin typeface="+mn-lt"/>
                <a:ea typeface="+mn-ea"/>
                <a:cs typeface="+mn-cs"/>
              </a:defRPr>
            </a:lvl4pPr>
            <a:lvl5pPr marL="1423350" indent="-285750" algn="l" defTabSz="914400" rtl="0" eaLnBrk="1" latinLnBrk="0" hangingPunct="1">
              <a:lnSpc>
                <a:spcPct val="100000"/>
              </a:lnSpc>
              <a:spcBef>
                <a:spcPts val="600"/>
              </a:spcBef>
              <a:buFont typeface="Wingdings" panose="05000000000000000000" pitchFamily="2" charset="2"/>
              <a:buChar char="§"/>
              <a:defRPr lang="en-US" sz="1600" kern="1200">
                <a:solidFill>
                  <a:schemeClr val="tx1"/>
                </a:solidFill>
                <a:latin typeface="+mn-lt"/>
                <a:ea typeface="+mn-ea"/>
                <a:cs typeface="+mn-cs"/>
              </a:defRPr>
            </a:lvl5pPr>
            <a:lvl6pPr marL="1422000" indent="-2844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70675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000" b="0" i="0" u="none" strike="noStrike" kern="1200" cap="none" spc="0" normalizeH="0" baseline="0" noProof="0" dirty="0">
              <a:ln>
                <a:noFill/>
              </a:ln>
              <a:solidFill>
                <a:srgbClr val="000000"/>
              </a:solidFill>
              <a:effectLst/>
              <a:uLnTx/>
              <a:uFillTx/>
              <a:latin typeface="Arial" charset="0"/>
              <a:ea typeface="MS PGothic" charset="0"/>
              <a:cs typeface="+mn-cs"/>
            </a:endParaRPr>
          </a:p>
        </p:txBody>
      </p:sp>
      <p:sp>
        <p:nvSpPr>
          <p:cNvPr id="6" name="Text Placeholder 5">
            <a:extLst>
              <a:ext uri="{FF2B5EF4-FFF2-40B4-BE49-F238E27FC236}">
                <a16:creationId xmlns:a16="http://schemas.microsoft.com/office/drawing/2014/main" id="{EB03F278-5E42-2149-8605-CB9765E09618}"/>
              </a:ext>
            </a:extLst>
          </p:cNvPr>
          <p:cNvSpPr>
            <a:spLocks noGrp="1"/>
          </p:cNvSpPr>
          <p:nvPr>
            <p:ph type="body" sz="quarter" idx="14"/>
          </p:nvPr>
        </p:nvSpPr>
        <p:spPr>
          <a:xfrm>
            <a:off x="596709" y="1419177"/>
            <a:ext cx="9928415" cy="317635"/>
          </a:xfrm>
        </p:spPr>
        <p:txBody>
          <a:bodyPr/>
          <a:lstStyle/>
          <a:p>
            <a:r>
              <a:rPr lang="en-US" dirty="0"/>
              <a:t>Tailored therapy with vericiguat may be especially valuable when background therapy is reduced, discontinued or not tolerated</a:t>
            </a:r>
          </a:p>
          <a:p>
            <a:endParaRPr lang="en-US" dirty="0"/>
          </a:p>
        </p:txBody>
      </p:sp>
      <p:sp>
        <p:nvSpPr>
          <p:cNvPr id="18" name="Title 1">
            <a:extLst>
              <a:ext uri="{FF2B5EF4-FFF2-40B4-BE49-F238E27FC236}">
                <a16:creationId xmlns:a16="http://schemas.microsoft.com/office/drawing/2014/main" id="{7A02D263-ED3F-472B-B375-3867E7968486}"/>
              </a:ext>
            </a:extLst>
          </p:cNvPr>
          <p:cNvSpPr>
            <a:spLocks noGrp="1"/>
          </p:cNvSpPr>
          <p:nvPr>
            <p:ph type="title"/>
          </p:nvPr>
        </p:nvSpPr>
        <p:spPr>
          <a:xfrm>
            <a:off x="600074" y="164567"/>
            <a:ext cx="9925050" cy="929127"/>
          </a:xfrm>
        </p:spPr>
        <p:txBody>
          <a:bodyPr/>
          <a:lstStyle/>
          <a:p>
            <a:r>
              <a:rPr lang="en-US" dirty="0"/>
              <a:t>Patient groups highlighted for vericiguat use according to the HFA consensus document on patient profiling</a:t>
            </a:r>
            <a:r>
              <a:rPr lang="en-US" baseline="30000" dirty="0"/>
              <a:t>1</a:t>
            </a:r>
          </a:p>
        </p:txBody>
      </p:sp>
      <p:grpSp>
        <p:nvGrpSpPr>
          <p:cNvPr id="7" name="Group 6">
            <a:extLst>
              <a:ext uri="{FF2B5EF4-FFF2-40B4-BE49-F238E27FC236}">
                <a16:creationId xmlns:a16="http://schemas.microsoft.com/office/drawing/2014/main" id="{D48751A1-E89B-4A7F-8794-B91EA1BD305C}"/>
              </a:ext>
            </a:extLst>
          </p:cNvPr>
          <p:cNvGrpSpPr/>
          <p:nvPr/>
        </p:nvGrpSpPr>
        <p:grpSpPr>
          <a:xfrm>
            <a:off x="8936985" y="2075879"/>
            <a:ext cx="2530444" cy="3330996"/>
            <a:chOff x="8926352" y="2075879"/>
            <a:chExt cx="2530444" cy="3330996"/>
          </a:xfrm>
        </p:grpSpPr>
        <p:pic>
          <p:nvPicPr>
            <p:cNvPr id="98" name="Graphic 97" descr="User with solid fill">
              <a:extLst>
                <a:ext uri="{FF2B5EF4-FFF2-40B4-BE49-F238E27FC236}">
                  <a16:creationId xmlns:a16="http://schemas.microsoft.com/office/drawing/2014/main" id="{DDE137F4-1155-4F84-856D-8F7346E50D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83650" y="2622114"/>
              <a:ext cx="1603373" cy="1603373"/>
            </a:xfrm>
            <a:prstGeom prst="rect">
              <a:avLst/>
            </a:prstGeom>
          </p:spPr>
        </p:pic>
        <p:grpSp>
          <p:nvGrpSpPr>
            <p:cNvPr id="161" name="Group 160">
              <a:extLst>
                <a:ext uri="{FF2B5EF4-FFF2-40B4-BE49-F238E27FC236}">
                  <a16:creationId xmlns:a16="http://schemas.microsoft.com/office/drawing/2014/main" id="{D7A61CE5-A731-4864-8290-6D1FCE2B5F1C}"/>
                </a:ext>
              </a:extLst>
            </p:cNvPr>
            <p:cNvGrpSpPr/>
            <p:nvPr/>
          </p:nvGrpSpPr>
          <p:grpSpPr>
            <a:xfrm>
              <a:off x="8926352" y="2075879"/>
              <a:ext cx="2530444" cy="3330996"/>
              <a:chOff x="9501924" y="2246440"/>
              <a:chExt cx="2302532" cy="3030980"/>
            </a:xfrm>
          </p:grpSpPr>
          <p:sp>
            <p:nvSpPr>
              <p:cNvPr id="163" name="TextBox 162">
                <a:extLst>
                  <a:ext uri="{FF2B5EF4-FFF2-40B4-BE49-F238E27FC236}">
                    <a16:creationId xmlns:a16="http://schemas.microsoft.com/office/drawing/2014/main" id="{B1B2FB1D-D1B4-4DEA-AB4E-5D78C0D1E718}"/>
                  </a:ext>
                </a:extLst>
              </p:cNvPr>
              <p:cNvSpPr txBox="1"/>
              <p:nvPr/>
            </p:nvSpPr>
            <p:spPr>
              <a:xfrm>
                <a:off x="9789022" y="4486262"/>
                <a:ext cx="1873022" cy="7911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BP &gt;140/90 </a:t>
                </a:r>
                <a:br>
                  <a:rPr kumimoji="0" lang="en-US" sz="1600" b="1" i="0" u="none" strike="noStrike" kern="1200" cap="none" spc="0" normalizeH="0" baseline="0" noProof="0" dirty="0">
                    <a:ln>
                      <a:noFill/>
                    </a:ln>
                    <a:solidFill>
                      <a:srgbClr val="000000"/>
                    </a:solidFill>
                    <a:effectLst/>
                    <a:uLnTx/>
                    <a:uFillTx/>
                    <a:latin typeface="Arial"/>
                    <a:ea typeface="+mn-ea"/>
                    <a:cs typeface="+mn-cs"/>
                  </a:rPr>
                </a:br>
                <a:r>
                  <a:rPr kumimoji="0" lang="en-US" sz="1600" b="1" i="0" u="none" strike="noStrike" kern="1200" cap="none" spc="0" normalizeH="0" baseline="0" noProof="0" dirty="0">
                    <a:ln>
                      <a:noFill/>
                    </a:ln>
                    <a:solidFill>
                      <a:srgbClr val="000000"/>
                    </a:solidFill>
                    <a:effectLst/>
                    <a:uLnTx/>
                    <a:uFillTx/>
                    <a:latin typeface="Arial"/>
                    <a:ea typeface="+mn-ea"/>
                    <a:cs typeface="+mn-cs"/>
                  </a:rPr>
                  <a:t>mmHg</a:t>
                </a:r>
                <a:endParaRPr kumimoji="0" lang="en-US" sz="1600" b="1"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164" name="Freeform: Shape 64">
                <a:extLst>
                  <a:ext uri="{FF2B5EF4-FFF2-40B4-BE49-F238E27FC236}">
                    <a16:creationId xmlns:a16="http://schemas.microsoft.com/office/drawing/2014/main" id="{4E2AADC4-BF2C-4A11-A889-DA3102D9FBDF}"/>
                  </a:ext>
                </a:extLst>
              </p:cNvPr>
              <p:cNvSpPr/>
              <p:nvPr/>
            </p:nvSpPr>
            <p:spPr>
              <a:xfrm rot="18192103">
                <a:off x="10794397" y="2253597"/>
                <a:ext cx="658793" cy="1361325"/>
              </a:xfrm>
              <a:custGeom>
                <a:avLst/>
                <a:gdLst>
                  <a:gd name="connsiteX0" fmla="*/ 520829 w 658793"/>
                  <a:gd name="connsiteY0" fmla="*/ 31931 h 1361325"/>
                  <a:gd name="connsiteX1" fmla="*/ 187835 w 658793"/>
                  <a:gd name="connsiteY1" fmla="*/ 1361325 h 1361325"/>
                  <a:gd name="connsiteX2" fmla="*/ 0 w 658793"/>
                  <a:gd name="connsiteY2" fmla="*/ 1048046 h 1361325"/>
                  <a:gd name="connsiteX3" fmla="*/ 207496 w 658793"/>
                  <a:gd name="connsiteY3" fmla="*/ 219674 h 1361325"/>
                  <a:gd name="connsiteX4" fmla="*/ 193163 w 658793"/>
                  <a:gd name="connsiteY4" fmla="*/ 200434 h 1361325"/>
                  <a:gd name="connsiteX5" fmla="*/ 499438 w 658793"/>
                  <a:gd name="connsiteY5" fmla="*/ 0 h 1361325"/>
                  <a:gd name="connsiteX6" fmla="*/ 520829 w 658793"/>
                  <a:gd name="connsiteY6" fmla="*/ 31931 h 136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793" h="1361325">
                    <a:moveTo>
                      <a:pt x="520829" y="31931"/>
                    </a:moveTo>
                    <a:cubicBezTo>
                      <a:pt x="795893" y="490999"/>
                      <a:pt x="646823" y="1086126"/>
                      <a:pt x="187835" y="1361325"/>
                    </a:cubicBezTo>
                    <a:lnTo>
                      <a:pt x="0" y="1048046"/>
                    </a:lnTo>
                    <a:cubicBezTo>
                      <a:pt x="286005" y="876564"/>
                      <a:pt x="378893" y="505729"/>
                      <a:pt x="207496" y="219674"/>
                    </a:cubicBezTo>
                    <a:lnTo>
                      <a:pt x="193163" y="200434"/>
                    </a:lnTo>
                    <a:lnTo>
                      <a:pt x="499438" y="0"/>
                    </a:lnTo>
                    <a:lnTo>
                      <a:pt x="520829" y="31931"/>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73" name="Freeform: Shape 65">
                <a:extLst>
                  <a:ext uri="{FF2B5EF4-FFF2-40B4-BE49-F238E27FC236}">
                    <a16:creationId xmlns:a16="http://schemas.microsoft.com/office/drawing/2014/main" id="{6805F520-450A-4A68-A0D1-AB277AEC61BC}"/>
                  </a:ext>
                </a:extLst>
              </p:cNvPr>
              <p:cNvSpPr/>
              <p:nvPr/>
            </p:nvSpPr>
            <p:spPr>
              <a:xfrm rot="18192103">
                <a:off x="9518414" y="2591464"/>
                <a:ext cx="1326862" cy="636813"/>
              </a:xfrm>
              <a:custGeom>
                <a:avLst/>
                <a:gdLst>
                  <a:gd name="connsiteX0" fmla="*/ 1326862 w 1326862"/>
                  <a:gd name="connsiteY0" fmla="*/ 436281 h 636813"/>
                  <a:gd name="connsiteX1" fmla="*/ 1020436 w 1326862"/>
                  <a:gd name="connsiteY1" fmla="*/ 636813 h 636813"/>
                  <a:gd name="connsiteX2" fmla="*/ 963857 w 1326862"/>
                  <a:gd name="connsiteY2" fmla="*/ 560864 h 636813"/>
                  <a:gd name="connsiteX3" fmla="*/ 208613 w 1326862"/>
                  <a:gd name="connsiteY3" fmla="*/ 451208 h 636813"/>
                  <a:gd name="connsiteX4" fmla="*/ 200069 w 1326862"/>
                  <a:gd name="connsiteY4" fmla="*/ 457569 h 636813"/>
                  <a:gd name="connsiteX5" fmla="*/ 0 w 1326862"/>
                  <a:gd name="connsiteY5" fmla="*/ 151851 h 636813"/>
                  <a:gd name="connsiteX6" fmla="*/ 20961 w 1326862"/>
                  <a:gd name="connsiteY6" fmla="*/ 137818 h 636813"/>
                  <a:gd name="connsiteX7" fmla="*/ 1295044 w 1326862"/>
                  <a:gd name="connsiteY7" fmla="*/ 388786 h 636813"/>
                  <a:gd name="connsiteX8" fmla="*/ 1326862 w 1326862"/>
                  <a:gd name="connsiteY8" fmla="*/ 436281 h 6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862" h="636813">
                    <a:moveTo>
                      <a:pt x="1326862" y="436281"/>
                    </a:moveTo>
                    <a:lnTo>
                      <a:pt x="1020436" y="636813"/>
                    </a:lnTo>
                    <a:lnTo>
                      <a:pt x="963857" y="560864"/>
                    </a:lnTo>
                    <a:cubicBezTo>
                      <a:pt x="774148" y="353772"/>
                      <a:pt x="458955" y="301308"/>
                      <a:pt x="208613" y="451208"/>
                    </a:cubicBezTo>
                    <a:lnTo>
                      <a:pt x="200069" y="457569"/>
                    </a:lnTo>
                    <a:lnTo>
                      <a:pt x="0" y="151851"/>
                    </a:lnTo>
                    <a:lnTo>
                      <a:pt x="20961" y="137818"/>
                    </a:lnTo>
                    <a:cubicBezTo>
                      <a:pt x="451414" y="-119928"/>
                      <a:pt x="1001339" y="-4864"/>
                      <a:pt x="1295044" y="388786"/>
                    </a:cubicBezTo>
                    <a:lnTo>
                      <a:pt x="1326862" y="43628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74" name="Freeform: Shape 66">
                <a:extLst>
                  <a:ext uri="{FF2B5EF4-FFF2-40B4-BE49-F238E27FC236}">
                    <a16:creationId xmlns:a16="http://schemas.microsoft.com/office/drawing/2014/main" id="{82CDF05D-411D-4D51-AEFB-1CE418E91BA2}"/>
                  </a:ext>
                </a:extLst>
              </p:cNvPr>
              <p:cNvSpPr/>
              <p:nvPr/>
            </p:nvSpPr>
            <p:spPr>
              <a:xfrm rot="18192103">
                <a:off x="9849387" y="3177166"/>
                <a:ext cx="647662" cy="1342587"/>
              </a:xfrm>
              <a:custGeom>
                <a:avLst/>
                <a:gdLst>
                  <a:gd name="connsiteX0" fmla="*/ 447494 w 647662"/>
                  <a:gd name="connsiteY0" fmla="*/ 0 h 1342587"/>
                  <a:gd name="connsiteX1" fmla="*/ 647662 w 647662"/>
                  <a:gd name="connsiteY1" fmla="*/ 305869 h 1342587"/>
                  <a:gd name="connsiteX2" fmla="*/ 560996 w 647662"/>
                  <a:gd name="connsiteY2" fmla="*/ 370391 h 1342587"/>
                  <a:gd name="connsiteX3" fmla="*/ 451118 w 647662"/>
                  <a:gd name="connsiteY3" fmla="*/ 1125603 h 1342587"/>
                  <a:gd name="connsiteX4" fmla="*/ 463498 w 647662"/>
                  <a:gd name="connsiteY4" fmla="*/ 1142242 h 1342587"/>
                  <a:gd name="connsiteX5" fmla="*/ 157360 w 647662"/>
                  <a:gd name="connsiteY5" fmla="*/ 1342587 h 1342587"/>
                  <a:gd name="connsiteX6" fmla="*/ 137672 w 647662"/>
                  <a:gd name="connsiteY6" fmla="*/ 1313162 h 1342587"/>
                  <a:gd name="connsiteX7" fmla="*/ 389015 w 647662"/>
                  <a:gd name="connsiteY7" fmla="*/ 39153 h 1342587"/>
                  <a:gd name="connsiteX8" fmla="*/ 447494 w 647662"/>
                  <a:gd name="connsiteY8" fmla="*/ 0 h 134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62" h="1342587">
                    <a:moveTo>
                      <a:pt x="447494" y="0"/>
                    </a:moveTo>
                    <a:lnTo>
                      <a:pt x="647662" y="305869"/>
                    </a:lnTo>
                    <a:lnTo>
                      <a:pt x="560996" y="370391"/>
                    </a:lnTo>
                    <a:cubicBezTo>
                      <a:pt x="353848" y="560041"/>
                      <a:pt x="301291" y="875217"/>
                      <a:pt x="451118" y="1125603"/>
                    </a:cubicBezTo>
                    <a:lnTo>
                      <a:pt x="463498" y="1142242"/>
                    </a:lnTo>
                    <a:lnTo>
                      <a:pt x="157360" y="1342587"/>
                    </a:lnTo>
                    <a:lnTo>
                      <a:pt x="137672" y="1313162"/>
                    </a:lnTo>
                    <a:cubicBezTo>
                      <a:pt x="-119948" y="882634"/>
                      <a:pt x="-4723" y="332742"/>
                      <a:pt x="389015" y="39153"/>
                    </a:cubicBezTo>
                    <a:lnTo>
                      <a:pt x="447494" y="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81" name="Freeform: Shape 67">
                <a:extLst>
                  <a:ext uri="{FF2B5EF4-FFF2-40B4-BE49-F238E27FC236}">
                    <a16:creationId xmlns:a16="http://schemas.microsoft.com/office/drawing/2014/main" id="{7742A360-69C9-4FE7-BC10-4DCF4376FA37}"/>
                  </a:ext>
                </a:extLst>
              </p:cNvPr>
              <p:cNvSpPr/>
              <p:nvPr/>
            </p:nvSpPr>
            <p:spPr>
              <a:xfrm rot="18192103">
                <a:off x="11151784" y="3363940"/>
                <a:ext cx="504035" cy="450197"/>
              </a:xfrm>
              <a:custGeom>
                <a:avLst/>
                <a:gdLst>
                  <a:gd name="connsiteX0" fmla="*/ 316569 w 504035"/>
                  <a:gd name="connsiteY0" fmla="*/ 0 h 450197"/>
                  <a:gd name="connsiteX1" fmla="*/ 504035 w 504035"/>
                  <a:gd name="connsiteY1" fmla="*/ 313499 h 450197"/>
                  <a:gd name="connsiteX2" fmla="*/ 47593 w 504035"/>
                  <a:gd name="connsiteY2" fmla="*/ 450197 h 450197"/>
                  <a:gd name="connsiteX3" fmla="*/ 1 w 504035"/>
                  <a:gd name="connsiteY3" fmla="*/ 449869 h 450197"/>
                  <a:gd name="connsiteX4" fmla="*/ 0 w 504035"/>
                  <a:gd name="connsiteY4" fmla="*/ 83688 h 450197"/>
                  <a:gd name="connsiteX5" fmla="*/ 90501 w 504035"/>
                  <a:gd name="connsiteY5" fmla="*/ 79908 h 450197"/>
                  <a:gd name="connsiteX6" fmla="*/ 316569 w 504035"/>
                  <a:gd name="connsiteY6" fmla="*/ 0 h 45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35" h="450197">
                    <a:moveTo>
                      <a:pt x="316569" y="0"/>
                    </a:moveTo>
                    <a:lnTo>
                      <a:pt x="504035" y="313499"/>
                    </a:lnTo>
                    <a:cubicBezTo>
                      <a:pt x="360501" y="399330"/>
                      <a:pt x="203716" y="443730"/>
                      <a:pt x="47593" y="450197"/>
                    </a:cubicBezTo>
                    <a:lnTo>
                      <a:pt x="1" y="449869"/>
                    </a:lnTo>
                    <a:lnTo>
                      <a:pt x="0" y="83688"/>
                    </a:lnTo>
                    <a:lnTo>
                      <a:pt x="90501" y="79908"/>
                    </a:lnTo>
                    <a:cubicBezTo>
                      <a:pt x="168182" y="69051"/>
                      <a:pt x="245018" y="42787"/>
                      <a:pt x="316569" y="0"/>
                    </a:cubicBez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93" name="Freeform: Shape 68">
                <a:extLst>
                  <a:ext uri="{FF2B5EF4-FFF2-40B4-BE49-F238E27FC236}">
                    <a16:creationId xmlns:a16="http://schemas.microsoft.com/office/drawing/2014/main" id="{3B631284-FC5F-4EE5-AA41-2BA8AF32F536}"/>
                  </a:ext>
                </a:extLst>
              </p:cNvPr>
              <p:cNvSpPr/>
              <p:nvPr/>
            </p:nvSpPr>
            <p:spPr>
              <a:xfrm rot="18192103">
                <a:off x="10565876" y="3766503"/>
                <a:ext cx="799776" cy="638536"/>
              </a:xfrm>
              <a:custGeom>
                <a:avLst/>
                <a:gdLst>
                  <a:gd name="connsiteX0" fmla="*/ 799776 w 799776"/>
                  <a:gd name="connsiteY0" fmla="*/ 272530 h 638536"/>
                  <a:gd name="connsiteX1" fmla="*/ 799775 w 799776"/>
                  <a:gd name="connsiteY1" fmla="*/ 638536 h 638536"/>
                  <a:gd name="connsiteX2" fmla="*/ 757485 w 799776"/>
                  <a:gd name="connsiteY2" fmla="*/ 638245 h 638536"/>
                  <a:gd name="connsiteX3" fmla="*/ 33475 w 799776"/>
                  <a:gd name="connsiteY3" fmla="*/ 250475 h 638536"/>
                  <a:gd name="connsiteX4" fmla="*/ 0 w 799776"/>
                  <a:gd name="connsiteY4" fmla="*/ 200443 h 638536"/>
                  <a:gd name="connsiteX5" fmla="*/ 306289 w 799776"/>
                  <a:gd name="connsiteY5" fmla="*/ 0 h 638536"/>
                  <a:gd name="connsiteX6" fmla="*/ 364764 w 799776"/>
                  <a:gd name="connsiteY6" fmla="*/ 78592 h 638536"/>
                  <a:gd name="connsiteX7" fmla="*/ 777275 w 799776"/>
                  <a:gd name="connsiteY7" fmla="*/ 273470 h 638536"/>
                  <a:gd name="connsiteX8" fmla="*/ 799776 w 799776"/>
                  <a:gd name="connsiteY8" fmla="*/ 272530 h 6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9776" h="638536">
                    <a:moveTo>
                      <a:pt x="799776" y="272530"/>
                    </a:moveTo>
                    <a:lnTo>
                      <a:pt x="799775" y="638536"/>
                    </a:lnTo>
                    <a:lnTo>
                      <a:pt x="757485" y="638245"/>
                    </a:lnTo>
                    <a:cubicBezTo>
                      <a:pt x="477942" y="622825"/>
                      <a:pt x="209559" y="486769"/>
                      <a:pt x="33475" y="250475"/>
                    </a:cubicBezTo>
                    <a:lnTo>
                      <a:pt x="0" y="200443"/>
                    </a:lnTo>
                    <a:lnTo>
                      <a:pt x="306289" y="0"/>
                    </a:lnTo>
                    <a:lnTo>
                      <a:pt x="364764" y="78592"/>
                    </a:lnTo>
                    <a:cubicBezTo>
                      <a:pt x="473101" y="196994"/>
                      <a:pt x="622440" y="264929"/>
                      <a:pt x="777275" y="273470"/>
                    </a:cubicBezTo>
                    <a:lnTo>
                      <a:pt x="799776" y="27253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90" name="TextBox 89">
            <a:extLst>
              <a:ext uri="{FF2B5EF4-FFF2-40B4-BE49-F238E27FC236}">
                <a16:creationId xmlns:a16="http://schemas.microsoft.com/office/drawing/2014/main" id="{A2DD7E06-1EB8-90BA-4788-48308FBBFA4C}"/>
              </a:ext>
            </a:extLst>
          </p:cNvPr>
          <p:cNvSpPr txBox="1"/>
          <p:nvPr/>
        </p:nvSpPr>
        <p:spPr>
          <a:xfrm>
            <a:off x="596900" y="5136844"/>
            <a:ext cx="9937751" cy="531614"/>
          </a:xfrm>
          <a:prstGeom prst="rect">
            <a:avLst/>
          </a:prstGeom>
          <a:solidFill>
            <a:schemeClr val="accent1"/>
          </a:solidFill>
          <a:effectLst>
            <a:outerShdw blurRad="50800" dist="38100" dir="8100000" algn="tr" rotWithShape="0">
              <a:prstClr val="black">
                <a:alpha val="40000"/>
              </a:prstClr>
            </a:outerShdw>
          </a:effec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Patients were eligible for enrollment in VICTORIA with systolic BP &gt;100 mmHg </a:t>
            </a:r>
            <a:b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and no symptomatic hypotension</a:t>
            </a:r>
            <a:r>
              <a:rPr kumimoji="0" lang="en-US" sz="1400" b="1"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sp>
        <p:nvSpPr>
          <p:cNvPr id="99" name="TextBox 98">
            <a:extLst>
              <a:ext uri="{FF2B5EF4-FFF2-40B4-BE49-F238E27FC236}">
                <a16:creationId xmlns:a16="http://schemas.microsoft.com/office/drawing/2014/main" id="{0053638C-BDA7-41A9-A160-462AAC170253}"/>
              </a:ext>
            </a:extLst>
          </p:cNvPr>
          <p:cNvSpPr txBox="1"/>
          <p:nvPr/>
        </p:nvSpPr>
        <p:spPr>
          <a:xfrm rot="18791207">
            <a:off x="9214704" y="2430015"/>
            <a:ext cx="2078774" cy="1596051"/>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HR 60–70 bpm</a:t>
            </a:r>
          </a:p>
        </p:txBody>
      </p:sp>
      <p:sp>
        <p:nvSpPr>
          <p:cNvPr id="104" name="TextBox 103">
            <a:extLst>
              <a:ext uri="{FF2B5EF4-FFF2-40B4-BE49-F238E27FC236}">
                <a16:creationId xmlns:a16="http://schemas.microsoft.com/office/drawing/2014/main" id="{35500A7F-5ADC-489D-AE8F-D99EEA5354EF}"/>
              </a:ext>
            </a:extLst>
          </p:cNvPr>
          <p:cNvSpPr txBox="1"/>
          <p:nvPr/>
        </p:nvSpPr>
        <p:spPr>
          <a:xfrm rot="13706713">
            <a:off x="9155028" y="2542771"/>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04F8A"/>
                </a:solidFill>
                <a:effectLst/>
                <a:uLnTx/>
                <a:uFillTx/>
                <a:latin typeface="Arial"/>
                <a:ea typeface="+mn-ea"/>
                <a:cs typeface="+mn-cs"/>
              </a:rPr>
              <a:t>No CKD/HK</a:t>
            </a:r>
          </a:p>
        </p:txBody>
      </p:sp>
      <p:sp>
        <p:nvSpPr>
          <p:cNvPr id="105" name="TextBox 104">
            <a:extLst>
              <a:ext uri="{FF2B5EF4-FFF2-40B4-BE49-F238E27FC236}">
                <a16:creationId xmlns:a16="http://schemas.microsoft.com/office/drawing/2014/main" id="{AF7542FA-298A-4945-940B-F6A5E4D52429}"/>
              </a:ext>
            </a:extLst>
          </p:cNvPr>
          <p:cNvSpPr txBox="1"/>
          <p:nvPr/>
        </p:nvSpPr>
        <p:spPr>
          <a:xfrm rot="8948751">
            <a:off x="9210508" y="2615950"/>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No AF</a:t>
            </a:r>
          </a:p>
        </p:txBody>
      </p:sp>
      <p:sp>
        <p:nvSpPr>
          <p:cNvPr id="106" name="TextBox 105">
            <a:extLst>
              <a:ext uri="{FF2B5EF4-FFF2-40B4-BE49-F238E27FC236}">
                <a16:creationId xmlns:a16="http://schemas.microsoft.com/office/drawing/2014/main" id="{3B3387DC-CFB0-4F40-A7BD-F8DC58BE278A}"/>
              </a:ext>
            </a:extLst>
          </p:cNvPr>
          <p:cNvSpPr txBox="1"/>
          <p:nvPr/>
        </p:nvSpPr>
        <p:spPr>
          <a:xfrm rot="3692915">
            <a:off x="9202823" y="2533060"/>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BP &gt;140/90 mmHg</a:t>
            </a:r>
          </a:p>
        </p:txBody>
      </p:sp>
      <p:sp>
        <p:nvSpPr>
          <p:cNvPr id="134" name="TextBox 133">
            <a:extLst>
              <a:ext uri="{FF2B5EF4-FFF2-40B4-BE49-F238E27FC236}">
                <a16:creationId xmlns:a16="http://schemas.microsoft.com/office/drawing/2014/main" id="{F78DDE7E-53EC-452D-B1B2-1B1269CA2C92}"/>
              </a:ext>
            </a:extLst>
          </p:cNvPr>
          <p:cNvSpPr txBox="1"/>
          <p:nvPr/>
        </p:nvSpPr>
        <p:spPr>
          <a:xfrm>
            <a:off x="9554926" y="2630281"/>
            <a:ext cx="1307425" cy="1383413"/>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SGLT2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Beta bloc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ACEi/ARB/ARN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M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Diuret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C3B2D"/>
                </a:solidFill>
                <a:effectLst/>
                <a:uLnTx/>
                <a:uFillTx/>
                <a:latin typeface="Arial"/>
                <a:ea typeface="+mn-ea"/>
                <a:cs typeface="+mn-cs"/>
              </a:rPr>
              <a:t>Vericigu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a:ea typeface="+mn-ea"/>
                <a:cs typeface="+mn-cs"/>
              </a:rPr>
              <a:t>Hydralazine/</a:t>
            </a:r>
            <a:br>
              <a:rPr kumimoji="0" lang="en-US" sz="900" b="0" i="0" u="none" strike="noStrike" kern="1200" cap="none" spc="0" normalizeH="0" baseline="0" noProof="0" dirty="0">
                <a:ln>
                  <a:noFill/>
                </a:ln>
                <a:solidFill>
                  <a:srgbClr val="FF0000"/>
                </a:solidFill>
                <a:effectLst/>
                <a:uLnTx/>
                <a:uFillTx/>
                <a:latin typeface="Arial"/>
                <a:ea typeface="+mn-ea"/>
                <a:cs typeface="+mn-cs"/>
              </a:rPr>
            </a:br>
            <a:r>
              <a:rPr kumimoji="0" lang="en-US" sz="900" b="0" i="0" u="none" strike="noStrike" kern="1200" cap="none" spc="0" normalizeH="0" baseline="0" noProof="0" dirty="0">
                <a:ln>
                  <a:noFill/>
                </a:ln>
                <a:solidFill>
                  <a:srgbClr val="FF0000"/>
                </a:solidFill>
                <a:effectLst/>
                <a:uLnTx/>
                <a:uFillTx/>
                <a:latin typeface="Arial"/>
                <a:ea typeface="+mn-ea"/>
                <a:cs typeface="+mn-cs"/>
              </a:rPr>
              <a:t>isosorbide</a:t>
            </a:r>
            <a:br>
              <a:rPr kumimoji="0" lang="en-US" sz="900" b="0" i="0" u="none" strike="noStrike" kern="1200" cap="none" spc="0" normalizeH="0" baseline="0" noProof="0" dirty="0">
                <a:ln>
                  <a:noFill/>
                </a:ln>
                <a:solidFill>
                  <a:srgbClr val="FF0000"/>
                </a:solidFill>
                <a:effectLst/>
                <a:uLnTx/>
                <a:uFillTx/>
                <a:latin typeface="Arial"/>
                <a:ea typeface="+mn-ea"/>
                <a:cs typeface="+mn-cs"/>
              </a:rPr>
            </a:br>
            <a:r>
              <a:rPr kumimoji="0" lang="en-US" sz="900" b="0" i="0" u="none" strike="noStrike" kern="1200" cap="none" spc="0" normalizeH="0" baseline="0" noProof="0" dirty="0">
                <a:ln>
                  <a:noFill/>
                </a:ln>
                <a:solidFill>
                  <a:srgbClr val="FF0000"/>
                </a:solidFill>
                <a:effectLst/>
                <a:uLnTx/>
                <a:uFillTx/>
                <a:latin typeface="Arial"/>
                <a:ea typeface="+mn-ea"/>
                <a:cs typeface="+mn-cs"/>
              </a:rPr>
              <a:t>dinitrate</a:t>
            </a:r>
          </a:p>
        </p:txBody>
      </p:sp>
      <p:grpSp>
        <p:nvGrpSpPr>
          <p:cNvPr id="10" name="Group 9">
            <a:extLst>
              <a:ext uri="{FF2B5EF4-FFF2-40B4-BE49-F238E27FC236}">
                <a16:creationId xmlns:a16="http://schemas.microsoft.com/office/drawing/2014/main" id="{A6387653-1344-4C3C-996D-D8EAC33F85FC}"/>
              </a:ext>
            </a:extLst>
          </p:cNvPr>
          <p:cNvGrpSpPr/>
          <p:nvPr/>
        </p:nvGrpSpPr>
        <p:grpSpPr>
          <a:xfrm>
            <a:off x="217177" y="2055103"/>
            <a:ext cx="4714057" cy="3361773"/>
            <a:chOff x="4573949" y="2075879"/>
            <a:chExt cx="4714057" cy="3361773"/>
          </a:xfrm>
        </p:grpSpPr>
        <p:pic>
          <p:nvPicPr>
            <p:cNvPr id="97" name="Graphic 96" descr="User with solid fill">
              <a:extLst>
                <a:ext uri="{FF2B5EF4-FFF2-40B4-BE49-F238E27FC236}">
                  <a16:creationId xmlns:a16="http://schemas.microsoft.com/office/drawing/2014/main" id="{9FCD07BB-4C08-4434-8DC1-B47E9DF8D7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8041" y="2633560"/>
              <a:ext cx="1603373" cy="1603373"/>
            </a:xfrm>
            <a:prstGeom prst="rect">
              <a:avLst/>
            </a:prstGeom>
          </p:spPr>
        </p:pic>
        <p:grpSp>
          <p:nvGrpSpPr>
            <p:cNvPr id="4" name="Group 3">
              <a:extLst>
                <a:ext uri="{FF2B5EF4-FFF2-40B4-BE49-F238E27FC236}">
                  <a16:creationId xmlns:a16="http://schemas.microsoft.com/office/drawing/2014/main" id="{E1B3C676-908E-40F5-A0D0-5AE8BC12FE58}"/>
                </a:ext>
              </a:extLst>
            </p:cNvPr>
            <p:cNvGrpSpPr/>
            <p:nvPr/>
          </p:nvGrpSpPr>
          <p:grpSpPr>
            <a:xfrm>
              <a:off x="4573949" y="2075879"/>
              <a:ext cx="2530444" cy="3361773"/>
              <a:chOff x="4573949" y="2075879"/>
              <a:chExt cx="2530444" cy="3361773"/>
            </a:xfrm>
          </p:grpSpPr>
          <p:pic>
            <p:nvPicPr>
              <p:cNvPr id="95" name="Graphic 94" descr="User with solid fill">
                <a:extLst>
                  <a:ext uri="{FF2B5EF4-FFF2-40B4-BE49-F238E27FC236}">
                    <a16:creationId xmlns:a16="http://schemas.microsoft.com/office/drawing/2014/main" id="{FB2C7C56-DD08-4F8D-9087-B3EF0A7C08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21630" y="2622115"/>
                <a:ext cx="1603373" cy="1603373"/>
              </a:xfrm>
              <a:prstGeom prst="rect">
                <a:avLst/>
              </a:prstGeom>
            </p:spPr>
          </p:pic>
          <p:grpSp>
            <p:nvGrpSpPr>
              <p:cNvPr id="85" name="Group 84">
                <a:extLst>
                  <a:ext uri="{FF2B5EF4-FFF2-40B4-BE49-F238E27FC236}">
                    <a16:creationId xmlns:a16="http://schemas.microsoft.com/office/drawing/2014/main" id="{140313B6-A34D-43BD-B8F5-5096E9B781D8}"/>
                  </a:ext>
                </a:extLst>
              </p:cNvPr>
              <p:cNvGrpSpPr/>
              <p:nvPr/>
            </p:nvGrpSpPr>
            <p:grpSpPr>
              <a:xfrm>
                <a:off x="4573949" y="2075879"/>
                <a:ext cx="2530444" cy="3361773"/>
                <a:chOff x="4862756" y="2246441"/>
                <a:chExt cx="2302532" cy="3058985"/>
              </a:xfrm>
            </p:grpSpPr>
            <p:sp>
              <p:nvSpPr>
                <p:cNvPr id="86" name="TextBox 85">
                  <a:extLst>
                    <a:ext uri="{FF2B5EF4-FFF2-40B4-BE49-F238E27FC236}">
                      <a16:creationId xmlns:a16="http://schemas.microsoft.com/office/drawing/2014/main" id="{3E0B7579-E5BE-4475-A8C5-37A124B8ED0F}"/>
                    </a:ext>
                  </a:extLst>
                </p:cNvPr>
                <p:cNvSpPr txBox="1"/>
                <p:nvPr/>
              </p:nvSpPr>
              <p:spPr>
                <a:xfrm>
                  <a:off x="5145560" y="4486263"/>
                  <a:ext cx="1705872" cy="8191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eGFR &lt;30 ml/min/1.73 m</a:t>
                  </a:r>
                  <a:r>
                    <a:rPr kumimoji="0" lang="en-US" sz="1600" b="1" i="0" u="none" strike="noStrike" kern="1200" cap="none" spc="0" normalizeH="0" baseline="30000" noProof="0" dirty="0">
                      <a:ln>
                        <a:noFill/>
                      </a:ln>
                      <a:solidFill>
                        <a:srgbClr val="000000"/>
                      </a:solidFill>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Shape 46">
                  <a:extLst>
                    <a:ext uri="{FF2B5EF4-FFF2-40B4-BE49-F238E27FC236}">
                      <a16:creationId xmlns:a16="http://schemas.microsoft.com/office/drawing/2014/main" id="{84F5441A-AB87-4B91-93FD-EBF636A404CC}"/>
                    </a:ext>
                  </a:extLst>
                </p:cNvPr>
                <p:cNvSpPr/>
                <p:nvPr/>
              </p:nvSpPr>
              <p:spPr>
                <a:xfrm rot="18192103">
                  <a:off x="6155229" y="2253598"/>
                  <a:ext cx="658793" cy="1361325"/>
                </a:xfrm>
                <a:custGeom>
                  <a:avLst/>
                  <a:gdLst>
                    <a:gd name="connsiteX0" fmla="*/ 520829 w 658793"/>
                    <a:gd name="connsiteY0" fmla="*/ 31931 h 1361325"/>
                    <a:gd name="connsiteX1" fmla="*/ 187835 w 658793"/>
                    <a:gd name="connsiteY1" fmla="*/ 1361325 h 1361325"/>
                    <a:gd name="connsiteX2" fmla="*/ 0 w 658793"/>
                    <a:gd name="connsiteY2" fmla="*/ 1048046 h 1361325"/>
                    <a:gd name="connsiteX3" fmla="*/ 207496 w 658793"/>
                    <a:gd name="connsiteY3" fmla="*/ 219674 h 1361325"/>
                    <a:gd name="connsiteX4" fmla="*/ 193163 w 658793"/>
                    <a:gd name="connsiteY4" fmla="*/ 200434 h 1361325"/>
                    <a:gd name="connsiteX5" fmla="*/ 499438 w 658793"/>
                    <a:gd name="connsiteY5" fmla="*/ 0 h 1361325"/>
                    <a:gd name="connsiteX6" fmla="*/ 520829 w 658793"/>
                    <a:gd name="connsiteY6" fmla="*/ 31931 h 136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793" h="1361325">
                      <a:moveTo>
                        <a:pt x="520829" y="31931"/>
                      </a:moveTo>
                      <a:cubicBezTo>
                        <a:pt x="795893" y="490999"/>
                        <a:pt x="646823" y="1086126"/>
                        <a:pt x="187835" y="1361325"/>
                      </a:cubicBezTo>
                      <a:lnTo>
                        <a:pt x="0" y="1048046"/>
                      </a:lnTo>
                      <a:cubicBezTo>
                        <a:pt x="286005" y="876564"/>
                        <a:pt x="378893" y="505729"/>
                        <a:pt x="207496" y="219674"/>
                      </a:cubicBezTo>
                      <a:lnTo>
                        <a:pt x="193163" y="200434"/>
                      </a:lnTo>
                      <a:lnTo>
                        <a:pt x="499438" y="0"/>
                      </a:lnTo>
                      <a:lnTo>
                        <a:pt x="520829" y="3193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Freeform: Shape 47">
                  <a:extLst>
                    <a:ext uri="{FF2B5EF4-FFF2-40B4-BE49-F238E27FC236}">
                      <a16:creationId xmlns:a16="http://schemas.microsoft.com/office/drawing/2014/main" id="{23313F99-4EB0-499E-A0FB-AA054EA3C715}"/>
                    </a:ext>
                  </a:extLst>
                </p:cNvPr>
                <p:cNvSpPr/>
                <p:nvPr/>
              </p:nvSpPr>
              <p:spPr>
                <a:xfrm rot="18192103">
                  <a:off x="4879246" y="2591465"/>
                  <a:ext cx="1326862" cy="636813"/>
                </a:xfrm>
                <a:custGeom>
                  <a:avLst/>
                  <a:gdLst>
                    <a:gd name="connsiteX0" fmla="*/ 1326862 w 1326862"/>
                    <a:gd name="connsiteY0" fmla="*/ 436281 h 636813"/>
                    <a:gd name="connsiteX1" fmla="*/ 1020436 w 1326862"/>
                    <a:gd name="connsiteY1" fmla="*/ 636813 h 636813"/>
                    <a:gd name="connsiteX2" fmla="*/ 963857 w 1326862"/>
                    <a:gd name="connsiteY2" fmla="*/ 560864 h 636813"/>
                    <a:gd name="connsiteX3" fmla="*/ 208613 w 1326862"/>
                    <a:gd name="connsiteY3" fmla="*/ 451208 h 636813"/>
                    <a:gd name="connsiteX4" fmla="*/ 200069 w 1326862"/>
                    <a:gd name="connsiteY4" fmla="*/ 457569 h 636813"/>
                    <a:gd name="connsiteX5" fmla="*/ 0 w 1326862"/>
                    <a:gd name="connsiteY5" fmla="*/ 151851 h 636813"/>
                    <a:gd name="connsiteX6" fmla="*/ 20961 w 1326862"/>
                    <a:gd name="connsiteY6" fmla="*/ 137818 h 636813"/>
                    <a:gd name="connsiteX7" fmla="*/ 1295044 w 1326862"/>
                    <a:gd name="connsiteY7" fmla="*/ 388786 h 636813"/>
                    <a:gd name="connsiteX8" fmla="*/ 1326862 w 1326862"/>
                    <a:gd name="connsiteY8" fmla="*/ 436281 h 6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862" h="636813">
                      <a:moveTo>
                        <a:pt x="1326862" y="436281"/>
                      </a:moveTo>
                      <a:lnTo>
                        <a:pt x="1020436" y="636813"/>
                      </a:lnTo>
                      <a:lnTo>
                        <a:pt x="963857" y="560864"/>
                      </a:lnTo>
                      <a:cubicBezTo>
                        <a:pt x="774148" y="353772"/>
                        <a:pt x="458955" y="301308"/>
                        <a:pt x="208613" y="451208"/>
                      </a:cubicBezTo>
                      <a:lnTo>
                        <a:pt x="200069" y="457569"/>
                      </a:lnTo>
                      <a:lnTo>
                        <a:pt x="0" y="151851"/>
                      </a:lnTo>
                      <a:lnTo>
                        <a:pt x="20961" y="137818"/>
                      </a:lnTo>
                      <a:cubicBezTo>
                        <a:pt x="451414" y="-119928"/>
                        <a:pt x="1001339" y="-4864"/>
                        <a:pt x="1295044" y="388786"/>
                      </a:cubicBezTo>
                      <a:lnTo>
                        <a:pt x="1326862" y="43628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89" name="Freeform: Shape 48">
                  <a:extLst>
                    <a:ext uri="{FF2B5EF4-FFF2-40B4-BE49-F238E27FC236}">
                      <a16:creationId xmlns:a16="http://schemas.microsoft.com/office/drawing/2014/main" id="{9AB62F52-169F-4E4B-AFC2-333CBA3F7511}"/>
                    </a:ext>
                  </a:extLst>
                </p:cNvPr>
                <p:cNvSpPr/>
                <p:nvPr/>
              </p:nvSpPr>
              <p:spPr>
                <a:xfrm rot="18192103">
                  <a:off x="5210219" y="3177167"/>
                  <a:ext cx="647662" cy="1342587"/>
                </a:xfrm>
                <a:custGeom>
                  <a:avLst/>
                  <a:gdLst>
                    <a:gd name="connsiteX0" fmla="*/ 447494 w 647662"/>
                    <a:gd name="connsiteY0" fmla="*/ 0 h 1342587"/>
                    <a:gd name="connsiteX1" fmla="*/ 647662 w 647662"/>
                    <a:gd name="connsiteY1" fmla="*/ 305869 h 1342587"/>
                    <a:gd name="connsiteX2" fmla="*/ 560996 w 647662"/>
                    <a:gd name="connsiteY2" fmla="*/ 370391 h 1342587"/>
                    <a:gd name="connsiteX3" fmla="*/ 451118 w 647662"/>
                    <a:gd name="connsiteY3" fmla="*/ 1125603 h 1342587"/>
                    <a:gd name="connsiteX4" fmla="*/ 463498 w 647662"/>
                    <a:gd name="connsiteY4" fmla="*/ 1142242 h 1342587"/>
                    <a:gd name="connsiteX5" fmla="*/ 157360 w 647662"/>
                    <a:gd name="connsiteY5" fmla="*/ 1342587 h 1342587"/>
                    <a:gd name="connsiteX6" fmla="*/ 137672 w 647662"/>
                    <a:gd name="connsiteY6" fmla="*/ 1313162 h 1342587"/>
                    <a:gd name="connsiteX7" fmla="*/ 389015 w 647662"/>
                    <a:gd name="connsiteY7" fmla="*/ 39153 h 1342587"/>
                    <a:gd name="connsiteX8" fmla="*/ 447494 w 647662"/>
                    <a:gd name="connsiteY8" fmla="*/ 0 h 134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62" h="1342587">
                      <a:moveTo>
                        <a:pt x="447494" y="0"/>
                      </a:moveTo>
                      <a:lnTo>
                        <a:pt x="647662" y="305869"/>
                      </a:lnTo>
                      <a:lnTo>
                        <a:pt x="560996" y="370391"/>
                      </a:lnTo>
                      <a:cubicBezTo>
                        <a:pt x="353848" y="560041"/>
                        <a:pt x="301291" y="875217"/>
                        <a:pt x="451118" y="1125603"/>
                      </a:cubicBezTo>
                      <a:lnTo>
                        <a:pt x="463498" y="1142242"/>
                      </a:lnTo>
                      <a:lnTo>
                        <a:pt x="157360" y="1342587"/>
                      </a:lnTo>
                      <a:lnTo>
                        <a:pt x="137672" y="1313162"/>
                      </a:lnTo>
                      <a:cubicBezTo>
                        <a:pt x="-119948" y="882634"/>
                        <a:pt x="-4723" y="332742"/>
                        <a:pt x="389015" y="39153"/>
                      </a:cubicBezTo>
                      <a:lnTo>
                        <a:pt x="447494" y="0"/>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Freeform: Shape 49">
                  <a:extLst>
                    <a:ext uri="{FF2B5EF4-FFF2-40B4-BE49-F238E27FC236}">
                      <a16:creationId xmlns:a16="http://schemas.microsoft.com/office/drawing/2014/main" id="{295F3AE9-965C-445C-B804-E383385D247D}"/>
                    </a:ext>
                  </a:extLst>
                </p:cNvPr>
                <p:cNvSpPr/>
                <p:nvPr/>
              </p:nvSpPr>
              <p:spPr>
                <a:xfrm rot="18192103">
                  <a:off x="6512616" y="3363941"/>
                  <a:ext cx="504035" cy="450197"/>
                </a:xfrm>
                <a:custGeom>
                  <a:avLst/>
                  <a:gdLst>
                    <a:gd name="connsiteX0" fmla="*/ 316569 w 504035"/>
                    <a:gd name="connsiteY0" fmla="*/ 0 h 450197"/>
                    <a:gd name="connsiteX1" fmla="*/ 504035 w 504035"/>
                    <a:gd name="connsiteY1" fmla="*/ 313499 h 450197"/>
                    <a:gd name="connsiteX2" fmla="*/ 47593 w 504035"/>
                    <a:gd name="connsiteY2" fmla="*/ 450197 h 450197"/>
                    <a:gd name="connsiteX3" fmla="*/ 1 w 504035"/>
                    <a:gd name="connsiteY3" fmla="*/ 449869 h 450197"/>
                    <a:gd name="connsiteX4" fmla="*/ 0 w 504035"/>
                    <a:gd name="connsiteY4" fmla="*/ 83688 h 450197"/>
                    <a:gd name="connsiteX5" fmla="*/ 90501 w 504035"/>
                    <a:gd name="connsiteY5" fmla="*/ 79908 h 450197"/>
                    <a:gd name="connsiteX6" fmla="*/ 316569 w 504035"/>
                    <a:gd name="connsiteY6" fmla="*/ 0 h 45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35" h="450197">
                      <a:moveTo>
                        <a:pt x="316569" y="0"/>
                      </a:moveTo>
                      <a:lnTo>
                        <a:pt x="504035" y="313499"/>
                      </a:lnTo>
                      <a:cubicBezTo>
                        <a:pt x="360501" y="399330"/>
                        <a:pt x="203716" y="443730"/>
                        <a:pt x="47593" y="450197"/>
                      </a:cubicBezTo>
                      <a:lnTo>
                        <a:pt x="1" y="449869"/>
                      </a:lnTo>
                      <a:lnTo>
                        <a:pt x="0" y="83688"/>
                      </a:lnTo>
                      <a:lnTo>
                        <a:pt x="90501" y="79908"/>
                      </a:lnTo>
                      <a:cubicBezTo>
                        <a:pt x="168182" y="69051"/>
                        <a:pt x="245018" y="42787"/>
                        <a:pt x="316569" y="0"/>
                      </a:cubicBez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Freeform: Shape 50">
                  <a:extLst>
                    <a:ext uri="{FF2B5EF4-FFF2-40B4-BE49-F238E27FC236}">
                      <a16:creationId xmlns:a16="http://schemas.microsoft.com/office/drawing/2014/main" id="{D530E403-1782-4D6D-91D0-1E4DD7C7AC88}"/>
                    </a:ext>
                  </a:extLst>
                </p:cNvPr>
                <p:cNvSpPr/>
                <p:nvPr/>
              </p:nvSpPr>
              <p:spPr>
                <a:xfrm rot="18192103">
                  <a:off x="5926708" y="3766504"/>
                  <a:ext cx="799776" cy="638536"/>
                </a:xfrm>
                <a:custGeom>
                  <a:avLst/>
                  <a:gdLst>
                    <a:gd name="connsiteX0" fmla="*/ 799776 w 799776"/>
                    <a:gd name="connsiteY0" fmla="*/ 272530 h 638536"/>
                    <a:gd name="connsiteX1" fmla="*/ 799775 w 799776"/>
                    <a:gd name="connsiteY1" fmla="*/ 638536 h 638536"/>
                    <a:gd name="connsiteX2" fmla="*/ 757485 w 799776"/>
                    <a:gd name="connsiteY2" fmla="*/ 638245 h 638536"/>
                    <a:gd name="connsiteX3" fmla="*/ 33475 w 799776"/>
                    <a:gd name="connsiteY3" fmla="*/ 250475 h 638536"/>
                    <a:gd name="connsiteX4" fmla="*/ 0 w 799776"/>
                    <a:gd name="connsiteY4" fmla="*/ 200443 h 638536"/>
                    <a:gd name="connsiteX5" fmla="*/ 306289 w 799776"/>
                    <a:gd name="connsiteY5" fmla="*/ 0 h 638536"/>
                    <a:gd name="connsiteX6" fmla="*/ 364764 w 799776"/>
                    <a:gd name="connsiteY6" fmla="*/ 78592 h 638536"/>
                    <a:gd name="connsiteX7" fmla="*/ 777275 w 799776"/>
                    <a:gd name="connsiteY7" fmla="*/ 273470 h 638536"/>
                    <a:gd name="connsiteX8" fmla="*/ 799776 w 799776"/>
                    <a:gd name="connsiteY8" fmla="*/ 272530 h 6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9776" h="638536">
                      <a:moveTo>
                        <a:pt x="799776" y="272530"/>
                      </a:moveTo>
                      <a:lnTo>
                        <a:pt x="799775" y="638536"/>
                      </a:lnTo>
                      <a:lnTo>
                        <a:pt x="757485" y="638245"/>
                      </a:lnTo>
                      <a:cubicBezTo>
                        <a:pt x="477942" y="622825"/>
                        <a:pt x="209559" y="486769"/>
                        <a:pt x="33475" y="250475"/>
                      </a:cubicBezTo>
                      <a:lnTo>
                        <a:pt x="0" y="200443"/>
                      </a:lnTo>
                      <a:lnTo>
                        <a:pt x="306289" y="0"/>
                      </a:lnTo>
                      <a:lnTo>
                        <a:pt x="364764" y="78592"/>
                      </a:lnTo>
                      <a:cubicBezTo>
                        <a:pt x="473101" y="196994"/>
                        <a:pt x="622440" y="264929"/>
                        <a:pt x="777275" y="273470"/>
                      </a:cubicBezTo>
                      <a:lnTo>
                        <a:pt x="799776" y="27253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5" name="Group 4">
              <a:extLst>
                <a:ext uri="{FF2B5EF4-FFF2-40B4-BE49-F238E27FC236}">
                  <a16:creationId xmlns:a16="http://schemas.microsoft.com/office/drawing/2014/main" id="{3406467A-80B1-4614-B265-E5311868A81C}"/>
                </a:ext>
              </a:extLst>
            </p:cNvPr>
            <p:cNvGrpSpPr/>
            <p:nvPr/>
          </p:nvGrpSpPr>
          <p:grpSpPr>
            <a:xfrm>
              <a:off x="6757562" y="2075880"/>
              <a:ext cx="2530444" cy="3361772"/>
              <a:chOff x="6757562" y="2075880"/>
              <a:chExt cx="2530444" cy="3361772"/>
            </a:xfrm>
          </p:grpSpPr>
          <p:pic>
            <p:nvPicPr>
              <p:cNvPr id="96" name="Graphic 95" descr="User with solid fill">
                <a:extLst>
                  <a:ext uri="{FF2B5EF4-FFF2-40B4-BE49-F238E27FC236}">
                    <a16:creationId xmlns:a16="http://schemas.microsoft.com/office/drawing/2014/main" id="{0004B659-E7AF-4184-9720-6CA3099BC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9819" y="2633560"/>
                <a:ext cx="1603373" cy="1603373"/>
              </a:xfrm>
              <a:prstGeom prst="rect">
                <a:avLst/>
              </a:prstGeom>
            </p:spPr>
          </p:pic>
          <p:grpSp>
            <p:nvGrpSpPr>
              <p:cNvPr id="103" name="Group 102">
                <a:extLst>
                  <a:ext uri="{FF2B5EF4-FFF2-40B4-BE49-F238E27FC236}">
                    <a16:creationId xmlns:a16="http://schemas.microsoft.com/office/drawing/2014/main" id="{1427FB35-8407-4913-B306-EC094B6AC8F0}"/>
                  </a:ext>
                </a:extLst>
              </p:cNvPr>
              <p:cNvGrpSpPr/>
              <p:nvPr/>
            </p:nvGrpSpPr>
            <p:grpSpPr>
              <a:xfrm>
                <a:off x="6757562" y="2075880"/>
                <a:ext cx="2530444" cy="3361772"/>
                <a:chOff x="7215543" y="2246441"/>
                <a:chExt cx="2302532" cy="3058984"/>
              </a:xfrm>
            </p:grpSpPr>
            <p:sp>
              <p:nvSpPr>
                <p:cNvPr id="107" name="TextBox 106">
                  <a:extLst>
                    <a:ext uri="{FF2B5EF4-FFF2-40B4-BE49-F238E27FC236}">
                      <a16:creationId xmlns:a16="http://schemas.microsoft.com/office/drawing/2014/main" id="{1E1ACF1D-6DF3-4EF3-A115-1C385C4C04B4}"/>
                    </a:ext>
                  </a:extLst>
                </p:cNvPr>
                <p:cNvSpPr txBox="1"/>
                <p:nvPr/>
              </p:nvSpPr>
              <p:spPr>
                <a:xfrm>
                  <a:off x="7463710" y="4486262"/>
                  <a:ext cx="1705872" cy="8191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eGFR &gt;30 ml/min/1.73 m</a:t>
                  </a:r>
                  <a:r>
                    <a:rPr kumimoji="0" lang="en-US" sz="1600" b="1" i="0" u="none" strike="noStrike" kern="1200" cap="none" spc="0" normalizeH="0" baseline="30000" noProof="0" dirty="0">
                      <a:ln>
                        <a:noFill/>
                      </a:ln>
                      <a:solidFill>
                        <a:srgbClr val="000000"/>
                      </a:solidFill>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Shape 55">
                  <a:extLst>
                    <a:ext uri="{FF2B5EF4-FFF2-40B4-BE49-F238E27FC236}">
                      <a16:creationId xmlns:a16="http://schemas.microsoft.com/office/drawing/2014/main" id="{5366CC34-93B7-433B-BC59-0E31BA3866D0}"/>
                    </a:ext>
                  </a:extLst>
                </p:cNvPr>
                <p:cNvSpPr/>
                <p:nvPr/>
              </p:nvSpPr>
              <p:spPr>
                <a:xfrm rot="18192103">
                  <a:off x="8508016" y="2253598"/>
                  <a:ext cx="658793" cy="1361325"/>
                </a:xfrm>
                <a:custGeom>
                  <a:avLst/>
                  <a:gdLst>
                    <a:gd name="connsiteX0" fmla="*/ 520829 w 658793"/>
                    <a:gd name="connsiteY0" fmla="*/ 31931 h 1361325"/>
                    <a:gd name="connsiteX1" fmla="*/ 187835 w 658793"/>
                    <a:gd name="connsiteY1" fmla="*/ 1361325 h 1361325"/>
                    <a:gd name="connsiteX2" fmla="*/ 0 w 658793"/>
                    <a:gd name="connsiteY2" fmla="*/ 1048046 h 1361325"/>
                    <a:gd name="connsiteX3" fmla="*/ 207496 w 658793"/>
                    <a:gd name="connsiteY3" fmla="*/ 219674 h 1361325"/>
                    <a:gd name="connsiteX4" fmla="*/ 193163 w 658793"/>
                    <a:gd name="connsiteY4" fmla="*/ 200434 h 1361325"/>
                    <a:gd name="connsiteX5" fmla="*/ 499438 w 658793"/>
                    <a:gd name="connsiteY5" fmla="*/ 0 h 1361325"/>
                    <a:gd name="connsiteX6" fmla="*/ 520829 w 658793"/>
                    <a:gd name="connsiteY6" fmla="*/ 31931 h 136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793" h="1361325">
                      <a:moveTo>
                        <a:pt x="520829" y="31931"/>
                      </a:moveTo>
                      <a:cubicBezTo>
                        <a:pt x="795893" y="490999"/>
                        <a:pt x="646823" y="1086126"/>
                        <a:pt x="187835" y="1361325"/>
                      </a:cubicBezTo>
                      <a:lnTo>
                        <a:pt x="0" y="1048046"/>
                      </a:lnTo>
                      <a:cubicBezTo>
                        <a:pt x="286005" y="876564"/>
                        <a:pt x="378893" y="505729"/>
                        <a:pt x="207496" y="219674"/>
                      </a:cubicBezTo>
                      <a:lnTo>
                        <a:pt x="193163" y="200434"/>
                      </a:lnTo>
                      <a:lnTo>
                        <a:pt x="499438" y="0"/>
                      </a:lnTo>
                      <a:lnTo>
                        <a:pt x="520829" y="3193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Freeform: Shape 56">
                  <a:extLst>
                    <a:ext uri="{FF2B5EF4-FFF2-40B4-BE49-F238E27FC236}">
                      <a16:creationId xmlns:a16="http://schemas.microsoft.com/office/drawing/2014/main" id="{DA262609-B123-49D9-8DFD-2DFFFFE66841}"/>
                    </a:ext>
                  </a:extLst>
                </p:cNvPr>
                <p:cNvSpPr/>
                <p:nvPr/>
              </p:nvSpPr>
              <p:spPr>
                <a:xfrm rot="18192103">
                  <a:off x="7232033" y="2591465"/>
                  <a:ext cx="1326862" cy="636813"/>
                </a:xfrm>
                <a:custGeom>
                  <a:avLst/>
                  <a:gdLst>
                    <a:gd name="connsiteX0" fmla="*/ 1326862 w 1326862"/>
                    <a:gd name="connsiteY0" fmla="*/ 436281 h 636813"/>
                    <a:gd name="connsiteX1" fmla="*/ 1020436 w 1326862"/>
                    <a:gd name="connsiteY1" fmla="*/ 636813 h 636813"/>
                    <a:gd name="connsiteX2" fmla="*/ 963857 w 1326862"/>
                    <a:gd name="connsiteY2" fmla="*/ 560864 h 636813"/>
                    <a:gd name="connsiteX3" fmla="*/ 208613 w 1326862"/>
                    <a:gd name="connsiteY3" fmla="*/ 451208 h 636813"/>
                    <a:gd name="connsiteX4" fmla="*/ 200069 w 1326862"/>
                    <a:gd name="connsiteY4" fmla="*/ 457569 h 636813"/>
                    <a:gd name="connsiteX5" fmla="*/ 0 w 1326862"/>
                    <a:gd name="connsiteY5" fmla="*/ 151851 h 636813"/>
                    <a:gd name="connsiteX6" fmla="*/ 20961 w 1326862"/>
                    <a:gd name="connsiteY6" fmla="*/ 137818 h 636813"/>
                    <a:gd name="connsiteX7" fmla="*/ 1295044 w 1326862"/>
                    <a:gd name="connsiteY7" fmla="*/ 388786 h 636813"/>
                    <a:gd name="connsiteX8" fmla="*/ 1326862 w 1326862"/>
                    <a:gd name="connsiteY8" fmla="*/ 436281 h 6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862" h="636813">
                      <a:moveTo>
                        <a:pt x="1326862" y="436281"/>
                      </a:moveTo>
                      <a:lnTo>
                        <a:pt x="1020436" y="636813"/>
                      </a:lnTo>
                      <a:lnTo>
                        <a:pt x="963857" y="560864"/>
                      </a:lnTo>
                      <a:cubicBezTo>
                        <a:pt x="774148" y="353772"/>
                        <a:pt x="458955" y="301308"/>
                        <a:pt x="208613" y="451208"/>
                      </a:cubicBezTo>
                      <a:lnTo>
                        <a:pt x="200069" y="457569"/>
                      </a:lnTo>
                      <a:lnTo>
                        <a:pt x="0" y="151851"/>
                      </a:lnTo>
                      <a:lnTo>
                        <a:pt x="20961" y="137818"/>
                      </a:lnTo>
                      <a:cubicBezTo>
                        <a:pt x="451414" y="-119928"/>
                        <a:pt x="1001339" y="-4864"/>
                        <a:pt x="1295044" y="388786"/>
                      </a:cubicBezTo>
                      <a:lnTo>
                        <a:pt x="1326862" y="43628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Freeform: Shape 57">
                  <a:extLst>
                    <a:ext uri="{FF2B5EF4-FFF2-40B4-BE49-F238E27FC236}">
                      <a16:creationId xmlns:a16="http://schemas.microsoft.com/office/drawing/2014/main" id="{D0CBDB05-5992-4F06-9629-E1D70F3E8787}"/>
                    </a:ext>
                  </a:extLst>
                </p:cNvPr>
                <p:cNvSpPr/>
                <p:nvPr/>
              </p:nvSpPr>
              <p:spPr>
                <a:xfrm rot="18192103">
                  <a:off x="7563006" y="3177167"/>
                  <a:ext cx="647662" cy="1342587"/>
                </a:xfrm>
                <a:custGeom>
                  <a:avLst/>
                  <a:gdLst>
                    <a:gd name="connsiteX0" fmla="*/ 447494 w 647662"/>
                    <a:gd name="connsiteY0" fmla="*/ 0 h 1342587"/>
                    <a:gd name="connsiteX1" fmla="*/ 647662 w 647662"/>
                    <a:gd name="connsiteY1" fmla="*/ 305869 h 1342587"/>
                    <a:gd name="connsiteX2" fmla="*/ 560996 w 647662"/>
                    <a:gd name="connsiteY2" fmla="*/ 370391 h 1342587"/>
                    <a:gd name="connsiteX3" fmla="*/ 451118 w 647662"/>
                    <a:gd name="connsiteY3" fmla="*/ 1125603 h 1342587"/>
                    <a:gd name="connsiteX4" fmla="*/ 463498 w 647662"/>
                    <a:gd name="connsiteY4" fmla="*/ 1142242 h 1342587"/>
                    <a:gd name="connsiteX5" fmla="*/ 157360 w 647662"/>
                    <a:gd name="connsiteY5" fmla="*/ 1342587 h 1342587"/>
                    <a:gd name="connsiteX6" fmla="*/ 137672 w 647662"/>
                    <a:gd name="connsiteY6" fmla="*/ 1313162 h 1342587"/>
                    <a:gd name="connsiteX7" fmla="*/ 389015 w 647662"/>
                    <a:gd name="connsiteY7" fmla="*/ 39153 h 1342587"/>
                    <a:gd name="connsiteX8" fmla="*/ 447494 w 647662"/>
                    <a:gd name="connsiteY8" fmla="*/ 0 h 134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62" h="1342587">
                      <a:moveTo>
                        <a:pt x="447494" y="0"/>
                      </a:moveTo>
                      <a:lnTo>
                        <a:pt x="647662" y="305869"/>
                      </a:lnTo>
                      <a:lnTo>
                        <a:pt x="560996" y="370391"/>
                      </a:lnTo>
                      <a:cubicBezTo>
                        <a:pt x="353848" y="560041"/>
                        <a:pt x="301291" y="875217"/>
                        <a:pt x="451118" y="1125603"/>
                      </a:cubicBezTo>
                      <a:lnTo>
                        <a:pt x="463498" y="1142242"/>
                      </a:lnTo>
                      <a:lnTo>
                        <a:pt x="157360" y="1342587"/>
                      </a:lnTo>
                      <a:lnTo>
                        <a:pt x="137672" y="1313162"/>
                      </a:lnTo>
                      <a:cubicBezTo>
                        <a:pt x="-119948" y="882634"/>
                        <a:pt x="-4723" y="332742"/>
                        <a:pt x="389015" y="39153"/>
                      </a:cubicBezTo>
                      <a:lnTo>
                        <a:pt x="447494" y="0"/>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Freeform: Shape 58">
                  <a:extLst>
                    <a:ext uri="{FF2B5EF4-FFF2-40B4-BE49-F238E27FC236}">
                      <a16:creationId xmlns:a16="http://schemas.microsoft.com/office/drawing/2014/main" id="{E80CA523-7D77-4BB3-9392-A70451C8FF14}"/>
                    </a:ext>
                  </a:extLst>
                </p:cNvPr>
                <p:cNvSpPr/>
                <p:nvPr/>
              </p:nvSpPr>
              <p:spPr>
                <a:xfrm rot="18192103">
                  <a:off x="8865403" y="3363941"/>
                  <a:ext cx="504035" cy="450197"/>
                </a:xfrm>
                <a:custGeom>
                  <a:avLst/>
                  <a:gdLst>
                    <a:gd name="connsiteX0" fmla="*/ 316569 w 504035"/>
                    <a:gd name="connsiteY0" fmla="*/ 0 h 450197"/>
                    <a:gd name="connsiteX1" fmla="*/ 504035 w 504035"/>
                    <a:gd name="connsiteY1" fmla="*/ 313499 h 450197"/>
                    <a:gd name="connsiteX2" fmla="*/ 47593 w 504035"/>
                    <a:gd name="connsiteY2" fmla="*/ 450197 h 450197"/>
                    <a:gd name="connsiteX3" fmla="*/ 1 w 504035"/>
                    <a:gd name="connsiteY3" fmla="*/ 449869 h 450197"/>
                    <a:gd name="connsiteX4" fmla="*/ 0 w 504035"/>
                    <a:gd name="connsiteY4" fmla="*/ 83688 h 450197"/>
                    <a:gd name="connsiteX5" fmla="*/ 90501 w 504035"/>
                    <a:gd name="connsiteY5" fmla="*/ 79908 h 450197"/>
                    <a:gd name="connsiteX6" fmla="*/ 316569 w 504035"/>
                    <a:gd name="connsiteY6" fmla="*/ 0 h 45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35" h="450197">
                      <a:moveTo>
                        <a:pt x="316569" y="0"/>
                      </a:moveTo>
                      <a:lnTo>
                        <a:pt x="504035" y="313499"/>
                      </a:lnTo>
                      <a:cubicBezTo>
                        <a:pt x="360501" y="399330"/>
                        <a:pt x="203716" y="443730"/>
                        <a:pt x="47593" y="450197"/>
                      </a:cubicBezTo>
                      <a:lnTo>
                        <a:pt x="1" y="449869"/>
                      </a:lnTo>
                      <a:lnTo>
                        <a:pt x="0" y="83688"/>
                      </a:lnTo>
                      <a:lnTo>
                        <a:pt x="90501" y="79908"/>
                      </a:lnTo>
                      <a:cubicBezTo>
                        <a:pt x="168182" y="69051"/>
                        <a:pt x="245018" y="42787"/>
                        <a:pt x="316569" y="0"/>
                      </a:cubicBez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Freeform: Shape 59">
                  <a:extLst>
                    <a:ext uri="{FF2B5EF4-FFF2-40B4-BE49-F238E27FC236}">
                      <a16:creationId xmlns:a16="http://schemas.microsoft.com/office/drawing/2014/main" id="{C3488355-AFC3-4D1E-B068-B3350F394EB2}"/>
                    </a:ext>
                  </a:extLst>
                </p:cNvPr>
                <p:cNvSpPr/>
                <p:nvPr/>
              </p:nvSpPr>
              <p:spPr>
                <a:xfrm rot="18192103">
                  <a:off x="8279495" y="3766504"/>
                  <a:ext cx="799776" cy="638536"/>
                </a:xfrm>
                <a:custGeom>
                  <a:avLst/>
                  <a:gdLst>
                    <a:gd name="connsiteX0" fmla="*/ 799776 w 799776"/>
                    <a:gd name="connsiteY0" fmla="*/ 272530 h 638536"/>
                    <a:gd name="connsiteX1" fmla="*/ 799775 w 799776"/>
                    <a:gd name="connsiteY1" fmla="*/ 638536 h 638536"/>
                    <a:gd name="connsiteX2" fmla="*/ 757485 w 799776"/>
                    <a:gd name="connsiteY2" fmla="*/ 638245 h 638536"/>
                    <a:gd name="connsiteX3" fmla="*/ 33475 w 799776"/>
                    <a:gd name="connsiteY3" fmla="*/ 250475 h 638536"/>
                    <a:gd name="connsiteX4" fmla="*/ 0 w 799776"/>
                    <a:gd name="connsiteY4" fmla="*/ 200443 h 638536"/>
                    <a:gd name="connsiteX5" fmla="*/ 306289 w 799776"/>
                    <a:gd name="connsiteY5" fmla="*/ 0 h 638536"/>
                    <a:gd name="connsiteX6" fmla="*/ 364764 w 799776"/>
                    <a:gd name="connsiteY6" fmla="*/ 78592 h 638536"/>
                    <a:gd name="connsiteX7" fmla="*/ 777275 w 799776"/>
                    <a:gd name="connsiteY7" fmla="*/ 273470 h 638536"/>
                    <a:gd name="connsiteX8" fmla="*/ 799776 w 799776"/>
                    <a:gd name="connsiteY8" fmla="*/ 272530 h 6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9776" h="638536">
                      <a:moveTo>
                        <a:pt x="799776" y="272530"/>
                      </a:moveTo>
                      <a:lnTo>
                        <a:pt x="799775" y="638536"/>
                      </a:lnTo>
                      <a:lnTo>
                        <a:pt x="757485" y="638245"/>
                      </a:lnTo>
                      <a:cubicBezTo>
                        <a:pt x="477942" y="622825"/>
                        <a:pt x="209559" y="486769"/>
                        <a:pt x="33475" y="250475"/>
                      </a:cubicBezTo>
                      <a:lnTo>
                        <a:pt x="0" y="200443"/>
                      </a:lnTo>
                      <a:lnTo>
                        <a:pt x="306289" y="0"/>
                      </a:lnTo>
                      <a:lnTo>
                        <a:pt x="364764" y="78592"/>
                      </a:lnTo>
                      <a:cubicBezTo>
                        <a:pt x="473101" y="196994"/>
                        <a:pt x="622440" y="264929"/>
                        <a:pt x="777275" y="273470"/>
                      </a:cubicBezTo>
                      <a:lnTo>
                        <a:pt x="799776" y="27253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108" name="TextBox 107">
              <a:extLst>
                <a:ext uri="{FF2B5EF4-FFF2-40B4-BE49-F238E27FC236}">
                  <a16:creationId xmlns:a16="http://schemas.microsoft.com/office/drawing/2014/main" id="{ED2D46BB-CB99-4A59-BEE3-434F8879CF69}"/>
                </a:ext>
              </a:extLst>
            </p:cNvPr>
            <p:cNvSpPr txBox="1"/>
            <p:nvPr/>
          </p:nvSpPr>
          <p:spPr>
            <a:xfrm rot="8948751">
              <a:off x="6969964" y="2596770"/>
              <a:ext cx="2078774" cy="1576880"/>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No AF</a:t>
              </a:r>
            </a:p>
          </p:txBody>
        </p:sp>
        <p:sp>
          <p:nvSpPr>
            <p:cNvPr id="109" name="TextBox 108">
              <a:extLst>
                <a:ext uri="{FF2B5EF4-FFF2-40B4-BE49-F238E27FC236}">
                  <a16:creationId xmlns:a16="http://schemas.microsoft.com/office/drawing/2014/main" id="{00834755-F883-4C61-BC8C-672C4AC6B5A3}"/>
                </a:ext>
              </a:extLst>
            </p:cNvPr>
            <p:cNvSpPr txBox="1"/>
            <p:nvPr/>
          </p:nvSpPr>
          <p:spPr>
            <a:xfrm rot="13724811">
              <a:off x="6985518" y="2568715"/>
              <a:ext cx="2078774" cy="1634206"/>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eGFR &gt;30 ml/min/1.73 m</a:t>
              </a:r>
              <a:r>
                <a:rPr kumimoji="0" lang="en-US" sz="900" b="0" i="0" u="none" strike="noStrike" kern="1200" cap="none" spc="0" normalizeH="0" baseline="30000" noProof="0" dirty="0">
                  <a:ln>
                    <a:noFill/>
                  </a:ln>
                  <a:solidFill>
                    <a:srgbClr val="FFFFFF"/>
                  </a:solidFill>
                  <a:effectLst/>
                  <a:uLnTx/>
                  <a:uFillTx/>
                  <a:latin typeface="Arial"/>
                  <a:ea typeface="+mn-ea"/>
                  <a:cs typeface="+mn-cs"/>
                </a:rPr>
                <a:t>2</a:t>
              </a:r>
            </a:p>
          </p:txBody>
        </p:sp>
        <p:sp>
          <p:nvSpPr>
            <p:cNvPr id="110" name="TextBox 109">
              <a:extLst>
                <a:ext uri="{FF2B5EF4-FFF2-40B4-BE49-F238E27FC236}">
                  <a16:creationId xmlns:a16="http://schemas.microsoft.com/office/drawing/2014/main" id="{7E24C201-AFC5-47AE-9323-6D573786F715}"/>
                </a:ext>
              </a:extLst>
            </p:cNvPr>
            <p:cNvSpPr txBox="1"/>
            <p:nvPr/>
          </p:nvSpPr>
          <p:spPr>
            <a:xfrm rot="2758493">
              <a:off x="7043699" y="2539089"/>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BP &gt;90/60 mmHg</a:t>
              </a:r>
            </a:p>
          </p:txBody>
        </p:sp>
        <p:sp>
          <p:nvSpPr>
            <p:cNvPr id="111" name="TextBox 110">
              <a:extLst>
                <a:ext uri="{FF2B5EF4-FFF2-40B4-BE49-F238E27FC236}">
                  <a16:creationId xmlns:a16="http://schemas.microsoft.com/office/drawing/2014/main" id="{895AFE62-6ABC-4428-93F3-02A10AA1DB9E}"/>
                </a:ext>
              </a:extLst>
            </p:cNvPr>
            <p:cNvSpPr txBox="1"/>
            <p:nvPr/>
          </p:nvSpPr>
          <p:spPr>
            <a:xfrm rot="18791207">
              <a:off x="6954888" y="2485086"/>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HR 60–70 bpm</a:t>
              </a:r>
            </a:p>
          </p:txBody>
        </p:sp>
        <p:sp>
          <p:nvSpPr>
            <p:cNvPr id="112" name="TextBox 111">
              <a:extLst>
                <a:ext uri="{FF2B5EF4-FFF2-40B4-BE49-F238E27FC236}">
                  <a16:creationId xmlns:a16="http://schemas.microsoft.com/office/drawing/2014/main" id="{80EB7BFC-1E61-4673-A578-252B655F7D37}"/>
                </a:ext>
              </a:extLst>
            </p:cNvPr>
            <p:cNvSpPr txBox="1"/>
            <p:nvPr/>
          </p:nvSpPr>
          <p:spPr>
            <a:xfrm rot="13658781">
              <a:off x="4824499" y="2461909"/>
              <a:ext cx="2078774" cy="1764063"/>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eGFR &lt;30 ml/min/1.73 m</a:t>
              </a:r>
              <a:r>
                <a:rPr kumimoji="0" lang="en-US" sz="900" b="0" i="0" u="none" strike="noStrike" kern="1200" cap="none" spc="0" normalizeH="0" baseline="30000" noProof="0" dirty="0">
                  <a:ln>
                    <a:noFill/>
                  </a:ln>
                  <a:solidFill>
                    <a:srgbClr val="FFFFFF"/>
                  </a:solidFill>
                  <a:effectLst/>
                  <a:uLnTx/>
                  <a:uFillTx/>
                  <a:latin typeface="Arial"/>
                  <a:ea typeface="+mn-ea"/>
                  <a:cs typeface="+mn-cs"/>
                </a:rPr>
                <a:t>2</a:t>
              </a:r>
            </a:p>
          </p:txBody>
        </p:sp>
        <p:sp>
          <p:nvSpPr>
            <p:cNvPr id="113" name="TextBox 112">
              <a:extLst>
                <a:ext uri="{FF2B5EF4-FFF2-40B4-BE49-F238E27FC236}">
                  <a16:creationId xmlns:a16="http://schemas.microsoft.com/office/drawing/2014/main" id="{4EF0DBB0-D578-4E4B-A777-E02E11665379}"/>
                </a:ext>
              </a:extLst>
            </p:cNvPr>
            <p:cNvSpPr txBox="1"/>
            <p:nvPr/>
          </p:nvSpPr>
          <p:spPr>
            <a:xfrm rot="8948751">
              <a:off x="4824096" y="2583373"/>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No AF</a:t>
              </a:r>
            </a:p>
          </p:txBody>
        </p:sp>
        <p:sp>
          <p:nvSpPr>
            <p:cNvPr id="118" name="TextBox 117">
              <a:extLst>
                <a:ext uri="{FF2B5EF4-FFF2-40B4-BE49-F238E27FC236}">
                  <a16:creationId xmlns:a16="http://schemas.microsoft.com/office/drawing/2014/main" id="{45792708-096B-4E7D-A326-C81F17E290C3}"/>
                </a:ext>
              </a:extLst>
            </p:cNvPr>
            <p:cNvSpPr txBox="1"/>
            <p:nvPr/>
          </p:nvSpPr>
          <p:spPr>
            <a:xfrm rot="3600000">
              <a:off x="4839196" y="2564609"/>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BP &gt;90/60 mmHg</a:t>
              </a:r>
            </a:p>
          </p:txBody>
        </p:sp>
        <p:sp>
          <p:nvSpPr>
            <p:cNvPr id="119" name="TextBox 118">
              <a:extLst>
                <a:ext uri="{FF2B5EF4-FFF2-40B4-BE49-F238E27FC236}">
                  <a16:creationId xmlns:a16="http://schemas.microsoft.com/office/drawing/2014/main" id="{090D171E-3E21-4404-A8CA-6C0E4B2E25D7}"/>
                </a:ext>
              </a:extLst>
            </p:cNvPr>
            <p:cNvSpPr txBox="1"/>
            <p:nvPr/>
          </p:nvSpPr>
          <p:spPr>
            <a:xfrm rot="18791207">
              <a:off x="4791468" y="2473624"/>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HR 60–70 bpm</a:t>
              </a:r>
            </a:p>
          </p:txBody>
        </p:sp>
        <p:sp>
          <p:nvSpPr>
            <p:cNvPr id="135" name="TextBox 134">
              <a:extLst>
                <a:ext uri="{FF2B5EF4-FFF2-40B4-BE49-F238E27FC236}">
                  <a16:creationId xmlns:a16="http://schemas.microsoft.com/office/drawing/2014/main" id="{70692E10-B7DC-40B5-B54C-AB77D15D7ACD}"/>
                </a:ext>
              </a:extLst>
            </p:cNvPr>
            <p:cNvSpPr txBox="1"/>
            <p:nvPr/>
          </p:nvSpPr>
          <p:spPr>
            <a:xfrm>
              <a:off x="7346677" y="2655216"/>
              <a:ext cx="1321155" cy="132537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SGLT2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Beta block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ACEi/ARB/ARN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M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Diuret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C3B2D"/>
                  </a:solidFill>
                  <a:effectLst/>
                  <a:uLnTx/>
                  <a:uFillTx/>
                  <a:latin typeface="Arial"/>
                  <a:ea typeface="+mn-ea"/>
                  <a:cs typeface="+mn-cs"/>
                </a:rPr>
                <a:t>Vericigu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a:ea typeface="+mn-ea"/>
                  <a:cs typeface="+mn-cs"/>
                </a:rPr>
                <a:t>Hydralazine/</a:t>
              </a:r>
              <a:br>
                <a:rPr kumimoji="0" lang="en-US" sz="900" b="0" i="0" u="none" strike="noStrike" kern="1200" cap="none" spc="0" normalizeH="0" baseline="0" noProof="0" dirty="0">
                  <a:ln>
                    <a:noFill/>
                  </a:ln>
                  <a:solidFill>
                    <a:srgbClr val="FF0000"/>
                  </a:solidFill>
                  <a:effectLst/>
                  <a:uLnTx/>
                  <a:uFillTx/>
                  <a:latin typeface="Arial"/>
                  <a:ea typeface="+mn-ea"/>
                  <a:cs typeface="+mn-cs"/>
                </a:rPr>
              </a:br>
              <a:r>
                <a:rPr kumimoji="0" lang="en-US" sz="900" b="0" i="0" u="none" strike="noStrike" kern="1200" cap="none" spc="0" normalizeH="0" baseline="0" noProof="0" dirty="0">
                  <a:ln>
                    <a:noFill/>
                  </a:ln>
                  <a:solidFill>
                    <a:srgbClr val="FF0000"/>
                  </a:solidFill>
                  <a:effectLst/>
                  <a:uLnTx/>
                  <a:uFillTx/>
                  <a:latin typeface="Arial"/>
                  <a:ea typeface="+mn-ea"/>
                  <a:cs typeface="+mn-cs"/>
                </a:rPr>
                <a:t>isosorbide </a:t>
              </a:r>
              <a:br>
                <a:rPr kumimoji="0" lang="en-US" sz="900" b="0" i="0" u="none" strike="noStrike" kern="1200" cap="none" spc="0" normalizeH="0" baseline="0" noProof="0" dirty="0">
                  <a:ln>
                    <a:noFill/>
                  </a:ln>
                  <a:solidFill>
                    <a:srgbClr val="FF0000"/>
                  </a:solidFill>
                  <a:effectLst/>
                  <a:uLnTx/>
                  <a:uFillTx/>
                  <a:latin typeface="Arial"/>
                  <a:ea typeface="+mn-ea"/>
                  <a:cs typeface="+mn-cs"/>
                </a:rPr>
              </a:br>
              <a:r>
                <a:rPr kumimoji="0" lang="en-US" sz="900" b="0" i="0" u="none" strike="noStrike" kern="1200" cap="none" spc="0" normalizeH="0" baseline="0" noProof="0" dirty="0">
                  <a:ln>
                    <a:noFill/>
                  </a:ln>
                  <a:solidFill>
                    <a:srgbClr val="FF0000"/>
                  </a:solidFill>
                  <a:effectLst/>
                  <a:uLnTx/>
                  <a:uFillTx/>
                  <a:latin typeface="Arial"/>
                  <a:ea typeface="+mn-ea"/>
                  <a:cs typeface="+mn-cs"/>
                </a:rPr>
                <a:t>dinitrate</a:t>
              </a:r>
            </a:p>
          </p:txBody>
        </p:sp>
        <p:sp>
          <p:nvSpPr>
            <p:cNvPr id="137" name="TextBox 136">
              <a:extLst>
                <a:ext uri="{FF2B5EF4-FFF2-40B4-BE49-F238E27FC236}">
                  <a16:creationId xmlns:a16="http://schemas.microsoft.com/office/drawing/2014/main" id="{0CD6ED78-6721-47DF-AC8D-2749BB2434D8}"/>
                </a:ext>
              </a:extLst>
            </p:cNvPr>
            <p:cNvSpPr txBox="1"/>
            <p:nvPr/>
          </p:nvSpPr>
          <p:spPr>
            <a:xfrm>
              <a:off x="5190515" y="2673374"/>
              <a:ext cx="1300483" cy="132537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SGLT2i</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Beta blocker</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Diuretics</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1" i="0" u="none" strike="noStrike" kern="1200" cap="none" spc="0" normalizeH="0" baseline="0" noProof="0" dirty="0">
                  <a:ln>
                    <a:noFill/>
                  </a:ln>
                  <a:solidFill>
                    <a:srgbClr val="FC3B2D"/>
                  </a:solidFill>
                  <a:effectLst/>
                  <a:uLnTx/>
                  <a:uFillTx/>
                  <a:latin typeface="Arial"/>
                  <a:ea typeface="+mn-ea"/>
                  <a:cs typeface="+mn-cs"/>
                </a:rPr>
                <a:t>Vericiguat</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a:ea typeface="+mn-ea"/>
                  <a:cs typeface="+mn-cs"/>
                </a:rPr>
                <a:t>Hydralazine/</a:t>
              </a:r>
              <a:br>
                <a:rPr kumimoji="0" lang="en-US" sz="900" b="0" i="0" u="none" strike="noStrike" kern="1200" cap="none" spc="0" normalizeH="0" baseline="0" noProof="0" dirty="0">
                  <a:ln>
                    <a:noFill/>
                  </a:ln>
                  <a:solidFill>
                    <a:srgbClr val="FF0000"/>
                  </a:solidFill>
                  <a:effectLst/>
                  <a:uLnTx/>
                  <a:uFillTx/>
                  <a:latin typeface="Arial"/>
                  <a:ea typeface="+mn-ea"/>
                  <a:cs typeface="+mn-cs"/>
                </a:rPr>
              </a:br>
              <a:r>
                <a:rPr kumimoji="0" lang="en-US" sz="900" b="0" i="0" u="none" strike="noStrike" kern="1200" cap="none" spc="0" normalizeH="0" baseline="0" noProof="0" dirty="0">
                  <a:ln>
                    <a:noFill/>
                  </a:ln>
                  <a:solidFill>
                    <a:srgbClr val="FF0000"/>
                  </a:solidFill>
                  <a:effectLst/>
                  <a:uLnTx/>
                  <a:uFillTx/>
                  <a:latin typeface="Arial"/>
                  <a:ea typeface="+mn-ea"/>
                  <a:cs typeface="+mn-cs"/>
                </a:rPr>
                <a:t>isosorbide dinitrate</a:t>
              </a:r>
            </a:p>
          </p:txBody>
        </p:sp>
      </p:grpSp>
      <p:grpSp>
        <p:nvGrpSpPr>
          <p:cNvPr id="9" name="Group 8">
            <a:extLst>
              <a:ext uri="{FF2B5EF4-FFF2-40B4-BE49-F238E27FC236}">
                <a16:creationId xmlns:a16="http://schemas.microsoft.com/office/drawing/2014/main" id="{34781A8C-ACBD-407E-A269-70DEC9C6C353}"/>
              </a:ext>
            </a:extLst>
          </p:cNvPr>
          <p:cNvGrpSpPr/>
          <p:nvPr/>
        </p:nvGrpSpPr>
        <p:grpSpPr>
          <a:xfrm>
            <a:off x="4584293" y="2075878"/>
            <a:ext cx="2530444" cy="2800082"/>
            <a:chOff x="2393986" y="2075878"/>
            <a:chExt cx="2530444" cy="2800082"/>
          </a:xfrm>
        </p:grpSpPr>
        <p:grpSp>
          <p:nvGrpSpPr>
            <p:cNvPr id="3" name="Group 2">
              <a:extLst>
                <a:ext uri="{FF2B5EF4-FFF2-40B4-BE49-F238E27FC236}">
                  <a16:creationId xmlns:a16="http://schemas.microsoft.com/office/drawing/2014/main" id="{690B8DF9-B8A5-4F2B-AEFB-932B4B682FD3}"/>
                </a:ext>
              </a:extLst>
            </p:cNvPr>
            <p:cNvGrpSpPr/>
            <p:nvPr/>
          </p:nvGrpSpPr>
          <p:grpSpPr>
            <a:xfrm>
              <a:off x="2393986" y="2075878"/>
              <a:ext cx="2530444" cy="2800082"/>
              <a:chOff x="2393986" y="2075878"/>
              <a:chExt cx="2530444" cy="2800082"/>
            </a:xfrm>
          </p:grpSpPr>
          <p:pic>
            <p:nvPicPr>
              <p:cNvPr id="94" name="Graphic 93" descr="User with solid fill">
                <a:extLst>
                  <a:ext uri="{FF2B5EF4-FFF2-40B4-BE49-F238E27FC236}">
                    <a16:creationId xmlns:a16="http://schemas.microsoft.com/office/drawing/2014/main" id="{DAE989F4-B931-4672-936A-4C29AA16C5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36472" y="2639995"/>
                <a:ext cx="1603373" cy="1603373"/>
              </a:xfrm>
              <a:prstGeom prst="rect">
                <a:avLst/>
              </a:prstGeom>
            </p:spPr>
          </p:pic>
          <p:grpSp>
            <p:nvGrpSpPr>
              <p:cNvPr id="196" name="Group 195">
                <a:extLst>
                  <a:ext uri="{FF2B5EF4-FFF2-40B4-BE49-F238E27FC236}">
                    <a16:creationId xmlns:a16="http://schemas.microsoft.com/office/drawing/2014/main" id="{3C365CE2-038D-4EEC-9D19-E7FFF1901962}"/>
                  </a:ext>
                </a:extLst>
              </p:cNvPr>
              <p:cNvGrpSpPr/>
              <p:nvPr/>
            </p:nvGrpSpPr>
            <p:grpSpPr>
              <a:xfrm>
                <a:off x="2393986" y="2075878"/>
                <a:ext cx="2530444" cy="2800082"/>
                <a:chOff x="2579996" y="2246440"/>
                <a:chExt cx="2302532" cy="2547884"/>
              </a:xfrm>
            </p:grpSpPr>
            <p:sp>
              <p:nvSpPr>
                <p:cNvPr id="200" name="TextBox 199">
                  <a:extLst>
                    <a:ext uri="{FF2B5EF4-FFF2-40B4-BE49-F238E27FC236}">
                      <a16:creationId xmlns:a16="http://schemas.microsoft.com/office/drawing/2014/main" id="{025219DD-0362-43B3-9408-958A49EA4ADA}"/>
                    </a:ext>
                  </a:extLst>
                </p:cNvPr>
                <p:cNvSpPr txBox="1"/>
                <p:nvPr/>
              </p:nvSpPr>
              <p:spPr>
                <a:xfrm>
                  <a:off x="2883838" y="4486263"/>
                  <a:ext cx="1705872" cy="3080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K</a:t>
                  </a:r>
                  <a:r>
                    <a:rPr kumimoji="0" lang="en-US" sz="1600" b="1" i="0" u="none" strike="noStrike" kern="1200" cap="none" spc="0" normalizeH="0" baseline="30000" noProof="0" dirty="0">
                      <a:ln>
                        <a:noFill/>
                      </a:ln>
                      <a:solidFill>
                        <a:srgbClr val="000000"/>
                      </a:solidFill>
                      <a:effectLst/>
                      <a:uLnTx/>
                      <a:uFillTx/>
                      <a:latin typeface="Arial"/>
                      <a:ea typeface="+mn-ea"/>
                      <a:cs typeface="+mn-cs"/>
                    </a:rPr>
                    <a:t>+</a:t>
                  </a:r>
                  <a:r>
                    <a:rPr kumimoji="0" lang="en-US" sz="1600" b="1" i="0" u="none" strike="noStrike" kern="1200" cap="none" spc="0" normalizeH="0" baseline="0" noProof="0" dirty="0">
                      <a:ln>
                        <a:noFill/>
                      </a:ln>
                      <a:solidFill>
                        <a:srgbClr val="000000"/>
                      </a:solidFill>
                      <a:effectLst/>
                      <a:uLnTx/>
                      <a:uFillTx/>
                      <a:latin typeface="Arial"/>
                      <a:ea typeface="+mn-ea"/>
                      <a:cs typeface="+mn-cs"/>
                    </a:rPr>
                    <a:t> &gt;5.5 mEq/l</a:t>
                  </a:r>
                </a:p>
              </p:txBody>
            </p:sp>
            <p:sp>
              <p:nvSpPr>
                <p:cNvPr id="201" name="Freeform: Shape 32">
                  <a:extLst>
                    <a:ext uri="{FF2B5EF4-FFF2-40B4-BE49-F238E27FC236}">
                      <a16:creationId xmlns:a16="http://schemas.microsoft.com/office/drawing/2014/main" id="{028E3CA8-903A-4985-B7E1-954ABD0390ED}"/>
                    </a:ext>
                  </a:extLst>
                </p:cNvPr>
                <p:cNvSpPr/>
                <p:nvPr/>
              </p:nvSpPr>
              <p:spPr>
                <a:xfrm rot="18192103">
                  <a:off x="3872469" y="2253597"/>
                  <a:ext cx="658793" cy="1361325"/>
                </a:xfrm>
                <a:custGeom>
                  <a:avLst/>
                  <a:gdLst>
                    <a:gd name="connsiteX0" fmla="*/ 520829 w 658793"/>
                    <a:gd name="connsiteY0" fmla="*/ 31931 h 1361325"/>
                    <a:gd name="connsiteX1" fmla="*/ 187835 w 658793"/>
                    <a:gd name="connsiteY1" fmla="*/ 1361325 h 1361325"/>
                    <a:gd name="connsiteX2" fmla="*/ 0 w 658793"/>
                    <a:gd name="connsiteY2" fmla="*/ 1048046 h 1361325"/>
                    <a:gd name="connsiteX3" fmla="*/ 207496 w 658793"/>
                    <a:gd name="connsiteY3" fmla="*/ 219674 h 1361325"/>
                    <a:gd name="connsiteX4" fmla="*/ 193163 w 658793"/>
                    <a:gd name="connsiteY4" fmla="*/ 200434 h 1361325"/>
                    <a:gd name="connsiteX5" fmla="*/ 499438 w 658793"/>
                    <a:gd name="connsiteY5" fmla="*/ 0 h 1361325"/>
                    <a:gd name="connsiteX6" fmla="*/ 520829 w 658793"/>
                    <a:gd name="connsiteY6" fmla="*/ 31931 h 136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793" h="1361325">
                      <a:moveTo>
                        <a:pt x="520829" y="31931"/>
                      </a:moveTo>
                      <a:cubicBezTo>
                        <a:pt x="795893" y="490999"/>
                        <a:pt x="646823" y="1086126"/>
                        <a:pt x="187835" y="1361325"/>
                      </a:cubicBezTo>
                      <a:lnTo>
                        <a:pt x="0" y="1048046"/>
                      </a:lnTo>
                      <a:cubicBezTo>
                        <a:pt x="286005" y="876564"/>
                        <a:pt x="378893" y="505729"/>
                        <a:pt x="207496" y="219674"/>
                      </a:cubicBezTo>
                      <a:lnTo>
                        <a:pt x="193163" y="200434"/>
                      </a:lnTo>
                      <a:lnTo>
                        <a:pt x="499438" y="0"/>
                      </a:lnTo>
                      <a:lnTo>
                        <a:pt x="520829" y="3193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Shape 33">
                  <a:extLst>
                    <a:ext uri="{FF2B5EF4-FFF2-40B4-BE49-F238E27FC236}">
                      <a16:creationId xmlns:a16="http://schemas.microsoft.com/office/drawing/2014/main" id="{0D41C84B-5748-4455-B0DA-420BD3700F6E}"/>
                    </a:ext>
                  </a:extLst>
                </p:cNvPr>
                <p:cNvSpPr/>
                <p:nvPr/>
              </p:nvSpPr>
              <p:spPr>
                <a:xfrm rot="18192103">
                  <a:off x="2596486" y="2591464"/>
                  <a:ext cx="1326862" cy="636813"/>
                </a:xfrm>
                <a:custGeom>
                  <a:avLst/>
                  <a:gdLst>
                    <a:gd name="connsiteX0" fmla="*/ 1326862 w 1326862"/>
                    <a:gd name="connsiteY0" fmla="*/ 436281 h 636813"/>
                    <a:gd name="connsiteX1" fmla="*/ 1020436 w 1326862"/>
                    <a:gd name="connsiteY1" fmla="*/ 636813 h 636813"/>
                    <a:gd name="connsiteX2" fmla="*/ 963857 w 1326862"/>
                    <a:gd name="connsiteY2" fmla="*/ 560864 h 636813"/>
                    <a:gd name="connsiteX3" fmla="*/ 208613 w 1326862"/>
                    <a:gd name="connsiteY3" fmla="*/ 451208 h 636813"/>
                    <a:gd name="connsiteX4" fmla="*/ 200069 w 1326862"/>
                    <a:gd name="connsiteY4" fmla="*/ 457569 h 636813"/>
                    <a:gd name="connsiteX5" fmla="*/ 0 w 1326862"/>
                    <a:gd name="connsiteY5" fmla="*/ 151851 h 636813"/>
                    <a:gd name="connsiteX6" fmla="*/ 20961 w 1326862"/>
                    <a:gd name="connsiteY6" fmla="*/ 137818 h 636813"/>
                    <a:gd name="connsiteX7" fmla="*/ 1295044 w 1326862"/>
                    <a:gd name="connsiteY7" fmla="*/ 388786 h 636813"/>
                    <a:gd name="connsiteX8" fmla="*/ 1326862 w 1326862"/>
                    <a:gd name="connsiteY8" fmla="*/ 436281 h 6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862" h="636813">
                      <a:moveTo>
                        <a:pt x="1326862" y="436281"/>
                      </a:moveTo>
                      <a:lnTo>
                        <a:pt x="1020436" y="636813"/>
                      </a:lnTo>
                      <a:lnTo>
                        <a:pt x="963857" y="560864"/>
                      </a:lnTo>
                      <a:cubicBezTo>
                        <a:pt x="774148" y="353772"/>
                        <a:pt x="458955" y="301308"/>
                        <a:pt x="208613" y="451208"/>
                      </a:cubicBezTo>
                      <a:lnTo>
                        <a:pt x="200069" y="457569"/>
                      </a:lnTo>
                      <a:lnTo>
                        <a:pt x="0" y="151851"/>
                      </a:lnTo>
                      <a:lnTo>
                        <a:pt x="20961" y="137818"/>
                      </a:lnTo>
                      <a:cubicBezTo>
                        <a:pt x="451414" y="-119928"/>
                        <a:pt x="1001339" y="-4864"/>
                        <a:pt x="1295044" y="388786"/>
                      </a:cubicBezTo>
                      <a:lnTo>
                        <a:pt x="1326862" y="436281"/>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Shape 39">
                  <a:extLst>
                    <a:ext uri="{FF2B5EF4-FFF2-40B4-BE49-F238E27FC236}">
                      <a16:creationId xmlns:a16="http://schemas.microsoft.com/office/drawing/2014/main" id="{37BEAFC5-5AE9-426E-920F-D9BAD56BDD23}"/>
                    </a:ext>
                  </a:extLst>
                </p:cNvPr>
                <p:cNvSpPr/>
                <p:nvPr/>
              </p:nvSpPr>
              <p:spPr>
                <a:xfrm rot="18192103">
                  <a:off x="2927459" y="3177166"/>
                  <a:ext cx="647662" cy="1342587"/>
                </a:xfrm>
                <a:custGeom>
                  <a:avLst/>
                  <a:gdLst>
                    <a:gd name="connsiteX0" fmla="*/ 447494 w 647662"/>
                    <a:gd name="connsiteY0" fmla="*/ 0 h 1342587"/>
                    <a:gd name="connsiteX1" fmla="*/ 647662 w 647662"/>
                    <a:gd name="connsiteY1" fmla="*/ 305869 h 1342587"/>
                    <a:gd name="connsiteX2" fmla="*/ 560996 w 647662"/>
                    <a:gd name="connsiteY2" fmla="*/ 370391 h 1342587"/>
                    <a:gd name="connsiteX3" fmla="*/ 451118 w 647662"/>
                    <a:gd name="connsiteY3" fmla="*/ 1125603 h 1342587"/>
                    <a:gd name="connsiteX4" fmla="*/ 463498 w 647662"/>
                    <a:gd name="connsiteY4" fmla="*/ 1142242 h 1342587"/>
                    <a:gd name="connsiteX5" fmla="*/ 157360 w 647662"/>
                    <a:gd name="connsiteY5" fmla="*/ 1342587 h 1342587"/>
                    <a:gd name="connsiteX6" fmla="*/ 137672 w 647662"/>
                    <a:gd name="connsiteY6" fmla="*/ 1313162 h 1342587"/>
                    <a:gd name="connsiteX7" fmla="*/ 389015 w 647662"/>
                    <a:gd name="connsiteY7" fmla="*/ 39153 h 1342587"/>
                    <a:gd name="connsiteX8" fmla="*/ 447494 w 647662"/>
                    <a:gd name="connsiteY8" fmla="*/ 0 h 134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62" h="1342587">
                      <a:moveTo>
                        <a:pt x="447494" y="0"/>
                      </a:moveTo>
                      <a:lnTo>
                        <a:pt x="647662" y="305869"/>
                      </a:lnTo>
                      <a:lnTo>
                        <a:pt x="560996" y="370391"/>
                      </a:lnTo>
                      <a:cubicBezTo>
                        <a:pt x="353848" y="560041"/>
                        <a:pt x="301291" y="875217"/>
                        <a:pt x="451118" y="1125603"/>
                      </a:cubicBezTo>
                      <a:lnTo>
                        <a:pt x="463498" y="1142242"/>
                      </a:lnTo>
                      <a:lnTo>
                        <a:pt x="157360" y="1342587"/>
                      </a:lnTo>
                      <a:lnTo>
                        <a:pt x="137672" y="1313162"/>
                      </a:lnTo>
                      <a:cubicBezTo>
                        <a:pt x="-119948" y="882634"/>
                        <a:pt x="-4723" y="332742"/>
                        <a:pt x="389015" y="39153"/>
                      </a:cubicBezTo>
                      <a:lnTo>
                        <a:pt x="447494" y="0"/>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 name="Freeform: Shape 40">
                  <a:extLst>
                    <a:ext uri="{FF2B5EF4-FFF2-40B4-BE49-F238E27FC236}">
                      <a16:creationId xmlns:a16="http://schemas.microsoft.com/office/drawing/2014/main" id="{8FF3AE78-C11D-4B3C-95A9-FDA0E60CF25C}"/>
                    </a:ext>
                  </a:extLst>
                </p:cNvPr>
                <p:cNvSpPr/>
                <p:nvPr/>
              </p:nvSpPr>
              <p:spPr>
                <a:xfrm rot="18192103">
                  <a:off x="4229856" y="3363940"/>
                  <a:ext cx="504035" cy="450197"/>
                </a:xfrm>
                <a:custGeom>
                  <a:avLst/>
                  <a:gdLst>
                    <a:gd name="connsiteX0" fmla="*/ 316569 w 504035"/>
                    <a:gd name="connsiteY0" fmla="*/ 0 h 450197"/>
                    <a:gd name="connsiteX1" fmla="*/ 504035 w 504035"/>
                    <a:gd name="connsiteY1" fmla="*/ 313499 h 450197"/>
                    <a:gd name="connsiteX2" fmla="*/ 47593 w 504035"/>
                    <a:gd name="connsiteY2" fmla="*/ 450197 h 450197"/>
                    <a:gd name="connsiteX3" fmla="*/ 1 w 504035"/>
                    <a:gd name="connsiteY3" fmla="*/ 449869 h 450197"/>
                    <a:gd name="connsiteX4" fmla="*/ 0 w 504035"/>
                    <a:gd name="connsiteY4" fmla="*/ 83688 h 450197"/>
                    <a:gd name="connsiteX5" fmla="*/ 90501 w 504035"/>
                    <a:gd name="connsiteY5" fmla="*/ 79908 h 450197"/>
                    <a:gd name="connsiteX6" fmla="*/ 316569 w 504035"/>
                    <a:gd name="connsiteY6" fmla="*/ 0 h 45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35" h="450197">
                      <a:moveTo>
                        <a:pt x="316569" y="0"/>
                      </a:moveTo>
                      <a:lnTo>
                        <a:pt x="504035" y="313499"/>
                      </a:lnTo>
                      <a:cubicBezTo>
                        <a:pt x="360501" y="399330"/>
                        <a:pt x="203716" y="443730"/>
                        <a:pt x="47593" y="450197"/>
                      </a:cubicBezTo>
                      <a:lnTo>
                        <a:pt x="1" y="449869"/>
                      </a:lnTo>
                      <a:lnTo>
                        <a:pt x="0" y="83688"/>
                      </a:lnTo>
                      <a:lnTo>
                        <a:pt x="90501" y="79908"/>
                      </a:lnTo>
                      <a:cubicBezTo>
                        <a:pt x="168182" y="69051"/>
                        <a:pt x="245018" y="42787"/>
                        <a:pt x="316569" y="0"/>
                      </a:cubicBez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 name="Freeform: Shape 41">
                  <a:extLst>
                    <a:ext uri="{FF2B5EF4-FFF2-40B4-BE49-F238E27FC236}">
                      <a16:creationId xmlns:a16="http://schemas.microsoft.com/office/drawing/2014/main" id="{6878DD7E-C8DC-4697-BB0C-49D17FEDE0A8}"/>
                    </a:ext>
                  </a:extLst>
                </p:cNvPr>
                <p:cNvSpPr/>
                <p:nvPr/>
              </p:nvSpPr>
              <p:spPr>
                <a:xfrm rot="18192103">
                  <a:off x="3643948" y="3766503"/>
                  <a:ext cx="799776" cy="638536"/>
                </a:xfrm>
                <a:custGeom>
                  <a:avLst/>
                  <a:gdLst>
                    <a:gd name="connsiteX0" fmla="*/ 799776 w 799776"/>
                    <a:gd name="connsiteY0" fmla="*/ 272530 h 638536"/>
                    <a:gd name="connsiteX1" fmla="*/ 799775 w 799776"/>
                    <a:gd name="connsiteY1" fmla="*/ 638536 h 638536"/>
                    <a:gd name="connsiteX2" fmla="*/ 757485 w 799776"/>
                    <a:gd name="connsiteY2" fmla="*/ 638245 h 638536"/>
                    <a:gd name="connsiteX3" fmla="*/ 33475 w 799776"/>
                    <a:gd name="connsiteY3" fmla="*/ 250475 h 638536"/>
                    <a:gd name="connsiteX4" fmla="*/ 0 w 799776"/>
                    <a:gd name="connsiteY4" fmla="*/ 200443 h 638536"/>
                    <a:gd name="connsiteX5" fmla="*/ 306289 w 799776"/>
                    <a:gd name="connsiteY5" fmla="*/ 0 h 638536"/>
                    <a:gd name="connsiteX6" fmla="*/ 364764 w 799776"/>
                    <a:gd name="connsiteY6" fmla="*/ 78592 h 638536"/>
                    <a:gd name="connsiteX7" fmla="*/ 777275 w 799776"/>
                    <a:gd name="connsiteY7" fmla="*/ 273470 h 638536"/>
                    <a:gd name="connsiteX8" fmla="*/ 799776 w 799776"/>
                    <a:gd name="connsiteY8" fmla="*/ 272530 h 6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9776" h="638536">
                      <a:moveTo>
                        <a:pt x="799776" y="272530"/>
                      </a:moveTo>
                      <a:lnTo>
                        <a:pt x="799775" y="638536"/>
                      </a:lnTo>
                      <a:lnTo>
                        <a:pt x="757485" y="638245"/>
                      </a:lnTo>
                      <a:cubicBezTo>
                        <a:pt x="477942" y="622825"/>
                        <a:pt x="209559" y="486769"/>
                        <a:pt x="33475" y="250475"/>
                      </a:cubicBezTo>
                      <a:lnTo>
                        <a:pt x="0" y="200443"/>
                      </a:lnTo>
                      <a:lnTo>
                        <a:pt x="306289" y="0"/>
                      </a:lnTo>
                      <a:lnTo>
                        <a:pt x="364764" y="78592"/>
                      </a:lnTo>
                      <a:cubicBezTo>
                        <a:pt x="473101" y="196994"/>
                        <a:pt x="622440" y="264929"/>
                        <a:pt x="777275" y="273470"/>
                      </a:cubicBezTo>
                      <a:lnTo>
                        <a:pt x="799776" y="27253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120" name="TextBox 119">
              <a:extLst>
                <a:ext uri="{FF2B5EF4-FFF2-40B4-BE49-F238E27FC236}">
                  <a16:creationId xmlns:a16="http://schemas.microsoft.com/office/drawing/2014/main" id="{7D8D1413-8792-47DC-B9FD-E30B1124F03C}"/>
                </a:ext>
              </a:extLst>
            </p:cNvPr>
            <p:cNvSpPr txBox="1"/>
            <p:nvPr/>
          </p:nvSpPr>
          <p:spPr>
            <a:xfrm rot="13951355">
              <a:off x="2620237" y="2588804"/>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K</a:t>
              </a:r>
              <a:r>
                <a:rPr kumimoji="0" lang="en-US" sz="1050" b="0" i="0" u="none" strike="noStrike" kern="1200" cap="none" spc="0" normalizeH="0" baseline="30000" noProof="0" dirty="0">
                  <a:ln>
                    <a:noFill/>
                  </a:ln>
                  <a:solidFill>
                    <a:srgbClr val="FFFFFF"/>
                  </a:solidFill>
                  <a:effectLst/>
                  <a:uLnTx/>
                  <a:uFillTx/>
                  <a:latin typeface="Arial"/>
                  <a:ea typeface="+mn-ea"/>
                  <a:cs typeface="+mn-cs"/>
                </a:rPr>
                <a:t>+ </a:t>
              </a:r>
              <a:r>
                <a:rPr kumimoji="0" lang="en-US" sz="1050" b="0" i="0" u="none" strike="noStrike" kern="1200" cap="none" spc="0" normalizeH="0" baseline="0" noProof="0" dirty="0">
                  <a:ln>
                    <a:noFill/>
                  </a:ln>
                  <a:solidFill>
                    <a:srgbClr val="FFFFFF"/>
                  </a:solidFill>
                  <a:effectLst/>
                  <a:uLnTx/>
                  <a:uFillTx/>
                  <a:latin typeface="Arial"/>
                  <a:ea typeface="+mn-ea"/>
                  <a:cs typeface="+mn-cs"/>
                </a:rPr>
                <a:t>&gt;5.5 mEq/l</a:t>
              </a:r>
            </a:p>
          </p:txBody>
        </p:sp>
        <p:sp>
          <p:nvSpPr>
            <p:cNvPr id="123" name="TextBox 122">
              <a:extLst>
                <a:ext uri="{FF2B5EF4-FFF2-40B4-BE49-F238E27FC236}">
                  <a16:creationId xmlns:a16="http://schemas.microsoft.com/office/drawing/2014/main" id="{8158A89B-0539-4930-AC35-5A7A7AF1E332}"/>
                </a:ext>
              </a:extLst>
            </p:cNvPr>
            <p:cNvSpPr txBox="1"/>
            <p:nvPr/>
          </p:nvSpPr>
          <p:spPr>
            <a:xfrm rot="8948751">
              <a:off x="2619854" y="2590777"/>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No AF</a:t>
              </a:r>
            </a:p>
          </p:txBody>
        </p:sp>
        <p:sp>
          <p:nvSpPr>
            <p:cNvPr id="124" name="TextBox 123">
              <a:extLst>
                <a:ext uri="{FF2B5EF4-FFF2-40B4-BE49-F238E27FC236}">
                  <a16:creationId xmlns:a16="http://schemas.microsoft.com/office/drawing/2014/main" id="{70369622-D6EF-4CC5-993D-033C9EC2D6E0}"/>
                </a:ext>
              </a:extLst>
            </p:cNvPr>
            <p:cNvSpPr txBox="1"/>
            <p:nvPr/>
          </p:nvSpPr>
          <p:spPr>
            <a:xfrm rot="3600000">
              <a:off x="2627939" y="2522982"/>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BP &gt;90/60 mmHg</a:t>
              </a:r>
            </a:p>
          </p:txBody>
        </p:sp>
        <p:sp>
          <p:nvSpPr>
            <p:cNvPr id="125" name="TextBox 124">
              <a:extLst>
                <a:ext uri="{FF2B5EF4-FFF2-40B4-BE49-F238E27FC236}">
                  <a16:creationId xmlns:a16="http://schemas.microsoft.com/office/drawing/2014/main" id="{1528C7E1-26CD-46F4-9B15-2D7EB36F4B05}"/>
                </a:ext>
              </a:extLst>
            </p:cNvPr>
            <p:cNvSpPr txBox="1"/>
            <p:nvPr/>
          </p:nvSpPr>
          <p:spPr>
            <a:xfrm rot="18791207">
              <a:off x="2598404" y="2487398"/>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HR 60–70 bpm</a:t>
              </a:r>
            </a:p>
          </p:txBody>
        </p:sp>
        <p:sp>
          <p:nvSpPr>
            <p:cNvPr id="138" name="TextBox 137">
              <a:extLst>
                <a:ext uri="{FF2B5EF4-FFF2-40B4-BE49-F238E27FC236}">
                  <a16:creationId xmlns:a16="http://schemas.microsoft.com/office/drawing/2014/main" id="{04BC7D02-76AA-4358-B082-D63BD1290CA9}"/>
                </a:ext>
              </a:extLst>
            </p:cNvPr>
            <p:cNvSpPr txBox="1"/>
            <p:nvPr/>
          </p:nvSpPr>
          <p:spPr>
            <a:xfrm>
              <a:off x="3003159" y="2669700"/>
              <a:ext cx="1334756" cy="131014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SGLT2i</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Beta blocker</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Diuretics</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704F8A"/>
                  </a:solidFill>
                  <a:effectLst/>
                  <a:uLnTx/>
                  <a:uFillTx/>
                  <a:latin typeface="Arial"/>
                  <a:ea typeface="+mn-ea"/>
                  <a:cs typeface="+mn-cs"/>
                </a:rPr>
                <a:t>ACEi/ARB/ARNi</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704F8A"/>
                  </a:solidFill>
                  <a:effectLst/>
                  <a:uLnTx/>
                  <a:uFillTx/>
                  <a:latin typeface="Arial"/>
                  <a:ea typeface="+mn-ea"/>
                  <a:cs typeface="+mn-cs"/>
                </a:rPr>
                <a:t>MRA</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Arial"/>
                  <a:ea typeface="+mn-ea"/>
                  <a:cs typeface="+mn-cs"/>
                </a:rPr>
                <a:t>Potassium binders </a:t>
              </a:r>
              <a:r>
                <a:rPr kumimoji="0" lang="en-US" sz="900" b="1" i="0" u="none" strike="noStrike" kern="1200" cap="none" spc="0" normalizeH="0" baseline="0" noProof="0" dirty="0">
                  <a:ln>
                    <a:noFill/>
                  </a:ln>
                  <a:solidFill>
                    <a:srgbClr val="FC3B2D"/>
                  </a:solidFill>
                  <a:effectLst/>
                  <a:uLnTx/>
                  <a:uFillTx/>
                  <a:latin typeface="Arial"/>
                  <a:ea typeface="+mn-ea"/>
                  <a:cs typeface="+mn-cs"/>
                </a:rPr>
                <a:t>Vericiguat</a:t>
              </a:r>
            </a:p>
          </p:txBody>
        </p:sp>
      </p:grpSp>
      <p:grpSp>
        <p:nvGrpSpPr>
          <p:cNvPr id="8" name="Group 7">
            <a:extLst>
              <a:ext uri="{FF2B5EF4-FFF2-40B4-BE49-F238E27FC236}">
                <a16:creationId xmlns:a16="http://schemas.microsoft.com/office/drawing/2014/main" id="{F722141A-567D-4DD6-AF52-531DE6377E7F}"/>
              </a:ext>
            </a:extLst>
          </p:cNvPr>
          <p:cNvGrpSpPr/>
          <p:nvPr/>
        </p:nvGrpSpPr>
        <p:grpSpPr>
          <a:xfrm>
            <a:off x="6761134" y="2075879"/>
            <a:ext cx="2573561" cy="2799418"/>
            <a:chOff x="222093" y="2075879"/>
            <a:chExt cx="2573561" cy="2799418"/>
          </a:xfrm>
        </p:grpSpPr>
        <p:grpSp>
          <p:nvGrpSpPr>
            <p:cNvPr id="2" name="Group 1">
              <a:extLst>
                <a:ext uri="{FF2B5EF4-FFF2-40B4-BE49-F238E27FC236}">
                  <a16:creationId xmlns:a16="http://schemas.microsoft.com/office/drawing/2014/main" id="{CD1ED1C6-00F0-495E-B8DE-8B1505D74D18}"/>
                </a:ext>
              </a:extLst>
            </p:cNvPr>
            <p:cNvGrpSpPr/>
            <p:nvPr/>
          </p:nvGrpSpPr>
          <p:grpSpPr>
            <a:xfrm>
              <a:off x="222093" y="2075879"/>
              <a:ext cx="2573561" cy="2799418"/>
              <a:chOff x="222093" y="2075879"/>
              <a:chExt cx="2573561" cy="2799418"/>
            </a:xfrm>
          </p:grpSpPr>
          <p:pic>
            <p:nvPicPr>
              <p:cNvPr id="92" name="Graphic 91" descr="User with solid fill">
                <a:extLst>
                  <a:ext uri="{FF2B5EF4-FFF2-40B4-BE49-F238E27FC236}">
                    <a16:creationId xmlns:a16="http://schemas.microsoft.com/office/drawing/2014/main" id="{EE7BCBA5-E147-4FE4-861D-63E983CB3A4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4233" y="2639332"/>
                <a:ext cx="1603373" cy="1603373"/>
              </a:xfrm>
              <a:prstGeom prst="rect">
                <a:avLst/>
              </a:prstGeom>
            </p:spPr>
          </p:pic>
          <p:grpSp>
            <p:nvGrpSpPr>
              <p:cNvPr id="130" name="Group 129">
                <a:extLst>
                  <a:ext uri="{FF2B5EF4-FFF2-40B4-BE49-F238E27FC236}">
                    <a16:creationId xmlns:a16="http://schemas.microsoft.com/office/drawing/2014/main" id="{E877B14B-C4DB-47F9-89B7-D3720BCFB32F}"/>
                  </a:ext>
                </a:extLst>
              </p:cNvPr>
              <p:cNvGrpSpPr/>
              <p:nvPr/>
            </p:nvGrpSpPr>
            <p:grpSpPr>
              <a:xfrm>
                <a:off x="222093" y="2075879"/>
                <a:ext cx="2573561" cy="2799418"/>
                <a:chOff x="323786" y="2246440"/>
                <a:chExt cx="2341765" cy="2547280"/>
              </a:xfrm>
            </p:grpSpPr>
            <p:sp>
              <p:nvSpPr>
                <p:cNvPr id="132" name="TextBox 131">
                  <a:extLst>
                    <a:ext uri="{FF2B5EF4-FFF2-40B4-BE49-F238E27FC236}">
                      <a16:creationId xmlns:a16="http://schemas.microsoft.com/office/drawing/2014/main" id="{7F16190E-AE33-4C71-83D0-CA5C7BEBFE8A}"/>
                    </a:ext>
                  </a:extLst>
                </p:cNvPr>
                <p:cNvSpPr txBox="1"/>
                <p:nvPr/>
              </p:nvSpPr>
              <p:spPr>
                <a:xfrm>
                  <a:off x="622116" y="4485659"/>
                  <a:ext cx="1705872" cy="3080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HR &lt;60 bpm</a:t>
                  </a:r>
                </a:p>
              </p:txBody>
            </p:sp>
            <p:sp>
              <p:nvSpPr>
                <p:cNvPr id="136" name="Freeform: Shape 21">
                  <a:extLst>
                    <a:ext uri="{FF2B5EF4-FFF2-40B4-BE49-F238E27FC236}">
                      <a16:creationId xmlns:a16="http://schemas.microsoft.com/office/drawing/2014/main" id="{E86F6151-6C2D-48BE-B6FD-FE2082709F9F}"/>
                    </a:ext>
                  </a:extLst>
                </p:cNvPr>
                <p:cNvSpPr/>
                <p:nvPr/>
              </p:nvSpPr>
              <p:spPr>
                <a:xfrm rot="18192103">
                  <a:off x="340276" y="2591464"/>
                  <a:ext cx="1326862" cy="636813"/>
                </a:xfrm>
                <a:custGeom>
                  <a:avLst/>
                  <a:gdLst>
                    <a:gd name="connsiteX0" fmla="*/ 1326862 w 1326862"/>
                    <a:gd name="connsiteY0" fmla="*/ 436281 h 636813"/>
                    <a:gd name="connsiteX1" fmla="*/ 1020436 w 1326862"/>
                    <a:gd name="connsiteY1" fmla="*/ 636813 h 636813"/>
                    <a:gd name="connsiteX2" fmla="*/ 963857 w 1326862"/>
                    <a:gd name="connsiteY2" fmla="*/ 560864 h 636813"/>
                    <a:gd name="connsiteX3" fmla="*/ 208613 w 1326862"/>
                    <a:gd name="connsiteY3" fmla="*/ 451208 h 636813"/>
                    <a:gd name="connsiteX4" fmla="*/ 200069 w 1326862"/>
                    <a:gd name="connsiteY4" fmla="*/ 457569 h 636813"/>
                    <a:gd name="connsiteX5" fmla="*/ 0 w 1326862"/>
                    <a:gd name="connsiteY5" fmla="*/ 151851 h 636813"/>
                    <a:gd name="connsiteX6" fmla="*/ 20961 w 1326862"/>
                    <a:gd name="connsiteY6" fmla="*/ 137818 h 636813"/>
                    <a:gd name="connsiteX7" fmla="*/ 1295044 w 1326862"/>
                    <a:gd name="connsiteY7" fmla="*/ 388786 h 636813"/>
                    <a:gd name="connsiteX8" fmla="*/ 1326862 w 1326862"/>
                    <a:gd name="connsiteY8" fmla="*/ 436281 h 6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862" h="636813">
                      <a:moveTo>
                        <a:pt x="1326862" y="436281"/>
                      </a:moveTo>
                      <a:lnTo>
                        <a:pt x="1020436" y="636813"/>
                      </a:lnTo>
                      <a:lnTo>
                        <a:pt x="963857" y="560864"/>
                      </a:lnTo>
                      <a:cubicBezTo>
                        <a:pt x="774148" y="353772"/>
                        <a:pt x="458955" y="301308"/>
                        <a:pt x="208613" y="451208"/>
                      </a:cubicBezTo>
                      <a:lnTo>
                        <a:pt x="200069" y="457569"/>
                      </a:lnTo>
                      <a:lnTo>
                        <a:pt x="0" y="151851"/>
                      </a:lnTo>
                      <a:lnTo>
                        <a:pt x="20961" y="137818"/>
                      </a:lnTo>
                      <a:cubicBezTo>
                        <a:pt x="451414" y="-119928"/>
                        <a:pt x="1001339" y="-4864"/>
                        <a:pt x="1295044" y="388786"/>
                      </a:cubicBezTo>
                      <a:lnTo>
                        <a:pt x="1326862" y="436281"/>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4" name="Freeform: Shape 23">
                  <a:extLst>
                    <a:ext uri="{FF2B5EF4-FFF2-40B4-BE49-F238E27FC236}">
                      <a16:creationId xmlns:a16="http://schemas.microsoft.com/office/drawing/2014/main" id="{73805490-2005-44A7-8E48-4765E6043EDA}"/>
                    </a:ext>
                  </a:extLst>
                </p:cNvPr>
                <p:cNvSpPr/>
                <p:nvPr/>
              </p:nvSpPr>
              <p:spPr>
                <a:xfrm rot="18192103">
                  <a:off x="671249" y="3177166"/>
                  <a:ext cx="647662" cy="1342587"/>
                </a:xfrm>
                <a:custGeom>
                  <a:avLst/>
                  <a:gdLst>
                    <a:gd name="connsiteX0" fmla="*/ 447494 w 647662"/>
                    <a:gd name="connsiteY0" fmla="*/ 0 h 1342587"/>
                    <a:gd name="connsiteX1" fmla="*/ 647662 w 647662"/>
                    <a:gd name="connsiteY1" fmla="*/ 305869 h 1342587"/>
                    <a:gd name="connsiteX2" fmla="*/ 560996 w 647662"/>
                    <a:gd name="connsiteY2" fmla="*/ 370391 h 1342587"/>
                    <a:gd name="connsiteX3" fmla="*/ 451118 w 647662"/>
                    <a:gd name="connsiteY3" fmla="*/ 1125603 h 1342587"/>
                    <a:gd name="connsiteX4" fmla="*/ 463498 w 647662"/>
                    <a:gd name="connsiteY4" fmla="*/ 1142242 h 1342587"/>
                    <a:gd name="connsiteX5" fmla="*/ 157360 w 647662"/>
                    <a:gd name="connsiteY5" fmla="*/ 1342587 h 1342587"/>
                    <a:gd name="connsiteX6" fmla="*/ 137672 w 647662"/>
                    <a:gd name="connsiteY6" fmla="*/ 1313162 h 1342587"/>
                    <a:gd name="connsiteX7" fmla="*/ 389015 w 647662"/>
                    <a:gd name="connsiteY7" fmla="*/ 39153 h 1342587"/>
                    <a:gd name="connsiteX8" fmla="*/ 447494 w 647662"/>
                    <a:gd name="connsiteY8" fmla="*/ 0 h 134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662" h="1342587">
                      <a:moveTo>
                        <a:pt x="447494" y="0"/>
                      </a:moveTo>
                      <a:lnTo>
                        <a:pt x="647662" y="305869"/>
                      </a:lnTo>
                      <a:lnTo>
                        <a:pt x="560996" y="370391"/>
                      </a:lnTo>
                      <a:cubicBezTo>
                        <a:pt x="353848" y="560041"/>
                        <a:pt x="301291" y="875217"/>
                        <a:pt x="451118" y="1125603"/>
                      </a:cubicBezTo>
                      <a:lnTo>
                        <a:pt x="463498" y="1142242"/>
                      </a:lnTo>
                      <a:lnTo>
                        <a:pt x="157360" y="1342587"/>
                      </a:lnTo>
                      <a:lnTo>
                        <a:pt x="137672" y="1313162"/>
                      </a:lnTo>
                      <a:cubicBezTo>
                        <a:pt x="-119948" y="882634"/>
                        <a:pt x="-4723" y="332742"/>
                        <a:pt x="389015" y="39153"/>
                      </a:cubicBezTo>
                      <a:lnTo>
                        <a:pt x="447494" y="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Freeform: Shape 75">
                  <a:extLst>
                    <a:ext uri="{FF2B5EF4-FFF2-40B4-BE49-F238E27FC236}">
                      <a16:creationId xmlns:a16="http://schemas.microsoft.com/office/drawing/2014/main" id="{19F626C7-7D24-472D-B72C-D82DC6E4781C}"/>
                    </a:ext>
                  </a:extLst>
                </p:cNvPr>
                <p:cNvSpPr/>
                <p:nvPr/>
              </p:nvSpPr>
              <p:spPr>
                <a:xfrm rot="18192103">
                  <a:off x="1428263" y="2355242"/>
                  <a:ext cx="975970" cy="1498607"/>
                </a:xfrm>
                <a:custGeom>
                  <a:avLst/>
                  <a:gdLst>
                    <a:gd name="connsiteX0" fmla="*/ 316569 w 975970"/>
                    <a:gd name="connsiteY0" fmla="*/ 1048410 h 1498607"/>
                    <a:gd name="connsiteX1" fmla="*/ 504035 w 975970"/>
                    <a:gd name="connsiteY1" fmla="*/ 1361909 h 1498607"/>
                    <a:gd name="connsiteX2" fmla="*/ 47593 w 975970"/>
                    <a:gd name="connsiteY2" fmla="*/ 1498607 h 1498607"/>
                    <a:gd name="connsiteX3" fmla="*/ 1 w 975970"/>
                    <a:gd name="connsiteY3" fmla="*/ 1498279 h 1498607"/>
                    <a:gd name="connsiteX4" fmla="*/ 0 w 975970"/>
                    <a:gd name="connsiteY4" fmla="*/ 1132098 h 1498607"/>
                    <a:gd name="connsiteX5" fmla="*/ 90501 w 975970"/>
                    <a:gd name="connsiteY5" fmla="*/ 1128318 h 1498607"/>
                    <a:gd name="connsiteX6" fmla="*/ 316569 w 975970"/>
                    <a:gd name="connsiteY6" fmla="*/ 1048410 h 1498607"/>
                    <a:gd name="connsiteX7" fmla="*/ 838006 w 975970"/>
                    <a:gd name="connsiteY7" fmla="*/ 31932 h 1498607"/>
                    <a:gd name="connsiteX8" fmla="*/ 505012 w 975970"/>
                    <a:gd name="connsiteY8" fmla="*/ 1361326 h 1498607"/>
                    <a:gd name="connsiteX9" fmla="*/ 317177 w 975970"/>
                    <a:gd name="connsiteY9" fmla="*/ 1048047 h 1498607"/>
                    <a:gd name="connsiteX10" fmla="*/ 524673 w 975970"/>
                    <a:gd name="connsiteY10" fmla="*/ 219674 h 1498607"/>
                    <a:gd name="connsiteX11" fmla="*/ 510340 w 975970"/>
                    <a:gd name="connsiteY11" fmla="*/ 200435 h 1498607"/>
                    <a:gd name="connsiteX12" fmla="*/ 816615 w 975970"/>
                    <a:gd name="connsiteY12" fmla="*/ 0 h 14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5970" h="1498607">
                      <a:moveTo>
                        <a:pt x="316569" y="1048410"/>
                      </a:moveTo>
                      <a:lnTo>
                        <a:pt x="504035" y="1361909"/>
                      </a:lnTo>
                      <a:cubicBezTo>
                        <a:pt x="360501" y="1447740"/>
                        <a:pt x="203716" y="1492140"/>
                        <a:pt x="47593" y="1498607"/>
                      </a:cubicBezTo>
                      <a:lnTo>
                        <a:pt x="1" y="1498279"/>
                      </a:lnTo>
                      <a:lnTo>
                        <a:pt x="0" y="1132098"/>
                      </a:lnTo>
                      <a:lnTo>
                        <a:pt x="90501" y="1128318"/>
                      </a:lnTo>
                      <a:cubicBezTo>
                        <a:pt x="168182" y="1117461"/>
                        <a:pt x="245018" y="1091197"/>
                        <a:pt x="316569" y="1048410"/>
                      </a:cubicBezTo>
                      <a:close/>
                      <a:moveTo>
                        <a:pt x="838006" y="31932"/>
                      </a:moveTo>
                      <a:cubicBezTo>
                        <a:pt x="1113070" y="491000"/>
                        <a:pt x="964000" y="1086127"/>
                        <a:pt x="505012" y="1361326"/>
                      </a:cubicBezTo>
                      <a:lnTo>
                        <a:pt x="317177" y="1048047"/>
                      </a:lnTo>
                      <a:cubicBezTo>
                        <a:pt x="603182" y="876565"/>
                        <a:pt x="696070" y="505730"/>
                        <a:pt x="524673" y="219674"/>
                      </a:cubicBezTo>
                      <a:lnTo>
                        <a:pt x="510340" y="200435"/>
                      </a:lnTo>
                      <a:lnTo>
                        <a:pt x="816615" y="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6" name="Freeform: Shape 26">
                  <a:extLst>
                    <a:ext uri="{FF2B5EF4-FFF2-40B4-BE49-F238E27FC236}">
                      <a16:creationId xmlns:a16="http://schemas.microsoft.com/office/drawing/2014/main" id="{1E8471BB-AAF0-4D23-9956-5804CBFDE591}"/>
                    </a:ext>
                  </a:extLst>
                </p:cNvPr>
                <p:cNvSpPr/>
                <p:nvPr/>
              </p:nvSpPr>
              <p:spPr>
                <a:xfrm rot="18192103">
                  <a:off x="1387738" y="3766503"/>
                  <a:ext cx="799776" cy="638536"/>
                </a:xfrm>
                <a:custGeom>
                  <a:avLst/>
                  <a:gdLst>
                    <a:gd name="connsiteX0" fmla="*/ 799776 w 799776"/>
                    <a:gd name="connsiteY0" fmla="*/ 272530 h 638536"/>
                    <a:gd name="connsiteX1" fmla="*/ 799775 w 799776"/>
                    <a:gd name="connsiteY1" fmla="*/ 638536 h 638536"/>
                    <a:gd name="connsiteX2" fmla="*/ 757485 w 799776"/>
                    <a:gd name="connsiteY2" fmla="*/ 638245 h 638536"/>
                    <a:gd name="connsiteX3" fmla="*/ 33475 w 799776"/>
                    <a:gd name="connsiteY3" fmla="*/ 250475 h 638536"/>
                    <a:gd name="connsiteX4" fmla="*/ 0 w 799776"/>
                    <a:gd name="connsiteY4" fmla="*/ 200443 h 638536"/>
                    <a:gd name="connsiteX5" fmla="*/ 306289 w 799776"/>
                    <a:gd name="connsiteY5" fmla="*/ 0 h 638536"/>
                    <a:gd name="connsiteX6" fmla="*/ 364764 w 799776"/>
                    <a:gd name="connsiteY6" fmla="*/ 78592 h 638536"/>
                    <a:gd name="connsiteX7" fmla="*/ 777275 w 799776"/>
                    <a:gd name="connsiteY7" fmla="*/ 273470 h 638536"/>
                    <a:gd name="connsiteX8" fmla="*/ 799776 w 799776"/>
                    <a:gd name="connsiteY8" fmla="*/ 272530 h 6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9776" h="638536">
                      <a:moveTo>
                        <a:pt x="799776" y="272530"/>
                      </a:moveTo>
                      <a:lnTo>
                        <a:pt x="799775" y="638536"/>
                      </a:lnTo>
                      <a:lnTo>
                        <a:pt x="757485" y="638245"/>
                      </a:lnTo>
                      <a:cubicBezTo>
                        <a:pt x="477942" y="622825"/>
                        <a:pt x="209559" y="486769"/>
                        <a:pt x="33475" y="250475"/>
                      </a:cubicBezTo>
                      <a:lnTo>
                        <a:pt x="0" y="200443"/>
                      </a:lnTo>
                      <a:lnTo>
                        <a:pt x="306289" y="0"/>
                      </a:lnTo>
                      <a:lnTo>
                        <a:pt x="364764" y="78592"/>
                      </a:lnTo>
                      <a:cubicBezTo>
                        <a:pt x="473101" y="196994"/>
                        <a:pt x="622440" y="264929"/>
                        <a:pt x="777275" y="273470"/>
                      </a:cubicBezTo>
                      <a:lnTo>
                        <a:pt x="799776" y="272530"/>
                      </a:lnTo>
                      <a:close/>
                    </a:path>
                  </a:pathLst>
                </a:custGeom>
                <a:solidFill>
                  <a:schemeClr val="tx2">
                    <a:lumMod val="20000"/>
                    <a:lumOff val="80000"/>
                  </a:schemeClr>
                </a:solid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126" name="TextBox 125">
              <a:extLst>
                <a:ext uri="{FF2B5EF4-FFF2-40B4-BE49-F238E27FC236}">
                  <a16:creationId xmlns:a16="http://schemas.microsoft.com/office/drawing/2014/main" id="{23B203D1-AB40-4DD8-96E3-5A0AFC5BFA2E}"/>
                </a:ext>
              </a:extLst>
            </p:cNvPr>
            <p:cNvSpPr txBox="1"/>
            <p:nvPr/>
          </p:nvSpPr>
          <p:spPr>
            <a:xfrm rot="8948751">
              <a:off x="481390" y="2579149"/>
              <a:ext cx="2078774" cy="157687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No AF</a:t>
              </a:r>
            </a:p>
          </p:txBody>
        </p:sp>
        <p:sp>
          <p:nvSpPr>
            <p:cNvPr id="127" name="TextBox 126">
              <a:extLst>
                <a:ext uri="{FF2B5EF4-FFF2-40B4-BE49-F238E27FC236}">
                  <a16:creationId xmlns:a16="http://schemas.microsoft.com/office/drawing/2014/main" id="{5A6E5041-E04D-4037-B73E-A891E3BF7241}"/>
                </a:ext>
              </a:extLst>
            </p:cNvPr>
            <p:cNvSpPr txBox="1"/>
            <p:nvPr/>
          </p:nvSpPr>
          <p:spPr>
            <a:xfrm rot="13951355">
              <a:off x="463357" y="2596770"/>
              <a:ext cx="2078774" cy="1576880"/>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No CKD/HK</a:t>
              </a:r>
            </a:p>
          </p:txBody>
        </p:sp>
        <p:sp>
          <p:nvSpPr>
            <p:cNvPr id="128" name="TextBox 127">
              <a:extLst>
                <a:ext uri="{FF2B5EF4-FFF2-40B4-BE49-F238E27FC236}">
                  <a16:creationId xmlns:a16="http://schemas.microsoft.com/office/drawing/2014/main" id="{C24019D1-24CA-4797-A0C4-AF111828B41A}"/>
                </a:ext>
              </a:extLst>
            </p:cNvPr>
            <p:cNvSpPr txBox="1"/>
            <p:nvPr/>
          </p:nvSpPr>
          <p:spPr>
            <a:xfrm rot="3646927">
              <a:off x="472944" y="2563349"/>
              <a:ext cx="2078774" cy="1576880"/>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4F8A"/>
                  </a:solidFill>
                  <a:effectLst/>
                  <a:uLnTx/>
                  <a:uFillTx/>
                  <a:latin typeface="Arial"/>
                  <a:ea typeface="+mn-ea"/>
                  <a:cs typeface="+mn-cs"/>
                </a:rPr>
                <a:t>BP &gt;90/60 mmHg</a:t>
              </a:r>
            </a:p>
          </p:txBody>
        </p:sp>
        <p:sp>
          <p:nvSpPr>
            <p:cNvPr id="133" name="TextBox 132">
              <a:extLst>
                <a:ext uri="{FF2B5EF4-FFF2-40B4-BE49-F238E27FC236}">
                  <a16:creationId xmlns:a16="http://schemas.microsoft.com/office/drawing/2014/main" id="{E02DB5A8-5721-4103-A0F1-46C088E4A9C2}"/>
                </a:ext>
              </a:extLst>
            </p:cNvPr>
            <p:cNvSpPr txBox="1"/>
            <p:nvPr/>
          </p:nvSpPr>
          <p:spPr>
            <a:xfrm rot="18791207">
              <a:off x="427566" y="2505711"/>
              <a:ext cx="2078774" cy="1576880"/>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HR &lt;60 bpm</a:t>
              </a:r>
            </a:p>
          </p:txBody>
        </p:sp>
        <p:sp>
          <p:nvSpPr>
            <p:cNvPr id="139" name="TextBox 138">
              <a:extLst>
                <a:ext uri="{FF2B5EF4-FFF2-40B4-BE49-F238E27FC236}">
                  <a16:creationId xmlns:a16="http://schemas.microsoft.com/office/drawing/2014/main" id="{D11C6C6D-14F6-4A39-8BA9-8A2056896B01}"/>
                </a:ext>
              </a:extLst>
            </p:cNvPr>
            <p:cNvSpPr txBox="1"/>
            <p:nvPr/>
          </p:nvSpPr>
          <p:spPr>
            <a:xfrm>
              <a:off x="852697" y="2665111"/>
              <a:ext cx="1308942" cy="1285810"/>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SGLT2i</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ACEi/ARB/ARNi</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MRA</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Arial"/>
                  <a:ea typeface="+mn-ea"/>
                  <a:cs typeface="+mn-cs"/>
                </a:rPr>
                <a:t>Diuretics</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0" i="0" u="none" strike="noStrike" kern="1200" cap="none" spc="0" normalizeH="0" baseline="0" noProof="0" dirty="0">
                  <a:ln>
                    <a:noFill/>
                  </a:ln>
                  <a:solidFill>
                    <a:srgbClr val="704F8A"/>
                  </a:solidFill>
                  <a:effectLst/>
                  <a:uLnTx/>
                  <a:uFillTx/>
                  <a:latin typeface="Arial"/>
                  <a:ea typeface="+mn-ea"/>
                  <a:cs typeface="+mn-cs"/>
                </a:rPr>
                <a:t>Beta blocker</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900" b="1" i="0" u="none" strike="noStrike" kern="1200" cap="none" spc="0" normalizeH="0" baseline="0" noProof="0" dirty="0">
                  <a:ln>
                    <a:noFill/>
                  </a:ln>
                  <a:solidFill>
                    <a:srgbClr val="FC3B2D"/>
                  </a:solidFill>
                  <a:effectLst/>
                  <a:uLnTx/>
                  <a:uFillTx/>
                  <a:latin typeface="Arial"/>
                  <a:ea typeface="+mn-ea"/>
                  <a:cs typeface="+mn-cs"/>
                </a:rPr>
                <a:t>Vericiguat</a:t>
              </a:r>
            </a:p>
          </p:txBody>
        </p:sp>
      </p:grpSp>
      <p:sp>
        <p:nvSpPr>
          <p:cNvPr id="20" name="Slide Number Placeholder 19">
            <a:extLst>
              <a:ext uri="{FF2B5EF4-FFF2-40B4-BE49-F238E27FC236}">
                <a16:creationId xmlns:a16="http://schemas.microsoft.com/office/drawing/2014/main" id="{70A73C40-071A-42E1-8432-7C050EAEDE0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1" name="Footer Placeholder 6">
            <a:extLst>
              <a:ext uri="{FF2B5EF4-FFF2-40B4-BE49-F238E27FC236}">
                <a16:creationId xmlns:a16="http://schemas.microsoft.com/office/drawing/2014/main" id="{AF01A96A-5B1C-47CD-BFA9-F2704DCE8A55}"/>
              </a:ext>
            </a:extLst>
          </p:cNvPr>
          <p:cNvSpPr txBox="1">
            <a:spLocks/>
          </p:cNvSpPr>
          <p:nvPr/>
        </p:nvSpPr>
        <p:spPr>
          <a:xfrm>
            <a:off x="600073" y="6038487"/>
            <a:ext cx="10032431" cy="365125"/>
          </a:xfrm>
          <a:prstGeom prst="rect">
            <a:avLst/>
          </a:prstGeom>
        </p:spPr>
        <p:txBody>
          <a:bodyPr vert="horz" lIns="91440" tIns="45720" rIns="91440" bIns="45720" rtlCol="0" anchor="b"/>
          <a:lstStyle>
            <a:defPPr>
              <a:defRPr lang="hu-HU"/>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Black text, drugs that should be given to patients; purple text, drugs that should be reduced or discontinued; red text, drugs that should be ad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Treatment with vericiguat is not recommended in patients with eGFR &lt;15 ml/min/1.73 m</a:t>
            </a:r>
            <a:r>
              <a:rPr kumimoji="0" lang="en-GB" sz="800" b="0" i="0" u="none" strike="noStrike" kern="1200" cap="none" spc="0" normalizeH="0" baseline="30000" noProof="0" dirty="0">
                <a:ln>
                  <a:noFill/>
                </a:ln>
                <a:solidFill>
                  <a:srgbClr val="000000"/>
                </a:solidFill>
                <a:effectLst/>
                <a:uLnTx/>
                <a:uFillTx/>
                <a:latin typeface="Arial" panose="020B0604020202020204"/>
                <a:ea typeface="+mn-ea"/>
                <a:cs typeface="+mn-cs"/>
              </a:rPr>
              <a:t>2</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at treatment initiation or on dialysis. Please refer to the </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mmary of Product Characteristics for further information.</a:t>
            </a:r>
            <a:r>
              <a:rPr kumimoji="0" lang="en-GB"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 </a:t>
            </a:r>
            <a:br>
              <a:rPr kumimoji="0" lang="en-GB" sz="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ACEi</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ngiotensin-converting enzyme inhibitor; AF, atrial fibrillation; ARB, angiotensin receptor blocker; ARNi, angiotensin receptor–</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neprilysin</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inhibitor; BP, blood pressure; CKD, chronic kidney disease; eGFR, estimated glomerular filtration rate; HFA, Heart Failure Association; HK, hyperkalemia; HR, heart rate; MRA, mineralocorticoid receptor antagonist; SGLT2i, sodium–glucose co‑transporter 2 inhibi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References: 1.</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Rosano</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GMC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mn-cs"/>
              </a:rPr>
              <a:t>Eur</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 J Heart Fail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23:872–881; </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2.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rmstrong PW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N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mn-cs"/>
              </a:rPr>
              <a:t>Engl</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 J Med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0;382:1883–1893;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3.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Bayer AG.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S PGothic" charset="0"/>
                <a:cs typeface="Arial" panose="020B0604020202020204" pitchFamily="34" charset="0"/>
              </a:rPr>
              <a:t>Verquvo</a:t>
            </a:r>
            <a:r>
              <a:rPr kumimoji="0" lang="en-US" sz="800" b="0" i="0" u="none" strike="noStrike" kern="1200" cap="none" spc="0" normalizeH="0" baseline="3000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 (vericiguat) SmPC. 2021. </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hlinkClick r:id="rId5">
                  <a:extLst>
                    <a:ext uri="{A12FA001-AC4F-418D-AE19-62706E023703}">
                      <ahyp:hlinkClr xmlns:ahyp="http://schemas.microsoft.com/office/drawing/2018/hyperlinkcolor" val="tx"/>
                    </a:ext>
                  </a:extLst>
                </a:hlinkClick>
              </a:rPr>
              <a:t>Link</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a:t>
            </a: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82" name="Table 81">
            <a:extLst>
              <a:ext uri="{FF2B5EF4-FFF2-40B4-BE49-F238E27FC236}">
                <a16:creationId xmlns:a16="http://schemas.microsoft.com/office/drawing/2014/main" id="{ED57BCCB-62C8-43C0-9520-EBF362CEA281}"/>
              </a:ext>
            </a:extLst>
          </p:cNvPr>
          <p:cNvGraphicFramePr>
            <a:graphicFrameLocks noGrp="1"/>
          </p:cNvGraphicFramePr>
          <p:nvPr/>
        </p:nvGraphicFramePr>
        <p:xfrm>
          <a:off x="600073" y="6386918"/>
          <a:ext cx="9925052" cy="396000"/>
        </p:xfrm>
        <a:graphic>
          <a:graphicData uri="http://schemas.openxmlformats.org/drawingml/2006/table">
            <a:tbl>
              <a:tblPr firstRow="1" firstCol="1" bandRow="1">
                <a:tableStyleId>{5C22544A-7EE6-4342-B048-85BDC9FD1C3A}</a:tableStyleId>
              </a:tblPr>
              <a:tblGrid>
                <a:gridCol w="4880770">
                  <a:extLst>
                    <a:ext uri="{9D8B030D-6E8A-4147-A177-3AD203B41FA5}">
                      <a16:colId xmlns:a16="http://schemas.microsoft.com/office/drawing/2014/main" val="98394083"/>
                    </a:ext>
                  </a:extLst>
                </a:gridCol>
                <a:gridCol w="5044282">
                  <a:extLst>
                    <a:ext uri="{9D8B030D-6E8A-4147-A177-3AD203B41FA5}">
                      <a16:colId xmlns:a16="http://schemas.microsoft.com/office/drawing/2014/main" val="1727449064"/>
                    </a:ext>
                  </a:extLst>
                </a:gridCol>
              </a:tblGrid>
              <a:tr h="264000">
                <a:tc>
                  <a:txBody>
                    <a:bodyPr/>
                    <a:lstStyle/>
                    <a:p>
                      <a:pPr>
                        <a:spcAft>
                          <a:spcPts val="0"/>
                        </a:spcAft>
                      </a:pPr>
                      <a:r>
                        <a:rPr lang="en-GB" sz="700" b="0" dirty="0">
                          <a:solidFill>
                            <a:schemeClr val="tx1"/>
                          </a:solidFill>
                          <a:effectLst/>
                        </a:rPr>
                        <a:t>▼ </a:t>
                      </a:r>
                      <a:r>
                        <a:rPr lang="es-ES" sz="700" b="0" dirty="0">
                          <a:solidFill>
                            <a:schemeClr val="tx1"/>
                          </a:solidFill>
                          <a:effectLst/>
                        </a:rPr>
                        <a:t>Vericiguat está sometido a seguimiento adicional, lo que permitirá la rápida identificación de nueva información sobre su seguridad. Se pide a los profesionales de la salud que informen sobre cualquier sospecha de reacción advers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 Vericiguat is subject to additional monitoring. This will allow quick identification of new safety information. Healthcare professionals are asked to report any suspected adverse reactions.</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57659"/>
                  </a:ext>
                </a:extLst>
              </a:tr>
              <a:tr h="132000">
                <a:tc>
                  <a:txBody>
                    <a:bodyPr/>
                    <a:lstStyle/>
                    <a:p>
                      <a:pPr>
                        <a:spcAft>
                          <a:spcPts val="0"/>
                        </a:spcAft>
                      </a:pPr>
                      <a:r>
                        <a:rPr lang="es-ES" sz="700" b="0" dirty="0">
                          <a:solidFill>
                            <a:schemeClr val="tx1"/>
                          </a:solidFill>
                          <a:effectLst/>
                        </a:rPr>
                        <a:t>Vericiguat no está comercializado en España.</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r>
                        <a:rPr lang="en-US" sz="700" b="0" dirty="0">
                          <a:solidFill>
                            <a:schemeClr val="tx1"/>
                          </a:solidFill>
                          <a:effectLst/>
                        </a:rPr>
                        <a:t>Vericiguat is not marketed in Spain.</a:t>
                      </a:r>
                      <a:endParaRPr lang="en-GB" sz="1000" b="0" dirty="0">
                        <a:solidFill>
                          <a:schemeClr val="tx1"/>
                        </a:solidFill>
                        <a:effectLst/>
                        <a:latin typeface="Calibri" panose="020F0502020204030204" pitchFamily="34" charset="0"/>
                        <a:ea typeface="Calibri" panose="020F0502020204030204" pitchFamily="34" charset="0"/>
                      </a:endParaRPr>
                    </a:p>
                  </a:txBody>
                  <a:tcPr marL="44450" marR="4445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553355"/>
                  </a:ext>
                </a:extLst>
              </a:tr>
            </a:tbl>
          </a:graphicData>
        </a:graphic>
      </p:graphicFrame>
      <p:cxnSp>
        <p:nvCxnSpPr>
          <p:cNvPr id="12" name="Straight Arrow Connector 11">
            <a:extLst>
              <a:ext uri="{FF2B5EF4-FFF2-40B4-BE49-F238E27FC236}">
                <a16:creationId xmlns:a16="http://schemas.microsoft.com/office/drawing/2014/main" id="{EB03B309-D8D2-4ECE-A35E-0D55890DCB51}"/>
              </a:ext>
            </a:extLst>
          </p:cNvPr>
          <p:cNvCxnSpPr>
            <a:cxnSpLocks/>
          </p:cNvCxnSpPr>
          <p:nvPr/>
        </p:nvCxnSpPr>
        <p:spPr>
          <a:xfrm>
            <a:off x="7658100" y="3457575"/>
            <a:ext cx="0" cy="14400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247CA0D2-3F07-4A8D-9572-88E4EFE87E69}"/>
              </a:ext>
            </a:extLst>
          </p:cNvPr>
          <p:cNvCxnSpPr>
            <a:cxnSpLocks/>
          </p:cNvCxnSpPr>
          <p:nvPr/>
        </p:nvCxnSpPr>
        <p:spPr>
          <a:xfrm>
            <a:off x="9734550" y="2971800"/>
            <a:ext cx="0" cy="144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09B67FE-1EF4-431B-A313-4EE559FD3FE1}"/>
              </a:ext>
            </a:extLst>
          </p:cNvPr>
          <p:cNvCxnSpPr>
            <a:cxnSpLocks/>
          </p:cNvCxnSpPr>
          <p:nvPr/>
        </p:nvCxnSpPr>
        <p:spPr>
          <a:xfrm>
            <a:off x="5667375" y="3409950"/>
            <a:ext cx="0" cy="14400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0F45608F-C5F3-4BFC-B2EF-29C60D2F43BE}"/>
              </a:ext>
            </a:extLst>
          </p:cNvPr>
          <p:cNvCxnSpPr>
            <a:cxnSpLocks/>
          </p:cNvCxnSpPr>
          <p:nvPr/>
        </p:nvCxnSpPr>
        <p:spPr>
          <a:xfrm>
            <a:off x="5381625" y="3248025"/>
            <a:ext cx="0" cy="14400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71869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32038BB-93B5-4B93-AD8B-40FCD1B0728C}"/>
              </a:ext>
            </a:extLst>
          </p:cNvPr>
          <p:cNvSpPr/>
          <p:nvPr/>
        </p:nvSpPr>
        <p:spPr>
          <a:xfrm>
            <a:off x="1399880" y="4818049"/>
            <a:ext cx="9125244" cy="821709"/>
          </a:xfrm>
          <a:prstGeom prst="rect">
            <a:avLst/>
          </a:prstGeom>
          <a:solidFill>
            <a:srgbClr val="F2F2F2"/>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Optimize therapy </a:t>
            </a:r>
            <a:r>
              <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rPr>
              <a:t>in hospital </a:t>
            </a: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or schedule an </a:t>
            </a:r>
            <a:r>
              <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rPr>
              <a:t>early follow-up </a:t>
            </a: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appointment </a:t>
            </a:r>
            <a:b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to review therapy</a:t>
            </a:r>
            <a:r>
              <a:rPr kumimoji="0" lang="en-GB" sz="1800" b="0" i="0" u="none" strike="noStrike" kern="1200" cap="none" spc="0" normalizeH="0" baseline="30000" noProof="0" dirty="0">
                <a:ln>
                  <a:noFill/>
                </a:ln>
                <a:solidFill>
                  <a:srgbClr val="000000"/>
                </a:solidFill>
                <a:effectLst/>
                <a:uLnTx/>
                <a:uFillTx/>
                <a:latin typeface="Arial" panose="020B0604020202020204"/>
                <a:ea typeface="+mn-ea"/>
                <a:cs typeface="+mn-cs"/>
              </a:rPr>
              <a:t>3</a:t>
            </a:r>
          </a:p>
        </p:txBody>
      </p:sp>
      <p:sp>
        <p:nvSpPr>
          <p:cNvPr id="2" name="Title 1">
            <a:extLst>
              <a:ext uri="{FF2B5EF4-FFF2-40B4-BE49-F238E27FC236}">
                <a16:creationId xmlns:a16="http://schemas.microsoft.com/office/drawing/2014/main" id="{C7FA8ED3-D3A8-49F6-B07B-E03140920DB1}"/>
              </a:ext>
            </a:extLst>
          </p:cNvPr>
          <p:cNvSpPr>
            <a:spLocks noGrp="1"/>
          </p:cNvSpPr>
          <p:nvPr>
            <p:ph type="title"/>
          </p:nvPr>
        </p:nvSpPr>
        <p:spPr/>
        <p:txBody>
          <a:bodyPr/>
          <a:lstStyle/>
          <a:p>
            <a:pPr>
              <a:spcAft>
                <a:spcPts val="300"/>
              </a:spcAft>
            </a:pPr>
            <a:r>
              <a:rPr lang="en-GB" sz="2800" dirty="0"/>
              <a:t>Practical considerations to optimize treatment management following a worsening HF event</a:t>
            </a:r>
            <a:r>
              <a:rPr lang="en-GB" sz="2800" baseline="30000" dirty="0"/>
              <a:t>1–4</a:t>
            </a:r>
            <a:endParaRPr lang="en-US" sz="2800" b="1" noProof="0" dirty="0"/>
          </a:p>
        </p:txBody>
      </p:sp>
      <p:sp>
        <p:nvSpPr>
          <p:cNvPr id="6" name="Rectangle 5">
            <a:extLst>
              <a:ext uri="{FF2B5EF4-FFF2-40B4-BE49-F238E27FC236}">
                <a16:creationId xmlns:a16="http://schemas.microsoft.com/office/drawing/2014/main" id="{6707822F-E7FB-4A7F-B1D0-5C5510450ECD}"/>
              </a:ext>
            </a:extLst>
          </p:cNvPr>
          <p:cNvSpPr/>
          <p:nvPr/>
        </p:nvSpPr>
        <p:spPr>
          <a:xfrm>
            <a:off x="1399880" y="1742562"/>
            <a:ext cx="9125244" cy="821709"/>
          </a:xfrm>
          <a:prstGeom prst="rect">
            <a:avLst/>
          </a:prstGeom>
          <a:solidFill>
            <a:srgbClr val="F2F2F2"/>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Initiate </a:t>
            </a:r>
            <a:r>
              <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rPr>
              <a:t>multiple therapies </a:t>
            </a: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early in the course of the disease</a:t>
            </a:r>
            <a:r>
              <a:rPr kumimoji="0" lang="en-GB" sz="1800" b="0" i="0" u="none" strike="noStrike" kern="1200" cap="none" spc="0" normalizeH="0" baseline="30000" noProof="0" dirty="0">
                <a:ln>
                  <a:noFill/>
                </a:ln>
                <a:solidFill>
                  <a:srgbClr val="000000"/>
                </a:solidFill>
                <a:effectLst/>
                <a:uLnTx/>
                <a:uFillTx/>
                <a:latin typeface="Arial" panose="020B0604020202020204"/>
                <a:ea typeface="+mn-ea"/>
                <a:cs typeface="+mn-cs"/>
              </a:rPr>
              <a:t>1</a:t>
            </a:r>
          </a:p>
        </p:txBody>
      </p:sp>
      <p:sp>
        <p:nvSpPr>
          <p:cNvPr id="20" name="Oval 19">
            <a:extLst>
              <a:ext uri="{FF2B5EF4-FFF2-40B4-BE49-F238E27FC236}">
                <a16:creationId xmlns:a16="http://schemas.microsoft.com/office/drawing/2014/main" id="{9701FB6C-8515-4170-B3E5-D17AAD0601A0}"/>
              </a:ext>
            </a:extLst>
          </p:cNvPr>
          <p:cNvSpPr/>
          <p:nvPr/>
        </p:nvSpPr>
        <p:spPr>
          <a:xfrm>
            <a:off x="606094" y="4674315"/>
            <a:ext cx="1080000" cy="1080000"/>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0907B769-3B23-4026-881B-3AFFEC55CA18}"/>
              </a:ext>
            </a:extLst>
          </p:cNvPr>
          <p:cNvGrpSpPr/>
          <p:nvPr/>
        </p:nvGrpSpPr>
        <p:grpSpPr>
          <a:xfrm>
            <a:off x="601624" y="1609416"/>
            <a:ext cx="1080000" cy="4076687"/>
            <a:chOff x="6053054" y="1437644"/>
            <a:chExt cx="1080000" cy="4076687"/>
          </a:xfrm>
        </p:grpSpPr>
        <p:sp>
          <p:nvSpPr>
            <p:cNvPr id="19" name="Oval 18">
              <a:extLst>
                <a:ext uri="{FF2B5EF4-FFF2-40B4-BE49-F238E27FC236}">
                  <a16:creationId xmlns:a16="http://schemas.microsoft.com/office/drawing/2014/main" id="{A95939AF-7964-4CF9-AF31-58009282D224}"/>
                </a:ext>
              </a:extLst>
            </p:cNvPr>
            <p:cNvSpPr/>
            <p:nvPr/>
          </p:nvSpPr>
          <p:spPr>
            <a:xfrm>
              <a:off x="6053054" y="1437644"/>
              <a:ext cx="1080000" cy="1080000"/>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4" name="Graphic 23" descr="Daily calendar with solid fill">
              <a:extLst>
                <a:ext uri="{FF2B5EF4-FFF2-40B4-BE49-F238E27FC236}">
                  <a16:creationId xmlns:a16="http://schemas.microsoft.com/office/drawing/2014/main" id="{19D74E55-F1C1-4211-A42F-337621937F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35854" y="4599931"/>
              <a:ext cx="914400" cy="914400"/>
            </a:xfrm>
            <a:prstGeom prst="rect">
              <a:avLst/>
            </a:prstGeom>
          </p:spPr>
        </p:pic>
      </p:grpSp>
      <p:sp>
        <p:nvSpPr>
          <p:cNvPr id="21" name="Rectangle 20">
            <a:extLst>
              <a:ext uri="{FF2B5EF4-FFF2-40B4-BE49-F238E27FC236}">
                <a16:creationId xmlns:a16="http://schemas.microsoft.com/office/drawing/2014/main" id="{536CC717-71ED-47E5-B395-73EC5CEDE1AE}"/>
              </a:ext>
            </a:extLst>
          </p:cNvPr>
          <p:cNvSpPr/>
          <p:nvPr/>
        </p:nvSpPr>
        <p:spPr>
          <a:xfrm>
            <a:off x="1412850" y="3280306"/>
            <a:ext cx="9112274" cy="821709"/>
          </a:xfrm>
          <a:prstGeom prst="rect">
            <a:avLst/>
          </a:prstGeom>
          <a:solidFill>
            <a:srgbClr val="F2F2F2"/>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Recommend a </a:t>
            </a:r>
            <a:r>
              <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rPr>
              <a:t>personalized approach</a:t>
            </a: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 for treating patients with HFrEF</a:t>
            </a:r>
            <a:r>
              <a:rPr kumimoji="0" lang="en-GB" sz="1800" b="0" i="0" u="none" strike="noStrike" kern="1200" cap="none" spc="0" normalizeH="0" baseline="30000" noProof="0" dirty="0">
                <a:ln>
                  <a:noFill/>
                </a:ln>
                <a:solidFill>
                  <a:srgbClr val="000000"/>
                </a:solidFill>
                <a:effectLst/>
                <a:uLnTx/>
                <a:uFillTx/>
                <a:latin typeface="Arial" panose="020B0604020202020204"/>
                <a:ea typeface="+mn-ea"/>
                <a:cs typeface="+mn-cs"/>
              </a:rPr>
              <a:t>2–4</a:t>
            </a:r>
          </a:p>
        </p:txBody>
      </p:sp>
      <p:grpSp>
        <p:nvGrpSpPr>
          <p:cNvPr id="10" name="Group 9">
            <a:extLst>
              <a:ext uri="{FF2B5EF4-FFF2-40B4-BE49-F238E27FC236}">
                <a16:creationId xmlns:a16="http://schemas.microsoft.com/office/drawing/2014/main" id="{E018A4CA-037C-4503-AB38-031536E2AA90}"/>
              </a:ext>
            </a:extLst>
          </p:cNvPr>
          <p:cNvGrpSpPr/>
          <p:nvPr/>
        </p:nvGrpSpPr>
        <p:grpSpPr>
          <a:xfrm>
            <a:off x="614822" y="1741193"/>
            <a:ext cx="1080000" cy="2480672"/>
            <a:chOff x="6946097" y="2608692"/>
            <a:chExt cx="1296000" cy="3059496"/>
          </a:xfrm>
          <a:effectLst>
            <a:outerShdw blurRad="50800" dist="38100" dir="2700000" algn="tl" rotWithShape="0">
              <a:prstClr val="black">
                <a:alpha val="40000"/>
              </a:prstClr>
            </a:outerShdw>
          </a:effectLst>
        </p:grpSpPr>
        <p:sp>
          <p:nvSpPr>
            <p:cNvPr id="11" name="Oval 10">
              <a:extLst>
                <a:ext uri="{FF2B5EF4-FFF2-40B4-BE49-F238E27FC236}">
                  <a16:creationId xmlns:a16="http://schemas.microsoft.com/office/drawing/2014/main" id="{EFFA3AA4-C527-4066-A5BE-62B2791E9326}"/>
                </a:ext>
              </a:extLst>
            </p:cNvPr>
            <p:cNvSpPr/>
            <p:nvPr/>
          </p:nvSpPr>
          <p:spPr>
            <a:xfrm>
              <a:off x="6946097" y="4336188"/>
              <a:ext cx="1296000" cy="1332000"/>
            </a:xfrm>
            <a:prstGeom prst="ellipse">
              <a:avLst/>
            </a:prstGeom>
            <a:solidFill>
              <a:schemeClr val="accent4"/>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2" name="Graphic 11" descr="Medicine with solid fill">
              <a:extLst>
                <a:ext uri="{FF2B5EF4-FFF2-40B4-BE49-F238E27FC236}">
                  <a16:creationId xmlns:a16="http://schemas.microsoft.com/office/drawing/2014/main" id="{CFE6D5BC-A11B-4779-8691-793F1BB22F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44346" y="2608692"/>
              <a:ext cx="971123" cy="971123"/>
            </a:xfrm>
            <a:prstGeom prst="rect">
              <a:avLst/>
            </a:prstGeom>
          </p:spPr>
        </p:pic>
      </p:grpSp>
      <p:pic>
        <p:nvPicPr>
          <p:cNvPr id="7" name="Graphic 6" descr="Doctor">
            <a:extLst>
              <a:ext uri="{FF2B5EF4-FFF2-40B4-BE49-F238E27FC236}">
                <a16:creationId xmlns:a16="http://schemas.microsoft.com/office/drawing/2014/main" id="{A3A41464-ACB2-4330-8DAF-9042A47BFF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4899" y="3150195"/>
            <a:ext cx="914400" cy="914400"/>
          </a:xfrm>
          <a:prstGeom prst="rect">
            <a:avLst/>
          </a:prstGeom>
        </p:spPr>
      </p:pic>
      <p:sp>
        <p:nvSpPr>
          <p:cNvPr id="22" name="Footer Placeholder 5">
            <a:extLst>
              <a:ext uri="{FF2B5EF4-FFF2-40B4-BE49-F238E27FC236}">
                <a16:creationId xmlns:a16="http://schemas.microsoft.com/office/drawing/2014/main" id="{BA13969A-D950-4B44-BE09-F36E020BD86B}"/>
              </a:ext>
            </a:extLst>
          </p:cNvPr>
          <p:cNvSpPr>
            <a:spLocks noGrp="1"/>
          </p:cNvSpPr>
          <p:nvPr>
            <p:ph type="ftr" sz="quarter" idx="16"/>
          </p:nvPr>
        </p:nvSpPr>
        <p:spPr>
          <a:xfrm>
            <a:off x="600073" y="6340239"/>
            <a:ext cx="9925051" cy="365125"/>
          </a:xfrm>
        </p:spPr>
        <p:txBody>
          <a:bodyPr/>
          <a:lstStyle/>
          <a:p>
            <a:pPr marL="0" marR="0" lvl="0" indent="0" algn="l" defTabSz="609585"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HF, heart failure; HFrEF, heart failure with reduced ejection fraction.</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References: 1.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cMurray JJV, Packer M.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Circulation</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2021;143:875-877; </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2.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Greene SJ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JAMA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mn-cs"/>
              </a:rPr>
              <a:t>Cardiol</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6:743–744; </a:t>
            </a: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3.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cDonagh TA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Eur Heart J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42:3599–3726;</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rPr>
              <a:t>4.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Rosano GMC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et al. Eur J Heart Fail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21;23:872–881.</a:t>
            </a:r>
          </a:p>
        </p:txBody>
      </p:sp>
    </p:spTree>
    <p:extLst>
      <p:ext uri="{BB962C8B-B14F-4D97-AF65-F5344CB8AC3E}">
        <p14:creationId xmlns:p14="http://schemas.microsoft.com/office/powerpoint/2010/main" val="1126150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F1A6BE2-820F-4C25-8697-5060EC5B0202}"/>
              </a:ext>
            </a:extLst>
          </p:cNvPr>
          <p:cNvSpPr>
            <a:spLocks noGrp="1"/>
          </p:cNvSpPr>
          <p:nvPr>
            <p:ph type="title"/>
          </p:nvPr>
        </p:nvSpPr>
        <p:spPr>
          <a:xfrm>
            <a:off x="177901" y="3622506"/>
            <a:ext cx="5122769" cy="1001168"/>
          </a:xfrm>
        </p:spPr>
        <p:txBody>
          <a:bodyPr/>
          <a:lstStyle/>
          <a:p>
            <a:r>
              <a:rPr lang="en-US" dirty="0"/>
              <a:t>Summary &amp; Closing remarks</a:t>
            </a:r>
          </a:p>
        </p:txBody>
      </p:sp>
      <p:sp>
        <p:nvSpPr>
          <p:cNvPr id="4" name="Slide Number Placeholder 3">
            <a:extLst>
              <a:ext uri="{FF2B5EF4-FFF2-40B4-BE49-F238E27FC236}">
                <a16:creationId xmlns:a16="http://schemas.microsoft.com/office/drawing/2014/main" id="{AEB66863-D15B-47CF-9710-482717A9E7E6}"/>
              </a:ext>
            </a:extLst>
          </p:cNvPr>
          <p:cNvSpPr>
            <a:spLocks noGrp="1"/>
          </p:cNvSpPr>
          <p:nvPr>
            <p:ph type="sldNum" sz="quarter" idx="4294967295"/>
          </p:nvPr>
        </p:nvSpPr>
        <p:spPr>
          <a:xfrm>
            <a:off x="11710988" y="6340475"/>
            <a:ext cx="481012" cy="365125"/>
          </a:xfrm>
        </p:spPr>
        <p:txBody>
          <a:bodyPr/>
          <a:lstStyle/>
          <a:p>
            <a:fld id="{7F2E7A9C-228B-4998-AC5D-8ECFE8FBAA55}" type="slidenum">
              <a:rPr lang="en-US" smtClean="0"/>
              <a:pPr/>
              <a:t>74</a:t>
            </a:fld>
            <a:endParaRPr lang="en-US"/>
          </a:p>
        </p:txBody>
      </p:sp>
    </p:spTree>
    <p:extLst>
      <p:ext uri="{BB962C8B-B14F-4D97-AF65-F5344CB8AC3E}">
        <p14:creationId xmlns:p14="http://schemas.microsoft.com/office/powerpoint/2010/main" val="1720538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FD2FAA-858B-46E4-B62E-06AF894A2FB7}"/>
              </a:ext>
            </a:extLst>
          </p:cNvPr>
          <p:cNvSpPr>
            <a:spLocks noGrp="1"/>
          </p:cNvSpPr>
          <p:nvPr>
            <p:ph type="body" sz="quarter" idx="14"/>
          </p:nvPr>
        </p:nvSpPr>
        <p:spPr>
          <a:xfrm>
            <a:off x="596709" y="1419177"/>
            <a:ext cx="9423727" cy="317635"/>
          </a:xfrm>
        </p:spPr>
        <p:txBody>
          <a:bodyPr/>
          <a:lstStyle/>
          <a:p>
            <a:r>
              <a:rPr lang="en-US"/>
              <a:t>Days from onset of worsening HF* to death/censor in patients with worsening HF in the PINNACLE registry (n=1,851)</a:t>
            </a:r>
          </a:p>
          <a:p>
            <a:endParaRPr lang="en-GB"/>
          </a:p>
        </p:txBody>
      </p:sp>
      <p:sp>
        <p:nvSpPr>
          <p:cNvPr id="3" name="Slide Number Placeholder 2">
            <a:extLst>
              <a:ext uri="{FF2B5EF4-FFF2-40B4-BE49-F238E27FC236}">
                <a16:creationId xmlns:a16="http://schemas.microsoft.com/office/drawing/2014/main" id="{B1F5A239-E0D7-4C95-86A0-971128F3ACEB}"/>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BEBB622-763F-4C99-8933-0BAD8830837F}"/>
              </a:ext>
            </a:extLst>
          </p:cNvPr>
          <p:cNvSpPr>
            <a:spLocks noGrp="1"/>
          </p:cNvSpPr>
          <p:nvPr>
            <p:ph type="title"/>
          </p:nvPr>
        </p:nvSpPr>
        <p:spPr>
          <a:xfrm>
            <a:off x="600074" y="164567"/>
            <a:ext cx="10536486" cy="929127"/>
          </a:xfrm>
        </p:spPr>
        <p:txBody>
          <a:bodyPr/>
          <a:lstStyle/>
          <a:p>
            <a:r>
              <a:rPr lang="en-GB" sz="2400"/>
              <a:t>Worsening HF events are associated with a poor prognosis</a:t>
            </a:r>
            <a:endParaRPr lang="en-GB"/>
          </a:p>
        </p:txBody>
      </p:sp>
      <p:sp>
        <p:nvSpPr>
          <p:cNvPr id="5" name="Footer Placeholder 4">
            <a:extLst>
              <a:ext uri="{FF2B5EF4-FFF2-40B4-BE49-F238E27FC236}">
                <a16:creationId xmlns:a16="http://schemas.microsoft.com/office/drawing/2014/main" id="{E0789965-6089-42A5-B570-2E45728D59F7}"/>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Worsening HF event was defined as a requirement for IV diuretic treatment in any healthcare setting or HF hospital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HF, heart failure; IV, intrave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rPr>
              <a:t>Reference:</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Butler J </a:t>
            </a:r>
            <a:r>
              <a:rPr kumimoji="0" lang="en-US" sz="800" b="0" i="1" u="none" strike="noStrike" kern="1200" cap="none" spc="0" normalizeH="0" baseline="0" noProof="0">
                <a:ln>
                  <a:noFill/>
                </a:ln>
                <a:solidFill>
                  <a:srgbClr val="000000">
                    <a:tint val="75000"/>
                  </a:srgbClr>
                </a:solidFill>
                <a:effectLst/>
                <a:uLnTx/>
                <a:uFillTx/>
                <a:latin typeface="Arial" panose="020B0604020202020204"/>
                <a:ea typeface="+mn-ea"/>
                <a:cs typeface="+mn-cs"/>
              </a:rPr>
              <a:t>et al. J Am Coll </a:t>
            </a:r>
            <a:r>
              <a:rPr kumimoji="0" lang="en-US" sz="800" b="0" i="1" u="none" strike="noStrike" kern="1200" cap="none" spc="0" normalizeH="0" baseline="0" noProof="0" err="1">
                <a:ln>
                  <a:noFill/>
                </a:ln>
                <a:solidFill>
                  <a:srgbClr val="000000">
                    <a:tint val="75000"/>
                  </a:srgbClr>
                </a:solidFill>
                <a:effectLst/>
                <a:uLnTx/>
                <a:uFillTx/>
                <a:latin typeface="Arial" panose="020B0604020202020204"/>
                <a:ea typeface="+mn-ea"/>
                <a:cs typeface="+mn-cs"/>
              </a:rPr>
              <a:t>Cardiol</a:t>
            </a:r>
            <a:r>
              <a:rPr kumimoji="0" lang="en-US" sz="800" b="0" i="0" u="none" strike="noStrike" kern="1200" cap="none" spc="0" normalizeH="0" baseline="0" noProof="0">
                <a:ln>
                  <a:noFill/>
                </a:ln>
                <a:solidFill>
                  <a:srgbClr val="000000">
                    <a:tint val="75000"/>
                  </a:srgbClr>
                </a:solidFill>
                <a:effectLst/>
                <a:uLnTx/>
                <a:uFillTx/>
                <a:latin typeface="Arial" panose="020B0604020202020204"/>
                <a:ea typeface="+mn-ea"/>
                <a:cs typeface="+mn-cs"/>
              </a:rPr>
              <a:t> 2019;73:935–944.</a:t>
            </a:r>
          </a:p>
        </p:txBody>
      </p:sp>
      <p:sp>
        <p:nvSpPr>
          <p:cNvPr id="6" name="Rectangle 5">
            <a:extLst>
              <a:ext uri="{FF2B5EF4-FFF2-40B4-BE49-F238E27FC236}">
                <a16:creationId xmlns:a16="http://schemas.microsoft.com/office/drawing/2014/main" id="{F0258290-7324-4B31-A24A-80D3DE20DBCC}"/>
              </a:ext>
            </a:extLst>
          </p:cNvPr>
          <p:cNvSpPr/>
          <p:nvPr/>
        </p:nvSpPr>
        <p:spPr>
          <a:xfrm>
            <a:off x="7788956" y="2282283"/>
            <a:ext cx="2383506" cy="2903789"/>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p>
            <a:pPr marL="0" marR="0" lvl="0" indent="0" algn="ctr" defTabSz="914218" rtl="0" eaLnBrk="1" fontAlgn="auto" latinLnBrk="0" hangingPunct="1">
              <a:lnSpc>
                <a:spcPct val="110000"/>
              </a:lnSpc>
              <a:spcBef>
                <a:spcPts val="600"/>
              </a:spcBef>
              <a:spcAft>
                <a:spcPts val="0"/>
              </a:spcAft>
              <a:buClr>
                <a:srgbClr val="FFFF00"/>
              </a:buClr>
              <a:buSzPct val="100000"/>
              <a:buFont typeface="Arial" panose="020B0604020202020204" pitchFamily="34" charset="0"/>
              <a:buNone/>
              <a:tabLst/>
              <a:defRPr/>
            </a:pPr>
            <a:r>
              <a:rPr kumimoji="0" lang="en-US" sz="2400" b="1" i="0" u="none" strike="noStrike" kern="1200" cap="none" spc="0" normalizeH="0" baseline="0" noProof="0">
                <a:ln>
                  <a:noFill/>
                </a:ln>
                <a:solidFill>
                  <a:srgbClr val="FC3B2D"/>
                </a:solidFill>
                <a:effectLst/>
                <a:uLnTx/>
                <a:uFillTx/>
                <a:latin typeface="Arial"/>
                <a:ea typeface="+mn-ea"/>
                <a:cs typeface="+mn-cs"/>
              </a:rPr>
              <a:t>&gt;1 in 5</a:t>
            </a:r>
            <a:br>
              <a:rPr kumimoji="0" lang="en-US" sz="2000" b="1" i="0" u="none" strike="noStrike" kern="1200" cap="none" spc="0" normalizeH="0" baseline="0" noProof="0">
                <a:ln>
                  <a:noFill/>
                </a:ln>
                <a:solidFill>
                  <a:srgbClr val="FC3B2D"/>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 patients died </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within 2 years of</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 the first worsening </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HF event</a:t>
            </a:r>
          </a:p>
        </p:txBody>
      </p:sp>
      <p:sp>
        <p:nvSpPr>
          <p:cNvPr id="7" name="Isosceles Triangle 6">
            <a:extLst>
              <a:ext uri="{FF2B5EF4-FFF2-40B4-BE49-F238E27FC236}">
                <a16:creationId xmlns:a16="http://schemas.microsoft.com/office/drawing/2014/main" id="{9D440DBF-F02D-481A-B605-DC33E941A915}"/>
              </a:ext>
            </a:extLst>
          </p:cNvPr>
          <p:cNvSpPr/>
          <p:nvPr/>
        </p:nvSpPr>
        <p:spPr>
          <a:xfrm rot="16200000">
            <a:off x="6745230" y="3458106"/>
            <a:ext cx="1318024" cy="45624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84F8738E-2FCE-4757-B495-DF31043D90A2}"/>
              </a:ext>
            </a:extLst>
          </p:cNvPr>
          <p:cNvGrpSpPr/>
          <p:nvPr/>
        </p:nvGrpSpPr>
        <p:grpSpPr>
          <a:xfrm>
            <a:off x="38275" y="2217735"/>
            <a:ext cx="6797841" cy="3845332"/>
            <a:chOff x="38275" y="2217735"/>
            <a:chExt cx="6797841" cy="3845332"/>
          </a:xfrm>
        </p:grpSpPr>
        <p:sp>
          <p:nvSpPr>
            <p:cNvPr id="9" name="TextBox 8">
              <a:extLst>
                <a:ext uri="{FF2B5EF4-FFF2-40B4-BE49-F238E27FC236}">
                  <a16:creationId xmlns:a16="http://schemas.microsoft.com/office/drawing/2014/main" id="{6AC0FDA3-BB67-4D11-AF1F-05567F0C4302}"/>
                </a:ext>
              </a:extLst>
            </p:cNvPr>
            <p:cNvSpPr txBox="1"/>
            <p:nvPr/>
          </p:nvSpPr>
          <p:spPr>
            <a:xfrm>
              <a:off x="38275" y="5817226"/>
              <a:ext cx="1260281" cy="240066"/>
            </a:xfrm>
            <a:prstGeom prst="rect">
              <a:avLst/>
            </a:prstGeom>
            <a:noFill/>
          </p:spPr>
          <p:txBody>
            <a:bodyPr wrap="none" rtlCol="0" anchor="ctr">
              <a:spAutoFit/>
            </a:bodyPr>
            <a:lstStyle/>
            <a:p>
              <a:pPr marL="0" marR="0" lvl="0" indent="0" algn="l" defTabSz="914218"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S PGothic" charset="0"/>
                  <a:cs typeface="+mn-cs"/>
                </a:rPr>
                <a:t>Number at risk</a:t>
              </a:r>
            </a:p>
          </p:txBody>
        </p:sp>
        <p:sp>
          <p:nvSpPr>
            <p:cNvPr id="10" name="TextBox 9">
              <a:extLst>
                <a:ext uri="{FF2B5EF4-FFF2-40B4-BE49-F238E27FC236}">
                  <a16:creationId xmlns:a16="http://schemas.microsoft.com/office/drawing/2014/main" id="{E0F10120-E2E3-4994-A222-889268595D5D}"/>
                </a:ext>
              </a:extLst>
            </p:cNvPr>
            <p:cNvSpPr txBox="1"/>
            <p:nvPr/>
          </p:nvSpPr>
          <p:spPr>
            <a:xfrm>
              <a:off x="1237724" y="5823001"/>
              <a:ext cx="524503" cy="240066"/>
            </a:xfrm>
            <a:prstGeom prst="rect">
              <a:avLst/>
            </a:prstGeom>
            <a:noFill/>
          </p:spPr>
          <p:txBody>
            <a:bodyPr wrap="none" rtlCol="0" anchor="ctr">
              <a:spAutoFit/>
            </a:body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1851</a:t>
              </a:r>
            </a:p>
          </p:txBody>
        </p:sp>
        <p:sp>
          <p:nvSpPr>
            <p:cNvPr id="11" name="TextBox 10">
              <a:extLst>
                <a:ext uri="{FF2B5EF4-FFF2-40B4-BE49-F238E27FC236}">
                  <a16:creationId xmlns:a16="http://schemas.microsoft.com/office/drawing/2014/main" id="{E9ECD5DC-B51E-482B-90C0-D0158404BC89}"/>
                </a:ext>
              </a:extLst>
            </p:cNvPr>
            <p:cNvSpPr txBox="1"/>
            <p:nvPr/>
          </p:nvSpPr>
          <p:spPr>
            <a:xfrm>
              <a:off x="2443515" y="5812994"/>
              <a:ext cx="524503" cy="240066"/>
            </a:xfrm>
            <a:prstGeom prst="rect">
              <a:avLst/>
            </a:prstGeom>
            <a:noFill/>
          </p:spPr>
          <p:txBody>
            <a:bodyPr wrap="none" rtlCol="0" anchor="ctr">
              <a:spAutoFit/>
            </a:bodyPr>
            <a:lstStyle/>
            <a:p>
              <a:pPr marL="0" marR="0" lvl="0" indent="0" algn="l" defTabSz="914218"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1303</a:t>
              </a:r>
            </a:p>
          </p:txBody>
        </p:sp>
        <p:sp>
          <p:nvSpPr>
            <p:cNvPr id="12" name="TextBox 11">
              <a:extLst>
                <a:ext uri="{FF2B5EF4-FFF2-40B4-BE49-F238E27FC236}">
                  <a16:creationId xmlns:a16="http://schemas.microsoft.com/office/drawing/2014/main" id="{C16FFC03-F0AD-483C-B537-61A6D55D9146}"/>
                </a:ext>
              </a:extLst>
            </p:cNvPr>
            <p:cNvSpPr txBox="1"/>
            <p:nvPr/>
          </p:nvSpPr>
          <p:spPr>
            <a:xfrm>
              <a:off x="3735631" y="5812994"/>
              <a:ext cx="439544" cy="240066"/>
            </a:xfrm>
            <a:prstGeom prst="rect">
              <a:avLst/>
            </a:prstGeom>
            <a:noFill/>
          </p:spPr>
          <p:txBody>
            <a:bodyPr wrap="none" rtlCol="0" anchor="ctr">
              <a:spAutoFit/>
            </a:bodyPr>
            <a:lstStyle/>
            <a:p>
              <a:pPr marL="0" marR="0" lvl="0" indent="0" algn="l" defTabSz="914218"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912</a:t>
              </a:r>
            </a:p>
          </p:txBody>
        </p:sp>
        <p:sp>
          <p:nvSpPr>
            <p:cNvPr id="13" name="TextBox 12">
              <a:extLst>
                <a:ext uri="{FF2B5EF4-FFF2-40B4-BE49-F238E27FC236}">
                  <a16:creationId xmlns:a16="http://schemas.microsoft.com/office/drawing/2014/main" id="{184F703A-BD0D-411C-AD44-47929DCB7707}"/>
                </a:ext>
              </a:extLst>
            </p:cNvPr>
            <p:cNvSpPr txBox="1"/>
            <p:nvPr/>
          </p:nvSpPr>
          <p:spPr>
            <a:xfrm>
              <a:off x="4980421" y="5812994"/>
              <a:ext cx="439544" cy="240066"/>
            </a:xfrm>
            <a:prstGeom prst="rect">
              <a:avLst/>
            </a:prstGeom>
            <a:noFill/>
          </p:spPr>
          <p:txBody>
            <a:bodyPr wrap="none" rtlCol="0" anchor="ctr">
              <a:spAutoFit/>
            </a:bodyPr>
            <a:lstStyle/>
            <a:p>
              <a:pPr marL="0" marR="0" lvl="0" indent="0" algn="l" defTabSz="914218"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589</a:t>
              </a:r>
            </a:p>
          </p:txBody>
        </p:sp>
        <p:sp>
          <p:nvSpPr>
            <p:cNvPr id="14" name="TextBox 13">
              <a:extLst>
                <a:ext uri="{FF2B5EF4-FFF2-40B4-BE49-F238E27FC236}">
                  <a16:creationId xmlns:a16="http://schemas.microsoft.com/office/drawing/2014/main" id="{87E842DD-8ADB-452A-8C0C-A44FD60B5285}"/>
                </a:ext>
              </a:extLst>
            </p:cNvPr>
            <p:cNvSpPr txBox="1"/>
            <p:nvPr/>
          </p:nvSpPr>
          <p:spPr>
            <a:xfrm>
              <a:off x="6205865" y="5812994"/>
              <a:ext cx="439544" cy="240066"/>
            </a:xfrm>
            <a:prstGeom prst="rect">
              <a:avLst/>
            </a:prstGeom>
            <a:noFill/>
          </p:spPr>
          <p:txBody>
            <a:bodyPr wrap="none" rtlCol="0" anchor="ctr">
              <a:spAutoFit/>
            </a:bodyPr>
            <a:lstStyle/>
            <a:p>
              <a:pPr marL="0" marR="0" lvl="0" indent="0" algn="l" defTabSz="914218"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373</a:t>
              </a:r>
            </a:p>
          </p:txBody>
        </p:sp>
        <p:grpSp>
          <p:nvGrpSpPr>
            <p:cNvPr id="15" name="Group 14">
              <a:extLst>
                <a:ext uri="{FF2B5EF4-FFF2-40B4-BE49-F238E27FC236}">
                  <a16:creationId xmlns:a16="http://schemas.microsoft.com/office/drawing/2014/main" id="{43C8D73D-E02A-4039-B969-B195EC3542A1}"/>
                </a:ext>
              </a:extLst>
            </p:cNvPr>
            <p:cNvGrpSpPr/>
            <p:nvPr/>
          </p:nvGrpSpPr>
          <p:grpSpPr>
            <a:xfrm>
              <a:off x="592823" y="2217735"/>
              <a:ext cx="6243293" cy="3551526"/>
              <a:chOff x="1833512" y="1895783"/>
              <a:chExt cx="8645593" cy="3297656"/>
            </a:xfrm>
          </p:grpSpPr>
          <p:grpSp>
            <p:nvGrpSpPr>
              <p:cNvPr id="16" name="Group 15">
                <a:extLst>
                  <a:ext uri="{FF2B5EF4-FFF2-40B4-BE49-F238E27FC236}">
                    <a16:creationId xmlns:a16="http://schemas.microsoft.com/office/drawing/2014/main" id="{ED4BF915-51D6-462F-B783-730EB9C6A28C}"/>
                  </a:ext>
                </a:extLst>
              </p:cNvPr>
              <p:cNvGrpSpPr/>
              <p:nvPr/>
            </p:nvGrpSpPr>
            <p:grpSpPr>
              <a:xfrm>
                <a:off x="1833512" y="1895783"/>
                <a:ext cx="8645593" cy="3297656"/>
                <a:chOff x="1833512" y="1474316"/>
                <a:chExt cx="8645593" cy="3297656"/>
              </a:xfrm>
            </p:grpSpPr>
            <p:sp>
              <p:nvSpPr>
                <p:cNvPr id="21" name="TextBox 20">
                  <a:extLst>
                    <a:ext uri="{FF2B5EF4-FFF2-40B4-BE49-F238E27FC236}">
                      <a16:creationId xmlns:a16="http://schemas.microsoft.com/office/drawing/2014/main" id="{9025B48A-FB70-488F-B151-582C8C8D8051}"/>
                    </a:ext>
                  </a:extLst>
                </p:cNvPr>
                <p:cNvSpPr txBox="1"/>
                <p:nvPr/>
              </p:nvSpPr>
              <p:spPr>
                <a:xfrm rot="16200000">
                  <a:off x="1059121" y="2671235"/>
                  <a:ext cx="1847126" cy="298343"/>
                </a:xfrm>
                <a:prstGeom prst="rect">
                  <a:avLst/>
                </a:prstGeom>
                <a:noFill/>
              </p:spPr>
              <p:txBody>
                <a:bodyPr wrap="none" lIns="0" tIns="0" rIns="0" bIns="0" rtlCol="0">
                  <a:sp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S PGothic" charset="0"/>
                      <a:cs typeface="+mn-cs"/>
                    </a:rPr>
                    <a:t>Survival probability (%)</a:t>
                  </a:r>
                </a:p>
              </p:txBody>
            </p:sp>
            <p:cxnSp>
              <p:nvCxnSpPr>
                <p:cNvPr id="22" name="Straight Connector 21">
                  <a:extLst>
                    <a:ext uri="{FF2B5EF4-FFF2-40B4-BE49-F238E27FC236}">
                      <a16:creationId xmlns:a16="http://schemas.microsoft.com/office/drawing/2014/main" id="{C2E406B1-3503-4A24-8160-DB43C2B0E701}"/>
                    </a:ext>
                  </a:extLst>
                </p:cNvPr>
                <p:cNvCxnSpPr>
                  <a:cxnSpLocks/>
                </p:cNvCxnSpPr>
                <p:nvPr/>
              </p:nvCxnSpPr>
              <p:spPr>
                <a:xfrm rot="5400000">
                  <a:off x="3645580" y="4198350"/>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A22BA3E-468F-40F9-BD68-BDC3225E7FC9}"/>
                    </a:ext>
                  </a:extLst>
                </p:cNvPr>
                <p:cNvCxnSpPr>
                  <a:cxnSpLocks/>
                </p:cNvCxnSpPr>
                <p:nvPr/>
              </p:nvCxnSpPr>
              <p:spPr>
                <a:xfrm rot="5400000">
                  <a:off x="4181916" y="4198595"/>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45C876C-792B-4907-9709-9CE25209FFF5}"/>
                    </a:ext>
                  </a:extLst>
                </p:cNvPr>
                <p:cNvCxnSpPr>
                  <a:cxnSpLocks/>
                </p:cNvCxnSpPr>
                <p:nvPr/>
              </p:nvCxnSpPr>
              <p:spPr>
                <a:xfrm rot="5400000">
                  <a:off x="4758256" y="4198840"/>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5754074-040C-4A38-8577-2D3CB2C2C1E5}"/>
                    </a:ext>
                  </a:extLst>
                </p:cNvPr>
                <p:cNvCxnSpPr>
                  <a:cxnSpLocks/>
                </p:cNvCxnSpPr>
                <p:nvPr/>
              </p:nvCxnSpPr>
              <p:spPr>
                <a:xfrm rot="5400000">
                  <a:off x="5326838" y="4199085"/>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5313B9-5A1B-49FA-A68D-AD206ACEABD6}"/>
                    </a:ext>
                  </a:extLst>
                </p:cNvPr>
                <p:cNvCxnSpPr>
                  <a:cxnSpLocks/>
                </p:cNvCxnSpPr>
                <p:nvPr/>
              </p:nvCxnSpPr>
              <p:spPr>
                <a:xfrm rot="5400000">
                  <a:off x="5903178" y="4199330"/>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57D36FB-8F3D-4556-AFB1-D5869CEF9B3C}"/>
                    </a:ext>
                  </a:extLst>
                </p:cNvPr>
                <p:cNvCxnSpPr>
                  <a:cxnSpLocks/>
                </p:cNvCxnSpPr>
                <p:nvPr/>
              </p:nvCxnSpPr>
              <p:spPr>
                <a:xfrm rot="5400000">
                  <a:off x="6474091" y="4199575"/>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C80C831-033A-44B4-8533-3832856E02C0}"/>
                    </a:ext>
                  </a:extLst>
                </p:cNvPr>
                <p:cNvCxnSpPr>
                  <a:cxnSpLocks/>
                </p:cNvCxnSpPr>
                <p:nvPr/>
              </p:nvCxnSpPr>
              <p:spPr>
                <a:xfrm rot="5400000">
                  <a:off x="7040902" y="4199819"/>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9FD0CE6-46F8-4A43-B35D-2F97052DA1E7}"/>
                    </a:ext>
                  </a:extLst>
                </p:cNvPr>
                <p:cNvCxnSpPr>
                  <a:cxnSpLocks/>
                </p:cNvCxnSpPr>
                <p:nvPr/>
              </p:nvCxnSpPr>
              <p:spPr>
                <a:xfrm rot="5400000">
                  <a:off x="7614250" y="4200064"/>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F667B1-ECA7-495B-B048-BFFEA529A5E5}"/>
                    </a:ext>
                  </a:extLst>
                </p:cNvPr>
                <p:cNvCxnSpPr>
                  <a:cxnSpLocks/>
                </p:cNvCxnSpPr>
                <p:nvPr/>
              </p:nvCxnSpPr>
              <p:spPr>
                <a:xfrm rot="5400000">
                  <a:off x="8182615" y="4200309"/>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6ABECEC-A17E-4918-B9AD-426804129AAF}"/>
                    </a:ext>
                  </a:extLst>
                </p:cNvPr>
                <p:cNvCxnSpPr>
                  <a:cxnSpLocks/>
                </p:cNvCxnSpPr>
                <p:nvPr/>
              </p:nvCxnSpPr>
              <p:spPr>
                <a:xfrm rot="5400000">
                  <a:off x="8756737" y="4200554"/>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CA9E5F2-84CC-40FC-AEDD-C694A6485AF7}"/>
                    </a:ext>
                  </a:extLst>
                </p:cNvPr>
                <p:cNvCxnSpPr>
                  <a:cxnSpLocks/>
                </p:cNvCxnSpPr>
                <p:nvPr/>
              </p:nvCxnSpPr>
              <p:spPr>
                <a:xfrm rot="5400000">
                  <a:off x="9324326" y="4201283"/>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6DB432-BE69-4D1C-8253-49C5627629E7}"/>
                    </a:ext>
                  </a:extLst>
                </p:cNvPr>
                <p:cNvCxnSpPr>
                  <a:cxnSpLocks/>
                </p:cNvCxnSpPr>
                <p:nvPr/>
              </p:nvCxnSpPr>
              <p:spPr>
                <a:xfrm rot="5400000">
                  <a:off x="9903642" y="4200799"/>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F0D414D-8651-4FED-9ECF-6178AC3B4FC8}"/>
                    </a:ext>
                  </a:extLst>
                </p:cNvPr>
                <p:cNvCxnSpPr>
                  <a:cxnSpLocks/>
                </p:cNvCxnSpPr>
                <p:nvPr/>
              </p:nvCxnSpPr>
              <p:spPr>
                <a:xfrm rot="5400000">
                  <a:off x="10361300" y="4192166"/>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39EA1E-CB73-44F9-B94C-E1DFDFC86BE7}"/>
                    </a:ext>
                  </a:extLst>
                </p:cNvPr>
                <p:cNvCxnSpPr>
                  <a:cxnSpLocks/>
                </p:cNvCxnSpPr>
                <p:nvPr/>
              </p:nvCxnSpPr>
              <p:spPr>
                <a:xfrm rot="5400000">
                  <a:off x="3064568" y="4189227"/>
                  <a:ext cx="503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54EC93D7-97CE-47EA-B125-7AA085024B1D}"/>
                    </a:ext>
                  </a:extLst>
                </p:cNvPr>
                <p:cNvSpPr txBox="1"/>
                <p:nvPr/>
              </p:nvSpPr>
              <p:spPr>
                <a:xfrm>
                  <a:off x="2996080" y="4245015"/>
                  <a:ext cx="187283"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0</a:t>
                  </a:r>
                </a:p>
              </p:txBody>
            </p:sp>
            <p:sp>
              <p:nvSpPr>
                <p:cNvPr id="37" name="TextBox 36">
                  <a:extLst>
                    <a:ext uri="{FF2B5EF4-FFF2-40B4-BE49-F238E27FC236}">
                      <a16:creationId xmlns:a16="http://schemas.microsoft.com/office/drawing/2014/main" id="{6C0FF219-DAF6-4EDB-8110-ADBF0EB046F5}"/>
                    </a:ext>
                  </a:extLst>
                </p:cNvPr>
                <p:cNvSpPr txBox="1"/>
                <p:nvPr/>
              </p:nvSpPr>
              <p:spPr>
                <a:xfrm>
                  <a:off x="3567907"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60</a:t>
                  </a:r>
                </a:p>
              </p:txBody>
            </p:sp>
            <p:sp>
              <p:nvSpPr>
                <p:cNvPr id="38" name="TextBox 37">
                  <a:extLst>
                    <a:ext uri="{FF2B5EF4-FFF2-40B4-BE49-F238E27FC236}">
                      <a16:creationId xmlns:a16="http://schemas.microsoft.com/office/drawing/2014/main" id="{447E6F3F-3081-48B2-AD99-AE2D75856BFE}"/>
                    </a:ext>
                  </a:extLst>
                </p:cNvPr>
                <p:cNvSpPr txBox="1"/>
                <p:nvPr/>
              </p:nvSpPr>
              <p:spPr>
                <a:xfrm>
                  <a:off x="4113426"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120</a:t>
                  </a:r>
                </a:p>
              </p:txBody>
            </p:sp>
            <p:sp>
              <p:nvSpPr>
                <p:cNvPr id="39" name="TextBox 38">
                  <a:extLst>
                    <a:ext uri="{FF2B5EF4-FFF2-40B4-BE49-F238E27FC236}">
                      <a16:creationId xmlns:a16="http://schemas.microsoft.com/office/drawing/2014/main" id="{9A40EEBE-59C1-490C-9A44-849670575A36}"/>
                    </a:ext>
                  </a:extLst>
                </p:cNvPr>
                <p:cNvSpPr txBox="1"/>
                <p:nvPr/>
              </p:nvSpPr>
              <p:spPr>
                <a:xfrm>
                  <a:off x="4689766"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180</a:t>
                  </a:r>
                </a:p>
              </p:txBody>
            </p:sp>
            <p:sp>
              <p:nvSpPr>
                <p:cNvPr id="40" name="TextBox 39">
                  <a:extLst>
                    <a:ext uri="{FF2B5EF4-FFF2-40B4-BE49-F238E27FC236}">
                      <a16:creationId xmlns:a16="http://schemas.microsoft.com/office/drawing/2014/main" id="{3BB64E0C-7F89-40FD-ADDC-09E2FD760990}"/>
                    </a:ext>
                  </a:extLst>
                </p:cNvPr>
                <p:cNvSpPr txBox="1"/>
                <p:nvPr/>
              </p:nvSpPr>
              <p:spPr>
                <a:xfrm>
                  <a:off x="5258348"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240</a:t>
                  </a:r>
                </a:p>
              </p:txBody>
            </p:sp>
            <p:sp>
              <p:nvSpPr>
                <p:cNvPr id="41" name="TextBox 40">
                  <a:extLst>
                    <a:ext uri="{FF2B5EF4-FFF2-40B4-BE49-F238E27FC236}">
                      <a16:creationId xmlns:a16="http://schemas.microsoft.com/office/drawing/2014/main" id="{AF59F660-5D71-41A3-9FCE-72761CAB1C65}"/>
                    </a:ext>
                  </a:extLst>
                </p:cNvPr>
                <p:cNvSpPr txBox="1"/>
                <p:nvPr/>
              </p:nvSpPr>
              <p:spPr>
                <a:xfrm>
                  <a:off x="5834688"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300</a:t>
                  </a:r>
                </a:p>
              </p:txBody>
            </p:sp>
            <p:sp>
              <p:nvSpPr>
                <p:cNvPr id="42" name="TextBox 41">
                  <a:extLst>
                    <a:ext uri="{FF2B5EF4-FFF2-40B4-BE49-F238E27FC236}">
                      <a16:creationId xmlns:a16="http://schemas.microsoft.com/office/drawing/2014/main" id="{16C857BF-ABF6-4267-9A77-129DD53F6846}"/>
                    </a:ext>
                  </a:extLst>
                </p:cNvPr>
                <p:cNvSpPr txBox="1"/>
                <p:nvPr/>
              </p:nvSpPr>
              <p:spPr>
                <a:xfrm>
                  <a:off x="6405601"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360</a:t>
                  </a:r>
                </a:p>
              </p:txBody>
            </p:sp>
            <p:sp>
              <p:nvSpPr>
                <p:cNvPr id="43" name="TextBox 42">
                  <a:extLst>
                    <a:ext uri="{FF2B5EF4-FFF2-40B4-BE49-F238E27FC236}">
                      <a16:creationId xmlns:a16="http://schemas.microsoft.com/office/drawing/2014/main" id="{8E6E7D7D-5D9E-4E0D-A481-85B3B2F58414}"/>
                    </a:ext>
                  </a:extLst>
                </p:cNvPr>
                <p:cNvSpPr txBox="1"/>
                <p:nvPr/>
              </p:nvSpPr>
              <p:spPr>
                <a:xfrm>
                  <a:off x="6972412"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420</a:t>
                  </a:r>
                </a:p>
              </p:txBody>
            </p:sp>
            <p:sp>
              <p:nvSpPr>
                <p:cNvPr id="44" name="TextBox 43">
                  <a:extLst>
                    <a:ext uri="{FF2B5EF4-FFF2-40B4-BE49-F238E27FC236}">
                      <a16:creationId xmlns:a16="http://schemas.microsoft.com/office/drawing/2014/main" id="{25C8B181-C85D-4BD0-9933-2672D030EA2C}"/>
                    </a:ext>
                  </a:extLst>
                </p:cNvPr>
                <p:cNvSpPr txBox="1"/>
                <p:nvPr/>
              </p:nvSpPr>
              <p:spPr>
                <a:xfrm>
                  <a:off x="7545760"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480</a:t>
                  </a:r>
                </a:p>
              </p:txBody>
            </p:sp>
            <p:sp>
              <p:nvSpPr>
                <p:cNvPr id="45" name="TextBox 44">
                  <a:extLst>
                    <a:ext uri="{FF2B5EF4-FFF2-40B4-BE49-F238E27FC236}">
                      <a16:creationId xmlns:a16="http://schemas.microsoft.com/office/drawing/2014/main" id="{BD0C7678-25E4-4B3C-963F-0FE16CC0644B}"/>
                    </a:ext>
                  </a:extLst>
                </p:cNvPr>
                <p:cNvSpPr txBox="1"/>
                <p:nvPr/>
              </p:nvSpPr>
              <p:spPr>
                <a:xfrm>
                  <a:off x="8114125"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540</a:t>
                  </a:r>
                </a:p>
              </p:txBody>
            </p:sp>
            <p:sp>
              <p:nvSpPr>
                <p:cNvPr id="46" name="TextBox 45">
                  <a:extLst>
                    <a:ext uri="{FF2B5EF4-FFF2-40B4-BE49-F238E27FC236}">
                      <a16:creationId xmlns:a16="http://schemas.microsoft.com/office/drawing/2014/main" id="{14E1BD6D-4434-4EE4-B070-B50E70917FE8}"/>
                    </a:ext>
                  </a:extLst>
                </p:cNvPr>
                <p:cNvSpPr txBox="1"/>
                <p:nvPr/>
              </p:nvSpPr>
              <p:spPr>
                <a:xfrm>
                  <a:off x="8688247"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600</a:t>
                  </a:r>
                </a:p>
              </p:txBody>
            </p:sp>
            <p:sp>
              <p:nvSpPr>
                <p:cNvPr id="47" name="TextBox 46">
                  <a:extLst>
                    <a:ext uri="{FF2B5EF4-FFF2-40B4-BE49-F238E27FC236}">
                      <a16:creationId xmlns:a16="http://schemas.microsoft.com/office/drawing/2014/main" id="{57CF6C5B-6FE8-441E-8F24-8FB596402029}"/>
                    </a:ext>
                  </a:extLst>
                </p:cNvPr>
                <p:cNvSpPr txBox="1"/>
                <p:nvPr/>
              </p:nvSpPr>
              <p:spPr>
                <a:xfrm>
                  <a:off x="9255836"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660</a:t>
                  </a:r>
                </a:p>
              </p:txBody>
            </p:sp>
            <p:sp>
              <p:nvSpPr>
                <p:cNvPr id="48" name="TextBox 47">
                  <a:extLst>
                    <a:ext uri="{FF2B5EF4-FFF2-40B4-BE49-F238E27FC236}">
                      <a16:creationId xmlns:a16="http://schemas.microsoft.com/office/drawing/2014/main" id="{EB3F85DD-38A5-4758-8E7F-0F11C276375E}"/>
                    </a:ext>
                  </a:extLst>
                </p:cNvPr>
                <p:cNvSpPr txBox="1"/>
                <p:nvPr/>
              </p:nvSpPr>
              <p:spPr>
                <a:xfrm>
                  <a:off x="9835152"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720</a:t>
                  </a:r>
                </a:p>
              </p:txBody>
            </p:sp>
            <p:sp>
              <p:nvSpPr>
                <p:cNvPr id="49" name="TextBox 48">
                  <a:extLst>
                    <a:ext uri="{FF2B5EF4-FFF2-40B4-BE49-F238E27FC236}">
                      <a16:creationId xmlns:a16="http://schemas.microsoft.com/office/drawing/2014/main" id="{74AA778F-34BB-4A82-BE25-3CDB34EC2BDA}"/>
                    </a:ext>
                  </a:extLst>
                </p:cNvPr>
                <p:cNvSpPr txBox="1"/>
                <p:nvPr/>
              </p:nvSpPr>
              <p:spPr>
                <a:xfrm>
                  <a:off x="10291821" y="4245015"/>
                  <a:ext cx="187284" cy="182880"/>
                </a:xfrm>
                <a:prstGeom prst="rect">
                  <a:avLst/>
                </a:prstGeom>
                <a:noFill/>
              </p:spPr>
              <p:txBody>
                <a:bodyPr wrap="none" lIns="0" tIns="0" rIns="0" bIns="0" rtlCol="0">
                  <a:no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730</a:t>
                  </a:r>
                </a:p>
              </p:txBody>
            </p:sp>
            <p:sp>
              <p:nvSpPr>
                <p:cNvPr id="50" name="TextBox 49">
                  <a:extLst>
                    <a:ext uri="{FF2B5EF4-FFF2-40B4-BE49-F238E27FC236}">
                      <a16:creationId xmlns:a16="http://schemas.microsoft.com/office/drawing/2014/main" id="{2E605139-447A-4F14-A484-BBE6E13CF937}"/>
                    </a:ext>
                  </a:extLst>
                </p:cNvPr>
                <p:cNvSpPr txBox="1"/>
                <p:nvPr/>
              </p:nvSpPr>
              <p:spPr>
                <a:xfrm>
                  <a:off x="4563009" y="4526204"/>
                  <a:ext cx="3905085" cy="245768"/>
                </a:xfrm>
                <a:prstGeom prst="rect">
                  <a:avLst/>
                </a:prstGeom>
                <a:noFill/>
              </p:spPr>
              <p:txBody>
                <a:bodyPr wrap="none" rtlCol="0" anchor="ctr">
                  <a:spAutoFit/>
                </a:body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S PGothic" charset="0"/>
                      <a:cs typeface="+mn-cs"/>
                    </a:rPr>
                    <a:t>Days from worsening HF onset</a:t>
                  </a:r>
                </a:p>
              </p:txBody>
            </p:sp>
            <p:cxnSp>
              <p:nvCxnSpPr>
                <p:cNvPr id="51" name="Straight Connector 50">
                  <a:extLst>
                    <a:ext uri="{FF2B5EF4-FFF2-40B4-BE49-F238E27FC236}">
                      <a16:creationId xmlns:a16="http://schemas.microsoft.com/office/drawing/2014/main" id="{AD86EC34-259B-4473-B7D3-C909210128BF}"/>
                    </a:ext>
                  </a:extLst>
                </p:cNvPr>
                <p:cNvCxnSpPr/>
                <p:nvPr/>
              </p:nvCxnSpPr>
              <p:spPr>
                <a:xfrm>
                  <a:off x="2662474" y="1630303"/>
                  <a:ext cx="535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EF642E0-B38B-4D8D-AEA7-266EAD74E285}"/>
                    </a:ext>
                  </a:extLst>
                </p:cNvPr>
                <p:cNvCxnSpPr/>
                <p:nvPr/>
              </p:nvCxnSpPr>
              <p:spPr>
                <a:xfrm>
                  <a:off x="2662474" y="2111016"/>
                  <a:ext cx="535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C9C6528-CBD6-415B-81DA-680B271A8218}"/>
                    </a:ext>
                  </a:extLst>
                </p:cNvPr>
                <p:cNvCxnSpPr/>
                <p:nvPr/>
              </p:nvCxnSpPr>
              <p:spPr>
                <a:xfrm>
                  <a:off x="2662474" y="2590706"/>
                  <a:ext cx="535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F9FCE8B-072A-4183-9DDF-B812D26FCEEB}"/>
                    </a:ext>
                  </a:extLst>
                </p:cNvPr>
                <p:cNvCxnSpPr/>
                <p:nvPr/>
              </p:nvCxnSpPr>
              <p:spPr>
                <a:xfrm>
                  <a:off x="2662474" y="3073265"/>
                  <a:ext cx="535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550C461-30C6-433C-A90A-C9D6429119A8}"/>
                    </a:ext>
                  </a:extLst>
                </p:cNvPr>
                <p:cNvCxnSpPr/>
                <p:nvPr/>
              </p:nvCxnSpPr>
              <p:spPr>
                <a:xfrm>
                  <a:off x="2662474" y="3553705"/>
                  <a:ext cx="535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A03F7CF-5682-4A42-BA10-9BA18C4966EE}"/>
                    </a:ext>
                  </a:extLst>
                </p:cNvPr>
                <p:cNvCxnSpPr/>
                <p:nvPr/>
              </p:nvCxnSpPr>
              <p:spPr>
                <a:xfrm>
                  <a:off x="2662474" y="4044037"/>
                  <a:ext cx="535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37A50DC-EB73-4CD9-9FF8-D84F0C3447BF}"/>
                    </a:ext>
                  </a:extLst>
                </p:cNvPr>
                <p:cNvSpPr txBox="1"/>
                <p:nvPr/>
              </p:nvSpPr>
              <p:spPr>
                <a:xfrm>
                  <a:off x="2379642" y="1541361"/>
                  <a:ext cx="267548" cy="182880"/>
                </a:xfrm>
                <a:prstGeom prst="rect">
                  <a:avLst/>
                </a:prstGeom>
                <a:noFill/>
              </p:spPr>
              <p:txBody>
                <a:bodyPr wrap="none" lIns="0" tIns="0" rIns="0" bIns="0" rtlCol="0">
                  <a:no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100</a:t>
                  </a:r>
                </a:p>
              </p:txBody>
            </p:sp>
            <p:sp>
              <p:nvSpPr>
                <p:cNvPr id="58" name="TextBox 57">
                  <a:extLst>
                    <a:ext uri="{FF2B5EF4-FFF2-40B4-BE49-F238E27FC236}">
                      <a16:creationId xmlns:a16="http://schemas.microsoft.com/office/drawing/2014/main" id="{5B56CD16-0912-4C3E-968C-BC85026F1CBC}"/>
                    </a:ext>
                  </a:extLst>
                </p:cNvPr>
                <p:cNvSpPr txBox="1"/>
                <p:nvPr/>
              </p:nvSpPr>
              <p:spPr>
                <a:xfrm>
                  <a:off x="2379642" y="2019828"/>
                  <a:ext cx="267548" cy="182880"/>
                </a:xfrm>
                <a:prstGeom prst="rect">
                  <a:avLst/>
                </a:prstGeom>
                <a:noFill/>
              </p:spPr>
              <p:txBody>
                <a:bodyPr wrap="none" lIns="0" tIns="0" rIns="0" bIns="0" rtlCol="0">
                  <a:no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90</a:t>
                  </a:r>
                </a:p>
              </p:txBody>
            </p:sp>
            <p:sp>
              <p:nvSpPr>
                <p:cNvPr id="59" name="TextBox 58">
                  <a:extLst>
                    <a:ext uri="{FF2B5EF4-FFF2-40B4-BE49-F238E27FC236}">
                      <a16:creationId xmlns:a16="http://schemas.microsoft.com/office/drawing/2014/main" id="{2AE52D83-D868-4910-A809-914F8B075092}"/>
                    </a:ext>
                  </a:extLst>
                </p:cNvPr>
                <p:cNvSpPr txBox="1"/>
                <p:nvPr/>
              </p:nvSpPr>
              <p:spPr>
                <a:xfrm>
                  <a:off x="2379642" y="2500662"/>
                  <a:ext cx="267548" cy="182880"/>
                </a:xfrm>
                <a:prstGeom prst="rect">
                  <a:avLst/>
                </a:prstGeom>
                <a:noFill/>
              </p:spPr>
              <p:txBody>
                <a:bodyPr wrap="none" lIns="0" tIns="0" rIns="0" bIns="0" rtlCol="0">
                  <a:no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80</a:t>
                  </a:r>
                </a:p>
              </p:txBody>
            </p:sp>
            <p:sp>
              <p:nvSpPr>
                <p:cNvPr id="60" name="TextBox 59">
                  <a:extLst>
                    <a:ext uri="{FF2B5EF4-FFF2-40B4-BE49-F238E27FC236}">
                      <a16:creationId xmlns:a16="http://schemas.microsoft.com/office/drawing/2014/main" id="{9321C52B-CD82-47C3-A0AF-F73C308BC15D}"/>
                    </a:ext>
                  </a:extLst>
                </p:cNvPr>
                <p:cNvSpPr txBox="1"/>
                <p:nvPr/>
              </p:nvSpPr>
              <p:spPr>
                <a:xfrm>
                  <a:off x="2379642" y="2981825"/>
                  <a:ext cx="267548" cy="182880"/>
                </a:xfrm>
                <a:prstGeom prst="rect">
                  <a:avLst/>
                </a:prstGeom>
                <a:noFill/>
              </p:spPr>
              <p:txBody>
                <a:bodyPr wrap="none" lIns="0" tIns="0" rIns="0" bIns="0" rtlCol="0">
                  <a:no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70</a:t>
                  </a:r>
                </a:p>
              </p:txBody>
            </p:sp>
            <p:sp>
              <p:nvSpPr>
                <p:cNvPr id="61" name="TextBox 60">
                  <a:extLst>
                    <a:ext uri="{FF2B5EF4-FFF2-40B4-BE49-F238E27FC236}">
                      <a16:creationId xmlns:a16="http://schemas.microsoft.com/office/drawing/2014/main" id="{56E876DA-DFB4-46AF-9498-499136F28BE3}"/>
                    </a:ext>
                  </a:extLst>
                </p:cNvPr>
                <p:cNvSpPr txBox="1"/>
                <p:nvPr/>
              </p:nvSpPr>
              <p:spPr>
                <a:xfrm>
                  <a:off x="2379642" y="3462265"/>
                  <a:ext cx="267548" cy="182880"/>
                </a:xfrm>
                <a:prstGeom prst="rect">
                  <a:avLst/>
                </a:prstGeom>
                <a:noFill/>
              </p:spPr>
              <p:txBody>
                <a:bodyPr wrap="none" lIns="0" tIns="0" rIns="0" bIns="0" rtlCol="0">
                  <a:no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60</a:t>
                  </a:r>
                </a:p>
              </p:txBody>
            </p:sp>
            <p:sp>
              <p:nvSpPr>
                <p:cNvPr id="62" name="TextBox 61">
                  <a:extLst>
                    <a:ext uri="{FF2B5EF4-FFF2-40B4-BE49-F238E27FC236}">
                      <a16:creationId xmlns:a16="http://schemas.microsoft.com/office/drawing/2014/main" id="{E92E052D-BA02-425E-BB16-ADC43EE870C4}"/>
                    </a:ext>
                  </a:extLst>
                </p:cNvPr>
                <p:cNvSpPr txBox="1"/>
                <p:nvPr/>
              </p:nvSpPr>
              <p:spPr>
                <a:xfrm>
                  <a:off x="2379642" y="3952597"/>
                  <a:ext cx="267548" cy="182880"/>
                </a:xfrm>
                <a:prstGeom prst="rect">
                  <a:avLst/>
                </a:prstGeom>
                <a:noFill/>
              </p:spPr>
              <p:txBody>
                <a:bodyPr wrap="none" lIns="0" tIns="0" rIns="0" bIns="0" rtlCol="0">
                  <a:noAutofit/>
                </a:body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charset="0"/>
                      <a:cs typeface="+mn-cs"/>
                    </a:rPr>
                    <a:t>50</a:t>
                  </a:r>
                </a:p>
              </p:txBody>
            </p:sp>
            <p:sp>
              <p:nvSpPr>
                <p:cNvPr id="63" name="Freeform: Shape 62">
                  <a:extLst>
                    <a:ext uri="{FF2B5EF4-FFF2-40B4-BE49-F238E27FC236}">
                      <a16:creationId xmlns:a16="http://schemas.microsoft.com/office/drawing/2014/main" id="{7574DB93-1AEE-4489-B623-FA61C9F72BF9}"/>
                    </a:ext>
                  </a:extLst>
                </p:cNvPr>
                <p:cNvSpPr/>
                <p:nvPr/>
              </p:nvSpPr>
              <p:spPr>
                <a:xfrm>
                  <a:off x="2719816" y="1474316"/>
                  <a:ext cx="7644972" cy="2696220"/>
                </a:xfrm>
                <a:custGeom>
                  <a:avLst/>
                  <a:gdLst>
                    <a:gd name="connsiteX0" fmla="*/ 0 w 3193723"/>
                    <a:gd name="connsiteY0" fmla="*/ 0 h 2411677"/>
                    <a:gd name="connsiteX1" fmla="*/ 0 w 3193723"/>
                    <a:gd name="connsiteY1" fmla="*/ 2411677 h 2411677"/>
                    <a:gd name="connsiteX2" fmla="*/ 3202466 w 3193723"/>
                    <a:gd name="connsiteY2" fmla="*/ 2411677 h 2411677"/>
                  </a:gdLst>
                  <a:ahLst/>
                  <a:cxnLst>
                    <a:cxn ang="0">
                      <a:pos x="connsiteX0" y="connsiteY0"/>
                    </a:cxn>
                    <a:cxn ang="0">
                      <a:pos x="connsiteX1" y="connsiteY1"/>
                    </a:cxn>
                    <a:cxn ang="0">
                      <a:pos x="connsiteX2" y="connsiteY2"/>
                    </a:cxn>
                  </a:cxnLst>
                  <a:rect l="l" t="t" r="r" b="b"/>
                  <a:pathLst>
                    <a:path w="3193723" h="2411677">
                      <a:moveTo>
                        <a:pt x="0" y="0"/>
                      </a:moveTo>
                      <a:lnTo>
                        <a:pt x="0" y="2411677"/>
                      </a:lnTo>
                      <a:lnTo>
                        <a:pt x="3202466" y="2411677"/>
                      </a:lnTo>
                    </a:path>
                  </a:pathLst>
                </a:custGeom>
                <a:noFill/>
                <a:ln w="12700" cap="flat">
                  <a:solidFill>
                    <a:schemeClr val="tx1"/>
                  </a:solidFill>
                  <a:prstDash val="solid"/>
                  <a:miter/>
                </a:ln>
              </p:spPr>
              <p:txBody>
                <a:bodyPr rtlCol="0" anchor="ctr"/>
                <a:lstStyle/>
                <a:p>
                  <a:pPr marL="0" marR="0" lvl="0" indent="0" algn="l" defTabSz="914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S PGothic" charset="0"/>
                    <a:cs typeface="+mn-cs"/>
                  </a:endParaRPr>
                </a:p>
              </p:txBody>
            </p:sp>
          </p:grpSp>
          <p:grpSp>
            <p:nvGrpSpPr>
              <p:cNvPr id="17" name="Group 16">
                <a:extLst>
                  <a:ext uri="{FF2B5EF4-FFF2-40B4-BE49-F238E27FC236}">
                    <a16:creationId xmlns:a16="http://schemas.microsoft.com/office/drawing/2014/main" id="{9E19AE4C-1B60-4C2A-8FBB-CA62679917A8}"/>
                  </a:ext>
                </a:extLst>
              </p:cNvPr>
              <p:cNvGrpSpPr/>
              <p:nvPr/>
            </p:nvGrpSpPr>
            <p:grpSpPr>
              <a:xfrm>
                <a:off x="2962071" y="2011916"/>
                <a:ext cx="7462685" cy="1659827"/>
                <a:chOff x="2962071" y="1590449"/>
                <a:chExt cx="7462685" cy="1659827"/>
              </a:xfrm>
            </p:grpSpPr>
            <p:sp>
              <p:nvSpPr>
                <p:cNvPr id="18" name="Freeform: Shape 17">
                  <a:extLst>
                    <a:ext uri="{FF2B5EF4-FFF2-40B4-BE49-F238E27FC236}">
                      <a16:creationId xmlns:a16="http://schemas.microsoft.com/office/drawing/2014/main" id="{6BD4E88F-7A65-4439-BDB8-1B77AB01A929}"/>
                    </a:ext>
                  </a:extLst>
                </p:cNvPr>
                <p:cNvSpPr/>
                <p:nvPr/>
              </p:nvSpPr>
              <p:spPr>
                <a:xfrm>
                  <a:off x="3541222" y="1883784"/>
                  <a:ext cx="6848474" cy="1366492"/>
                </a:xfrm>
                <a:custGeom>
                  <a:avLst/>
                  <a:gdLst>
                    <a:gd name="connsiteX0" fmla="*/ 2853877 w 2849618"/>
                    <a:gd name="connsiteY0" fmla="*/ 1238964 h 1232875"/>
                    <a:gd name="connsiteX1" fmla="*/ 2853877 w 2849618"/>
                    <a:gd name="connsiteY1" fmla="*/ 1003063 h 1232875"/>
                    <a:gd name="connsiteX2" fmla="*/ 2809519 w 2849618"/>
                    <a:gd name="connsiteY2" fmla="*/ 1003063 h 1232875"/>
                    <a:gd name="connsiteX3" fmla="*/ 2809519 w 2849618"/>
                    <a:gd name="connsiteY3" fmla="*/ 992930 h 1232875"/>
                    <a:gd name="connsiteX4" fmla="*/ 2761797 w 2849618"/>
                    <a:gd name="connsiteY4" fmla="*/ 992930 h 1232875"/>
                    <a:gd name="connsiteX5" fmla="*/ 2761797 w 2849618"/>
                    <a:gd name="connsiteY5" fmla="*/ 976026 h 1232875"/>
                    <a:gd name="connsiteX6" fmla="*/ 2714084 w 2849618"/>
                    <a:gd name="connsiteY6" fmla="*/ 976026 h 1232875"/>
                    <a:gd name="connsiteX7" fmla="*/ 2714084 w 2849618"/>
                    <a:gd name="connsiteY7" fmla="*/ 958453 h 1232875"/>
                    <a:gd name="connsiteX8" fmla="*/ 2507750 w 2849618"/>
                    <a:gd name="connsiteY8" fmla="*/ 958453 h 1232875"/>
                    <a:gd name="connsiteX9" fmla="*/ 2507750 w 2849618"/>
                    <a:gd name="connsiteY9" fmla="*/ 940208 h 1232875"/>
                    <a:gd name="connsiteX10" fmla="*/ 2433155 w 2849618"/>
                    <a:gd name="connsiteY10" fmla="*/ 940208 h 1232875"/>
                    <a:gd name="connsiteX11" fmla="*/ 2433155 w 2849618"/>
                    <a:gd name="connsiteY11" fmla="*/ 930064 h 1232875"/>
                    <a:gd name="connsiteX12" fmla="*/ 2347795 w 2849618"/>
                    <a:gd name="connsiteY12" fmla="*/ 930064 h 1232875"/>
                    <a:gd name="connsiteX13" fmla="*/ 2347795 w 2849618"/>
                    <a:gd name="connsiteY13" fmla="*/ 919249 h 1232875"/>
                    <a:gd name="connsiteX14" fmla="*/ 2309492 w 2849618"/>
                    <a:gd name="connsiteY14" fmla="*/ 919249 h 1232875"/>
                    <a:gd name="connsiteX15" fmla="*/ 2309492 w 2849618"/>
                    <a:gd name="connsiteY15" fmla="*/ 913842 h 1232875"/>
                    <a:gd name="connsiteX16" fmla="*/ 2261102 w 2849618"/>
                    <a:gd name="connsiteY16" fmla="*/ 913842 h 1232875"/>
                    <a:gd name="connsiteX17" fmla="*/ 2261102 w 2849618"/>
                    <a:gd name="connsiteY17" fmla="*/ 897620 h 1232875"/>
                    <a:gd name="connsiteX18" fmla="*/ 2234219 w 2849618"/>
                    <a:gd name="connsiteY18" fmla="*/ 897620 h 1232875"/>
                    <a:gd name="connsiteX19" fmla="*/ 2234219 w 2849618"/>
                    <a:gd name="connsiteY19" fmla="*/ 890190 h 1232875"/>
                    <a:gd name="connsiteX20" fmla="*/ 2225477 w 2849618"/>
                    <a:gd name="connsiteY20" fmla="*/ 890190 h 1232875"/>
                    <a:gd name="connsiteX21" fmla="*/ 2225477 w 2849618"/>
                    <a:gd name="connsiteY21" fmla="*/ 884783 h 1232875"/>
                    <a:gd name="connsiteX22" fmla="*/ 2181797 w 2849618"/>
                    <a:gd name="connsiteY22" fmla="*/ 884783 h 1232875"/>
                    <a:gd name="connsiteX23" fmla="*/ 2181797 w 2849618"/>
                    <a:gd name="connsiteY23" fmla="*/ 875990 h 1232875"/>
                    <a:gd name="connsiteX24" fmla="*/ 2142139 w 2849618"/>
                    <a:gd name="connsiteY24" fmla="*/ 875990 h 1232875"/>
                    <a:gd name="connsiteX25" fmla="*/ 2142139 w 2849618"/>
                    <a:gd name="connsiteY25" fmla="*/ 866528 h 1232875"/>
                    <a:gd name="connsiteX26" fmla="*/ 2134074 w 2849618"/>
                    <a:gd name="connsiteY26" fmla="*/ 866528 h 1232875"/>
                    <a:gd name="connsiteX27" fmla="*/ 2134074 w 2849618"/>
                    <a:gd name="connsiteY27" fmla="*/ 859768 h 1232875"/>
                    <a:gd name="connsiteX28" fmla="*/ 2086362 w 2849618"/>
                    <a:gd name="connsiteY28" fmla="*/ 859768 h 1232875"/>
                    <a:gd name="connsiteX29" fmla="*/ 2086362 w 2849618"/>
                    <a:gd name="connsiteY29" fmla="*/ 852339 h 1232875"/>
                    <a:gd name="connsiteX30" fmla="*/ 2045359 w 2849618"/>
                    <a:gd name="connsiteY30" fmla="*/ 852339 h 1232875"/>
                    <a:gd name="connsiteX31" fmla="*/ 2045359 w 2849618"/>
                    <a:gd name="connsiteY31" fmla="*/ 845580 h 1232875"/>
                    <a:gd name="connsiteX32" fmla="*/ 1981517 w 2849618"/>
                    <a:gd name="connsiteY32" fmla="*/ 845580 h 1232875"/>
                    <a:gd name="connsiteX33" fmla="*/ 1981517 w 2849618"/>
                    <a:gd name="connsiteY33" fmla="*/ 832732 h 1232875"/>
                    <a:gd name="connsiteX34" fmla="*/ 1939848 w 2849618"/>
                    <a:gd name="connsiteY34" fmla="*/ 832732 h 1232875"/>
                    <a:gd name="connsiteX35" fmla="*/ 1939848 w 2849618"/>
                    <a:gd name="connsiteY35" fmla="*/ 818543 h 1232875"/>
                    <a:gd name="connsiteX36" fmla="*/ 1881372 w 2849618"/>
                    <a:gd name="connsiteY36" fmla="*/ 818543 h 1232875"/>
                    <a:gd name="connsiteX37" fmla="*/ 1881372 w 2849618"/>
                    <a:gd name="connsiteY37" fmla="*/ 806376 h 1232875"/>
                    <a:gd name="connsiteX38" fmla="*/ 1822906 w 2849618"/>
                    <a:gd name="connsiteY38" fmla="*/ 806376 h 1232875"/>
                    <a:gd name="connsiteX39" fmla="*/ 1822906 w 2849618"/>
                    <a:gd name="connsiteY39" fmla="*/ 794880 h 1232875"/>
                    <a:gd name="connsiteX40" fmla="*/ 1746956 w 2849618"/>
                    <a:gd name="connsiteY40" fmla="*/ 794880 h 1232875"/>
                    <a:gd name="connsiteX41" fmla="*/ 1746956 w 2849618"/>
                    <a:gd name="connsiteY41" fmla="*/ 784066 h 1232875"/>
                    <a:gd name="connsiteX42" fmla="*/ 1714029 w 2849618"/>
                    <a:gd name="connsiteY42" fmla="*/ 784066 h 1232875"/>
                    <a:gd name="connsiteX43" fmla="*/ 1714029 w 2849618"/>
                    <a:gd name="connsiteY43" fmla="*/ 775955 h 1232875"/>
                    <a:gd name="connsiteX44" fmla="*/ 1700588 w 2849618"/>
                    <a:gd name="connsiteY44" fmla="*/ 775955 h 1232875"/>
                    <a:gd name="connsiteX45" fmla="*/ 1700588 w 2849618"/>
                    <a:gd name="connsiteY45" fmla="*/ 767843 h 1232875"/>
                    <a:gd name="connsiteX46" fmla="*/ 1689157 w 2849618"/>
                    <a:gd name="connsiteY46" fmla="*/ 767843 h 1232875"/>
                    <a:gd name="connsiteX47" fmla="*/ 1689157 w 2849618"/>
                    <a:gd name="connsiteY47" fmla="*/ 752303 h 1232875"/>
                    <a:gd name="connsiteX48" fmla="*/ 1616572 w 2849618"/>
                    <a:gd name="connsiteY48" fmla="*/ 752303 h 1232875"/>
                    <a:gd name="connsiteX49" fmla="*/ 1616572 w 2849618"/>
                    <a:gd name="connsiteY49" fmla="*/ 740136 h 1232875"/>
                    <a:gd name="connsiteX50" fmla="*/ 1596410 w 2849618"/>
                    <a:gd name="connsiteY50" fmla="*/ 740136 h 1232875"/>
                    <a:gd name="connsiteX51" fmla="*/ 1596410 w 2849618"/>
                    <a:gd name="connsiteY51" fmla="*/ 727970 h 1232875"/>
                    <a:gd name="connsiteX52" fmla="*/ 1591711 w 2849618"/>
                    <a:gd name="connsiteY52" fmla="*/ 727970 h 1232875"/>
                    <a:gd name="connsiteX53" fmla="*/ 1591711 w 2849618"/>
                    <a:gd name="connsiteY53" fmla="*/ 716474 h 1232875"/>
                    <a:gd name="connsiteX54" fmla="*/ 1568860 w 2849618"/>
                    <a:gd name="connsiteY54" fmla="*/ 716474 h 1232875"/>
                    <a:gd name="connsiteX55" fmla="*/ 1568860 w 2849618"/>
                    <a:gd name="connsiteY55" fmla="*/ 707011 h 1232875"/>
                    <a:gd name="connsiteX56" fmla="*/ 1496275 w 2849618"/>
                    <a:gd name="connsiteY56" fmla="*/ 707011 h 1232875"/>
                    <a:gd name="connsiteX57" fmla="*/ 1496275 w 2849618"/>
                    <a:gd name="connsiteY57" fmla="*/ 693492 h 1232875"/>
                    <a:gd name="connsiteX58" fmla="*/ 1459306 w 2849618"/>
                    <a:gd name="connsiteY58" fmla="*/ 693492 h 1232875"/>
                    <a:gd name="connsiteX59" fmla="*/ 1459306 w 2849618"/>
                    <a:gd name="connsiteY59" fmla="*/ 673896 h 1232875"/>
                    <a:gd name="connsiteX60" fmla="*/ 1356483 w 2849618"/>
                    <a:gd name="connsiteY60" fmla="*/ 673896 h 1232875"/>
                    <a:gd name="connsiteX61" fmla="*/ 1356483 w 2849618"/>
                    <a:gd name="connsiteY61" fmla="*/ 659026 h 1232875"/>
                    <a:gd name="connsiteX62" fmla="*/ 1306749 w 2849618"/>
                    <a:gd name="connsiteY62" fmla="*/ 659026 h 1232875"/>
                    <a:gd name="connsiteX63" fmla="*/ 1306749 w 2849618"/>
                    <a:gd name="connsiteY63" fmla="*/ 648882 h 1232875"/>
                    <a:gd name="connsiteX64" fmla="*/ 1273145 w 2849618"/>
                    <a:gd name="connsiteY64" fmla="*/ 648882 h 1232875"/>
                    <a:gd name="connsiteX65" fmla="*/ 1273145 w 2849618"/>
                    <a:gd name="connsiteY65" fmla="*/ 640771 h 1232875"/>
                    <a:gd name="connsiteX66" fmla="*/ 1205260 w 2849618"/>
                    <a:gd name="connsiteY66" fmla="*/ 640771 h 1232875"/>
                    <a:gd name="connsiteX67" fmla="*/ 1205260 w 2849618"/>
                    <a:gd name="connsiteY67" fmla="*/ 624549 h 1232875"/>
                    <a:gd name="connsiteX68" fmla="*/ 1158214 w 2849618"/>
                    <a:gd name="connsiteY68" fmla="*/ 624549 h 1232875"/>
                    <a:gd name="connsiteX69" fmla="*/ 1158214 w 2849618"/>
                    <a:gd name="connsiteY69" fmla="*/ 613064 h 1232875"/>
                    <a:gd name="connsiteX70" fmla="*/ 1123266 w 2849618"/>
                    <a:gd name="connsiteY70" fmla="*/ 613064 h 1232875"/>
                    <a:gd name="connsiteX71" fmla="*/ 1123266 w 2849618"/>
                    <a:gd name="connsiteY71" fmla="*/ 605623 h 1232875"/>
                    <a:gd name="connsiteX72" fmla="*/ 1099071 w 2849618"/>
                    <a:gd name="connsiteY72" fmla="*/ 605623 h 1232875"/>
                    <a:gd name="connsiteX73" fmla="*/ 1099071 w 2849618"/>
                    <a:gd name="connsiteY73" fmla="*/ 598864 h 1232875"/>
                    <a:gd name="connsiteX74" fmla="*/ 1090339 w 2849618"/>
                    <a:gd name="connsiteY74" fmla="*/ 598864 h 1232875"/>
                    <a:gd name="connsiteX75" fmla="*/ 1090339 w 2849618"/>
                    <a:gd name="connsiteY75" fmla="*/ 589401 h 1232875"/>
                    <a:gd name="connsiteX76" fmla="*/ 1074876 w 2849618"/>
                    <a:gd name="connsiteY76" fmla="*/ 589401 h 1232875"/>
                    <a:gd name="connsiteX77" fmla="*/ 1074876 w 2849618"/>
                    <a:gd name="connsiteY77" fmla="*/ 580619 h 1232875"/>
                    <a:gd name="connsiteX78" fmla="*/ 1034691 w 2849618"/>
                    <a:gd name="connsiteY78" fmla="*/ 580619 h 1232875"/>
                    <a:gd name="connsiteX79" fmla="*/ 1034691 w 2849618"/>
                    <a:gd name="connsiteY79" fmla="*/ 571157 h 1232875"/>
                    <a:gd name="connsiteX80" fmla="*/ 1010356 w 2849618"/>
                    <a:gd name="connsiteY80" fmla="*/ 571157 h 1232875"/>
                    <a:gd name="connsiteX81" fmla="*/ 1010356 w 2849618"/>
                    <a:gd name="connsiteY81" fmla="*/ 561694 h 1232875"/>
                    <a:gd name="connsiteX82" fmla="*/ 988850 w 2849618"/>
                    <a:gd name="connsiteY82" fmla="*/ 561694 h 1232875"/>
                    <a:gd name="connsiteX83" fmla="*/ 988850 w 2849618"/>
                    <a:gd name="connsiteY83" fmla="*/ 551550 h 1232875"/>
                    <a:gd name="connsiteX84" fmla="*/ 956590 w 2849618"/>
                    <a:gd name="connsiteY84" fmla="*/ 551550 h 1232875"/>
                    <a:gd name="connsiteX85" fmla="*/ 956590 w 2849618"/>
                    <a:gd name="connsiteY85" fmla="*/ 542087 h 1232875"/>
                    <a:gd name="connsiteX86" fmla="*/ 910889 w 2849618"/>
                    <a:gd name="connsiteY86" fmla="*/ 542087 h 1232875"/>
                    <a:gd name="connsiteX87" fmla="*/ 910889 w 2849618"/>
                    <a:gd name="connsiteY87" fmla="*/ 532624 h 1232875"/>
                    <a:gd name="connsiteX88" fmla="*/ 887027 w 2849618"/>
                    <a:gd name="connsiteY88" fmla="*/ 532624 h 1232875"/>
                    <a:gd name="connsiteX89" fmla="*/ 887027 w 2849618"/>
                    <a:gd name="connsiteY89" fmla="*/ 517418 h 1232875"/>
                    <a:gd name="connsiteX90" fmla="*/ 873586 w 2849618"/>
                    <a:gd name="connsiteY90" fmla="*/ 517418 h 1232875"/>
                    <a:gd name="connsiteX91" fmla="*/ 873586 w 2849618"/>
                    <a:gd name="connsiteY91" fmla="*/ 505922 h 1232875"/>
                    <a:gd name="connsiteX92" fmla="*/ 858133 w 2849618"/>
                    <a:gd name="connsiteY92" fmla="*/ 505922 h 1232875"/>
                    <a:gd name="connsiteX93" fmla="*/ 858133 w 2849618"/>
                    <a:gd name="connsiteY93" fmla="*/ 499163 h 1232875"/>
                    <a:gd name="connsiteX94" fmla="*/ 853767 w 2849618"/>
                    <a:gd name="connsiteY94" fmla="*/ 499163 h 1232875"/>
                    <a:gd name="connsiteX95" fmla="*/ 853767 w 2849618"/>
                    <a:gd name="connsiteY95" fmla="*/ 492404 h 1232875"/>
                    <a:gd name="connsiteX96" fmla="*/ 848047 w 2849618"/>
                    <a:gd name="connsiteY96" fmla="*/ 492404 h 1232875"/>
                    <a:gd name="connsiteX97" fmla="*/ 848047 w 2849618"/>
                    <a:gd name="connsiteY97" fmla="*/ 485645 h 1232875"/>
                    <a:gd name="connsiteX98" fmla="*/ 839648 w 2849618"/>
                    <a:gd name="connsiteY98" fmla="*/ 485645 h 1232875"/>
                    <a:gd name="connsiteX99" fmla="*/ 839648 w 2849618"/>
                    <a:gd name="connsiteY99" fmla="*/ 478215 h 1232875"/>
                    <a:gd name="connsiteX100" fmla="*/ 830239 w 2849618"/>
                    <a:gd name="connsiteY100" fmla="*/ 478215 h 1232875"/>
                    <a:gd name="connsiteX101" fmla="*/ 830239 w 2849618"/>
                    <a:gd name="connsiteY101" fmla="*/ 473824 h 1232875"/>
                    <a:gd name="connsiteX102" fmla="*/ 821163 w 2849618"/>
                    <a:gd name="connsiteY102" fmla="*/ 473824 h 1232875"/>
                    <a:gd name="connsiteX103" fmla="*/ 821163 w 2849618"/>
                    <a:gd name="connsiteY103" fmla="*/ 465713 h 1232875"/>
                    <a:gd name="connsiteX104" fmla="*/ 809066 w 2849618"/>
                    <a:gd name="connsiteY104" fmla="*/ 465713 h 1232875"/>
                    <a:gd name="connsiteX105" fmla="*/ 809066 w 2849618"/>
                    <a:gd name="connsiteY105" fmla="*/ 460976 h 1232875"/>
                    <a:gd name="connsiteX106" fmla="*/ 789247 w 2849618"/>
                    <a:gd name="connsiteY106" fmla="*/ 460976 h 1232875"/>
                    <a:gd name="connsiteX107" fmla="*/ 789247 w 2849618"/>
                    <a:gd name="connsiteY107" fmla="*/ 453201 h 1232875"/>
                    <a:gd name="connsiteX108" fmla="*/ 778150 w 2849618"/>
                    <a:gd name="connsiteY108" fmla="*/ 453201 h 1232875"/>
                    <a:gd name="connsiteX109" fmla="*/ 778150 w 2849618"/>
                    <a:gd name="connsiteY109" fmla="*/ 434956 h 1232875"/>
                    <a:gd name="connsiteX110" fmla="*/ 738836 w 2849618"/>
                    <a:gd name="connsiteY110" fmla="*/ 434956 h 1232875"/>
                    <a:gd name="connsiteX111" fmla="*/ 738836 w 2849618"/>
                    <a:gd name="connsiteY111" fmla="*/ 426510 h 1232875"/>
                    <a:gd name="connsiteX112" fmla="*/ 713297 w 2849618"/>
                    <a:gd name="connsiteY112" fmla="*/ 426510 h 1232875"/>
                    <a:gd name="connsiteX113" fmla="*/ 713297 w 2849618"/>
                    <a:gd name="connsiteY113" fmla="*/ 416701 h 1232875"/>
                    <a:gd name="connsiteX114" fmla="*/ 704565 w 2849618"/>
                    <a:gd name="connsiteY114" fmla="*/ 416701 h 1232875"/>
                    <a:gd name="connsiteX115" fmla="*/ 704565 w 2849618"/>
                    <a:gd name="connsiteY115" fmla="*/ 410288 h 1232875"/>
                    <a:gd name="connsiteX116" fmla="*/ 696834 w 2849618"/>
                    <a:gd name="connsiteY116" fmla="*/ 410288 h 1232875"/>
                    <a:gd name="connsiteX117" fmla="*/ 696834 w 2849618"/>
                    <a:gd name="connsiteY117" fmla="*/ 400144 h 1232875"/>
                    <a:gd name="connsiteX118" fmla="*/ 668607 w 2849618"/>
                    <a:gd name="connsiteY118" fmla="*/ 400144 h 1232875"/>
                    <a:gd name="connsiteX119" fmla="*/ 668607 w 2849618"/>
                    <a:gd name="connsiteY119" fmla="*/ 390010 h 1232875"/>
                    <a:gd name="connsiteX120" fmla="*/ 659531 w 2849618"/>
                    <a:gd name="connsiteY120" fmla="*/ 390010 h 1232875"/>
                    <a:gd name="connsiteX121" fmla="*/ 659531 w 2849618"/>
                    <a:gd name="connsiteY121" fmla="*/ 384257 h 1232875"/>
                    <a:gd name="connsiteX122" fmla="*/ 655165 w 2849618"/>
                    <a:gd name="connsiteY122" fmla="*/ 384257 h 1232875"/>
                    <a:gd name="connsiteX123" fmla="*/ 655165 w 2849618"/>
                    <a:gd name="connsiteY123" fmla="*/ 376146 h 1232875"/>
                    <a:gd name="connsiteX124" fmla="*/ 644078 w 2849618"/>
                    <a:gd name="connsiteY124" fmla="*/ 376146 h 1232875"/>
                    <a:gd name="connsiteX125" fmla="*/ 644078 w 2849618"/>
                    <a:gd name="connsiteY125" fmla="*/ 368381 h 1232875"/>
                    <a:gd name="connsiteX126" fmla="*/ 638024 w 2849618"/>
                    <a:gd name="connsiteY126" fmla="*/ 368381 h 1232875"/>
                    <a:gd name="connsiteX127" fmla="*/ 638024 w 2849618"/>
                    <a:gd name="connsiteY127" fmla="*/ 365677 h 1232875"/>
                    <a:gd name="connsiteX128" fmla="*/ 628282 w 2849618"/>
                    <a:gd name="connsiteY128" fmla="*/ 365677 h 1232875"/>
                    <a:gd name="connsiteX129" fmla="*/ 628282 w 2849618"/>
                    <a:gd name="connsiteY129" fmla="*/ 358237 h 1232875"/>
                    <a:gd name="connsiteX130" fmla="*/ 580903 w 2849618"/>
                    <a:gd name="connsiteY130" fmla="*/ 358237 h 1232875"/>
                    <a:gd name="connsiteX131" fmla="*/ 580903 w 2849618"/>
                    <a:gd name="connsiteY131" fmla="*/ 346406 h 1232875"/>
                    <a:gd name="connsiteX132" fmla="*/ 564773 w 2849618"/>
                    <a:gd name="connsiteY132" fmla="*/ 346406 h 1232875"/>
                    <a:gd name="connsiteX133" fmla="*/ 564773 w 2849618"/>
                    <a:gd name="connsiteY133" fmla="*/ 337289 h 1232875"/>
                    <a:gd name="connsiteX134" fmla="*/ 551331 w 2849618"/>
                    <a:gd name="connsiteY134" fmla="*/ 337289 h 1232875"/>
                    <a:gd name="connsiteX135" fmla="*/ 551331 w 2849618"/>
                    <a:gd name="connsiteY135" fmla="*/ 330530 h 1232875"/>
                    <a:gd name="connsiteX136" fmla="*/ 545277 w 2849618"/>
                    <a:gd name="connsiteY136" fmla="*/ 330530 h 1232875"/>
                    <a:gd name="connsiteX137" fmla="*/ 545277 w 2849618"/>
                    <a:gd name="connsiteY137" fmla="*/ 321737 h 1232875"/>
                    <a:gd name="connsiteX138" fmla="*/ 534857 w 2849618"/>
                    <a:gd name="connsiteY138" fmla="*/ 321737 h 1232875"/>
                    <a:gd name="connsiteX139" fmla="*/ 534857 w 2849618"/>
                    <a:gd name="connsiteY139" fmla="*/ 316330 h 1232875"/>
                    <a:gd name="connsiteX140" fmla="*/ 528481 w 2849618"/>
                    <a:gd name="connsiteY140" fmla="*/ 316330 h 1232875"/>
                    <a:gd name="connsiteX141" fmla="*/ 528481 w 2849618"/>
                    <a:gd name="connsiteY141" fmla="*/ 305515 h 1232875"/>
                    <a:gd name="connsiteX142" fmla="*/ 507307 w 2849618"/>
                    <a:gd name="connsiteY142" fmla="*/ 305515 h 1232875"/>
                    <a:gd name="connsiteX143" fmla="*/ 507307 w 2849618"/>
                    <a:gd name="connsiteY143" fmla="*/ 295036 h 1232875"/>
                    <a:gd name="connsiteX144" fmla="*/ 501931 w 2849618"/>
                    <a:gd name="connsiteY144" fmla="*/ 295036 h 1232875"/>
                    <a:gd name="connsiteX145" fmla="*/ 501931 w 2849618"/>
                    <a:gd name="connsiteY145" fmla="*/ 290310 h 1232875"/>
                    <a:gd name="connsiteX146" fmla="*/ 495210 w 2849618"/>
                    <a:gd name="connsiteY146" fmla="*/ 290310 h 1232875"/>
                    <a:gd name="connsiteX147" fmla="*/ 495210 w 2849618"/>
                    <a:gd name="connsiteY147" fmla="*/ 284221 h 1232875"/>
                    <a:gd name="connsiteX148" fmla="*/ 490500 w 2849618"/>
                    <a:gd name="connsiteY148" fmla="*/ 284221 h 1232875"/>
                    <a:gd name="connsiteX149" fmla="*/ 490500 w 2849618"/>
                    <a:gd name="connsiteY149" fmla="*/ 278814 h 1232875"/>
                    <a:gd name="connsiteX150" fmla="*/ 485123 w 2849618"/>
                    <a:gd name="connsiteY150" fmla="*/ 278814 h 1232875"/>
                    <a:gd name="connsiteX151" fmla="*/ 485123 w 2849618"/>
                    <a:gd name="connsiteY151" fmla="*/ 273071 h 1232875"/>
                    <a:gd name="connsiteX152" fmla="*/ 481435 w 2849618"/>
                    <a:gd name="connsiteY152" fmla="*/ 273071 h 1232875"/>
                    <a:gd name="connsiteX153" fmla="*/ 481435 w 2849618"/>
                    <a:gd name="connsiteY153" fmla="*/ 266312 h 1232875"/>
                    <a:gd name="connsiteX154" fmla="*/ 475381 w 2849618"/>
                    <a:gd name="connsiteY154" fmla="*/ 266312 h 1232875"/>
                    <a:gd name="connsiteX155" fmla="*/ 475381 w 2849618"/>
                    <a:gd name="connsiteY155" fmla="*/ 262256 h 1232875"/>
                    <a:gd name="connsiteX156" fmla="*/ 467993 w 2849618"/>
                    <a:gd name="connsiteY156" fmla="*/ 262256 h 1232875"/>
                    <a:gd name="connsiteX157" fmla="*/ 467993 w 2849618"/>
                    <a:gd name="connsiteY157" fmla="*/ 258201 h 1232875"/>
                    <a:gd name="connsiteX158" fmla="*/ 461939 w 2849618"/>
                    <a:gd name="connsiteY158" fmla="*/ 258201 h 1232875"/>
                    <a:gd name="connsiteX159" fmla="*/ 461939 w 2849618"/>
                    <a:gd name="connsiteY159" fmla="*/ 251106 h 1232875"/>
                    <a:gd name="connsiteX160" fmla="*/ 448498 w 2849618"/>
                    <a:gd name="connsiteY160" fmla="*/ 251106 h 1232875"/>
                    <a:gd name="connsiteX161" fmla="*/ 448498 w 2849618"/>
                    <a:gd name="connsiteY161" fmla="*/ 242314 h 1232875"/>
                    <a:gd name="connsiteX162" fmla="*/ 436067 w 2849618"/>
                    <a:gd name="connsiteY162" fmla="*/ 242314 h 1232875"/>
                    <a:gd name="connsiteX163" fmla="*/ 436067 w 2849618"/>
                    <a:gd name="connsiteY163" fmla="*/ 238940 h 1232875"/>
                    <a:gd name="connsiteX164" fmla="*/ 407506 w 2849618"/>
                    <a:gd name="connsiteY164" fmla="*/ 238940 h 1232875"/>
                    <a:gd name="connsiteX165" fmla="*/ 407506 w 2849618"/>
                    <a:gd name="connsiteY165" fmla="*/ 225421 h 1232875"/>
                    <a:gd name="connsiteX166" fmla="*/ 383978 w 2849618"/>
                    <a:gd name="connsiteY166" fmla="*/ 225421 h 1232875"/>
                    <a:gd name="connsiteX167" fmla="*/ 383978 w 2849618"/>
                    <a:gd name="connsiteY167" fmla="*/ 204463 h 1232875"/>
                    <a:gd name="connsiteX168" fmla="*/ 339621 w 2849618"/>
                    <a:gd name="connsiteY168" fmla="*/ 204463 h 1232875"/>
                    <a:gd name="connsiteX169" fmla="*/ 339621 w 2849618"/>
                    <a:gd name="connsiteY169" fmla="*/ 194329 h 1232875"/>
                    <a:gd name="connsiteX170" fmla="*/ 321136 w 2849618"/>
                    <a:gd name="connsiteY170" fmla="*/ 194329 h 1232875"/>
                    <a:gd name="connsiteX171" fmla="*/ 321136 w 2849618"/>
                    <a:gd name="connsiteY171" fmla="*/ 185883 h 1232875"/>
                    <a:gd name="connsiteX172" fmla="*/ 300974 w 2849618"/>
                    <a:gd name="connsiteY172" fmla="*/ 185883 h 1232875"/>
                    <a:gd name="connsiteX173" fmla="*/ 300974 w 2849618"/>
                    <a:gd name="connsiteY173" fmla="*/ 178442 h 1232875"/>
                    <a:gd name="connsiteX174" fmla="*/ 281489 w 2849618"/>
                    <a:gd name="connsiteY174" fmla="*/ 178442 h 1232875"/>
                    <a:gd name="connsiteX175" fmla="*/ 281489 w 2849618"/>
                    <a:gd name="connsiteY175" fmla="*/ 162556 h 1232875"/>
                    <a:gd name="connsiteX176" fmla="*/ 268380 w 2849618"/>
                    <a:gd name="connsiteY176" fmla="*/ 162556 h 1232875"/>
                    <a:gd name="connsiteX177" fmla="*/ 268380 w 2849618"/>
                    <a:gd name="connsiteY177" fmla="*/ 149037 h 1232875"/>
                    <a:gd name="connsiteX178" fmla="*/ 245196 w 2849618"/>
                    <a:gd name="connsiteY178" fmla="*/ 149037 h 1232875"/>
                    <a:gd name="connsiteX179" fmla="*/ 245196 w 2849618"/>
                    <a:gd name="connsiteY179" fmla="*/ 142959 h 1232875"/>
                    <a:gd name="connsiteX180" fmla="*/ 219324 w 2849618"/>
                    <a:gd name="connsiteY180" fmla="*/ 142959 h 1232875"/>
                    <a:gd name="connsiteX181" fmla="*/ 219324 w 2849618"/>
                    <a:gd name="connsiteY181" fmla="*/ 133832 h 1232875"/>
                    <a:gd name="connsiteX182" fmla="*/ 205882 w 2849618"/>
                    <a:gd name="connsiteY182" fmla="*/ 133832 h 1232875"/>
                    <a:gd name="connsiteX183" fmla="*/ 205882 w 2849618"/>
                    <a:gd name="connsiteY183" fmla="*/ 128425 h 1232875"/>
                    <a:gd name="connsiteX184" fmla="*/ 200839 w 2849618"/>
                    <a:gd name="connsiteY184" fmla="*/ 128425 h 1232875"/>
                    <a:gd name="connsiteX185" fmla="*/ 200839 w 2849618"/>
                    <a:gd name="connsiteY185" fmla="*/ 111532 h 1232875"/>
                    <a:gd name="connsiteX186" fmla="*/ 189408 w 2849618"/>
                    <a:gd name="connsiteY186" fmla="*/ 111532 h 1232875"/>
                    <a:gd name="connsiteX187" fmla="*/ 189408 w 2849618"/>
                    <a:gd name="connsiteY187" fmla="*/ 105108 h 1232875"/>
                    <a:gd name="connsiteX188" fmla="*/ 173956 w 2849618"/>
                    <a:gd name="connsiteY188" fmla="*/ 105108 h 1232875"/>
                    <a:gd name="connsiteX189" fmla="*/ 173956 w 2849618"/>
                    <a:gd name="connsiteY189" fmla="*/ 98684 h 1232875"/>
                    <a:gd name="connsiteX190" fmla="*/ 157826 w 2849618"/>
                    <a:gd name="connsiteY190" fmla="*/ 98684 h 1232875"/>
                    <a:gd name="connsiteX191" fmla="*/ 157826 w 2849618"/>
                    <a:gd name="connsiteY191" fmla="*/ 90573 h 1232875"/>
                    <a:gd name="connsiteX192" fmla="*/ 147073 w 2849618"/>
                    <a:gd name="connsiteY192" fmla="*/ 90573 h 1232875"/>
                    <a:gd name="connsiteX193" fmla="*/ 147073 w 2849618"/>
                    <a:gd name="connsiteY193" fmla="*/ 78742 h 1232875"/>
                    <a:gd name="connsiteX194" fmla="*/ 107415 w 2849618"/>
                    <a:gd name="connsiteY194" fmla="*/ 78742 h 1232875"/>
                    <a:gd name="connsiteX195" fmla="*/ 107415 w 2849618"/>
                    <a:gd name="connsiteY195" fmla="*/ 63536 h 1232875"/>
                    <a:gd name="connsiteX196" fmla="*/ 87596 w 2849618"/>
                    <a:gd name="connsiteY196" fmla="*/ 63536 h 1232875"/>
                    <a:gd name="connsiteX197" fmla="*/ 87596 w 2849618"/>
                    <a:gd name="connsiteY197" fmla="*/ 56442 h 1232875"/>
                    <a:gd name="connsiteX198" fmla="*/ 80875 w 2849618"/>
                    <a:gd name="connsiteY198" fmla="*/ 56442 h 1232875"/>
                    <a:gd name="connsiteX199" fmla="*/ 80875 w 2849618"/>
                    <a:gd name="connsiteY199" fmla="*/ 49348 h 1232875"/>
                    <a:gd name="connsiteX200" fmla="*/ 76499 w 2849618"/>
                    <a:gd name="connsiteY200" fmla="*/ 49348 h 1232875"/>
                    <a:gd name="connsiteX201" fmla="*/ 76499 w 2849618"/>
                    <a:gd name="connsiteY201" fmla="*/ 41572 h 1232875"/>
                    <a:gd name="connsiteX202" fmla="*/ 66756 w 2849618"/>
                    <a:gd name="connsiteY202" fmla="*/ 41572 h 1232875"/>
                    <a:gd name="connsiteX203" fmla="*/ 66756 w 2849618"/>
                    <a:gd name="connsiteY203" fmla="*/ 35829 h 1232875"/>
                    <a:gd name="connsiteX204" fmla="*/ 48949 w 2849618"/>
                    <a:gd name="connsiteY204" fmla="*/ 35829 h 1232875"/>
                    <a:gd name="connsiteX205" fmla="*/ 48949 w 2849618"/>
                    <a:gd name="connsiteY205" fmla="*/ 23317 h 1232875"/>
                    <a:gd name="connsiteX206" fmla="*/ 33486 w 2849618"/>
                    <a:gd name="connsiteY206" fmla="*/ 23317 h 1232875"/>
                    <a:gd name="connsiteX207" fmla="*/ 33486 w 2849618"/>
                    <a:gd name="connsiteY207" fmla="*/ 13064 h 1232875"/>
                    <a:gd name="connsiteX208" fmla="*/ 29120 w 2849618"/>
                    <a:gd name="connsiteY208" fmla="*/ 13064 h 1232875"/>
                    <a:gd name="connsiteX209" fmla="*/ 29120 w 2849618"/>
                    <a:gd name="connsiteY209" fmla="*/ 4056 h 1232875"/>
                    <a:gd name="connsiteX210" fmla="*/ 18367 w 2849618"/>
                    <a:gd name="connsiteY210" fmla="*/ 4056 h 1232875"/>
                    <a:gd name="connsiteX211" fmla="*/ 18367 w 2849618"/>
                    <a:gd name="connsiteY211" fmla="*/ 0 h 1232875"/>
                    <a:gd name="connsiteX212" fmla="*/ 0 w 2849618"/>
                    <a:gd name="connsiteY212" fmla="*/ 0 h 1232875"/>
                    <a:gd name="connsiteX213" fmla="*/ 0 w 2849618"/>
                    <a:gd name="connsiteY213" fmla="*/ 70750 h 1232875"/>
                    <a:gd name="connsiteX214" fmla="*/ 54659 w 2849618"/>
                    <a:gd name="connsiteY214" fmla="*/ 70750 h 1232875"/>
                    <a:gd name="connsiteX215" fmla="*/ 54659 w 2849618"/>
                    <a:gd name="connsiteY215" fmla="*/ 120314 h 1232875"/>
                    <a:gd name="connsiteX216" fmla="*/ 127695 w 2849618"/>
                    <a:gd name="connsiteY216" fmla="*/ 120314 h 1232875"/>
                    <a:gd name="connsiteX217" fmla="*/ 127695 w 2849618"/>
                    <a:gd name="connsiteY217" fmla="*/ 164470 h 1232875"/>
                    <a:gd name="connsiteX218" fmla="*/ 178322 w 2849618"/>
                    <a:gd name="connsiteY218" fmla="*/ 164470 h 1232875"/>
                    <a:gd name="connsiteX219" fmla="*/ 178322 w 2849618"/>
                    <a:gd name="connsiteY219" fmla="*/ 197823 h 1232875"/>
                    <a:gd name="connsiteX220" fmla="*/ 222227 w 2849618"/>
                    <a:gd name="connsiteY220" fmla="*/ 197823 h 1232875"/>
                    <a:gd name="connsiteX221" fmla="*/ 222227 w 2849618"/>
                    <a:gd name="connsiteY221" fmla="*/ 230267 h 1232875"/>
                    <a:gd name="connsiteX222" fmla="*/ 273305 w 2849618"/>
                    <a:gd name="connsiteY222" fmla="*/ 230267 h 1232875"/>
                    <a:gd name="connsiteX223" fmla="*/ 273305 w 2849618"/>
                    <a:gd name="connsiteY223" fmla="*/ 263608 h 1232875"/>
                    <a:gd name="connsiteX224" fmla="*/ 310049 w 2849618"/>
                    <a:gd name="connsiteY224" fmla="*/ 263608 h 1232875"/>
                    <a:gd name="connsiteX225" fmla="*/ 310049 w 2849618"/>
                    <a:gd name="connsiteY225" fmla="*/ 287044 h 1232875"/>
                    <a:gd name="connsiteX226" fmla="*/ 350374 w 2849618"/>
                    <a:gd name="connsiteY226" fmla="*/ 287044 h 1232875"/>
                    <a:gd name="connsiteX227" fmla="*/ 350374 w 2849618"/>
                    <a:gd name="connsiteY227" fmla="*/ 309571 h 1232875"/>
                    <a:gd name="connsiteX228" fmla="*/ 433260 w 2849618"/>
                    <a:gd name="connsiteY228" fmla="*/ 309571 h 1232875"/>
                    <a:gd name="connsiteX229" fmla="*/ 433260 w 2849618"/>
                    <a:gd name="connsiteY229" fmla="*/ 340209 h 1232875"/>
                    <a:gd name="connsiteX230" fmla="*/ 481209 w 2849618"/>
                    <a:gd name="connsiteY230" fmla="*/ 340209 h 1232875"/>
                    <a:gd name="connsiteX231" fmla="*/ 481209 w 2849618"/>
                    <a:gd name="connsiteY231" fmla="*/ 373561 h 1232875"/>
                    <a:gd name="connsiteX232" fmla="*/ 502264 w 2849618"/>
                    <a:gd name="connsiteY232" fmla="*/ 373561 h 1232875"/>
                    <a:gd name="connsiteX233" fmla="*/ 502264 w 2849618"/>
                    <a:gd name="connsiteY233" fmla="*/ 396543 h 1232875"/>
                    <a:gd name="connsiteX234" fmla="*/ 538556 w 2849618"/>
                    <a:gd name="connsiteY234" fmla="*/ 396543 h 1232875"/>
                    <a:gd name="connsiteX235" fmla="*/ 538556 w 2849618"/>
                    <a:gd name="connsiteY235" fmla="*/ 422671 h 1232875"/>
                    <a:gd name="connsiteX236" fmla="*/ 552450 w 2849618"/>
                    <a:gd name="connsiteY236" fmla="*/ 422671 h 1232875"/>
                    <a:gd name="connsiteX237" fmla="*/ 552450 w 2849618"/>
                    <a:gd name="connsiteY237" fmla="*/ 476301 h 1232875"/>
                    <a:gd name="connsiteX238" fmla="*/ 558267 w 2849618"/>
                    <a:gd name="connsiteY238" fmla="*/ 476301 h 1232875"/>
                    <a:gd name="connsiteX239" fmla="*/ 558267 w 2849618"/>
                    <a:gd name="connsiteY239" fmla="*/ 488013 h 1232875"/>
                    <a:gd name="connsiteX240" fmla="*/ 575741 w 2849618"/>
                    <a:gd name="connsiteY240" fmla="*/ 488013 h 1232875"/>
                    <a:gd name="connsiteX241" fmla="*/ 575741 w 2849618"/>
                    <a:gd name="connsiteY241" fmla="*/ 494318 h 1232875"/>
                    <a:gd name="connsiteX242" fmla="*/ 606657 w 2849618"/>
                    <a:gd name="connsiteY242" fmla="*/ 494318 h 1232875"/>
                    <a:gd name="connsiteX243" fmla="*/ 606657 w 2849618"/>
                    <a:gd name="connsiteY243" fmla="*/ 506041 h 1232875"/>
                    <a:gd name="connsiteX244" fmla="*/ 640261 w 2849618"/>
                    <a:gd name="connsiteY244" fmla="*/ 506041 h 1232875"/>
                    <a:gd name="connsiteX245" fmla="*/ 640261 w 2849618"/>
                    <a:gd name="connsiteY245" fmla="*/ 526762 h 1232875"/>
                    <a:gd name="connsiteX246" fmla="*/ 654606 w 2849618"/>
                    <a:gd name="connsiteY246" fmla="*/ 526762 h 1232875"/>
                    <a:gd name="connsiteX247" fmla="*/ 654606 w 2849618"/>
                    <a:gd name="connsiteY247" fmla="*/ 533976 h 1232875"/>
                    <a:gd name="connsiteX248" fmla="*/ 664907 w 2849618"/>
                    <a:gd name="connsiteY248" fmla="*/ 533976 h 1232875"/>
                    <a:gd name="connsiteX249" fmla="*/ 664907 w 2849618"/>
                    <a:gd name="connsiteY249" fmla="*/ 551095 h 1232875"/>
                    <a:gd name="connsiteX250" fmla="*/ 690898 w 2849618"/>
                    <a:gd name="connsiteY250" fmla="*/ 551095 h 1232875"/>
                    <a:gd name="connsiteX251" fmla="*/ 690898 w 2849618"/>
                    <a:gd name="connsiteY251" fmla="*/ 561012 h 1232875"/>
                    <a:gd name="connsiteX252" fmla="*/ 710157 w 2849618"/>
                    <a:gd name="connsiteY252" fmla="*/ 561012 h 1232875"/>
                    <a:gd name="connsiteX253" fmla="*/ 710157 w 2849618"/>
                    <a:gd name="connsiteY253" fmla="*/ 578586 h 1232875"/>
                    <a:gd name="connsiteX254" fmla="*/ 731223 w 2849618"/>
                    <a:gd name="connsiteY254" fmla="*/ 578586 h 1232875"/>
                    <a:gd name="connsiteX255" fmla="*/ 731223 w 2849618"/>
                    <a:gd name="connsiteY255" fmla="*/ 588947 h 1232875"/>
                    <a:gd name="connsiteX256" fmla="*/ 762139 w 2849618"/>
                    <a:gd name="connsiteY256" fmla="*/ 588947 h 1232875"/>
                    <a:gd name="connsiteX257" fmla="*/ 762139 w 2849618"/>
                    <a:gd name="connsiteY257" fmla="*/ 597058 h 1232875"/>
                    <a:gd name="connsiteX258" fmla="*/ 774677 w 2849618"/>
                    <a:gd name="connsiteY258" fmla="*/ 597058 h 1232875"/>
                    <a:gd name="connsiteX259" fmla="*/ 774677 w 2849618"/>
                    <a:gd name="connsiteY259" fmla="*/ 609224 h 1232875"/>
                    <a:gd name="connsiteX260" fmla="*/ 793054 w 2849618"/>
                    <a:gd name="connsiteY260" fmla="*/ 609224 h 1232875"/>
                    <a:gd name="connsiteX261" fmla="*/ 793054 w 2849618"/>
                    <a:gd name="connsiteY261" fmla="*/ 624549 h 1232875"/>
                    <a:gd name="connsiteX262" fmla="*/ 811421 w 2849618"/>
                    <a:gd name="connsiteY262" fmla="*/ 624549 h 1232875"/>
                    <a:gd name="connsiteX263" fmla="*/ 811421 w 2849618"/>
                    <a:gd name="connsiteY263" fmla="*/ 631308 h 1232875"/>
                    <a:gd name="connsiteX264" fmla="*/ 838304 w 2849618"/>
                    <a:gd name="connsiteY264" fmla="*/ 631308 h 1232875"/>
                    <a:gd name="connsiteX265" fmla="*/ 838304 w 2849618"/>
                    <a:gd name="connsiteY265" fmla="*/ 647530 h 1232875"/>
                    <a:gd name="connsiteX266" fmla="*/ 849950 w 2849618"/>
                    <a:gd name="connsiteY266" fmla="*/ 647530 h 1232875"/>
                    <a:gd name="connsiteX267" fmla="*/ 849950 w 2849618"/>
                    <a:gd name="connsiteY267" fmla="*/ 667808 h 1232875"/>
                    <a:gd name="connsiteX268" fmla="*/ 875048 w 2849618"/>
                    <a:gd name="connsiteY268" fmla="*/ 667808 h 1232875"/>
                    <a:gd name="connsiteX269" fmla="*/ 875048 w 2849618"/>
                    <a:gd name="connsiteY269" fmla="*/ 685836 h 1232875"/>
                    <a:gd name="connsiteX270" fmla="*/ 893866 w 2849618"/>
                    <a:gd name="connsiteY270" fmla="*/ 685836 h 1232875"/>
                    <a:gd name="connsiteX271" fmla="*/ 893866 w 2849618"/>
                    <a:gd name="connsiteY271" fmla="*/ 695299 h 1232875"/>
                    <a:gd name="connsiteX272" fmla="*/ 913125 w 2849618"/>
                    <a:gd name="connsiteY272" fmla="*/ 695299 h 1232875"/>
                    <a:gd name="connsiteX273" fmla="*/ 913125 w 2849618"/>
                    <a:gd name="connsiteY273" fmla="*/ 703410 h 1232875"/>
                    <a:gd name="connsiteX274" fmla="*/ 944944 w 2849618"/>
                    <a:gd name="connsiteY274" fmla="*/ 703410 h 1232875"/>
                    <a:gd name="connsiteX275" fmla="*/ 944944 w 2849618"/>
                    <a:gd name="connsiteY275" fmla="*/ 712872 h 1232875"/>
                    <a:gd name="connsiteX276" fmla="*/ 955246 w 2849618"/>
                    <a:gd name="connsiteY276" fmla="*/ 712872 h 1232875"/>
                    <a:gd name="connsiteX277" fmla="*/ 955246 w 2849618"/>
                    <a:gd name="connsiteY277" fmla="*/ 722335 h 1232875"/>
                    <a:gd name="connsiteX278" fmla="*/ 969580 w 2849618"/>
                    <a:gd name="connsiteY278" fmla="*/ 722335 h 1232875"/>
                    <a:gd name="connsiteX279" fmla="*/ 969580 w 2849618"/>
                    <a:gd name="connsiteY279" fmla="*/ 726391 h 1232875"/>
                    <a:gd name="connsiteX280" fmla="*/ 980333 w 2849618"/>
                    <a:gd name="connsiteY280" fmla="*/ 726391 h 1232875"/>
                    <a:gd name="connsiteX281" fmla="*/ 980333 w 2849618"/>
                    <a:gd name="connsiteY281" fmla="*/ 741261 h 1232875"/>
                    <a:gd name="connsiteX282" fmla="*/ 1019766 w 2849618"/>
                    <a:gd name="connsiteY282" fmla="*/ 741261 h 1232875"/>
                    <a:gd name="connsiteX283" fmla="*/ 1019766 w 2849618"/>
                    <a:gd name="connsiteY283" fmla="*/ 747566 h 1232875"/>
                    <a:gd name="connsiteX284" fmla="*/ 1052918 w 2849618"/>
                    <a:gd name="connsiteY284" fmla="*/ 747566 h 1232875"/>
                    <a:gd name="connsiteX285" fmla="*/ 1052918 w 2849618"/>
                    <a:gd name="connsiteY285" fmla="*/ 757029 h 1232875"/>
                    <a:gd name="connsiteX286" fmla="*/ 1086974 w 2849618"/>
                    <a:gd name="connsiteY286" fmla="*/ 757029 h 1232875"/>
                    <a:gd name="connsiteX287" fmla="*/ 1086974 w 2849618"/>
                    <a:gd name="connsiteY287" fmla="*/ 769195 h 1232875"/>
                    <a:gd name="connsiteX288" fmla="*/ 1101308 w 2849618"/>
                    <a:gd name="connsiteY288" fmla="*/ 769195 h 1232875"/>
                    <a:gd name="connsiteX289" fmla="*/ 1101308 w 2849618"/>
                    <a:gd name="connsiteY289" fmla="*/ 778658 h 1232875"/>
                    <a:gd name="connsiteX290" fmla="*/ 1124159 w 2849618"/>
                    <a:gd name="connsiteY290" fmla="*/ 778658 h 1232875"/>
                    <a:gd name="connsiteX291" fmla="*/ 1124159 w 2849618"/>
                    <a:gd name="connsiteY291" fmla="*/ 789019 h 1232875"/>
                    <a:gd name="connsiteX292" fmla="*/ 1173000 w 2849618"/>
                    <a:gd name="connsiteY292" fmla="*/ 789019 h 1232875"/>
                    <a:gd name="connsiteX293" fmla="*/ 1173000 w 2849618"/>
                    <a:gd name="connsiteY293" fmla="*/ 797130 h 1232875"/>
                    <a:gd name="connsiteX294" fmla="*/ 1194055 w 2849618"/>
                    <a:gd name="connsiteY294" fmla="*/ 797130 h 1232875"/>
                    <a:gd name="connsiteX295" fmla="*/ 1194055 w 2849618"/>
                    <a:gd name="connsiteY295" fmla="*/ 807501 h 1232875"/>
                    <a:gd name="connsiteX296" fmla="*/ 1206152 w 2849618"/>
                    <a:gd name="connsiteY296" fmla="*/ 807501 h 1232875"/>
                    <a:gd name="connsiteX297" fmla="*/ 1206152 w 2849618"/>
                    <a:gd name="connsiteY297" fmla="*/ 821917 h 1232875"/>
                    <a:gd name="connsiteX298" fmla="*/ 1267091 w 2849618"/>
                    <a:gd name="connsiteY298" fmla="*/ 821917 h 1232875"/>
                    <a:gd name="connsiteX299" fmla="*/ 1267091 w 2849618"/>
                    <a:gd name="connsiteY299" fmla="*/ 830482 h 1232875"/>
                    <a:gd name="connsiteX300" fmla="*/ 1279640 w 2849618"/>
                    <a:gd name="connsiteY300" fmla="*/ 830482 h 1232875"/>
                    <a:gd name="connsiteX301" fmla="*/ 1279640 w 2849618"/>
                    <a:gd name="connsiteY301" fmla="*/ 835890 h 1232875"/>
                    <a:gd name="connsiteX302" fmla="*/ 1310997 w 2849618"/>
                    <a:gd name="connsiteY302" fmla="*/ 835890 h 1232875"/>
                    <a:gd name="connsiteX303" fmla="*/ 1310997 w 2849618"/>
                    <a:gd name="connsiteY303" fmla="*/ 843546 h 1232875"/>
                    <a:gd name="connsiteX304" fmla="*/ 1353117 w 2849618"/>
                    <a:gd name="connsiteY304" fmla="*/ 843546 h 1232875"/>
                    <a:gd name="connsiteX305" fmla="*/ 1353117 w 2849618"/>
                    <a:gd name="connsiteY305" fmla="*/ 851203 h 1232875"/>
                    <a:gd name="connsiteX306" fmla="*/ 1424358 w 2849618"/>
                    <a:gd name="connsiteY306" fmla="*/ 851203 h 1232875"/>
                    <a:gd name="connsiteX307" fmla="*/ 1424358 w 2849618"/>
                    <a:gd name="connsiteY307" fmla="*/ 858417 h 1232875"/>
                    <a:gd name="connsiteX308" fmla="*/ 1453478 w 2849618"/>
                    <a:gd name="connsiteY308" fmla="*/ 858417 h 1232875"/>
                    <a:gd name="connsiteX309" fmla="*/ 1453478 w 2849618"/>
                    <a:gd name="connsiteY309" fmla="*/ 869231 h 1232875"/>
                    <a:gd name="connsiteX310" fmla="*/ 1461543 w 2849618"/>
                    <a:gd name="connsiteY310" fmla="*/ 869231 h 1232875"/>
                    <a:gd name="connsiteX311" fmla="*/ 1461543 w 2849618"/>
                    <a:gd name="connsiteY311" fmla="*/ 876445 h 1232875"/>
                    <a:gd name="connsiteX312" fmla="*/ 1495598 w 2849618"/>
                    <a:gd name="connsiteY312" fmla="*/ 876445 h 1232875"/>
                    <a:gd name="connsiteX313" fmla="*/ 1495598 w 2849618"/>
                    <a:gd name="connsiteY313" fmla="*/ 882750 h 1232875"/>
                    <a:gd name="connsiteX314" fmla="*/ 1503663 w 2849618"/>
                    <a:gd name="connsiteY314" fmla="*/ 882750 h 1232875"/>
                    <a:gd name="connsiteX315" fmla="*/ 1503663 w 2849618"/>
                    <a:gd name="connsiteY315" fmla="*/ 889055 h 1232875"/>
                    <a:gd name="connsiteX316" fmla="*/ 1541300 w 2849618"/>
                    <a:gd name="connsiteY316" fmla="*/ 889055 h 1232875"/>
                    <a:gd name="connsiteX317" fmla="*/ 1541300 w 2849618"/>
                    <a:gd name="connsiteY317" fmla="*/ 895814 h 1232875"/>
                    <a:gd name="connsiteX318" fmla="*/ 1570420 w 2849618"/>
                    <a:gd name="connsiteY318" fmla="*/ 895814 h 1232875"/>
                    <a:gd name="connsiteX319" fmla="*/ 1570420 w 2849618"/>
                    <a:gd name="connsiteY319" fmla="*/ 906628 h 1232875"/>
                    <a:gd name="connsiteX320" fmla="*/ 1589689 w 2849618"/>
                    <a:gd name="connsiteY320" fmla="*/ 906628 h 1232875"/>
                    <a:gd name="connsiteX321" fmla="*/ 1589689 w 2849618"/>
                    <a:gd name="connsiteY321" fmla="*/ 917000 h 1232875"/>
                    <a:gd name="connsiteX322" fmla="*/ 1604927 w 2849618"/>
                    <a:gd name="connsiteY322" fmla="*/ 917000 h 1232875"/>
                    <a:gd name="connsiteX323" fmla="*/ 1604927 w 2849618"/>
                    <a:gd name="connsiteY323" fmla="*/ 930518 h 1232875"/>
                    <a:gd name="connsiteX324" fmla="*/ 1616121 w 2849618"/>
                    <a:gd name="connsiteY324" fmla="*/ 930518 h 1232875"/>
                    <a:gd name="connsiteX325" fmla="*/ 1616121 w 2849618"/>
                    <a:gd name="connsiteY325" fmla="*/ 937277 h 1232875"/>
                    <a:gd name="connsiteX326" fmla="*/ 1634047 w 2849618"/>
                    <a:gd name="connsiteY326" fmla="*/ 937277 h 1232875"/>
                    <a:gd name="connsiteX327" fmla="*/ 1634047 w 2849618"/>
                    <a:gd name="connsiteY327" fmla="*/ 947184 h 1232875"/>
                    <a:gd name="connsiteX328" fmla="*/ 1655553 w 2849618"/>
                    <a:gd name="connsiteY328" fmla="*/ 947184 h 1232875"/>
                    <a:gd name="connsiteX329" fmla="*/ 1655553 w 2849618"/>
                    <a:gd name="connsiteY329" fmla="*/ 955749 h 1232875"/>
                    <a:gd name="connsiteX330" fmla="*/ 1703943 w 2849618"/>
                    <a:gd name="connsiteY330" fmla="*/ 955749 h 1232875"/>
                    <a:gd name="connsiteX331" fmla="*/ 1703943 w 2849618"/>
                    <a:gd name="connsiteY331" fmla="*/ 965666 h 1232875"/>
                    <a:gd name="connsiteX332" fmla="*/ 1711556 w 2849618"/>
                    <a:gd name="connsiteY332" fmla="*/ 965666 h 1232875"/>
                    <a:gd name="connsiteX333" fmla="*/ 1711556 w 2849618"/>
                    <a:gd name="connsiteY333" fmla="*/ 977833 h 1232875"/>
                    <a:gd name="connsiteX334" fmla="*/ 1746063 w 2849618"/>
                    <a:gd name="connsiteY334" fmla="*/ 977833 h 1232875"/>
                    <a:gd name="connsiteX335" fmla="*/ 1746063 w 2849618"/>
                    <a:gd name="connsiteY335" fmla="*/ 988647 h 1232875"/>
                    <a:gd name="connsiteX336" fmla="*/ 1776979 w 2849618"/>
                    <a:gd name="connsiteY336" fmla="*/ 988647 h 1232875"/>
                    <a:gd name="connsiteX337" fmla="*/ 1776979 w 2849618"/>
                    <a:gd name="connsiteY337" fmla="*/ 997201 h 1232875"/>
                    <a:gd name="connsiteX338" fmla="*/ 1817304 w 2849618"/>
                    <a:gd name="connsiteY338" fmla="*/ 997201 h 1232875"/>
                    <a:gd name="connsiteX339" fmla="*/ 1817304 w 2849618"/>
                    <a:gd name="connsiteY339" fmla="*/ 1006221 h 1232875"/>
                    <a:gd name="connsiteX340" fmla="*/ 1887200 w 2849618"/>
                    <a:gd name="connsiteY340" fmla="*/ 1006221 h 1232875"/>
                    <a:gd name="connsiteX341" fmla="*/ 1887200 w 2849618"/>
                    <a:gd name="connsiteY341" fmla="*/ 1016127 h 1232875"/>
                    <a:gd name="connsiteX342" fmla="*/ 1941408 w 2849618"/>
                    <a:gd name="connsiteY342" fmla="*/ 1016127 h 1232875"/>
                    <a:gd name="connsiteX343" fmla="*/ 1941408 w 2849618"/>
                    <a:gd name="connsiteY343" fmla="*/ 1027396 h 1232875"/>
                    <a:gd name="connsiteX344" fmla="*/ 1973990 w 2849618"/>
                    <a:gd name="connsiteY344" fmla="*/ 1027396 h 1232875"/>
                    <a:gd name="connsiteX345" fmla="*/ 1973990 w 2849618"/>
                    <a:gd name="connsiteY345" fmla="*/ 1036405 h 1232875"/>
                    <a:gd name="connsiteX346" fmla="*/ 1980840 w 2849618"/>
                    <a:gd name="connsiteY346" fmla="*/ 1036405 h 1232875"/>
                    <a:gd name="connsiteX347" fmla="*/ 1980840 w 2849618"/>
                    <a:gd name="connsiteY347" fmla="*/ 1044970 h 1232875"/>
                    <a:gd name="connsiteX348" fmla="*/ 2003239 w 2849618"/>
                    <a:gd name="connsiteY348" fmla="*/ 1044970 h 1232875"/>
                    <a:gd name="connsiteX349" fmla="*/ 2003239 w 2849618"/>
                    <a:gd name="connsiteY349" fmla="*/ 1052183 h 1232875"/>
                    <a:gd name="connsiteX350" fmla="*/ 2039090 w 2849618"/>
                    <a:gd name="connsiteY350" fmla="*/ 1052183 h 1232875"/>
                    <a:gd name="connsiteX351" fmla="*/ 2039090 w 2849618"/>
                    <a:gd name="connsiteY351" fmla="*/ 1062998 h 1232875"/>
                    <a:gd name="connsiteX352" fmla="*/ 2091953 w 2849618"/>
                    <a:gd name="connsiteY352" fmla="*/ 1062998 h 1232875"/>
                    <a:gd name="connsiteX353" fmla="*/ 2091953 w 2849618"/>
                    <a:gd name="connsiteY353" fmla="*/ 1072007 h 1232875"/>
                    <a:gd name="connsiteX354" fmla="*/ 2125557 w 2849618"/>
                    <a:gd name="connsiteY354" fmla="*/ 1072007 h 1232875"/>
                    <a:gd name="connsiteX355" fmla="*/ 2125557 w 2849618"/>
                    <a:gd name="connsiteY355" fmla="*/ 1078312 h 1232875"/>
                    <a:gd name="connsiteX356" fmla="*/ 2139451 w 2849618"/>
                    <a:gd name="connsiteY356" fmla="*/ 1078312 h 1232875"/>
                    <a:gd name="connsiteX357" fmla="*/ 2139451 w 2849618"/>
                    <a:gd name="connsiteY357" fmla="*/ 1088229 h 1232875"/>
                    <a:gd name="connsiteX358" fmla="*/ 2163646 w 2849618"/>
                    <a:gd name="connsiteY358" fmla="*/ 1088229 h 1232875"/>
                    <a:gd name="connsiteX359" fmla="*/ 2163646 w 2849618"/>
                    <a:gd name="connsiteY359" fmla="*/ 1095886 h 1232875"/>
                    <a:gd name="connsiteX360" fmla="*/ 2182012 w 2849618"/>
                    <a:gd name="connsiteY360" fmla="*/ 1095886 h 1232875"/>
                    <a:gd name="connsiteX361" fmla="*/ 2182012 w 2849618"/>
                    <a:gd name="connsiteY361" fmla="*/ 1104451 h 1232875"/>
                    <a:gd name="connsiteX362" fmla="*/ 2237574 w 2849618"/>
                    <a:gd name="connsiteY362" fmla="*/ 1104451 h 1232875"/>
                    <a:gd name="connsiteX363" fmla="*/ 2237574 w 2849618"/>
                    <a:gd name="connsiteY363" fmla="*/ 1116617 h 1232875"/>
                    <a:gd name="connsiteX364" fmla="*/ 2250564 w 2849618"/>
                    <a:gd name="connsiteY364" fmla="*/ 1116617 h 1232875"/>
                    <a:gd name="connsiteX365" fmla="*/ 2250564 w 2849618"/>
                    <a:gd name="connsiteY365" fmla="*/ 1130590 h 1232875"/>
                    <a:gd name="connsiteX366" fmla="*/ 2308815 w 2849618"/>
                    <a:gd name="connsiteY366" fmla="*/ 1130590 h 1232875"/>
                    <a:gd name="connsiteX367" fmla="*/ 2308815 w 2849618"/>
                    <a:gd name="connsiteY367" fmla="*/ 1144552 h 1232875"/>
                    <a:gd name="connsiteX368" fmla="*/ 2348247 w 2849618"/>
                    <a:gd name="connsiteY368" fmla="*/ 1144552 h 1232875"/>
                    <a:gd name="connsiteX369" fmla="*/ 2348247 w 2849618"/>
                    <a:gd name="connsiteY369" fmla="*/ 1158979 h 1232875"/>
                    <a:gd name="connsiteX370" fmla="*/ 2436058 w 2849618"/>
                    <a:gd name="connsiteY370" fmla="*/ 1158979 h 1232875"/>
                    <a:gd name="connsiteX371" fmla="*/ 2436058 w 2849618"/>
                    <a:gd name="connsiteY371" fmla="*/ 1163932 h 1232875"/>
                    <a:gd name="connsiteX372" fmla="*/ 2507299 w 2849618"/>
                    <a:gd name="connsiteY372" fmla="*/ 1163932 h 1232875"/>
                    <a:gd name="connsiteX373" fmla="*/ 2507299 w 2849618"/>
                    <a:gd name="connsiteY373" fmla="*/ 1176434 h 1232875"/>
                    <a:gd name="connsiteX374" fmla="*/ 2526117 w 2849618"/>
                    <a:gd name="connsiteY374" fmla="*/ 1176434 h 1232875"/>
                    <a:gd name="connsiteX375" fmla="*/ 2526117 w 2849618"/>
                    <a:gd name="connsiteY375" fmla="*/ 1185561 h 1232875"/>
                    <a:gd name="connsiteX376" fmla="*/ 2716095 w 2849618"/>
                    <a:gd name="connsiteY376" fmla="*/ 1185561 h 1232875"/>
                    <a:gd name="connsiteX377" fmla="*/ 2716095 w 2849618"/>
                    <a:gd name="connsiteY377" fmla="*/ 1203135 h 1232875"/>
                    <a:gd name="connsiteX378" fmla="*/ 2751043 w 2849618"/>
                    <a:gd name="connsiteY378" fmla="*/ 1203135 h 1232875"/>
                    <a:gd name="connsiteX379" fmla="*/ 2751043 w 2849618"/>
                    <a:gd name="connsiteY379" fmla="*/ 1217108 h 1232875"/>
                    <a:gd name="connsiteX380" fmla="*/ 2805702 w 2849618"/>
                    <a:gd name="connsiteY380" fmla="*/ 1217108 h 1232875"/>
                    <a:gd name="connsiteX381" fmla="*/ 2805702 w 2849618"/>
                    <a:gd name="connsiteY381" fmla="*/ 1231069 h 1232875"/>
                    <a:gd name="connsiteX382" fmla="*/ 2816907 w 2849618"/>
                    <a:gd name="connsiteY382" fmla="*/ 1231069 h 1232875"/>
                    <a:gd name="connsiteX383" fmla="*/ 2816907 w 2849618"/>
                    <a:gd name="connsiteY383" fmla="*/ 1238964 h 123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2849618" h="1232875">
                      <a:moveTo>
                        <a:pt x="2853877" y="1238964"/>
                      </a:moveTo>
                      <a:lnTo>
                        <a:pt x="2853877" y="1003063"/>
                      </a:lnTo>
                      <a:lnTo>
                        <a:pt x="2809519" y="1003063"/>
                      </a:lnTo>
                      <a:lnTo>
                        <a:pt x="2809519" y="992930"/>
                      </a:lnTo>
                      <a:lnTo>
                        <a:pt x="2761797" y="992930"/>
                      </a:lnTo>
                      <a:lnTo>
                        <a:pt x="2761797" y="976026"/>
                      </a:lnTo>
                      <a:lnTo>
                        <a:pt x="2714084" y="976026"/>
                      </a:lnTo>
                      <a:lnTo>
                        <a:pt x="2714084" y="958453"/>
                      </a:lnTo>
                      <a:lnTo>
                        <a:pt x="2507750" y="958453"/>
                      </a:lnTo>
                      <a:lnTo>
                        <a:pt x="2507750" y="940208"/>
                      </a:lnTo>
                      <a:lnTo>
                        <a:pt x="2433155" y="940208"/>
                      </a:lnTo>
                      <a:lnTo>
                        <a:pt x="2433155" y="930064"/>
                      </a:lnTo>
                      <a:lnTo>
                        <a:pt x="2347795" y="930064"/>
                      </a:lnTo>
                      <a:lnTo>
                        <a:pt x="2347795" y="919249"/>
                      </a:lnTo>
                      <a:lnTo>
                        <a:pt x="2309492" y="919249"/>
                      </a:lnTo>
                      <a:lnTo>
                        <a:pt x="2309492" y="913842"/>
                      </a:lnTo>
                      <a:lnTo>
                        <a:pt x="2261102" y="913842"/>
                      </a:lnTo>
                      <a:lnTo>
                        <a:pt x="2261102" y="897620"/>
                      </a:lnTo>
                      <a:lnTo>
                        <a:pt x="2234219" y="897620"/>
                      </a:lnTo>
                      <a:lnTo>
                        <a:pt x="2234219" y="890190"/>
                      </a:lnTo>
                      <a:lnTo>
                        <a:pt x="2225477" y="890190"/>
                      </a:lnTo>
                      <a:lnTo>
                        <a:pt x="2225477" y="884783"/>
                      </a:lnTo>
                      <a:lnTo>
                        <a:pt x="2181797" y="884783"/>
                      </a:lnTo>
                      <a:lnTo>
                        <a:pt x="2181797" y="875990"/>
                      </a:lnTo>
                      <a:lnTo>
                        <a:pt x="2142139" y="875990"/>
                      </a:lnTo>
                      <a:lnTo>
                        <a:pt x="2142139" y="866528"/>
                      </a:lnTo>
                      <a:lnTo>
                        <a:pt x="2134074" y="866528"/>
                      </a:lnTo>
                      <a:lnTo>
                        <a:pt x="2134074" y="859768"/>
                      </a:lnTo>
                      <a:lnTo>
                        <a:pt x="2086362" y="859768"/>
                      </a:lnTo>
                      <a:lnTo>
                        <a:pt x="2086362" y="852339"/>
                      </a:lnTo>
                      <a:lnTo>
                        <a:pt x="2045359" y="852339"/>
                      </a:lnTo>
                      <a:lnTo>
                        <a:pt x="2045359" y="845580"/>
                      </a:lnTo>
                      <a:lnTo>
                        <a:pt x="1981517" y="845580"/>
                      </a:lnTo>
                      <a:lnTo>
                        <a:pt x="1981517" y="832732"/>
                      </a:lnTo>
                      <a:lnTo>
                        <a:pt x="1939848" y="832732"/>
                      </a:lnTo>
                      <a:lnTo>
                        <a:pt x="1939848" y="818543"/>
                      </a:lnTo>
                      <a:lnTo>
                        <a:pt x="1881372" y="818543"/>
                      </a:lnTo>
                      <a:lnTo>
                        <a:pt x="1881372" y="806376"/>
                      </a:lnTo>
                      <a:lnTo>
                        <a:pt x="1822906" y="806376"/>
                      </a:lnTo>
                      <a:lnTo>
                        <a:pt x="1822906" y="794880"/>
                      </a:lnTo>
                      <a:lnTo>
                        <a:pt x="1746956" y="794880"/>
                      </a:lnTo>
                      <a:lnTo>
                        <a:pt x="1746956" y="784066"/>
                      </a:lnTo>
                      <a:lnTo>
                        <a:pt x="1714029" y="784066"/>
                      </a:lnTo>
                      <a:lnTo>
                        <a:pt x="1714029" y="775955"/>
                      </a:lnTo>
                      <a:lnTo>
                        <a:pt x="1700588" y="775955"/>
                      </a:lnTo>
                      <a:lnTo>
                        <a:pt x="1700588" y="767843"/>
                      </a:lnTo>
                      <a:lnTo>
                        <a:pt x="1689157" y="767843"/>
                      </a:lnTo>
                      <a:lnTo>
                        <a:pt x="1689157" y="752303"/>
                      </a:lnTo>
                      <a:lnTo>
                        <a:pt x="1616572" y="752303"/>
                      </a:lnTo>
                      <a:lnTo>
                        <a:pt x="1616572" y="740136"/>
                      </a:lnTo>
                      <a:lnTo>
                        <a:pt x="1596410" y="740136"/>
                      </a:lnTo>
                      <a:lnTo>
                        <a:pt x="1596410" y="727970"/>
                      </a:lnTo>
                      <a:lnTo>
                        <a:pt x="1591711" y="727970"/>
                      </a:lnTo>
                      <a:lnTo>
                        <a:pt x="1591711" y="716474"/>
                      </a:lnTo>
                      <a:lnTo>
                        <a:pt x="1568860" y="716474"/>
                      </a:lnTo>
                      <a:lnTo>
                        <a:pt x="1568860" y="707011"/>
                      </a:lnTo>
                      <a:lnTo>
                        <a:pt x="1496275" y="707011"/>
                      </a:lnTo>
                      <a:lnTo>
                        <a:pt x="1496275" y="693492"/>
                      </a:lnTo>
                      <a:lnTo>
                        <a:pt x="1459306" y="693492"/>
                      </a:lnTo>
                      <a:lnTo>
                        <a:pt x="1459306" y="673896"/>
                      </a:lnTo>
                      <a:lnTo>
                        <a:pt x="1356483" y="673896"/>
                      </a:lnTo>
                      <a:lnTo>
                        <a:pt x="1356483" y="659026"/>
                      </a:lnTo>
                      <a:lnTo>
                        <a:pt x="1306749" y="659026"/>
                      </a:lnTo>
                      <a:lnTo>
                        <a:pt x="1306749" y="648882"/>
                      </a:lnTo>
                      <a:lnTo>
                        <a:pt x="1273145" y="648882"/>
                      </a:lnTo>
                      <a:lnTo>
                        <a:pt x="1273145" y="640771"/>
                      </a:lnTo>
                      <a:lnTo>
                        <a:pt x="1205260" y="640771"/>
                      </a:lnTo>
                      <a:lnTo>
                        <a:pt x="1205260" y="624549"/>
                      </a:lnTo>
                      <a:lnTo>
                        <a:pt x="1158214" y="624549"/>
                      </a:lnTo>
                      <a:cubicBezTo>
                        <a:pt x="1158214" y="624549"/>
                        <a:pt x="1160236" y="613064"/>
                        <a:pt x="1158214" y="613064"/>
                      </a:cubicBezTo>
                      <a:lnTo>
                        <a:pt x="1123266" y="613064"/>
                      </a:lnTo>
                      <a:lnTo>
                        <a:pt x="1123266" y="605623"/>
                      </a:lnTo>
                      <a:lnTo>
                        <a:pt x="1099071" y="605623"/>
                      </a:lnTo>
                      <a:lnTo>
                        <a:pt x="1099071" y="598864"/>
                      </a:lnTo>
                      <a:lnTo>
                        <a:pt x="1090339" y="598864"/>
                      </a:lnTo>
                      <a:lnTo>
                        <a:pt x="1090339" y="589401"/>
                      </a:lnTo>
                      <a:lnTo>
                        <a:pt x="1074876" y="589401"/>
                      </a:lnTo>
                      <a:lnTo>
                        <a:pt x="1074876" y="580619"/>
                      </a:lnTo>
                      <a:lnTo>
                        <a:pt x="1034691" y="580619"/>
                      </a:lnTo>
                      <a:lnTo>
                        <a:pt x="1034691" y="571157"/>
                      </a:lnTo>
                      <a:lnTo>
                        <a:pt x="1010356" y="571157"/>
                      </a:lnTo>
                      <a:lnTo>
                        <a:pt x="1010356" y="561694"/>
                      </a:lnTo>
                      <a:lnTo>
                        <a:pt x="988850" y="561694"/>
                      </a:lnTo>
                      <a:lnTo>
                        <a:pt x="988850" y="551550"/>
                      </a:lnTo>
                      <a:lnTo>
                        <a:pt x="956590" y="551550"/>
                      </a:lnTo>
                      <a:lnTo>
                        <a:pt x="956590" y="542087"/>
                      </a:lnTo>
                      <a:lnTo>
                        <a:pt x="910889" y="542087"/>
                      </a:lnTo>
                      <a:lnTo>
                        <a:pt x="910889" y="532624"/>
                      </a:lnTo>
                      <a:lnTo>
                        <a:pt x="887027" y="532624"/>
                      </a:lnTo>
                      <a:lnTo>
                        <a:pt x="887027" y="517418"/>
                      </a:lnTo>
                      <a:lnTo>
                        <a:pt x="873586" y="517418"/>
                      </a:lnTo>
                      <a:lnTo>
                        <a:pt x="873586" y="505922"/>
                      </a:lnTo>
                      <a:lnTo>
                        <a:pt x="858133" y="505922"/>
                      </a:lnTo>
                      <a:lnTo>
                        <a:pt x="858133" y="499163"/>
                      </a:lnTo>
                      <a:lnTo>
                        <a:pt x="853767" y="499163"/>
                      </a:lnTo>
                      <a:lnTo>
                        <a:pt x="853767" y="492404"/>
                      </a:lnTo>
                      <a:lnTo>
                        <a:pt x="848047" y="492404"/>
                      </a:lnTo>
                      <a:lnTo>
                        <a:pt x="848047" y="485645"/>
                      </a:lnTo>
                      <a:lnTo>
                        <a:pt x="839648" y="485645"/>
                      </a:lnTo>
                      <a:lnTo>
                        <a:pt x="839648" y="478215"/>
                      </a:lnTo>
                      <a:lnTo>
                        <a:pt x="830239" y="478215"/>
                      </a:lnTo>
                      <a:lnTo>
                        <a:pt x="830239" y="473824"/>
                      </a:lnTo>
                      <a:lnTo>
                        <a:pt x="821163" y="473824"/>
                      </a:lnTo>
                      <a:lnTo>
                        <a:pt x="821163" y="465713"/>
                      </a:lnTo>
                      <a:lnTo>
                        <a:pt x="809066" y="465713"/>
                      </a:lnTo>
                      <a:lnTo>
                        <a:pt x="809066" y="460976"/>
                      </a:lnTo>
                      <a:lnTo>
                        <a:pt x="789247" y="460976"/>
                      </a:lnTo>
                      <a:lnTo>
                        <a:pt x="789247" y="453201"/>
                      </a:lnTo>
                      <a:lnTo>
                        <a:pt x="778150" y="453201"/>
                      </a:lnTo>
                      <a:lnTo>
                        <a:pt x="778150" y="434956"/>
                      </a:lnTo>
                      <a:lnTo>
                        <a:pt x="738836" y="434956"/>
                      </a:lnTo>
                      <a:lnTo>
                        <a:pt x="738836" y="426510"/>
                      </a:lnTo>
                      <a:lnTo>
                        <a:pt x="713297" y="426510"/>
                      </a:lnTo>
                      <a:lnTo>
                        <a:pt x="713297" y="416701"/>
                      </a:lnTo>
                      <a:lnTo>
                        <a:pt x="704565" y="416701"/>
                      </a:lnTo>
                      <a:lnTo>
                        <a:pt x="704565" y="410288"/>
                      </a:lnTo>
                      <a:lnTo>
                        <a:pt x="696834" y="410288"/>
                      </a:lnTo>
                      <a:lnTo>
                        <a:pt x="696834" y="400144"/>
                      </a:lnTo>
                      <a:lnTo>
                        <a:pt x="668607" y="400144"/>
                      </a:lnTo>
                      <a:lnTo>
                        <a:pt x="668607" y="390010"/>
                      </a:lnTo>
                      <a:lnTo>
                        <a:pt x="659531" y="390010"/>
                      </a:lnTo>
                      <a:lnTo>
                        <a:pt x="659531" y="384257"/>
                      </a:lnTo>
                      <a:lnTo>
                        <a:pt x="655165" y="384257"/>
                      </a:lnTo>
                      <a:lnTo>
                        <a:pt x="655165" y="376146"/>
                      </a:lnTo>
                      <a:lnTo>
                        <a:pt x="644078" y="376146"/>
                      </a:lnTo>
                      <a:lnTo>
                        <a:pt x="644078" y="368381"/>
                      </a:lnTo>
                      <a:lnTo>
                        <a:pt x="638024" y="368381"/>
                      </a:lnTo>
                      <a:lnTo>
                        <a:pt x="638024" y="365677"/>
                      </a:lnTo>
                      <a:lnTo>
                        <a:pt x="628282" y="365677"/>
                      </a:lnTo>
                      <a:lnTo>
                        <a:pt x="628282" y="358237"/>
                      </a:lnTo>
                      <a:lnTo>
                        <a:pt x="580903" y="358237"/>
                      </a:lnTo>
                      <a:lnTo>
                        <a:pt x="580903" y="346406"/>
                      </a:lnTo>
                      <a:lnTo>
                        <a:pt x="564773" y="346406"/>
                      </a:lnTo>
                      <a:lnTo>
                        <a:pt x="564773" y="337289"/>
                      </a:lnTo>
                      <a:lnTo>
                        <a:pt x="551331" y="337289"/>
                      </a:lnTo>
                      <a:lnTo>
                        <a:pt x="551331" y="330530"/>
                      </a:lnTo>
                      <a:lnTo>
                        <a:pt x="545277" y="330530"/>
                      </a:lnTo>
                      <a:lnTo>
                        <a:pt x="545277" y="321737"/>
                      </a:lnTo>
                      <a:lnTo>
                        <a:pt x="534857" y="321737"/>
                      </a:lnTo>
                      <a:lnTo>
                        <a:pt x="534857" y="316330"/>
                      </a:lnTo>
                      <a:lnTo>
                        <a:pt x="528481" y="316330"/>
                      </a:lnTo>
                      <a:lnTo>
                        <a:pt x="528481" y="305515"/>
                      </a:lnTo>
                      <a:lnTo>
                        <a:pt x="507307" y="305515"/>
                      </a:lnTo>
                      <a:lnTo>
                        <a:pt x="507307" y="295036"/>
                      </a:lnTo>
                      <a:lnTo>
                        <a:pt x="501931" y="295036"/>
                      </a:lnTo>
                      <a:lnTo>
                        <a:pt x="501931" y="290310"/>
                      </a:lnTo>
                      <a:lnTo>
                        <a:pt x="495210" y="290310"/>
                      </a:lnTo>
                      <a:lnTo>
                        <a:pt x="495210" y="284221"/>
                      </a:lnTo>
                      <a:lnTo>
                        <a:pt x="490500" y="284221"/>
                      </a:lnTo>
                      <a:lnTo>
                        <a:pt x="490500" y="278814"/>
                      </a:lnTo>
                      <a:lnTo>
                        <a:pt x="485123" y="278814"/>
                      </a:lnTo>
                      <a:lnTo>
                        <a:pt x="485123" y="273071"/>
                      </a:lnTo>
                      <a:lnTo>
                        <a:pt x="481435" y="273071"/>
                      </a:lnTo>
                      <a:lnTo>
                        <a:pt x="481435" y="266312"/>
                      </a:lnTo>
                      <a:lnTo>
                        <a:pt x="475381" y="266312"/>
                      </a:lnTo>
                      <a:lnTo>
                        <a:pt x="475381" y="262256"/>
                      </a:lnTo>
                      <a:lnTo>
                        <a:pt x="467993" y="262256"/>
                      </a:lnTo>
                      <a:lnTo>
                        <a:pt x="467993" y="258201"/>
                      </a:lnTo>
                      <a:lnTo>
                        <a:pt x="461939" y="258201"/>
                      </a:lnTo>
                      <a:lnTo>
                        <a:pt x="461939" y="251106"/>
                      </a:lnTo>
                      <a:lnTo>
                        <a:pt x="448498" y="251106"/>
                      </a:lnTo>
                      <a:lnTo>
                        <a:pt x="448498" y="242314"/>
                      </a:lnTo>
                      <a:lnTo>
                        <a:pt x="436067" y="242314"/>
                      </a:lnTo>
                      <a:lnTo>
                        <a:pt x="436067" y="238940"/>
                      </a:lnTo>
                      <a:lnTo>
                        <a:pt x="407506" y="238940"/>
                      </a:lnTo>
                      <a:lnTo>
                        <a:pt x="407506" y="225421"/>
                      </a:lnTo>
                      <a:lnTo>
                        <a:pt x="383978" y="225421"/>
                      </a:lnTo>
                      <a:lnTo>
                        <a:pt x="383978" y="204463"/>
                      </a:lnTo>
                      <a:lnTo>
                        <a:pt x="339621" y="204463"/>
                      </a:lnTo>
                      <a:lnTo>
                        <a:pt x="339621" y="194329"/>
                      </a:lnTo>
                      <a:lnTo>
                        <a:pt x="321136" y="194329"/>
                      </a:lnTo>
                      <a:lnTo>
                        <a:pt x="321136" y="185883"/>
                      </a:lnTo>
                      <a:lnTo>
                        <a:pt x="300974" y="185883"/>
                      </a:lnTo>
                      <a:lnTo>
                        <a:pt x="300974" y="178442"/>
                      </a:lnTo>
                      <a:lnTo>
                        <a:pt x="281489" y="178442"/>
                      </a:lnTo>
                      <a:lnTo>
                        <a:pt x="281489" y="162556"/>
                      </a:lnTo>
                      <a:lnTo>
                        <a:pt x="268380" y="162556"/>
                      </a:lnTo>
                      <a:lnTo>
                        <a:pt x="268380" y="149037"/>
                      </a:lnTo>
                      <a:lnTo>
                        <a:pt x="245196" y="149037"/>
                      </a:lnTo>
                      <a:lnTo>
                        <a:pt x="245196" y="142959"/>
                      </a:lnTo>
                      <a:lnTo>
                        <a:pt x="219324" y="142959"/>
                      </a:lnTo>
                      <a:lnTo>
                        <a:pt x="219324" y="133832"/>
                      </a:lnTo>
                      <a:lnTo>
                        <a:pt x="205882" y="133832"/>
                      </a:lnTo>
                      <a:lnTo>
                        <a:pt x="205882" y="128425"/>
                      </a:lnTo>
                      <a:lnTo>
                        <a:pt x="200839" y="128425"/>
                      </a:lnTo>
                      <a:lnTo>
                        <a:pt x="200839" y="111532"/>
                      </a:lnTo>
                      <a:lnTo>
                        <a:pt x="189408" y="111532"/>
                      </a:lnTo>
                      <a:cubicBezTo>
                        <a:pt x="189408" y="111532"/>
                        <a:pt x="190419" y="105108"/>
                        <a:pt x="189408" y="105108"/>
                      </a:cubicBezTo>
                      <a:lnTo>
                        <a:pt x="173956" y="105108"/>
                      </a:lnTo>
                      <a:cubicBezTo>
                        <a:pt x="173956" y="105108"/>
                        <a:pt x="175300" y="98684"/>
                        <a:pt x="173956" y="98684"/>
                      </a:cubicBezTo>
                      <a:lnTo>
                        <a:pt x="157826" y="98684"/>
                      </a:lnTo>
                      <a:lnTo>
                        <a:pt x="157826" y="90573"/>
                      </a:lnTo>
                      <a:lnTo>
                        <a:pt x="147073" y="90573"/>
                      </a:lnTo>
                      <a:lnTo>
                        <a:pt x="147073" y="78742"/>
                      </a:lnTo>
                      <a:lnTo>
                        <a:pt x="107415" y="78742"/>
                      </a:lnTo>
                      <a:lnTo>
                        <a:pt x="107415" y="63536"/>
                      </a:lnTo>
                      <a:lnTo>
                        <a:pt x="87596" y="63536"/>
                      </a:lnTo>
                      <a:lnTo>
                        <a:pt x="87596" y="56442"/>
                      </a:lnTo>
                      <a:lnTo>
                        <a:pt x="80875" y="56442"/>
                      </a:lnTo>
                      <a:lnTo>
                        <a:pt x="80875" y="49348"/>
                      </a:lnTo>
                      <a:lnTo>
                        <a:pt x="76499" y="49348"/>
                      </a:lnTo>
                      <a:lnTo>
                        <a:pt x="76499" y="41572"/>
                      </a:lnTo>
                      <a:lnTo>
                        <a:pt x="66756" y="41572"/>
                      </a:lnTo>
                      <a:lnTo>
                        <a:pt x="66756" y="35829"/>
                      </a:lnTo>
                      <a:lnTo>
                        <a:pt x="48949" y="35829"/>
                      </a:lnTo>
                      <a:lnTo>
                        <a:pt x="48949" y="23317"/>
                      </a:lnTo>
                      <a:lnTo>
                        <a:pt x="33486" y="23317"/>
                      </a:lnTo>
                      <a:lnTo>
                        <a:pt x="33486" y="13064"/>
                      </a:lnTo>
                      <a:lnTo>
                        <a:pt x="29120" y="13064"/>
                      </a:lnTo>
                      <a:lnTo>
                        <a:pt x="29120" y="4056"/>
                      </a:lnTo>
                      <a:lnTo>
                        <a:pt x="18367" y="4056"/>
                      </a:lnTo>
                      <a:lnTo>
                        <a:pt x="18367" y="0"/>
                      </a:lnTo>
                      <a:lnTo>
                        <a:pt x="0" y="0"/>
                      </a:lnTo>
                      <a:lnTo>
                        <a:pt x="0" y="70750"/>
                      </a:lnTo>
                      <a:lnTo>
                        <a:pt x="54659" y="70750"/>
                      </a:lnTo>
                      <a:lnTo>
                        <a:pt x="54659" y="120314"/>
                      </a:lnTo>
                      <a:lnTo>
                        <a:pt x="127695" y="120314"/>
                      </a:lnTo>
                      <a:lnTo>
                        <a:pt x="127695" y="164470"/>
                      </a:lnTo>
                      <a:lnTo>
                        <a:pt x="178322" y="164470"/>
                      </a:lnTo>
                      <a:lnTo>
                        <a:pt x="178322" y="197823"/>
                      </a:lnTo>
                      <a:lnTo>
                        <a:pt x="222227" y="197823"/>
                      </a:lnTo>
                      <a:lnTo>
                        <a:pt x="222227" y="230267"/>
                      </a:lnTo>
                      <a:lnTo>
                        <a:pt x="273305" y="230267"/>
                      </a:lnTo>
                      <a:lnTo>
                        <a:pt x="273305" y="263608"/>
                      </a:lnTo>
                      <a:lnTo>
                        <a:pt x="310049" y="263608"/>
                      </a:lnTo>
                      <a:lnTo>
                        <a:pt x="310049" y="287044"/>
                      </a:lnTo>
                      <a:lnTo>
                        <a:pt x="350374" y="287044"/>
                      </a:lnTo>
                      <a:lnTo>
                        <a:pt x="350374" y="309571"/>
                      </a:lnTo>
                      <a:lnTo>
                        <a:pt x="433260" y="309571"/>
                      </a:lnTo>
                      <a:lnTo>
                        <a:pt x="433260" y="340209"/>
                      </a:lnTo>
                      <a:lnTo>
                        <a:pt x="481209" y="340209"/>
                      </a:lnTo>
                      <a:lnTo>
                        <a:pt x="481209" y="373561"/>
                      </a:lnTo>
                      <a:lnTo>
                        <a:pt x="502264" y="373561"/>
                      </a:lnTo>
                      <a:lnTo>
                        <a:pt x="502264" y="396543"/>
                      </a:lnTo>
                      <a:lnTo>
                        <a:pt x="538556" y="396543"/>
                      </a:lnTo>
                      <a:lnTo>
                        <a:pt x="538556" y="422671"/>
                      </a:lnTo>
                      <a:lnTo>
                        <a:pt x="552450" y="422671"/>
                      </a:lnTo>
                      <a:lnTo>
                        <a:pt x="552450" y="476301"/>
                      </a:lnTo>
                      <a:lnTo>
                        <a:pt x="558267" y="476301"/>
                      </a:lnTo>
                      <a:lnTo>
                        <a:pt x="558267" y="488013"/>
                      </a:lnTo>
                      <a:lnTo>
                        <a:pt x="575741" y="488013"/>
                      </a:lnTo>
                      <a:lnTo>
                        <a:pt x="575741" y="494318"/>
                      </a:lnTo>
                      <a:lnTo>
                        <a:pt x="606657" y="494318"/>
                      </a:lnTo>
                      <a:lnTo>
                        <a:pt x="606657" y="506041"/>
                      </a:lnTo>
                      <a:lnTo>
                        <a:pt x="640261" y="506041"/>
                      </a:lnTo>
                      <a:lnTo>
                        <a:pt x="640261" y="526762"/>
                      </a:lnTo>
                      <a:lnTo>
                        <a:pt x="654606" y="526762"/>
                      </a:lnTo>
                      <a:lnTo>
                        <a:pt x="654606" y="533976"/>
                      </a:lnTo>
                      <a:lnTo>
                        <a:pt x="664907" y="533976"/>
                      </a:lnTo>
                      <a:lnTo>
                        <a:pt x="664907" y="551095"/>
                      </a:lnTo>
                      <a:lnTo>
                        <a:pt x="690898" y="551095"/>
                      </a:lnTo>
                      <a:lnTo>
                        <a:pt x="690898" y="561012"/>
                      </a:lnTo>
                      <a:lnTo>
                        <a:pt x="710157" y="561012"/>
                      </a:lnTo>
                      <a:lnTo>
                        <a:pt x="710157" y="578586"/>
                      </a:lnTo>
                      <a:lnTo>
                        <a:pt x="731223" y="578586"/>
                      </a:lnTo>
                      <a:lnTo>
                        <a:pt x="731223" y="588947"/>
                      </a:lnTo>
                      <a:lnTo>
                        <a:pt x="762139" y="588947"/>
                      </a:lnTo>
                      <a:lnTo>
                        <a:pt x="762139" y="597058"/>
                      </a:lnTo>
                      <a:lnTo>
                        <a:pt x="774677" y="597058"/>
                      </a:lnTo>
                      <a:lnTo>
                        <a:pt x="774677" y="609224"/>
                      </a:lnTo>
                      <a:lnTo>
                        <a:pt x="793054" y="609224"/>
                      </a:lnTo>
                      <a:lnTo>
                        <a:pt x="793054" y="624549"/>
                      </a:lnTo>
                      <a:lnTo>
                        <a:pt x="811421" y="624549"/>
                      </a:lnTo>
                      <a:lnTo>
                        <a:pt x="811421" y="631308"/>
                      </a:lnTo>
                      <a:lnTo>
                        <a:pt x="838304" y="631308"/>
                      </a:lnTo>
                      <a:lnTo>
                        <a:pt x="838304" y="647530"/>
                      </a:lnTo>
                      <a:lnTo>
                        <a:pt x="849950" y="647530"/>
                      </a:lnTo>
                      <a:lnTo>
                        <a:pt x="849950" y="667808"/>
                      </a:lnTo>
                      <a:lnTo>
                        <a:pt x="875048" y="667808"/>
                      </a:lnTo>
                      <a:lnTo>
                        <a:pt x="875048" y="685836"/>
                      </a:lnTo>
                      <a:lnTo>
                        <a:pt x="893866" y="685836"/>
                      </a:lnTo>
                      <a:lnTo>
                        <a:pt x="893866" y="695299"/>
                      </a:lnTo>
                      <a:lnTo>
                        <a:pt x="913125" y="695299"/>
                      </a:lnTo>
                      <a:lnTo>
                        <a:pt x="913125" y="703410"/>
                      </a:lnTo>
                      <a:lnTo>
                        <a:pt x="944944" y="703410"/>
                      </a:lnTo>
                      <a:lnTo>
                        <a:pt x="944944" y="712872"/>
                      </a:lnTo>
                      <a:lnTo>
                        <a:pt x="955246" y="712872"/>
                      </a:lnTo>
                      <a:lnTo>
                        <a:pt x="955246" y="722335"/>
                      </a:lnTo>
                      <a:lnTo>
                        <a:pt x="969580" y="722335"/>
                      </a:lnTo>
                      <a:lnTo>
                        <a:pt x="969580" y="726391"/>
                      </a:lnTo>
                      <a:lnTo>
                        <a:pt x="980333" y="726391"/>
                      </a:lnTo>
                      <a:lnTo>
                        <a:pt x="980333" y="741261"/>
                      </a:lnTo>
                      <a:lnTo>
                        <a:pt x="1019766" y="741261"/>
                      </a:lnTo>
                      <a:lnTo>
                        <a:pt x="1019766" y="747566"/>
                      </a:lnTo>
                      <a:lnTo>
                        <a:pt x="1052918" y="747566"/>
                      </a:lnTo>
                      <a:lnTo>
                        <a:pt x="1052918" y="757029"/>
                      </a:lnTo>
                      <a:lnTo>
                        <a:pt x="1086974" y="757029"/>
                      </a:lnTo>
                      <a:lnTo>
                        <a:pt x="1086974" y="769195"/>
                      </a:lnTo>
                      <a:lnTo>
                        <a:pt x="1101308" y="769195"/>
                      </a:lnTo>
                      <a:lnTo>
                        <a:pt x="1101308" y="778658"/>
                      </a:lnTo>
                      <a:lnTo>
                        <a:pt x="1124159" y="778658"/>
                      </a:lnTo>
                      <a:lnTo>
                        <a:pt x="1124159" y="789019"/>
                      </a:lnTo>
                      <a:lnTo>
                        <a:pt x="1173000" y="789019"/>
                      </a:lnTo>
                      <a:lnTo>
                        <a:pt x="1173000" y="797130"/>
                      </a:lnTo>
                      <a:lnTo>
                        <a:pt x="1194055" y="797130"/>
                      </a:lnTo>
                      <a:lnTo>
                        <a:pt x="1194055" y="807501"/>
                      </a:lnTo>
                      <a:lnTo>
                        <a:pt x="1206152" y="807501"/>
                      </a:lnTo>
                      <a:lnTo>
                        <a:pt x="1206152" y="821917"/>
                      </a:lnTo>
                      <a:lnTo>
                        <a:pt x="1267091" y="821917"/>
                      </a:lnTo>
                      <a:lnTo>
                        <a:pt x="1267091" y="830482"/>
                      </a:lnTo>
                      <a:lnTo>
                        <a:pt x="1279640" y="830482"/>
                      </a:lnTo>
                      <a:lnTo>
                        <a:pt x="1279640" y="835890"/>
                      </a:lnTo>
                      <a:lnTo>
                        <a:pt x="1310997" y="835890"/>
                      </a:lnTo>
                      <a:lnTo>
                        <a:pt x="1310997" y="843546"/>
                      </a:lnTo>
                      <a:lnTo>
                        <a:pt x="1353117" y="843546"/>
                      </a:lnTo>
                      <a:lnTo>
                        <a:pt x="1353117" y="851203"/>
                      </a:lnTo>
                      <a:lnTo>
                        <a:pt x="1424358" y="851203"/>
                      </a:lnTo>
                      <a:lnTo>
                        <a:pt x="1424358" y="858417"/>
                      </a:lnTo>
                      <a:lnTo>
                        <a:pt x="1453478" y="858417"/>
                      </a:lnTo>
                      <a:lnTo>
                        <a:pt x="1453478" y="869231"/>
                      </a:lnTo>
                      <a:lnTo>
                        <a:pt x="1461543" y="869231"/>
                      </a:lnTo>
                      <a:lnTo>
                        <a:pt x="1461543" y="876445"/>
                      </a:lnTo>
                      <a:lnTo>
                        <a:pt x="1495598" y="876445"/>
                      </a:lnTo>
                      <a:lnTo>
                        <a:pt x="1495598" y="882750"/>
                      </a:lnTo>
                      <a:lnTo>
                        <a:pt x="1503663" y="882750"/>
                      </a:lnTo>
                      <a:lnTo>
                        <a:pt x="1503663" y="889055"/>
                      </a:lnTo>
                      <a:lnTo>
                        <a:pt x="1541300" y="889055"/>
                      </a:lnTo>
                      <a:lnTo>
                        <a:pt x="1541300" y="895814"/>
                      </a:lnTo>
                      <a:lnTo>
                        <a:pt x="1570420" y="895814"/>
                      </a:lnTo>
                      <a:lnTo>
                        <a:pt x="1570420" y="906628"/>
                      </a:lnTo>
                      <a:lnTo>
                        <a:pt x="1589689" y="906628"/>
                      </a:lnTo>
                      <a:lnTo>
                        <a:pt x="1589689" y="917000"/>
                      </a:lnTo>
                      <a:lnTo>
                        <a:pt x="1604927" y="917000"/>
                      </a:lnTo>
                      <a:lnTo>
                        <a:pt x="1604927" y="930518"/>
                      </a:lnTo>
                      <a:lnTo>
                        <a:pt x="1616121" y="930518"/>
                      </a:lnTo>
                      <a:lnTo>
                        <a:pt x="1616121" y="937277"/>
                      </a:lnTo>
                      <a:lnTo>
                        <a:pt x="1634047" y="937277"/>
                      </a:lnTo>
                      <a:lnTo>
                        <a:pt x="1634047" y="947184"/>
                      </a:lnTo>
                      <a:lnTo>
                        <a:pt x="1655553" y="947184"/>
                      </a:lnTo>
                      <a:lnTo>
                        <a:pt x="1655553" y="955749"/>
                      </a:lnTo>
                      <a:lnTo>
                        <a:pt x="1703943" y="955749"/>
                      </a:lnTo>
                      <a:lnTo>
                        <a:pt x="1703943" y="965666"/>
                      </a:lnTo>
                      <a:lnTo>
                        <a:pt x="1711556" y="965666"/>
                      </a:lnTo>
                      <a:lnTo>
                        <a:pt x="1711556" y="977833"/>
                      </a:lnTo>
                      <a:lnTo>
                        <a:pt x="1746063" y="977833"/>
                      </a:lnTo>
                      <a:lnTo>
                        <a:pt x="1746063" y="988647"/>
                      </a:lnTo>
                      <a:lnTo>
                        <a:pt x="1776979" y="988647"/>
                      </a:lnTo>
                      <a:lnTo>
                        <a:pt x="1776979" y="997201"/>
                      </a:lnTo>
                      <a:lnTo>
                        <a:pt x="1817304" y="997201"/>
                      </a:lnTo>
                      <a:lnTo>
                        <a:pt x="1817304" y="1006221"/>
                      </a:lnTo>
                      <a:lnTo>
                        <a:pt x="1887200" y="1006221"/>
                      </a:lnTo>
                      <a:lnTo>
                        <a:pt x="1887200" y="1016127"/>
                      </a:lnTo>
                      <a:lnTo>
                        <a:pt x="1941408" y="1016127"/>
                      </a:lnTo>
                      <a:lnTo>
                        <a:pt x="1941408" y="1027396"/>
                      </a:lnTo>
                      <a:lnTo>
                        <a:pt x="1973990" y="1027396"/>
                      </a:lnTo>
                      <a:lnTo>
                        <a:pt x="1973990" y="1036405"/>
                      </a:lnTo>
                      <a:lnTo>
                        <a:pt x="1980840" y="1036405"/>
                      </a:lnTo>
                      <a:lnTo>
                        <a:pt x="1980840" y="1044970"/>
                      </a:lnTo>
                      <a:lnTo>
                        <a:pt x="2003239" y="1044970"/>
                      </a:lnTo>
                      <a:lnTo>
                        <a:pt x="2003239" y="1052183"/>
                      </a:lnTo>
                      <a:lnTo>
                        <a:pt x="2039090" y="1052183"/>
                      </a:lnTo>
                      <a:lnTo>
                        <a:pt x="2039090" y="1062998"/>
                      </a:lnTo>
                      <a:lnTo>
                        <a:pt x="2091953" y="1062998"/>
                      </a:lnTo>
                      <a:lnTo>
                        <a:pt x="2091953" y="1072007"/>
                      </a:lnTo>
                      <a:lnTo>
                        <a:pt x="2125557" y="1072007"/>
                      </a:lnTo>
                      <a:lnTo>
                        <a:pt x="2125557" y="1078312"/>
                      </a:lnTo>
                      <a:lnTo>
                        <a:pt x="2139451" y="1078312"/>
                      </a:lnTo>
                      <a:lnTo>
                        <a:pt x="2139451" y="1088229"/>
                      </a:lnTo>
                      <a:lnTo>
                        <a:pt x="2163646" y="1088229"/>
                      </a:lnTo>
                      <a:lnTo>
                        <a:pt x="2163646" y="1095886"/>
                      </a:lnTo>
                      <a:lnTo>
                        <a:pt x="2182012" y="1095886"/>
                      </a:lnTo>
                      <a:lnTo>
                        <a:pt x="2182012" y="1104451"/>
                      </a:lnTo>
                      <a:lnTo>
                        <a:pt x="2237574" y="1104451"/>
                      </a:lnTo>
                      <a:lnTo>
                        <a:pt x="2237574" y="1116617"/>
                      </a:lnTo>
                      <a:lnTo>
                        <a:pt x="2250564" y="1116617"/>
                      </a:lnTo>
                      <a:lnTo>
                        <a:pt x="2250564" y="1130590"/>
                      </a:lnTo>
                      <a:lnTo>
                        <a:pt x="2308815" y="1130590"/>
                      </a:lnTo>
                      <a:lnTo>
                        <a:pt x="2308815" y="1144552"/>
                      </a:lnTo>
                      <a:lnTo>
                        <a:pt x="2348247" y="1144552"/>
                      </a:lnTo>
                      <a:lnTo>
                        <a:pt x="2348247" y="1158979"/>
                      </a:lnTo>
                      <a:lnTo>
                        <a:pt x="2436058" y="1158979"/>
                      </a:lnTo>
                      <a:lnTo>
                        <a:pt x="2436058" y="1163932"/>
                      </a:lnTo>
                      <a:lnTo>
                        <a:pt x="2507299" y="1163932"/>
                      </a:lnTo>
                      <a:lnTo>
                        <a:pt x="2507299" y="1176434"/>
                      </a:lnTo>
                      <a:lnTo>
                        <a:pt x="2526117" y="1176434"/>
                      </a:lnTo>
                      <a:lnTo>
                        <a:pt x="2526117" y="1185561"/>
                      </a:lnTo>
                      <a:lnTo>
                        <a:pt x="2716095" y="1185561"/>
                      </a:lnTo>
                      <a:lnTo>
                        <a:pt x="2716095" y="1203135"/>
                      </a:lnTo>
                      <a:lnTo>
                        <a:pt x="2751043" y="1203135"/>
                      </a:lnTo>
                      <a:lnTo>
                        <a:pt x="2751043" y="1217108"/>
                      </a:lnTo>
                      <a:lnTo>
                        <a:pt x="2805702" y="1217108"/>
                      </a:lnTo>
                      <a:lnTo>
                        <a:pt x="2805702" y="1231069"/>
                      </a:lnTo>
                      <a:lnTo>
                        <a:pt x="2816907" y="1231069"/>
                      </a:lnTo>
                      <a:lnTo>
                        <a:pt x="2816907" y="1238964"/>
                      </a:lnTo>
                      <a:close/>
                    </a:path>
                  </a:pathLst>
                </a:custGeom>
                <a:solidFill>
                  <a:schemeClr val="tx2">
                    <a:lumMod val="20000"/>
                    <a:lumOff val="80000"/>
                  </a:schemeClr>
                </a:solidFill>
                <a:ln w="9525" cap="flat">
                  <a:noFill/>
                  <a:prstDash val="solid"/>
                  <a:miter/>
                </a:ln>
              </p:spPr>
              <p:txBody>
                <a:bodyPr rtlCol="0" anchor="ctr"/>
                <a:lstStyle/>
                <a:p>
                  <a:pPr marL="0" marR="0" lvl="0" indent="0" algn="l" defTabSz="914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S PGothic" charset="0"/>
                    <a:cs typeface="+mn-cs"/>
                  </a:endParaRPr>
                </a:p>
              </p:txBody>
            </p:sp>
            <p:sp>
              <p:nvSpPr>
                <p:cNvPr id="19" name="Freeform: Shape 18">
                  <a:extLst>
                    <a:ext uri="{FF2B5EF4-FFF2-40B4-BE49-F238E27FC236}">
                      <a16:creationId xmlns:a16="http://schemas.microsoft.com/office/drawing/2014/main" id="{9EE00FFD-7EAA-46C6-A960-866826FACC10}"/>
                    </a:ext>
                  </a:extLst>
                </p:cNvPr>
                <p:cNvSpPr/>
                <p:nvPr/>
              </p:nvSpPr>
              <p:spPr>
                <a:xfrm>
                  <a:off x="2962071" y="1590449"/>
                  <a:ext cx="7430250" cy="1609071"/>
                </a:xfrm>
                <a:custGeom>
                  <a:avLst/>
                  <a:gdLst>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0107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91196 w 7414874"/>
                    <a:gd name="connsiteY121" fmla="*/ 927401 h 1607784"/>
                    <a:gd name="connsiteX122" fmla="*/ 2643526 w 7414874"/>
                    <a:gd name="connsiteY122" fmla="*/ 927401 h 1607784"/>
                    <a:gd name="connsiteX123" fmla="*/ 2626192 w 7414874"/>
                    <a:gd name="connsiteY123" fmla="*/ 910067 h 1607784"/>
                    <a:gd name="connsiteX124" fmla="*/ 2608857 w 7414874"/>
                    <a:gd name="connsiteY124" fmla="*/ 892732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75166 w 7414874"/>
                    <a:gd name="connsiteY326" fmla="*/ 875397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91196 w 7414874"/>
                    <a:gd name="connsiteY121" fmla="*/ 927401 h 1607784"/>
                    <a:gd name="connsiteX122" fmla="*/ 2643526 w 7414874"/>
                    <a:gd name="connsiteY122" fmla="*/ 927401 h 1607784"/>
                    <a:gd name="connsiteX123" fmla="*/ 2626192 w 7414874"/>
                    <a:gd name="connsiteY123" fmla="*/ 910067 h 1607784"/>
                    <a:gd name="connsiteX124" fmla="*/ 2608857 w 7414874"/>
                    <a:gd name="connsiteY124" fmla="*/ 892732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75166 w 7414874"/>
                    <a:gd name="connsiteY326" fmla="*/ 875397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91196 w 7414874"/>
                    <a:gd name="connsiteY121" fmla="*/ 927401 h 1607784"/>
                    <a:gd name="connsiteX122" fmla="*/ 2643526 w 7414874"/>
                    <a:gd name="connsiteY122" fmla="*/ 927401 h 1607784"/>
                    <a:gd name="connsiteX123" fmla="*/ 2640480 w 7414874"/>
                    <a:gd name="connsiteY123" fmla="*/ 914829 h 1607784"/>
                    <a:gd name="connsiteX124" fmla="*/ 2608857 w 7414874"/>
                    <a:gd name="connsiteY124" fmla="*/ 892732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75166 w 7414874"/>
                    <a:gd name="connsiteY326" fmla="*/ 875397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91196 w 7414874"/>
                    <a:gd name="connsiteY121" fmla="*/ 927401 h 1607784"/>
                    <a:gd name="connsiteX122" fmla="*/ 2643526 w 7414874"/>
                    <a:gd name="connsiteY122" fmla="*/ 927401 h 1607784"/>
                    <a:gd name="connsiteX123" fmla="*/ 2638099 w 7414874"/>
                    <a:gd name="connsiteY123" fmla="*/ 910067 h 1607784"/>
                    <a:gd name="connsiteX124" fmla="*/ 2608857 w 7414874"/>
                    <a:gd name="connsiteY124" fmla="*/ 892732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75166 w 7414874"/>
                    <a:gd name="connsiteY326" fmla="*/ 875397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08857 w 7414874"/>
                    <a:gd name="connsiteY124" fmla="*/ 892732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75166 w 7414874"/>
                    <a:gd name="connsiteY326" fmla="*/ 875397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75166 w 7414874"/>
                    <a:gd name="connsiteY326" fmla="*/ 875397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60878 w 7414874"/>
                    <a:gd name="connsiteY326" fmla="*/ 880160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62165 w 7414874"/>
                    <a:gd name="connsiteY325" fmla="*/ 888398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52640 w 7414874"/>
                    <a:gd name="connsiteY325" fmla="*/ 888398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62165 w 7414874"/>
                    <a:gd name="connsiteY324" fmla="*/ 888398 h 1607784"/>
                    <a:gd name="connsiteX325" fmla="*/ 2233590 w 7414874"/>
                    <a:gd name="connsiteY325" fmla="*/ 886016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50259 w 7414874"/>
                    <a:gd name="connsiteY324" fmla="*/ 921735 h 1607784"/>
                    <a:gd name="connsiteX325" fmla="*/ 2233590 w 7414874"/>
                    <a:gd name="connsiteY325" fmla="*/ 886016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50259 w 7414874"/>
                    <a:gd name="connsiteY324" fmla="*/ 921735 h 1607784"/>
                    <a:gd name="connsiteX325" fmla="*/ 2240733 w 7414874"/>
                    <a:gd name="connsiteY325" fmla="*/ 881254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71691 w 7414874"/>
                    <a:gd name="connsiteY324" fmla="*/ 890779 h 1607784"/>
                    <a:gd name="connsiteX325" fmla="*/ 2240733 w 7414874"/>
                    <a:gd name="connsiteY325" fmla="*/ 881254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68022 w 7414874"/>
                    <a:gd name="connsiteY326" fmla="*/ 973029 h 1607784"/>
                    <a:gd name="connsiteX327" fmla="*/ 2301168 w 7414874"/>
                    <a:gd name="connsiteY327" fmla="*/ 875397 h 1607784"/>
                    <a:gd name="connsiteX328" fmla="*/ 2301168 w 7414874"/>
                    <a:gd name="connsiteY328" fmla="*/ 914400 h 1607784"/>
                    <a:gd name="connsiteX329" fmla="*/ 2335837 w 7414874"/>
                    <a:gd name="connsiteY329" fmla="*/ 914400 h 1607784"/>
                    <a:gd name="connsiteX330" fmla="*/ 2335837 w 7414874"/>
                    <a:gd name="connsiteY330" fmla="*/ 923068 h 1607784"/>
                    <a:gd name="connsiteX331" fmla="*/ 2400842 w 7414874"/>
                    <a:gd name="connsiteY331" fmla="*/ 923068 h 1607784"/>
                    <a:gd name="connsiteX332" fmla="*/ 2400842 w 7414874"/>
                    <a:gd name="connsiteY332" fmla="*/ 936069 h 1607784"/>
                    <a:gd name="connsiteX333" fmla="*/ 2439845 w 7414874"/>
                    <a:gd name="connsiteY333" fmla="*/ 936069 h 1607784"/>
                    <a:gd name="connsiteX334" fmla="*/ 2452846 w 7414874"/>
                    <a:gd name="connsiteY334" fmla="*/ 949070 h 1607784"/>
                    <a:gd name="connsiteX335" fmla="*/ 2500516 w 7414874"/>
                    <a:gd name="connsiteY335" fmla="*/ 949070 h 1607784"/>
                    <a:gd name="connsiteX336" fmla="*/ 2513517 w 7414874"/>
                    <a:gd name="connsiteY336" fmla="*/ 962071 h 1607784"/>
                    <a:gd name="connsiteX337" fmla="*/ 2543852 w 7414874"/>
                    <a:gd name="connsiteY337" fmla="*/ 962071 h 1607784"/>
                    <a:gd name="connsiteX338" fmla="*/ 2543852 w 7414874"/>
                    <a:gd name="connsiteY338" fmla="*/ 979405 h 1607784"/>
                    <a:gd name="connsiteX339" fmla="*/ 2591522 w 7414874"/>
                    <a:gd name="connsiteY339" fmla="*/ 979405 h 1607784"/>
                    <a:gd name="connsiteX340" fmla="*/ 2591522 w 7414874"/>
                    <a:gd name="connsiteY340" fmla="*/ 1001073 h 1607784"/>
                    <a:gd name="connsiteX341" fmla="*/ 2639192 w 7414874"/>
                    <a:gd name="connsiteY341" fmla="*/ 1001073 h 1607784"/>
                    <a:gd name="connsiteX342" fmla="*/ 2639192 w 7414874"/>
                    <a:gd name="connsiteY342" fmla="*/ 1022742 h 1607784"/>
                    <a:gd name="connsiteX343" fmla="*/ 2699864 w 7414874"/>
                    <a:gd name="connsiteY343" fmla="*/ 1022742 h 1607784"/>
                    <a:gd name="connsiteX344" fmla="*/ 2699864 w 7414874"/>
                    <a:gd name="connsiteY344" fmla="*/ 1040076 h 1607784"/>
                    <a:gd name="connsiteX345" fmla="*/ 2808205 w 7414874"/>
                    <a:gd name="connsiteY345" fmla="*/ 1040076 h 1607784"/>
                    <a:gd name="connsiteX346" fmla="*/ 2816872 w 7414874"/>
                    <a:gd name="connsiteY346" fmla="*/ 1048743 h 1607784"/>
                    <a:gd name="connsiteX347" fmla="*/ 2825540 w 7414874"/>
                    <a:gd name="connsiteY347" fmla="*/ 1057411 h 1607784"/>
                    <a:gd name="connsiteX348" fmla="*/ 2864542 w 7414874"/>
                    <a:gd name="connsiteY348" fmla="*/ 1057411 h 1607784"/>
                    <a:gd name="connsiteX349" fmla="*/ 2886210 w 7414874"/>
                    <a:gd name="connsiteY349" fmla="*/ 1057411 h 1607784"/>
                    <a:gd name="connsiteX350" fmla="*/ 2899211 w 7414874"/>
                    <a:gd name="connsiteY350" fmla="*/ 1057411 h 1607784"/>
                    <a:gd name="connsiteX351" fmla="*/ 2916546 w 7414874"/>
                    <a:gd name="connsiteY351" fmla="*/ 1074746 h 1607784"/>
                    <a:gd name="connsiteX352" fmla="*/ 2968550 w 7414874"/>
                    <a:gd name="connsiteY352" fmla="*/ 1074746 h 1607784"/>
                    <a:gd name="connsiteX353" fmla="*/ 2968550 w 7414874"/>
                    <a:gd name="connsiteY353" fmla="*/ 1092080 h 1607784"/>
                    <a:gd name="connsiteX354" fmla="*/ 3141896 w 7414874"/>
                    <a:gd name="connsiteY354" fmla="*/ 1092080 h 1607784"/>
                    <a:gd name="connsiteX355" fmla="*/ 3141896 w 7414874"/>
                    <a:gd name="connsiteY355" fmla="*/ 1122415 h 1607784"/>
                    <a:gd name="connsiteX356" fmla="*/ 3211234 w 7414874"/>
                    <a:gd name="connsiteY356" fmla="*/ 1122415 h 1607784"/>
                    <a:gd name="connsiteX357" fmla="*/ 3215568 w 7414874"/>
                    <a:gd name="connsiteY357" fmla="*/ 1122415 h 1607784"/>
                    <a:gd name="connsiteX358" fmla="*/ 3302241 w 7414874"/>
                    <a:gd name="connsiteY358" fmla="*/ 1122415 h 1607784"/>
                    <a:gd name="connsiteX359" fmla="*/ 3302241 w 7414874"/>
                    <a:gd name="connsiteY359" fmla="*/ 1148417 h 1607784"/>
                    <a:gd name="connsiteX360" fmla="*/ 3388914 w 7414874"/>
                    <a:gd name="connsiteY360" fmla="*/ 1148417 h 1607784"/>
                    <a:gd name="connsiteX361" fmla="*/ 3388914 w 7414874"/>
                    <a:gd name="connsiteY361" fmla="*/ 1157085 h 1607784"/>
                    <a:gd name="connsiteX362" fmla="*/ 3445251 w 7414874"/>
                    <a:gd name="connsiteY362" fmla="*/ 1157085 h 1607784"/>
                    <a:gd name="connsiteX363" fmla="*/ 3453919 w 7414874"/>
                    <a:gd name="connsiteY363" fmla="*/ 1165753 h 1607784"/>
                    <a:gd name="connsiteX364" fmla="*/ 3596929 w 7414874"/>
                    <a:gd name="connsiteY364" fmla="*/ 1165753 h 1607784"/>
                    <a:gd name="connsiteX365" fmla="*/ 3596929 w 7414874"/>
                    <a:gd name="connsiteY365" fmla="*/ 1178753 h 1607784"/>
                    <a:gd name="connsiteX366" fmla="*/ 3705270 w 7414874"/>
                    <a:gd name="connsiteY366" fmla="*/ 1178753 h 1607784"/>
                    <a:gd name="connsiteX367" fmla="*/ 3709604 w 7414874"/>
                    <a:gd name="connsiteY367" fmla="*/ 1183087 h 1607784"/>
                    <a:gd name="connsiteX368" fmla="*/ 3960956 w 7414874"/>
                    <a:gd name="connsiteY368" fmla="*/ 1183087 h 1607784"/>
                    <a:gd name="connsiteX369" fmla="*/ 3960956 w 7414874"/>
                    <a:gd name="connsiteY369" fmla="*/ 1204755 h 1607784"/>
                    <a:gd name="connsiteX370" fmla="*/ 3991291 w 7414874"/>
                    <a:gd name="connsiteY370" fmla="*/ 1204755 h 1607784"/>
                    <a:gd name="connsiteX371" fmla="*/ 3991291 w 7414874"/>
                    <a:gd name="connsiteY371" fmla="*/ 1178753 h 1607784"/>
                    <a:gd name="connsiteX372" fmla="*/ 4030294 w 7414874"/>
                    <a:gd name="connsiteY372" fmla="*/ 1178753 h 1607784"/>
                    <a:gd name="connsiteX373" fmla="*/ 4030294 w 7414874"/>
                    <a:gd name="connsiteY373" fmla="*/ 1213422 h 1607784"/>
                    <a:gd name="connsiteX374" fmla="*/ 4043295 w 7414874"/>
                    <a:gd name="connsiteY374" fmla="*/ 1213422 h 1607784"/>
                    <a:gd name="connsiteX375" fmla="*/ 4043295 w 7414874"/>
                    <a:gd name="connsiteY375" fmla="*/ 1222089 h 1607784"/>
                    <a:gd name="connsiteX376" fmla="*/ 4164637 w 7414874"/>
                    <a:gd name="connsiteY376" fmla="*/ 1222089 h 1607784"/>
                    <a:gd name="connsiteX377" fmla="*/ 4164637 w 7414874"/>
                    <a:gd name="connsiteY377" fmla="*/ 1243758 h 1607784"/>
                    <a:gd name="connsiteX378" fmla="*/ 4320648 w 7414874"/>
                    <a:gd name="connsiteY378" fmla="*/ 1243758 h 1607784"/>
                    <a:gd name="connsiteX379" fmla="*/ 4320648 w 7414874"/>
                    <a:gd name="connsiteY379" fmla="*/ 1261092 h 1607784"/>
                    <a:gd name="connsiteX380" fmla="*/ 4398654 w 7414874"/>
                    <a:gd name="connsiteY380" fmla="*/ 1261092 h 1607784"/>
                    <a:gd name="connsiteX381" fmla="*/ 4398654 w 7414874"/>
                    <a:gd name="connsiteY381" fmla="*/ 1287094 h 1607784"/>
                    <a:gd name="connsiteX382" fmla="*/ 4450658 w 7414874"/>
                    <a:gd name="connsiteY382" fmla="*/ 1287094 h 1607784"/>
                    <a:gd name="connsiteX383" fmla="*/ 4476660 w 7414874"/>
                    <a:gd name="connsiteY383" fmla="*/ 1287094 h 1607784"/>
                    <a:gd name="connsiteX384" fmla="*/ 4498328 w 7414874"/>
                    <a:gd name="connsiteY384" fmla="*/ 1308762 h 1607784"/>
                    <a:gd name="connsiteX385" fmla="*/ 4593668 w 7414874"/>
                    <a:gd name="connsiteY385" fmla="*/ 1308762 h 1607784"/>
                    <a:gd name="connsiteX386" fmla="*/ 4602336 w 7414874"/>
                    <a:gd name="connsiteY386" fmla="*/ 1317430 h 1607784"/>
                    <a:gd name="connsiteX387" fmla="*/ 4663007 w 7414874"/>
                    <a:gd name="connsiteY387" fmla="*/ 1317430 h 1607784"/>
                    <a:gd name="connsiteX388" fmla="*/ 4663007 w 7414874"/>
                    <a:gd name="connsiteY388" fmla="*/ 1339098 h 1607784"/>
                    <a:gd name="connsiteX389" fmla="*/ 4706343 w 7414874"/>
                    <a:gd name="connsiteY389" fmla="*/ 1339098 h 1607784"/>
                    <a:gd name="connsiteX390" fmla="*/ 4710677 w 7414874"/>
                    <a:gd name="connsiteY390" fmla="*/ 1343432 h 1607784"/>
                    <a:gd name="connsiteX391" fmla="*/ 4767014 w 7414874"/>
                    <a:gd name="connsiteY391" fmla="*/ 1343432 h 1607784"/>
                    <a:gd name="connsiteX392" fmla="*/ 4780015 w 7414874"/>
                    <a:gd name="connsiteY392" fmla="*/ 1356433 h 1607784"/>
                    <a:gd name="connsiteX393" fmla="*/ 5005365 w 7414874"/>
                    <a:gd name="connsiteY393" fmla="*/ 1356433 h 1607784"/>
                    <a:gd name="connsiteX394" fmla="*/ 5018366 w 7414874"/>
                    <a:gd name="connsiteY394" fmla="*/ 1369434 h 1607784"/>
                    <a:gd name="connsiteX395" fmla="*/ 5152709 w 7414874"/>
                    <a:gd name="connsiteY395" fmla="*/ 1369434 h 1607784"/>
                    <a:gd name="connsiteX396" fmla="*/ 5152709 w 7414874"/>
                    <a:gd name="connsiteY396" fmla="*/ 1391102 h 1607784"/>
                    <a:gd name="connsiteX397" fmla="*/ 5282719 w 7414874"/>
                    <a:gd name="connsiteY397" fmla="*/ 1391102 h 1607784"/>
                    <a:gd name="connsiteX398" fmla="*/ 5291386 w 7414874"/>
                    <a:gd name="connsiteY398" fmla="*/ 1399769 h 1607784"/>
                    <a:gd name="connsiteX399" fmla="*/ 5356391 w 7414874"/>
                    <a:gd name="connsiteY399" fmla="*/ 1399769 h 1607784"/>
                    <a:gd name="connsiteX400" fmla="*/ 5369392 w 7414874"/>
                    <a:gd name="connsiteY400" fmla="*/ 1399769 h 1607784"/>
                    <a:gd name="connsiteX401" fmla="*/ 5369392 w 7414874"/>
                    <a:gd name="connsiteY401" fmla="*/ 1421437 h 1607784"/>
                    <a:gd name="connsiteX402" fmla="*/ 5473399 w 7414874"/>
                    <a:gd name="connsiteY402" fmla="*/ 1421437 h 1607784"/>
                    <a:gd name="connsiteX403" fmla="*/ 5473399 w 7414874"/>
                    <a:gd name="connsiteY403" fmla="*/ 1399769 h 1607784"/>
                    <a:gd name="connsiteX404" fmla="*/ 5512402 w 7414874"/>
                    <a:gd name="connsiteY404" fmla="*/ 1399769 h 1607784"/>
                    <a:gd name="connsiteX405" fmla="*/ 5512402 w 7414874"/>
                    <a:gd name="connsiteY405" fmla="*/ 1425771 h 1607784"/>
                    <a:gd name="connsiteX406" fmla="*/ 5607742 w 7414874"/>
                    <a:gd name="connsiteY406" fmla="*/ 1425771 h 1607784"/>
                    <a:gd name="connsiteX407" fmla="*/ 5607742 w 7414874"/>
                    <a:gd name="connsiteY407" fmla="*/ 1399769 h 1607784"/>
                    <a:gd name="connsiteX408" fmla="*/ 5664080 w 7414874"/>
                    <a:gd name="connsiteY408" fmla="*/ 1399769 h 1607784"/>
                    <a:gd name="connsiteX409" fmla="*/ 5664080 w 7414874"/>
                    <a:gd name="connsiteY409" fmla="*/ 1434438 h 1607784"/>
                    <a:gd name="connsiteX410" fmla="*/ 5685748 w 7414874"/>
                    <a:gd name="connsiteY410" fmla="*/ 1434438 h 1607784"/>
                    <a:gd name="connsiteX411" fmla="*/ 5685748 w 7414874"/>
                    <a:gd name="connsiteY411" fmla="*/ 1443106 h 1607784"/>
                    <a:gd name="connsiteX412" fmla="*/ 5716083 w 7414874"/>
                    <a:gd name="connsiteY412" fmla="*/ 1443106 h 1607784"/>
                    <a:gd name="connsiteX413" fmla="*/ 5716083 w 7414874"/>
                    <a:gd name="connsiteY413" fmla="*/ 1456106 h 1607784"/>
                    <a:gd name="connsiteX414" fmla="*/ 5794089 w 7414874"/>
                    <a:gd name="connsiteY414" fmla="*/ 1456106 h 1607784"/>
                    <a:gd name="connsiteX415" fmla="*/ 5794089 w 7414874"/>
                    <a:gd name="connsiteY415" fmla="*/ 1421437 h 1607784"/>
                    <a:gd name="connsiteX416" fmla="*/ 5837426 w 7414874"/>
                    <a:gd name="connsiteY416" fmla="*/ 1421437 h 1607784"/>
                    <a:gd name="connsiteX417" fmla="*/ 5837426 w 7414874"/>
                    <a:gd name="connsiteY417" fmla="*/ 1456106 h 1607784"/>
                    <a:gd name="connsiteX418" fmla="*/ 5902430 w 7414874"/>
                    <a:gd name="connsiteY418" fmla="*/ 1456106 h 1607784"/>
                    <a:gd name="connsiteX419" fmla="*/ 5928432 w 7414874"/>
                    <a:gd name="connsiteY419" fmla="*/ 1456106 h 1607784"/>
                    <a:gd name="connsiteX420" fmla="*/ 5928432 w 7414874"/>
                    <a:gd name="connsiteY420" fmla="*/ 1473441 h 1607784"/>
                    <a:gd name="connsiteX421" fmla="*/ 5945767 w 7414874"/>
                    <a:gd name="connsiteY421" fmla="*/ 1473441 h 1607784"/>
                    <a:gd name="connsiteX422" fmla="*/ 5950101 w 7414874"/>
                    <a:gd name="connsiteY422" fmla="*/ 1477775 h 1607784"/>
                    <a:gd name="connsiteX423" fmla="*/ 6019439 w 7414874"/>
                    <a:gd name="connsiteY423" fmla="*/ 1477775 h 1607784"/>
                    <a:gd name="connsiteX424" fmla="*/ 6019439 w 7414874"/>
                    <a:gd name="connsiteY424" fmla="*/ 1456106 h 1607784"/>
                    <a:gd name="connsiteX425" fmla="*/ 6058442 w 7414874"/>
                    <a:gd name="connsiteY425" fmla="*/ 1456106 h 1607784"/>
                    <a:gd name="connsiteX426" fmla="*/ 6058442 w 7414874"/>
                    <a:gd name="connsiteY426" fmla="*/ 1499443 h 1607784"/>
                    <a:gd name="connsiteX427" fmla="*/ 6110446 w 7414874"/>
                    <a:gd name="connsiteY427" fmla="*/ 1499443 h 1607784"/>
                    <a:gd name="connsiteX428" fmla="*/ 6110446 w 7414874"/>
                    <a:gd name="connsiteY428" fmla="*/ 1508110 h 1607784"/>
                    <a:gd name="connsiteX429" fmla="*/ 6188451 w 7414874"/>
                    <a:gd name="connsiteY429" fmla="*/ 1508110 h 1607784"/>
                    <a:gd name="connsiteX430" fmla="*/ 6188451 w 7414874"/>
                    <a:gd name="connsiteY430" fmla="*/ 1464774 h 1607784"/>
                    <a:gd name="connsiteX431" fmla="*/ 6227454 w 7414874"/>
                    <a:gd name="connsiteY431" fmla="*/ 1464774 h 1607784"/>
                    <a:gd name="connsiteX432" fmla="*/ 6227454 w 7414874"/>
                    <a:gd name="connsiteY432" fmla="*/ 1516778 h 1607784"/>
                    <a:gd name="connsiteX433" fmla="*/ 6353130 w 7414874"/>
                    <a:gd name="connsiteY433" fmla="*/ 1516778 h 1607784"/>
                    <a:gd name="connsiteX434" fmla="*/ 6353130 w 7414874"/>
                    <a:gd name="connsiteY434" fmla="*/ 1477775 h 1607784"/>
                    <a:gd name="connsiteX435" fmla="*/ 6409467 w 7414874"/>
                    <a:gd name="connsiteY435" fmla="*/ 1477775 h 1607784"/>
                    <a:gd name="connsiteX436" fmla="*/ 6409467 w 7414874"/>
                    <a:gd name="connsiteY436" fmla="*/ 1529778 h 1607784"/>
                    <a:gd name="connsiteX437" fmla="*/ 6457138 w 7414874"/>
                    <a:gd name="connsiteY437" fmla="*/ 1529778 h 1607784"/>
                    <a:gd name="connsiteX438" fmla="*/ 6457138 w 7414874"/>
                    <a:gd name="connsiteY438" fmla="*/ 1482108 h 1607784"/>
                    <a:gd name="connsiteX439" fmla="*/ 6487473 w 7414874"/>
                    <a:gd name="connsiteY439" fmla="*/ 1482108 h 1607784"/>
                    <a:gd name="connsiteX440" fmla="*/ 6487473 w 7414874"/>
                    <a:gd name="connsiteY440" fmla="*/ 1529778 h 1607784"/>
                    <a:gd name="connsiteX441" fmla="*/ 6561145 w 7414874"/>
                    <a:gd name="connsiteY441" fmla="*/ 1529778 h 1607784"/>
                    <a:gd name="connsiteX442" fmla="*/ 6565479 w 7414874"/>
                    <a:gd name="connsiteY442" fmla="*/ 1534112 h 1607784"/>
                    <a:gd name="connsiteX443" fmla="*/ 6669486 w 7414874"/>
                    <a:gd name="connsiteY443" fmla="*/ 1534112 h 1607784"/>
                    <a:gd name="connsiteX444" fmla="*/ 6669486 w 7414874"/>
                    <a:gd name="connsiteY444" fmla="*/ 1499443 h 1607784"/>
                    <a:gd name="connsiteX445" fmla="*/ 6738825 w 7414874"/>
                    <a:gd name="connsiteY445" fmla="*/ 1499443 h 1607784"/>
                    <a:gd name="connsiteX446" fmla="*/ 6738825 w 7414874"/>
                    <a:gd name="connsiteY446" fmla="*/ 1542779 h 1607784"/>
                    <a:gd name="connsiteX447" fmla="*/ 6795162 w 7414874"/>
                    <a:gd name="connsiteY447" fmla="*/ 1542779 h 1607784"/>
                    <a:gd name="connsiteX448" fmla="*/ 6795162 w 7414874"/>
                    <a:gd name="connsiteY448" fmla="*/ 1499443 h 1607784"/>
                    <a:gd name="connsiteX449" fmla="*/ 6829831 w 7414874"/>
                    <a:gd name="connsiteY449" fmla="*/ 1499443 h 1607784"/>
                    <a:gd name="connsiteX450" fmla="*/ 6829831 w 7414874"/>
                    <a:gd name="connsiteY450" fmla="*/ 1529778 h 1607784"/>
                    <a:gd name="connsiteX451" fmla="*/ 6847166 w 7414874"/>
                    <a:gd name="connsiteY451" fmla="*/ 1529778 h 1607784"/>
                    <a:gd name="connsiteX452" fmla="*/ 6847166 w 7414874"/>
                    <a:gd name="connsiteY452" fmla="*/ 1555780 h 1607784"/>
                    <a:gd name="connsiteX453" fmla="*/ 7050847 w 7414874"/>
                    <a:gd name="connsiteY453" fmla="*/ 1555780 h 1607784"/>
                    <a:gd name="connsiteX454" fmla="*/ 7063848 w 7414874"/>
                    <a:gd name="connsiteY454" fmla="*/ 1568781 h 1607784"/>
                    <a:gd name="connsiteX455" fmla="*/ 7133187 w 7414874"/>
                    <a:gd name="connsiteY455" fmla="*/ 1568781 h 1607784"/>
                    <a:gd name="connsiteX456" fmla="*/ 7133187 w 7414874"/>
                    <a:gd name="connsiteY456" fmla="*/ 1586116 h 1607784"/>
                    <a:gd name="connsiteX457" fmla="*/ 7284865 w 7414874"/>
                    <a:gd name="connsiteY457" fmla="*/ 1586116 h 1607784"/>
                    <a:gd name="connsiteX458" fmla="*/ 7284865 w 7414874"/>
                    <a:gd name="connsiteY458" fmla="*/ 1607784 h 1607784"/>
                    <a:gd name="connsiteX459" fmla="*/ 7414874 w 7414874"/>
                    <a:gd name="connsiteY459"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68022 w 7414874"/>
                    <a:gd name="connsiteY326" fmla="*/ 973029 h 1607784"/>
                    <a:gd name="connsiteX327" fmla="*/ 2280583 w 7414874"/>
                    <a:gd name="connsiteY327" fmla="*/ 928914 h 1607784"/>
                    <a:gd name="connsiteX328" fmla="*/ 2301168 w 7414874"/>
                    <a:gd name="connsiteY328" fmla="*/ 875397 h 1607784"/>
                    <a:gd name="connsiteX329" fmla="*/ 2301168 w 7414874"/>
                    <a:gd name="connsiteY329" fmla="*/ 914400 h 1607784"/>
                    <a:gd name="connsiteX330" fmla="*/ 2335837 w 7414874"/>
                    <a:gd name="connsiteY330" fmla="*/ 914400 h 1607784"/>
                    <a:gd name="connsiteX331" fmla="*/ 2335837 w 7414874"/>
                    <a:gd name="connsiteY331" fmla="*/ 923068 h 1607784"/>
                    <a:gd name="connsiteX332" fmla="*/ 2400842 w 7414874"/>
                    <a:gd name="connsiteY332" fmla="*/ 923068 h 1607784"/>
                    <a:gd name="connsiteX333" fmla="*/ 2400842 w 7414874"/>
                    <a:gd name="connsiteY333" fmla="*/ 936069 h 1607784"/>
                    <a:gd name="connsiteX334" fmla="*/ 2439845 w 7414874"/>
                    <a:gd name="connsiteY334" fmla="*/ 936069 h 1607784"/>
                    <a:gd name="connsiteX335" fmla="*/ 2452846 w 7414874"/>
                    <a:gd name="connsiteY335" fmla="*/ 949070 h 1607784"/>
                    <a:gd name="connsiteX336" fmla="*/ 2500516 w 7414874"/>
                    <a:gd name="connsiteY336" fmla="*/ 949070 h 1607784"/>
                    <a:gd name="connsiteX337" fmla="*/ 2513517 w 7414874"/>
                    <a:gd name="connsiteY337" fmla="*/ 962071 h 1607784"/>
                    <a:gd name="connsiteX338" fmla="*/ 2543852 w 7414874"/>
                    <a:gd name="connsiteY338" fmla="*/ 962071 h 1607784"/>
                    <a:gd name="connsiteX339" fmla="*/ 2543852 w 7414874"/>
                    <a:gd name="connsiteY339" fmla="*/ 979405 h 1607784"/>
                    <a:gd name="connsiteX340" fmla="*/ 2591522 w 7414874"/>
                    <a:gd name="connsiteY340" fmla="*/ 979405 h 1607784"/>
                    <a:gd name="connsiteX341" fmla="*/ 2591522 w 7414874"/>
                    <a:gd name="connsiteY341" fmla="*/ 1001073 h 1607784"/>
                    <a:gd name="connsiteX342" fmla="*/ 2639192 w 7414874"/>
                    <a:gd name="connsiteY342" fmla="*/ 1001073 h 1607784"/>
                    <a:gd name="connsiteX343" fmla="*/ 2639192 w 7414874"/>
                    <a:gd name="connsiteY343" fmla="*/ 1022742 h 1607784"/>
                    <a:gd name="connsiteX344" fmla="*/ 2699864 w 7414874"/>
                    <a:gd name="connsiteY344" fmla="*/ 1022742 h 1607784"/>
                    <a:gd name="connsiteX345" fmla="*/ 2699864 w 7414874"/>
                    <a:gd name="connsiteY345" fmla="*/ 1040076 h 1607784"/>
                    <a:gd name="connsiteX346" fmla="*/ 2808205 w 7414874"/>
                    <a:gd name="connsiteY346" fmla="*/ 1040076 h 1607784"/>
                    <a:gd name="connsiteX347" fmla="*/ 2816872 w 7414874"/>
                    <a:gd name="connsiteY347" fmla="*/ 1048743 h 1607784"/>
                    <a:gd name="connsiteX348" fmla="*/ 2825540 w 7414874"/>
                    <a:gd name="connsiteY348" fmla="*/ 1057411 h 1607784"/>
                    <a:gd name="connsiteX349" fmla="*/ 2864542 w 7414874"/>
                    <a:gd name="connsiteY349" fmla="*/ 1057411 h 1607784"/>
                    <a:gd name="connsiteX350" fmla="*/ 2886210 w 7414874"/>
                    <a:gd name="connsiteY350" fmla="*/ 1057411 h 1607784"/>
                    <a:gd name="connsiteX351" fmla="*/ 2899211 w 7414874"/>
                    <a:gd name="connsiteY351" fmla="*/ 1057411 h 1607784"/>
                    <a:gd name="connsiteX352" fmla="*/ 2916546 w 7414874"/>
                    <a:gd name="connsiteY352" fmla="*/ 1074746 h 1607784"/>
                    <a:gd name="connsiteX353" fmla="*/ 2968550 w 7414874"/>
                    <a:gd name="connsiteY353" fmla="*/ 1074746 h 1607784"/>
                    <a:gd name="connsiteX354" fmla="*/ 2968550 w 7414874"/>
                    <a:gd name="connsiteY354" fmla="*/ 1092080 h 1607784"/>
                    <a:gd name="connsiteX355" fmla="*/ 3141896 w 7414874"/>
                    <a:gd name="connsiteY355" fmla="*/ 1092080 h 1607784"/>
                    <a:gd name="connsiteX356" fmla="*/ 3141896 w 7414874"/>
                    <a:gd name="connsiteY356" fmla="*/ 1122415 h 1607784"/>
                    <a:gd name="connsiteX357" fmla="*/ 3211234 w 7414874"/>
                    <a:gd name="connsiteY357" fmla="*/ 1122415 h 1607784"/>
                    <a:gd name="connsiteX358" fmla="*/ 3215568 w 7414874"/>
                    <a:gd name="connsiteY358" fmla="*/ 1122415 h 1607784"/>
                    <a:gd name="connsiteX359" fmla="*/ 3302241 w 7414874"/>
                    <a:gd name="connsiteY359" fmla="*/ 1122415 h 1607784"/>
                    <a:gd name="connsiteX360" fmla="*/ 3302241 w 7414874"/>
                    <a:gd name="connsiteY360" fmla="*/ 1148417 h 1607784"/>
                    <a:gd name="connsiteX361" fmla="*/ 3388914 w 7414874"/>
                    <a:gd name="connsiteY361" fmla="*/ 1148417 h 1607784"/>
                    <a:gd name="connsiteX362" fmla="*/ 3388914 w 7414874"/>
                    <a:gd name="connsiteY362" fmla="*/ 1157085 h 1607784"/>
                    <a:gd name="connsiteX363" fmla="*/ 3445251 w 7414874"/>
                    <a:gd name="connsiteY363" fmla="*/ 1157085 h 1607784"/>
                    <a:gd name="connsiteX364" fmla="*/ 3453919 w 7414874"/>
                    <a:gd name="connsiteY364" fmla="*/ 1165753 h 1607784"/>
                    <a:gd name="connsiteX365" fmla="*/ 3596929 w 7414874"/>
                    <a:gd name="connsiteY365" fmla="*/ 1165753 h 1607784"/>
                    <a:gd name="connsiteX366" fmla="*/ 3596929 w 7414874"/>
                    <a:gd name="connsiteY366" fmla="*/ 1178753 h 1607784"/>
                    <a:gd name="connsiteX367" fmla="*/ 3705270 w 7414874"/>
                    <a:gd name="connsiteY367" fmla="*/ 1178753 h 1607784"/>
                    <a:gd name="connsiteX368" fmla="*/ 3709604 w 7414874"/>
                    <a:gd name="connsiteY368" fmla="*/ 1183087 h 1607784"/>
                    <a:gd name="connsiteX369" fmla="*/ 3960956 w 7414874"/>
                    <a:gd name="connsiteY369" fmla="*/ 1183087 h 1607784"/>
                    <a:gd name="connsiteX370" fmla="*/ 3960956 w 7414874"/>
                    <a:gd name="connsiteY370" fmla="*/ 1204755 h 1607784"/>
                    <a:gd name="connsiteX371" fmla="*/ 3991291 w 7414874"/>
                    <a:gd name="connsiteY371" fmla="*/ 1204755 h 1607784"/>
                    <a:gd name="connsiteX372" fmla="*/ 3991291 w 7414874"/>
                    <a:gd name="connsiteY372" fmla="*/ 1178753 h 1607784"/>
                    <a:gd name="connsiteX373" fmla="*/ 4030294 w 7414874"/>
                    <a:gd name="connsiteY373" fmla="*/ 1178753 h 1607784"/>
                    <a:gd name="connsiteX374" fmla="*/ 4030294 w 7414874"/>
                    <a:gd name="connsiteY374" fmla="*/ 1213422 h 1607784"/>
                    <a:gd name="connsiteX375" fmla="*/ 4043295 w 7414874"/>
                    <a:gd name="connsiteY375" fmla="*/ 1213422 h 1607784"/>
                    <a:gd name="connsiteX376" fmla="*/ 4043295 w 7414874"/>
                    <a:gd name="connsiteY376" fmla="*/ 1222089 h 1607784"/>
                    <a:gd name="connsiteX377" fmla="*/ 4164637 w 7414874"/>
                    <a:gd name="connsiteY377" fmla="*/ 1222089 h 1607784"/>
                    <a:gd name="connsiteX378" fmla="*/ 4164637 w 7414874"/>
                    <a:gd name="connsiteY378" fmla="*/ 1243758 h 1607784"/>
                    <a:gd name="connsiteX379" fmla="*/ 4320648 w 7414874"/>
                    <a:gd name="connsiteY379" fmla="*/ 1243758 h 1607784"/>
                    <a:gd name="connsiteX380" fmla="*/ 4320648 w 7414874"/>
                    <a:gd name="connsiteY380" fmla="*/ 1261092 h 1607784"/>
                    <a:gd name="connsiteX381" fmla="*/ 4398654 w 7414874"/>
                    <a:gd name="connsiteY381" fmla="*/ 1261092 h 1607784"/>
                    <a:gd name="connsiteX382" fmla="*/ 4398654 w 7414874"/>
                    <a:gd name="connsiteY382" fmla="*/ 1287094 h 1607784"/>
                    <a:gd name="connsiteX383" fmla="*/ 4450658 w 7414874"/>
                    <a:gd name="connsiteY383" fmla="*/ 1287094 h 1607784"/>
                    <a:gd name="connsiteX384" fmla="*/ 4476660 w 7414874"/>
                    <a:gd name="connsiteY384" fmla="*/ 1287094 h 1607784"/>
                    <a:gd name="connsiteX385" fmla="*/ 4498328 w 7414874"/>
                    <a:gd name="connsiteY385" fmla="*/ 1308762 h 1607784"/>
                    <a:gd name="connsiteX386" fmla="*/ 4593668 w 7414874"/>
                    <a:gd name="connsiteY386" fmla="*/ 1308762 h 1607784"/>
                    <a:gd name="connsiteX387" fmla="*/ 4602336 w 7414874"/>
                    <a:gd name="connsiteY387" fmla="*/ 1317430 h 1607784"/>
                    <a:gd name="connsiteX388" fmla="*/ 4663007 w 7414874"/>
                    <a:gd name="connsiteY388" fmla="*/ 1317430 h 1607784"/>
                    <a:gd name="connsiteX389" fmla="*/ 4663007 w 7414874"/>
                    <a:gd name="connsiteY389" fmla="*/ 1339098 h 1607784"/>
                    <a:gd name="connsiteX390" fmla="*/ 4706343 w 7414874"/>
                    <a:gd name="connsiteY390" fmla="*/ 1339098 h 1607784"/>
                    <a:gd name="connsiteX391" fmla="*/ 4710677 w 7414874"/>
                    <a:gd name="connsiteY391" fmla="*/ 1343432 h 1607784"/>
                    <a:gd name="connsiteX392" fmla="*/ 4767014 w 7414874"/>
                    <a:gd name="connsiteY392" fmla="*/ 1343432 h 1607784"/>
                    <a:gd name="connsiteX393" fmla="*/ 4780015 w 7414874"/>
                    <a:gd name="connsiteY393" fmla="*/ 1356433 h 1607784"/>
                    <a:gd name="connsiteX394" fmla="*/ 5005365 w 7414874"/>
                    <a:gd name="connsiteY394" fmla="*/ 1356433 h 1607784"/>
                    <a:gd name="connsiteX395" fmla="*/ 5018366 w 7414874"/>
                    <a:gd name="connsiteY395" fmla="*/ 1369434 h 1607784"/>
                    <a:gd name="connsiteX396" fmla="*/ 5152709 w 7414874"/>
                    <a:gd name="connsiteY396" fmla="*/ 1369434 h 1607784"/>
                    <a:gd name="connsiteX397" fmla="*/ 5152709 w 7414874"/>
                    <a:gd name="connsiteY397" fmla="*/ 1391102 h 1607784"/>
                    <a:gd name="connsiteX398" fmla="*/ 5282719 w 7414874"/>
                    <a:gd name="connsiteY398" fmla="*/ 1391102 h 1607784"/>
                    <a:gd name="connsiteX399" fmla="*/ 5291386 w 7414874"/>
                    <a:gd name="connsiteY399" fmla="*/ 1399769 h 1607784"/>
                    <a:gd name="connsiteX400" fmla="*/ 5356391 w 7414874"/>
                    <a:gd name="connsiteY400" fmla="*/ 1399769 h 1607784"/>
                    <a:gd name="connsiteX401" fmla="*/ 5369392 w 7414874"/>
                    <a:gd name="connsiteY401" fmla="*/ 1399769 h 1607784"/>
                    <a:gd name="connsiteX402" fmla="*/ 5369392 w 7414874"/>
                    <a:gd name="connsiteY402" fmla="*/ 1421437 h 1607784"/>
                    <a:gd name="connsiteX403" fmla="*/ 5473399 w 7414874"/>
                    <a:gd name="connsiteY403" fmla="*/ 1421437 h 1607784"/>
                    <a:gd name="connsiteX404" fmla="*/ 5473399 w 7414874"/>
                    <a:gd name="connsiteY404" fmla="*/ 1399769 h 1607784"/>
                    <a:gd name="connsiteX405" fmla="*/ 5512402 w 7414874"/>
                    <a:gd name="connsiteY405" fmla="*/ 1399769 h 1607784"/>
                    <a:gd name="connsiteX406" fmla="*/ 5512402 w 7414874"/>
                    <a:gd name="connsiteY406" fmla="*/ 1425771 h 1607784"/>
                    <a:gd name="connsiteX407" fmla="*/ 5607742 w 7414874"/>
                    <a:gd name="connsiteY407" fmla="*/ 1425771 h 1607784"/>
                    <a:gd name="connsiteX408" fmla="*/ 5607742 w 7414874"/>
                    <a:gd name="connsiteY408" fmla="*/ 1399769 h 1607784"/>
                    <a:gd name="connsiteX409" fmla="*/ 5664080 w 7414874"/>
                    <a:gd name="connsiteY409" fmla="*/ 1399769 h 1607784"/>
                    <a:gd name="connsiteX410" fmla="*/ 5664080 w 7414874"/>
                    <a:gd name="connsiteY410" fmla="*/ 1434438 h 1607784"/>
                    <a:gd name="connsiteX411" fmla="*/ 5685748 w 7414874"/>
                    <a:gd name="connsiteY411" fmla="*/ 1434438 h 1607784"/>
                    <a:gd name="connsiteX412" fmla="*/ 5685748 w 7414874"/>
                    <a:gd name="connsiteY412" fmla="*/ 1443106 h 1607784"/>
                    <a:gd name="connsiteX413" fmla="*/ 5716083 w 7414874"/>
                    <a:gd name="connsiteY413" fmla="*/ 1443106 h 1607784"/>
                    <a:gd name="connsiteX414" fmla="*/ 5716083 w 7414874"/>
                    <a:gd name="connsiteY414" fmla="*/ 1456106 h 1607784"/>
                    <a:gd name="connsiteX415" fmla="*/ 5794089 w 7414874"/>
                    <a:gd name="connsiteY415" fmla="*/ 1456106 h 1607784"/>
                    <a:gd name="connsiteX416" fmla="*/ 5794089 w 7414874"/>
                    <a:gd name="connsiteY416" fmla="*/ 1421437 h 1607784"/>
                    <a:gd name="connsiteX417" fmla="*/ 5837426 w 7414874"/>
                    <a:gd name="connsiteY417" fmla="*/ 1421437 h 1607784"/>
                    <a:gd name="connsiteX418" fmla="*/ 5837426 w 7414874"/>
                    <a:gd name="connsiteY418" fmla="*/ 1456106 h 1607784"/>
                    <a:gd name="connsiteX419" fmla="*/ 5902430 w 7414874"/>
                    <a:gd name="connsiteY419" fmla="*/ 1456106 h 1607784"/>
                    <a:gd name="connsiteX420" fmla="*/ 5928432 w 7414874"/>
                    <a:gd name="connsiteY420" fmla="*/ 1456106 h 1607784"/>
                    <a:gd name="connsiteX421" fmla="*/ 5928432 w 7414874"/>
                    <a:gd name="connsiteY421" fmla="*/ 1473441 h 1607784"/>
                    <a:gd name="connsiteX422" fmla="*/ 5945767 w 7414874"/>
                    <a:gd name="connsiteY422" fmla="*/ 1473441 h 1607784"/>
                    <a:gd name="connsiteX423" fmla="*/ 5950101 w 7414874"/>
                    <a:gd name="connsiteY423" fmla="*/ 1477775 h 1607784"/>
                    <a:gd name="connsiteX424" fmla="*/ 6019439 w 7414874"/>
                    <a:gd name="connsiteY424" fmla="*/ 1477775 h 1607784"/>
                    <a:gd name="connsiteX425" fmla="*/ 6019439 w 7414874"/>
                    <a:gd name="connsiteY425" fmla="*/ 1456106 h 1607784"/>
                    <a:gd name="connsiteX426" fmla="*/ 6058442 w 7414874"/>
                    <a:gd name="connsiteY426" fmla="*/ 1456106 h 1607784"/>
                    <a:gd name="connsiteX427" fmla="*/ 6058442 w 7414874"/>
                    <a:gd name="connsiteY427" fmla="*/ 1499443 h 1607784"/>
                    <a:gd name="connsiteX428" fmla="*/ 6110446 w 7414874"/>
                    <a:gd name="connsiteY428" fmla="*/ 1499443 h 1607784"/>
                    <a:gd name="connsiteX429" fmla="*/ 6110446 w 7414874"/>
                    <a:gd name="connsiteY429" fmla="*/ 1508110 h 1607784"/>
                    <a:gd name="connsiteX430" fmla="*/ 6188451 w 7414874"/>
                    <a:gd name="connsiteY430" fmla="*/ 1508110 h 1607784"/>
                    <a:gd name="connsiteX431" fmla="*/ 6188451 w 7414874"/>
                    <a:gd name="connsiteY431" fmla="*/ 1464774 h 1607784"/>
                    <a:gd name="connsiteX432" fmla="*/ 6227454 w 7414874"/>
                    <a:gd name="connsiteY432" fmla="*/ 1464774 h 1607784"/>
                    <a:gd name="connsiteX433" fmla="*/ 6227454 w 7414874"/>
                    <a:gd name="connsiteY433" fmla="*/ 1516778 h 1607784"/>
                    <a:gd name="connsiteX434" fmla="*/ 6353130 w 7414874"/>
                    <a:gd name="connsiteY434" fmla="*/ 1516778 h 1607784"/>
                    <a:gd name="connsiteX435" fmla="*/ 6353130 w 7414874"/>
                    <a:gd name="connsiteY435" fmla="*/ 1477775 h 1607784"/>
                    <a:gd name="connsiteX436" fmla="*/ 6409467 w 7414874"/>
                    <a:gd name="connsiteY436" fmla="*/ 1477775 h 1607784"/>
                    <a:gd name="connsiteX437" fmla="*/ 6409467 w 7414874"/>
                    <a:gd name="connsiteY437" fmla="*/ 1529778 h 1607784"/>
                    <a:gd name="connsiteX438" fmla="*/ 6457138 w 7414874"/>
                    <a:gd name="connsiteY438" fmla="*/ 1529778 h 1607784"/>
                    <a:gd name="connsiteX439" fmla="*/ 6457138 w 7414874"/>
                    <a:gd name="connsiteY439" fmla="*/ 1482108 h 1607784"/>
                    <a:gd name="connsiteX440" fmla="*/ 6487473 w 7414874"/>
                    <a:gd name="connsiteY440" fmla="*/ 1482108 h 1607784"/>
                    <a:gd name="connsiteX441" fmla="*/ 6487473 w 7414874"/>
                    <a:gd name="connsiteY441" fmla="*/ 1529778 h 1607784"/>
                    <a:gd name="connsiteX442" fmla="*/ 6561145 w 7414874"/>
                    <a:gd name="connsiteY442" fmla="*/ 1529778 h 1607784"/>
                    <a:gd name="connsiteX443" fmla="*/ 6565479 w 7414874"/>
                    <a:gd name="connsiteY443" fmla="*/ 1534112 h 1607784"/>
                    <a:gd name="connsiteX444" fmla="*/ 6669486 w 7414874"/>
                    <a:gd name="connsiteY444" fmla="*/ 1534112 h 1607784"/>
                    <a:gd name="connsiteX445" fmla="*/ 6669486 w 7414874"/>
                    <a:gd name="connsiteY445" fmla="*/ 1499443 h 1607784"/>
                    <a:gd name="connsiteX446" fmla="*/ 6738825 w 7414874"/>
                    <a:gd name="connsiteY446" fmla="*/ 1499443 h 1607784"/>
                    <a:gd name="connsiteX447" fmla="*/ 6738825 w 7414874"/>
                    <a:gd name="connsiteY447" fmla="*/ 1542779 h 1607784"/>
                    <a:gd name="connsiteX448" fmla="*/ 6795162 w 7414874"/>
                    <a:gd name="connsiteY448" fmla="*/ 1542779 h 1607784"/>
                    <a:gd name="connsiteX449" fmla="*/ 6795162 w 7414874"/>
                    <a:gd name="connsiteY449" fmla="*/ 1499443 h 1607784"/>
                    <a:gd name="connsiteX450" fmla="*/ 6829831 w 7414874"/>
                    <a:gd name="connsiteY450" fmla="*/ 1499443 h 1607784"/>
                    <a:gd name="connsiteX451" fmla="*/ 6829831 w 7414874"/>
                    <a:gd name="connsiteY451" fmla="*/ 1529778 h 1607784"/>
                    <a:gd name="connsiteX452" fmla="*/ 6847166 w 7414874"/>
                    <a:gd name="connsiteY452" fmla="*/ 1529778 h 1607784"/>
                    <a:gd name="connsiteX453" fmla="*/ 6847166 w 7414874"/>
                    <a:gd name="connsiteY453" fmla="*/ 1555780 h 1607784"/>
                    <a:gd name="connsiteX454" fmla="*/ 7050847 w 7414874"/>
                    <a:gd name="connsiteY454" fmla="*/ 1555780 h 1607784"/>
                    <a:gd name="connsiteX455" fmla="*/ 7063848 w 7414874"/>
                    <a:gd name="connsiteY455" fmla="*/ 1568781 h 1607784"/>
                    <a:gd name="connsiteX456" fmla="*/ 7133187 w 7414874"/>
                    <a:gd name="connsiteY456" fmla="*/ 1568781 h 1607784"/>
                    <a:gd name="connsiteX457" fmla="*/ 7133187 w 7414874"/>
                    <a:gd name="connsiteY457" fmla="*/ 1586116 h 1607784"/>
                    <a:gd name="connsiteX458" fmla="*/ 7284865 w 7414874"/>
                    <a:gd name="connsiteY458" fmla="*/ 1586116 h 1607784"/>
                    <a:gd name="connsiteX459" fmla="*/ 7284865 w 7414874"/>
                    <a:gd name="connsiteY459" fmla="*/ 1607784 h 1607784"/>
                    <a:gd name="connsiteX460" fmla="*/ 7414874 w 7414874"/>
                    <a:gd name="connsiteY460"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68022 w 7414874"/>
                    <a:gd name="connsiteY326" fmla="*/ 973029 h 1607784"/>
                    <a:gd name="connsiteX327" fmla="*/ 2275821 w 7414874"/>
                    <a:gd name="connsiteY327" fmla="*/ 881289 h 1607784"/>
                    <a:gd name="connsiteX328" fmla="*/ 2301168 w 7414874"/>
                    <a:gd name="connsiteY328" fmla="*/ 875397 h 1607784"/>
                    <a:gd name="connsiteX329" fmla="*/ 2301168 w 7414874"/>
                    <a:gd name="connsiteY329" fmla="*/ 914400 h 1607784"/>
                    <a:gd name="connsiteX330" fmla="*/ 2335837 w 7414874"/>
                    <a:gd name="connsiteY330" fmla="*/ 914400 h 1607784"/>
                    <a:gd name="connsiteX331" fmla="*/ 2335837 w 7414874"/>
                    <a:gd name="connsiteY331" fmla="*/ 923068 h 1607784"/>
                    <a:gd name="connsiteX332" fmla="*/ 2400842 w 7414874"/>
                    <a:gd name="connsiteY332" fmla="*/ 923068 h 1607784"/>
                    <a:gd name="connsiteX333" fmla="*/ 2400842 w 7414874"/>
                    <a:gd name="connsiteY333" fmla="*/ 936069 h 1607784"/>
                    <a:gd name="connsiteX334" fmla="*/ 2439845 w 7414874"/>
                    <a:gd name="connsiteY334" fmla="*/ 936069 h 1607784"/>
                    <a:gd name="connsiteX335" fmla="*/ 2452846 w 7414874"/>
                    <a:gd name="connsiteY335" fmla="*/ 949070 h 1607784"/>
                    <a:gd name="connsiteX336" fmla="*/ 2500516 w 7414874"/>
                    <a:gd name="connsiteY336" fmla="*/ 949070 h 1607784"/>
                    <a:gd name="connsiteX337" fmla="*/ 2513517 w 7414874"/>
                    <a:gd name="connsiteY337" fmla="*/ 962071 h 1607784"/>
                    <a:gd name="connsiteX338" fmla="*/ 2543852 w 7414874"/>
                    <a:gd name="connsiteY338" fmla="*/ 962071 h 1607784"/>
                    <a:gd name="connsiteX339" fmla="*/ 2543852 w 7414874"/>
                    <a:gd name="connsiteY339" fmla="*/ 979405 h 1607784"/>
                    <a:gd name="connsiteX340" fmla="*/ 2591522 w 7414874"/>
                    <a:gd name="connsiteY340" fmla="*/ 979405 h 1607784"/>
                    <a:gd name="connsiteX341" fmla="*/ 2591522 w 7414874"/>
                    <a:gd name="connsiteY341" fmla="*/ 1001073 h 1607784"/>
                    <a:gd name="connsiteX342" fmla="*/ 2639192 w 7414874"/>
                    <a:gd name="connsiteY342" fmla="*/ 1001073 h 1607784"/>
                    <a:gd name="connsiteX343" fmla="*/ 2639192 w 7414874"/>
                    <a:gd name="connsiteY343" fmla="*/ 1022742 h 1607784"/>
                    <a:gd name="connsiteX344" fmla="*/ 2699864 w 7414874"/>
                    <a:gd name="connsiteY344" fmla="*/ 1022742 h 1607784"/>
                    <a:gd name="connsiteX345" fmla="*/ 2699864 w 7414874"/>
                    <a:gd name="connsiteY345" fmla="*/ 1040076 h 1607784"/>
                    <a:gd name="connsiteX346" fmla="*/ 2808205 w 7414874"/>
                    <a:gd name="connsiteY346" fmla="*/ 1040076 h 1607784"/>
                    <a:gd name="connsiteX347" fmla="*/ 2816872 w 7414874"/>
                    <a:gd name="connsiteY347" fmla="*/ 1048743 h 1607784"/>
                    <a:gd name="connsiteX348" fmla="*/ 2825540 w 7414874"/>
                    <a:gd name="connsiteY348" fmla="*/ 1057411 h 1607784"/>
                    <a:gd name="connsiteX349" fmla="*/ 2864542 w 7414874"/>
                    <a:gd name="connsiteY349" fmla="*/ 1057411 h 1607784"/>
                    <a:gd name="connsiteX350" fmla="*/ 2886210 w 7414874"/>
                    <a:gd name="connsiteY350" fmla="*/ 1057411 h 1607784"/>
                    <a:gd name="connsiteX351" fmla="*/ 2899211 w 7414874"/>
                    <a:gd name="connsiteY351" fmla="*/ 1057411 h 1607784"/>
                    <a:gd name="connsiteX352" fmla="*/ 2916546 w 7414874"/>
                    <a:gd name="connsiteY352" fmla="*/ 1074746 h 1607784"/>
                    <a:gd name="connsiteX353" fmla="*/ 2968550 w 7414874"/>
                    <a:gd name="connsiteY353" fmla="*/ 1074746 h 1607784"/>
                    <a:gd name="connsiteX354" fmla="*/ 2968550 w 7414874"/>
                    <a:gd name="connsiteY354" fmla="*/ 1092080 h 1607784"/>
                    <a:gd name="connsiteX355" fmla="*/ 3141896 w 7414874"/>
                    <a:gd name="connsiteY355" fmla="*/ 1092080 h 1607784"/>
                    <a:gd name="connsiteX356" fmla="*/ 3141896 w 7414874"/>
                    <a:gd name="connsiteY356" fmla="*/ 1122415 h 1607784"/>
                    <a:gd name="connsiteX357" fmla="*/ 3211234 w 7414874"/>
                    <a:gd name="connsiteY357" fmla="*/ 1122415 h 1607784"/>
                    <a:gd name="connsiteX358" fmla="*/ 3215568 w 7414874"/>
                    <a:gd name="connsiteY358" fmla="*/ 1122415 h 1607784"/>
                    <a:gd name="connsiteX359" fmla="*/ 3302241 w 7414874"/>
                    <a:gd name="connsiteY359" fmla="*/ 1122415 h 1607784"/>
                    <a:gd name="connsiteX360" fmla="*/ 3302241 w 7414874"/>
                    <a:gd name="connsiteY360" fmla="*/ 1148417 h 1607784"/>
                    <a:gd name="connsiteX361" fmla="*/ 3388914 w 7414874"/>
                    <a:gd name="connsiteY361" fmla="*/ 1148417 h 1607784"/>
                    <a:gd name="connsiteX362" fmla="*/ 3388914 w 7414874"/>
                    <a:gd name="connsiteY362" fmla="*/ 1157085 h 1607784"/>
                    <a:gd name="connsiteX363" fmla="*/ 3445251 w 7414874"/>
                    <a:gd name="connsiteY363" fmla="*/ 1157085 h 1607784"/>
                    <a:gd name="connsiteX364" fmla="*/ 3453919 w 7414874"/>
                    <a:gd name="connsiteY364" fmla="*/ 1165753 h 1607784"/>
                    <a:gd name="connsiteX365" fmla="*/ 3596929 w 7414874"/>
                    <a:gd name="connsiteY365" fmla="*/ 1165753 h 1607784"/>
                    <a:gd name="connsiteX366" fmla="*/ 3596929 w 7414874"/>
                    <a:gd name="connsiteY366" fmla="*/ 1178753 h 1607784"/>
                    <a:gd name="connsiteX367" fmla="*/ 3705270 w 7414874"/>
                    <a:gd name="connsiteY367" fmla="*/ 1178753 h 1607784"/>
                    <a:gd name="connsiteX368" fmla="*/ 3709604 w 7414874"/>
                    <a:gd name="connsiteY368" fmla="*/ 1183087 h 1607784"/>
                    <a:gd name="connsiteX369" fmla="*/ 3960956 w 7414874"/>
                    <a:gd name="connsiteY369" fmla="*/ 1183087 h 1607784"/>
                    <a:gd name="connsiteX370" fmla="*/ 3960956 w 7414874"/>
                    <a:gd name="connsiteY370" fmla="*/ 1204755 h 1607784"/>
                    <a:gd name="connsiteX371" fmla="*/ 3991291 w 7414874"/>
                    <a:gd name="connsiteY371" fmla="*/ 1204755 h 1607784"/>
                    <a:gd name="connsiteX372" fmla="*/ 3991291 w 7414874"/>
                    <a:gd name="connsiteY372" fmla="*/ 1178753 h 1607784"/>
                    <a:gd name="connsiteX373" fmla="*/ 4030294 w 7414874"/>
                    <a:gd name="connsiteY373" fmla="*/ 1178753 h 1607784"/>
                    <a:gd name="connsiteX374" fmla="*/ 4030294 w 7414874"/>
                    <a:gd name="connsiteY374" fmla="*/ 1213422 h 1607784"/>
                    <a:gd name="connsiteX375" fmla="*/ 4043295 w 7414874"/>
                    <a:gd name="connsiteY375" fmla="*/ 1213422 h 1607784"/>
                    <a:gd name="connsiteX376" fmla="*/ 4043295 w 7414874"/>
                    <a:gd name="connsiteY376" fmla="*/ 1222089 h 1607784"/>
                    <a:gd name="connsiteX377" fmla="*/ 4164637 w 7414874"/>
                    <a:gd name="connsiteY377" fmla="*/ 1222089 h 1607784"/>
                    <a:gd name="connsiteX378" fmla="*/ 4164637 w 7414874"/>
                    <a:gd name="connsiteY378" fmla="*/ 1243758 h 1607784"/>
                    <a:gd name="connsiteX379" fmla="*/ 4320648 w 7414874"/>
                    <a:gd name="connsiteY379" fmla="*/ 1243758 h 1607784"/>
                    <a:gd name="connsiteX380" fmla="*/ 4320648 w 7414874"/>
                    <a:gd name="connsiteY380" fmla="*/ 1261092 h 1607784"/>
                    <a:gd name="connsiteX381" fmla="*/ 4398654 w 7414874"/>
                    <a:gd name="connsiteY381" fmla="*/ 1261092 h 1607784"/>
                    <a:gd name="connsiteX382" fmla="*/ 4398654 w 7414874"/>
                    <a:gd name="connsiteY382" fmla="*/ 1287094 h 1607784"/>
                    <a:gd name="connsiteX383" fmla="*/ 4450658 w 7414874"/>
                    <a:gd name="connsiteY383" fmla="*/ 1287094 h 1607784"/>
                    <a:gd name="connsiteX384" fmla="*/ 4476660 w 7414874"/>
                    <a:gd name="connsiteY384" fmla="*/ 1287094 h 1607784"/>
                    <a:gd name="connsiteX385" fmla="*/ 4498328 w 7414874"/>
                    <a:gd name="connsiteY385" fmla="*/ 1308762 h 1607784"/>
                    <a:gd name="connsiteX386" fmla="*/ 4593668 w 7414874"/>
                    <a:gd name="connsiteY386" fmla="*/ 1308762 h 1607784"/>
                    <a:gd name="connsiteX387" fmla="*/ 4602336 w 7414874"/>
                    <a:gd name="connsiteY387" fmla="*/ 1317430 h 1607784"/>
                    <a:gd name="connsiteX388" fmla="*/ 4663007 w 7414874"/>
                    <a:gd name="connsiteY388" fmla="*/ 1317430 h 1607784"/>
                    <a:gd name="connsiteX389" fmla="*/ 4663007 w 7414874"/>
                    <a:gd name="connsiteY389" fmla="*/ 1339098 h 1607784"/>
                    <a:gd name="connsiteX390" fmla="*/ 4706343 w 7414874"/>
                    <a:gd name="connsiteY390" fmla="*/ 1339098 h 1607784"/>
                    <a:gd name="connsiteX391" fmla="*/ 4710677 w 7414874"/>
                    <a:gd name="connsiteY391" fmla="*/ 1343432 h 1607784"/>
                    <a:gd name="connsiteX392" fmla="*/ 4767014 w 7414874"/>
                    <a:gd name="connsiteY392" fmla="*/ 1343432 h 1607784"/>
                    <a:gd name="connsiteX393" fmla="*/ 4780015 w 7414874"/>
                    <a:gd name="connsiteY393" fmla="*/ 1356433 h 1607784"/>
                    <a:gd name="connsiteX394" fmla="*/ 5005365 w 7414874"/>
                    <a:gd name="connsiteY394" fmla="*/ 1356433 h 1607784"/>
                    <a:gd name="connsiteX395" fmla="*/ 5018366 w 7414874"/>
                    <a:gd name="connsiteY395" fmla="*/ 1369434 h 1607784"/>
                    <a:gd name="connsiteX396" fmla="*/ 5152709 w 7414874"/>
                    <a:gd name="connsiteY396" fmla="*/ 1369434 h 1607784"/>
                    <a:gd name="connsiteX397" fmla="*/ 5152709 w 7414874"/>
                    <a:gd name="connsiteY397" fmla="*/ 1391102 h 1607784"/>
                    <a:gd name="connsiteX398" fmla="*/ 5282719 w 7414874"/>
                    <a:gd name="connsiteY398" fmla="*/ 1391102 h 1607784"/>
                    <a:gd name="connsiteX399" fmla="*/ 5291386 w 7414874"/>
                    <a:gd name="connsiteY399" fmla="*/ 1399769 h 1607784"/>
                    <a:gd name="connsiteX400" fmla="*/ 5356391 w 7414874"/>
                    <a:gd name="connsiteY400" fmla="*/ 1399769 h 1607784"/>
                    <a:gd name="connsiteX401" fmla="*/ 5369392 w 7414874"/>
                    <a:gd name="connsiteY401" fmla="*/ 1399769 h 1607784"/>
                    <a:gd name="connsiteX402" fmla="*/ 5369392 w 7414874"/>
                    <a:gd name="connsiteY402" fmla="*/ 1421437 h 1607784"/>
                    <a:gd name="connsiteX403" fmla="*/ 5473399 w 7414874"/>
                    <a:gd name="connsiteY403" fmla="*/ 1421437 h 1607784"/>
                    <a:gd name="connsiteX404" fmla="*/ 5473399 w 7414874"/>
                    <a:gd name="connsiteY404" fmla="*/ 1399769 h 1607784"/>
                    <a:gd name="connsiteX405" fmla="*/ 5512402 w 7414874"/>
                    <a:gd name="connsiteY405" fmla="*/ 1399769 h 1607784"/>
                    <a:gd name="connsiteX406" fmla="*/ 5512402 w 7414874"/>
                    <a:gd name="connsiteY406" fmla="*/ 1425771 h 1607784"/>
                    <a:gd name="connsiteX407" fmla="*/ 5607742 w 7414874"/>
                    <a:gd name="connsiteY407" fmla="*/ 1425771 h 1607784"/>
                    <a:gd name="connsiteX408" fmla="*/ 5607742 w 7414874"/>
                    <a:gd name="connsiteY408" fmla="*/ 1399769 h 1607784"/>
                    <a:gd name="connsiteX409" fmla="*/ 5664080 w 7414874"/>
                    <a:gd name="connsiteY409" fmla="*/ 1399769 h 1607784"/>
                    <a:gd name="connsiteX410" fmla="*/ 5664080 w 7414874"/>
                    <a:gd name="connsiteY410" fmla="*/ 1434438 h 1607784"/>
                    <a:gd name="connsiteX411" fmla="*/ 5685748 w 7414874"/>
                    <a:gd name="connsiteY411" fmla="*/ 1434438 h 1607784"/>
                    <a:gd name="connsiteX412" fmla="*/ 5685748 w 7414874"/>
                    <a:gd name="connsiteY412" fmla="*/ 1443106 h 1607784"/>
                    <a:gd name="connsiteX413" fmla="*/ 5716083 w 7414874"/>
                    <a:gd name="connsiteY413" fmla="*/ 1443106 h 1607784"/>
                    <a:gd name="connsiteX414" fmla="*/ 5716083 w 7414874"/>
                    <a:gd name="connsiteY414" fmla="*/ 1456106 h 1607784"/>
                    <a:gd name="connsiteX415" fmla="*/ 5794089 w 7414874"/>
                    <a:gd name="connsiteY415" fmla="*/ 1456106 h 1607784"/>
                    <a:gd name="connsiteX416" fmla="*/ 5794089 w 7414874"/>
                    <a:gd name="connsiteY416" fmla="*/ 1421437 h 1607784"/>
                    <a:gd name="connsiteX417" fmla="*/ 5837426 w 7414874"/>
                    <a:gd name="connsiteY417" fmla="*/ 1421437 h 1607784"/>
                    <a:gd name="connsiteX418" fmla="*/ 5837426 w 7414874"/>
                    <a:gd name="connsiteY418" fmla="*/ 1456106 h 1607784"/>
                    <a:gd name="connsiteX419" fmla="*/ 5902430 w 7414874"/>
                    <a:gd name="connsiteY419" fmla="*/ 1456106 h 1607784"/>
                    <a:gd name="connsiteX420" fmla="*/ 5928432 w 7414874"/>
                    <a:gd name="connsiteY420" fmla="*/ 1456106 h 1607784"/>
                    <a:gd name="connsiteX421" fmla="*/ 5928432 w 7414874"/>
                    <a:gd name="connsiteY421" fmla="*/ 1473441 h 1607784"/>
                    <a:gd name="connsiteX422" fmla="*/ 5945767 w 7414874"/>
                    <a:gd name="connsiteY422" fmla="*/ 1473441 h 1607784"/>
                    <a:gd name="connsiteX423" fmla="*/ 5950101 w 7414874"/>
                    <a:gd name="connsiteY423" fmla="*/ 1477775 h 1607784"/>
                    <a:gd name="connsiteX424" fmla="*/ 6019439 w 7414874"/>
                    <a:gd name="connsiteY424" fmla="*/ 1477775 h 1607784"/>
                    <a:gd name="connsiteX425" fmla="*/ 6019439 w 7414874"/>
                    <a:gd name="connsiteY425" fmla="*/ 1456106 h 1607784"/>
                    <a:gd name="connsiteX426" fmla="*/ 6058442 w 7414874"/>
                    <a:gd name="connsiteY426" fmla="*/ 1456106 h 1607784"/>
                    <a:gd name="connsiteX427" fmla="*/ 6058442 w 7414874"/>
                    <a:gd name="connsiteY427" fmla="*/ 1499443 h 1607784"/>
                    <a:gd name="connsiteX428" fmla="*/ 6110446 w 7414874"/>
                    <a:gd name="connsiteY428" fmla="*/ 1499443 h 1607784"/>
                    <a:gd name="connsiteX429" fmla="*/ 6110446 w 7414874"/>
                    <a:gd name="connsiteY429" fmla="*/ 1508110 h 1607784"/>
                    <a:gd name="connsiteX430" fmla="*/ 6188451 w 7414874"/>
                    <a:gd name="connsiteY430" fmla="*/ 1508110 h 1607784"/>
                    <a:gd name="connsiteX431" fmla="*/ 6188451 w 7414874"/>
                    <a:gd name="connsiteY431" fmla="*/ 1464774 h 1607784"/>
                    <a:gd name="connsiteX432" fmla="*/ 6227454 w 7414874"/>
                    <a:gd name="connsiteY432" fmla="*/ 1464774 h 1607784"/>
                    <a:gd name="connsiteX433" fmla="*/ 6227454 w 7414874"/>
                    <a:gd name="connsiteY433" fmla="*/ 1516778 h 1607784"/>
                    <a:gd name="connsiteX434" fmla="*/ 6353130 w 7414874"/>
                    <a:gd name="connsiteY434" fmla="*/ 1516778 h 1607784"/>
                    <a:gd name="connsiteX435" fmla="*/ 6353130 w 7414874"/>
                    <a:gd name="connsiteY435" fmla="*/ 1477775 h 1607784"/>
                    <a:gd name="connsiteX436" fmla="*/ 6409467 w 7414874"/>
                    <a:gd name="connsiteY436" fmla="*/ 1477775 h 1607784"/>
                    <a:gd name="connsiteX437" fmla="*/ 6409467 w 7414874"/>
                    <a:gd name="connsiteY437" fmla="*/ 1529778 h 1607784"/>
                    <a:gd name="connsiteX438" fmla="*/ 6457138 w 7414874"/>
                    <a:gd name="connsiteY438" fmla="*/ 1529778 h 1607784"/>
                    <a:gd name="connsiteX439" fmla="*/ 6457138 w 7414874"/>
                    <a:gd name="connsiteY439" fmla="*/ 1482108 h 1607784"/>
                    <a:gd name="connsiteX440" fmla="*/ 6487473 w 7414874"/>
                    <a:gd name="connsiteY440" fmla="*/ 1482108 h 1607784"/>
                    <a:gd name="connsiteX441" fmla="*/ 6487473 w 7414874"/>
                    <a:gd name="connsiteY441" fmla="*/ 1529778 h 1607784"/>
                    <a:gd name="connsiteX442" fmla="*/ 6561145 w 7414874"/>
                    <a:gd name="connsiteY442" fmla="*/ 1529778 h 1607784"/>
                    <a:gd name="connsiteX443" fmla="*/ 6565479 w 7414874"/>
                    <a:gd name="connsiteY443" fmla="*/ 1534112 h 1607784"/>
                    <a:gd name="connsiteX444" fmla="*/ 6669486 w 7414874"/>
                    <a:gd name="connsiteY444" fmla="*/ 1534112 h 1607784"/>
                    <a:gd name="connsiteX445" fmla="*/ 6669486 w 7414874"/>
                    <a:gd name="connsiteY445" fmla="*/ 1499443 h 1607784"/>
                    <a:gd name="connsiteX446" fmla="*/ 6738825 w 7414874"/>
                    <a:gd name="connsiteY446" fmla="*/ 1499443 h 1607784"/>
                    <a:gd name="connsiteX447" fmla="*/ 6738825 w 7414874"/>
                    <a:gd name="connsiteY447" fmla="*/ 1542779 h 1607784"/>
                    <a:gd name="connsiteX448" fmla="*/ 6795162 w 7414874"/>
                    <a:gd name="connsiteY448" fmla="*/ 1542779 h 1607784"/>
                    <a:gd name="connsiteX449" fmla="*/ 6795162 w 7414874"/>
                    <a:gd name="connsiteY449" fmla="*/ 1499443 h 1607784"/>
                    <a:gd name="connsiteX450" fmla="*/ 6829831 w 7414874"/>
                    <a:gd name="connsiteY450" fmla="*/ 1499443 h 1607784"/>
                    <a:gd name="connsiteX451" fmla="*/ 6829831 w 7414874"/>
                    <a:gd name="connsiteY451" fmla="*/ 1529778 h 1607784"/>
                    <a:gd name="connsiteX452" fmla="*/ 6847166 w 7414874"/>
                    <a:gd name="connsiteY452" fmla="*/ 1529778 h 1607784"/>
                    <a:gd name="connsiteX453" fmla="*/ 6847166 w 7414874"/>
                    <a:gd name="connsiteY453" fmla="*/ 1555780 h 1607784"/>
                    <a:gd name="connsiteX454" fmla="*/ 7050847 w 7414874"/>
                    <a:gd name="connsiteY454" fmla="*/ 1555780 h 1607784"/>
                    <a:gd name="connsiteX455" fmla="*/ 7063848 w 7414874"/>
                    <a:gd name="connsiteY455" fmla="*/ 1568781 h 1607784"/>
                    <a:gd name="connsiteX456" fmla="*/ 7133187 w 7414874"/>
                    <a:gd name="connsiteY456" fmla="*/ 1568781 h 1607784"/>
                    <a:gd name="connsiteX457" fmla="*/ 7133187 w 7414874"/>
                    <a:gd name="connsiteY457" fmla="*/ 1586116 h 1607784"/>
                    <a:gd name="connsiteX458" fmla="*/ 7284865 w 7414874"/>
                    <a:gd name="connsiteY458" fmla="*/ 1586116 h 1607784"/>
                    <a:gd name="connsiteX459" fmla="*/ 7284865 w 7414874"/>
                    <a:gd name="connsiteY459" fmla="*/ 1607784 h 1607784"/>
                    <a:gd name="connsiteX460" fmla="*/ 7414874 w 7414874"/>
                    <a:gd name="connsiteY460"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70403 w 7414874"/>
                    <a:gd name="connsiteY326" fmla="*/ 944454 h 1607784"/>
                    <a:gd name="connsiteX327" fmla="*/ 2275821 w 7414874"/>
                    <a:gd name="connsiteY327" fmla="*/ 881289 h 1607784"/>
                    <a:gd name="connsiteX328" fmla="*/ 2301168 w 7414874"/>
                    <a:gd name="connsiteY328" fmla="*/ 875397 h 1607784"/>
                    <a:gd name="connsiteX329" fmla="*/ 2301168 w 7414874"/>
                    <a:gd name="connsiteY329" fmla="*/ 914400 h 1607784"/>
                    <a:gd name="connsiteX330" fmla="*/ 2335837 w 7414874"/>
                    <a:gd name="connsiteY330" fmla="*/ 914400 h 1607784"/>
                    <a:gd name="connsiteX331" fmla="*/ 2335837 w 7414874"/>
                    <a:gd name="connsiteY331" fmla="*/ 923068 h 1607784"/>
                    <a:gd name="connsiteX332" fmla="*/ 2400842 w 7414874"/>
                    <a:gd name="connsiteY332" fmla="*/ 923068 h 1607784"/>
                    <a:gd name="connsiteX333" fmla="*/ 2400842 w 7414874"/>
                    <a:gd name="connsiteY333" fmla="*/ 936069 h 1607784"/>
                    <a:gd name="connsiteX334" fmla="*/ 2439845 w 7414874"/>
                    <a:gd name="connsiteY334" fmla="*/ 936069 h 1607784"/>
                    <a:gd name="connsiteX335" fmla="*/ 2452846 w 7414874"/>
                    <a:gd name="connsiteY335" fmla="*/ 949070 h 1607784"/>
                    <a:gd name="connsiteX336" fmla="*/ 2500516 w 7414874"/>
                    <a:gd name="connsiteY336" fmla="*/ 949070 h 1607784"/>
                    <a:gd name="connsiteX337" fmla="*/ 2513517 w 7414874"/>
                    <a:gd name="connsiteY337" fmla="*/ 962071 h 1607784"/>
                    <a:gd name="connsiteX338" fmla="*/ 2543852 w 7414874"/>
                    <a:gd name="connsiteY338" fmla="*/ 962071 h 1607784"/>
                    <a:gd name="connsiteX339" fmla="*/ 2543852 w 7414874"/>
                    <a:gd name="connsiteY339" fmla="*/ 979405 h 1607784"/>
                    <a:gd name="connsiteX340" fmla="*/ 2591522 w 7414874"/>
                    <a:gd name="connsiteY340" fmla="*/ 979405 h 1607784"/>
                    <a:gd name="connsiteX341" fmla="*/ 2591522 w 7414874"/>
                    <a:gd name="connsiteY341" fmla="*/ 1001073 h 1607784"/>
                    <a:gd name="connsiteX342" fmla="*/ 2639192 w 7414874"/>
                    <a:gd name="connsiteY342" fmla="*/ 1001073 h 1607784"/>
                    <a:gd name="connsiteX343" fmla="*/ 2639192 w 7414874"/>
                    <a:gd name="connsiteY343" fmla="*/ 1022742 h 1607784"/>
                    <a:gd name="connsiteX344" fmla="*/ 2699864 w 7414874"/>
                    <a:gd name="connsiteY344" fmla="*/ 1022742 h 1607784"/>
                    <a:gd name="connsiteX345" fmla="*/ 2699864 w 7414874"/>
                    <a:gd name="connsiteY345" fmla="*/ 1040076 h 1607784"/>
                    <a:gd name="connsiteX346" fmla="*/ 2808205 w 7414874"/>
                    <a:gd name="connsiteY346" fmla="*/ 1040076 h 1607784"/>
                    <a:gd name="connsiteX347" fmla="*/ 2816872 w 7414874"/>
                    <a:gd name="connsiteY347" fmla="*/ 1048743 h 1607784"/>
                    <a:gd name="connsiteX348" fmla="*/ 2825540 w 7414874"/>
                    <a:gd name="connsiteY348" fmla="*/ 1057411 h 1607784"/>
                    <a:gd name="connsiteX349" fmla="*/ 2864542 w 7414874"/>
                    <a:gd name="connsiteY349" fmla="*/ 1057411 h 1607784"/>
                    <a:gd name="connsiteX350" fmla="*/ 2886210 w 7414874"/>
                    <a:gd name="connsiteY350" fmla="*/ 1057411 h 1607784"/>
                    <a:gd name="connsiteX351" fmla="*/ 2899211 w 7414874"/>
                    <a:gd name="connsiteY351" fmla="*/ 1057411 h 1607784"/>
                    <a:gd name="connsiteX352" fmla="*/ 2916546 w 7414874"/>
                    <a:gd name="connsiteY352" fmla="*/ 1074746 h 1607784"/>
                    <a:gd name="connsiteX353" fmla="*/ 2968550 w 7414874"/>
                    <a:gd name="connsiteY353" fmla="*/ 1074746 h 1607784"/>
                    <a:gd name="connsiteX354" fmla="*/ 2968550 w 7414874"/>
                    <a:gd name="connsiteY354" fmla="*/ 1092080 h 1607784"/>
                    <a:gd name="connsiteX355" fmla="*/ 3141896 w 7414874"/>
                    <a:gd name="connsiteY355" fmla="*/ 1092080 h 1607784"/>
                    <a:gd name="connsiteX356" fmla="*/ 3141896 w 7414874"/>
                    <a:gd name="connsiteY356" fmla="*/ 1122415 h 1607784"/>
                    <a:gd name="connsiteX357" fmla="*/ 3211234 w 7414874"/>
                    <a:gd name="connsiteY357" fmla="*/ 1122415 h 1607784"/>
                    <a:gd name="connsiteX358" fmla="*/ 3215568 w 7414874"/>
                    <a:gd name="connsiteY358" fmla="*/ 1122415 h 1607784"/>
                    <a:gd name="connsiteX359" fmla="*/ 3302241 w 7414874"/>
                    <a:gd name="connsiteY359" fmla="*/ 1122415 h 1607784"/>
                    <a:gd name="connsiteX360" fmla="*/ 3302241 w 7414874"/>
                    <a:gd name="connsiteY360" fmla="*/ 1148417 h 1607784"/>
                    <a:gd name="connsiteX361" fmla="*/ 3388914 w 7414874"/>
                    <a:gd name="connsiteY361" fmla="*/ 1148417 h 1607784"/>
                    <a:gd name="connsiteX362" fmla="*/ 3388914 w 7414874"/>
                    <a:gd name="connsiteY362" fmla="*/ 1157085 h 1607784"/>
                    <a:gd name="connsiteX363" fmla="*/ 3445251 w 7414874"/>
                    <a:gd name="connsiteY363" fmla="*/ 1157085 h 1607784"/>
                    <a:gd name="connsiteX364" fmla="*/ 3453919 w 7414874"/>
                    <a:gd name="connsiteY364" fmla="*/ 1165753 h 1607784"/>
                    <a:gd name="connsiteX365" fmla="*/ 3596929 w 7414874"/>
                    <a:gd name="connsiteY365" fmla="*/ 1165753 h 1607784"/>
                    <a:gd name="connsiteX366" fmla="*/ 3596929 w 7414874"/>
                    <a:gd name="connsiteY366" fmla="*/ 1178753 h 1607784"/>
                    <a:gd name="connsiteX367" fmla="*/ 3705270 w 7414874"/>
                    <a:gd name="connsiteY367" fmla="*/ 1178753 h 1607784"/>
                    <a:gd name="connsiteX368" fmla="*/ 3709604 w 7414874"/>
                    <a:gd name="connsiteY368" fmla="*/ 1183087 h 1607784"/>
                    <a:gd name="connsiteX369" fmla="*/ 3960956 w 7414874"/>
                    <a:gd name="connsiteY369" fmla="*/ 1183087 h 1607784"/>
                    <a:gd name="connsiteX370" fmla="*/ 3960956 w 7414874"/>
                    <a:gd name="connsiteY370" fmla="*/ 1204755 h 1607784"/>
                    <a:gd name="connsiteX371" fmla="*/ 3991291 w 7414874"/>
                    <a:gd name="connsiteY371" fmla="*/ 1204755 h 1607784"/>
                    <a:gd name="connsiteX372" fmla="*/ 3991291 w 7414874"/>
                    <a:gd name="connsiteY372" fmla="*/ 1178753 h 1607784"/>
                    <a:gd name="connsiteX373" fmla="*/ 4030294 w 7414874"/>
                    <a:gd name="connsiteY373" fmla="*/ 1178753 h 1607784"/>
                    <a:gd name="connsiteX374" fmla="*/ 4030294 w 7414874"/>
                    <a:gd name="connsiteY374" fmla="*/ 1213422 h 1607784"/>
                    <a:gd name="connsiteX375" fmla="*/ 4043295 w 7414874"/>
                    <a:gd name="connsiteY375" fmla="*/ 1213422 h 1607784"/>
                    <a:gd name="connsiteX376" fmla="*/ 4043295 w 7414874"/>
                    <a:gd name="connsiteY376" fmla="*/ 1222089 h 1607784"/>
                    <a:gd name="connsiteX377" fmla="*/ 4164637 w 7414874"/>
                    <a:gd name="connsiteY377" fmla="*/ 1222089 h 1607784"/>
                    <a:gd name="connsiteX378" fmla="*/ 4164637 w 7414874"/>
                    <a:gd name="connsiteY378" fmla="*/ 1243758 h 1607784"/>
                    <a:gd name="connsiteX379" fmla="*/ 4320648 w 7414874"/>
                    <a:gd name="connsiteY379" fmla="*/ 1243758 h 1607784"/>
                    <a:gd name="connsiteX380" fmla="*/ 4320648 w 7414874"/>
                    <a:gd name="connsiteY380" fmla="*/ 1261092 h 1607784"/>
                    <a:gd name="connsiteX381" fmla="*/ 4398654 w 7414874"/>
                    <a:gd name="connsiteY381" fmla="*/ 1261092 h 1607784"/>
                    <a:gd name="connsiteX382" fmla="*/ 4398654 w 7414874"/>
                    <a:gd name="connsiteY382" fmla="*/ 1287094 h 1607784"/>
                    <a:gd name="connsiteX383" fmla="*/ 4450658 w 7414874"/>
                    <a:gd name="connsiteY383" fmla="*/ 1287094 h 1607784"/>
                    <a:gd name="connsiteX384" fmla="*/ 4476660 w 7414874"/>
                    <a:gd name="connsiteY384" fmla="*/ 1287094 h 1607784"/>
                    <a:gd name="connsiteX385" fmla="*/ 4498328 w 7414874"/>
                    <a:gd name="connsiteY385" fmla="*/ 1308762 h 1607784"/>
                    <a:gd name="connsiteX386" fmla="*/ 4593668 w 7414874"/>
                    <a:gd name="connsiteY386" fmla="*/ 1308762 h 1607784"/>
                    <a:gd name="connsiteX387" fmla="*/ 4602336 w 7414874"/>
                    <a:gd name="connsiteY387" fmla="*/ 1317430 h 1607784"/>
                    <a:gd name="connsiteX388" fmla="*/ 4663007 w 7414874"/>
                    <a:gd name="connsiteY388" fmla="*/ 1317430 h 1607784"/>
                    <a:gd name="connsiteX389" fmla="*/ 4663007 w 7414874"/>
                    <a:gd name="connsiteY389" fmla="*/ 1339098 h 1607784"/>
                    <a:gd name="connsiteX390" fmla="*/ 4706343 w 7414874"/>
                    <a:gd name="connsiteY390" fmla="*/ 1339098 h 1607784"/>
                    <a:gd name="connsiteX391" fmla="*/ 4710677 w 7414874"/>
                    <a:gd name="connsiteY391" fmla="*/ 1343432 h 1607784"/>
                    <a:gd name="connsiteX392" fmla="*/ 4767014 w 7414874"/>
                    <a:gd name="connsiteY392" fmla="*/ 1343432 h 1607784"/>
                    <a:gd name="connsiteX393" fmla="*/ 4780015 w 7414874"/>
                    <a:gd name="connsiteY393" fmla="*/ 1356433 h 1607784"/>
                    <a:gd name="connsiteX394" fmla="*/ 5005365 w 7414874"/>
                    <a:gd name="connsiteY394" fmla="*/ 1356433 h 1607784"/>
                    <a:gd name="connsiteX395" fmla="*/ 5018366 w 7414874"/>
                    <a:gd name="connsiteY395" fmla="*/ 1369434 h 1607784"/>
                    <a:gd name="connsiteX396" fmla="*/ 5152709 w 7414874"/>
                    <a:gd name="connsiteY396" fmla="*/ 1369434 h 1607784"/>
                    <a:gd name="connsiteX397" fmla="*/ 5152709 w 7414874"/>
                    <a:gd name="connsiteY397" fmla="*/ 1391102 h 1607784"/>
                    <a:gd name="connsiteX398" fmla="*/ 5282719 w 7414874"/>
                    <a:gd name="connsiteY398" fmla="*/ 1391102 h 1607784"/>
                    <a:gd name="connsiteX399" fmla="*/ 5291386 w 7414874"/>
                    <a:gd name="connsiteY399" fmla="*/ 1399769 h 1607784"/>
                    <a:gd name="connsiteX400" fmla="*/ 5356391 w 7414874"/>
                    <a:gd name="connsiteY400" fmla="*/ 1399769 h 1607784"/>
                    <a:gd name="connsiteX401" fmla="*/ 5369392 w 7414874"/>
                    <a:gd name="connsiteY401" fmla="*/ 1399769 h 1607784"/>
                    <a:gd name="connsiteX402" fmla="*/ 5369392 w 7414874"/>
                    <a:gd name="connsiteY402" fmla="*/ 1421437 h 1607784"/>
                    <a:gd name="connsiteX403" fmla="*/ 5473399 w 7414874"/>
                    <a:gd name="connsiteY403" fmla="*/ 1421437 h 1607784"/>
                    <a:gd name="connsiteX404" fmla="*/ 5473399 w 7414874"/>
                    <a:gd name="connsiteY404" fmla="*/ 1399769 h 1607784"/>
                    <a:gd name="connsiteX405" fmla="*/ 5512402 w 7414874"/>
                    <a:gd name="connsiteY405" fmla="*/ 1399769 h 1607784"/>
                    <a:gd name="connsiteX406" fmla="*/ 5512402 w 7414874"/>
                    <a:gd name="connsiteY406" fmla="*/ 1425771 h 1607784"/>
                    <a:gd name="connsiteX407" fmla="*/ 5607742 w 7414874"/>
                    <a:gd name="connsiteY407" fmla="*/ 1425771 h 1607784"/>
                    <a:gd name="connsiteX408" fmla="*/ 5607742 w 7414874"/>
                    <a:gd name="connsiteY408" fmla="*/ 1399769 h 1607784"/>
                    <a:gd name="connsiteX409" fmla="*/ 5664080 w 7414874"/>
                    <a:gd name="connsiteY409" fmla="*/ 1399769 h 1607784"/>
                    <a:gd name="connsiteX410" fmla="*/ 5664080 w 7414874"/>
                    <a:gd name="connsiteY410" fmla="*/ 1434438 h 1607784"/>
                    <a:gd name="connsiteX411" fmla="*/ 5685748 w 7414874"/>
                    <a:gd name="connsiteY411" fmla="*/ 1434438 h 1607784"/>
                    <a:gd name="connsiteX412" fmla="*/ 5685748 w 7414874"/>
                    <a:gd name="connsiteY412" fmla="*/ 1443106 h 1607784"/>
                    <a:gd name="connsiteX413" fmla="*/ 5716083 w 7414874"/>
                    <a:gd name="connsiteY413" fmla="*/ 1443106 h 1607784"/>
                    <a:gd name="connsiteX414" fmla="*/ 5716083 w 7414874"/>
                    <a:gd name="connsiteY414" fmla="*/ 1456106 h 1607784"/>
                    <a:gd name="connsiteX415" fmla="*/ 5794089 w 7414874"/>
                    <a:gd name="connsiteY415" fmla="*/ 1456106 h 1607784"/>
                    <a:gd name="connsiteX416" fmla="*/ 5794089 w 7414874"/>
                    <a:gd name="connsiteY416" fmla="*/ 1421437 h 1607784"/>
                    <a:gd name="connsiteX417" fmla="*/ 5837426 w 7414874"/>
                    <a:gd name="connsiteY417" fmla="*/ 1421437 h 1607784"/>
                    <a:gd name="connsiteX418" fmla="*/ 5837426 w 7414874"/>
                    <a:gd name="connsiteY418" fmla="*/ 1456106 h 1607784"/>
                    <a:gd name="connsiteX419" fmla="*/ 5902430 w 7414874"/>
                    <a:gd name="connsiteY419" fmla="*/ 1456106 h 1607784"/>
                    <a:gd name="connsiteX420" fmla="*/ 5928432 w 7414874"/>
                    <a:gd name="connsiteY420" fmla="*/ 1456106 h 1607784"/>
                    <a:gd name="connsiteX421" fmla="*/ 5928432 w 7414874"/>
                    <a:gd name="connsiteY421" fmla="*/ 1473441 h 1607784"/>
                    <a:gd name="connsiteX422" fmla="*/ 5945767 w 7414874"/>
                    <a:gd name="connsiteY422" fmla="*/ 1473441 h 1607784"/>
                    <a:gd name="connsiteX423" fmla="*/ 5950101 w 7414874"/>
                    <a:gd name="connsiteY423" fmla="*/ 1477775 h 1607784"/>
                    <a:gd name="connsiteX424" fmla="*/ 6019439 w 7414874"/>
                    <a:gd name="connsiteY424" fmla="*/ 1477775 h 1607784"/>
                    <a:gd name="connsiteX425" fmla="*/ 6019439 w 7414874"/>
                    <a:gd name="connsiteY425" fmla="*/ 1456106 h 1607784"/>
                    <a:gd name="connsiteX426" fmla="*/ 6058442 w 7414874"/>
                    <a:gd name="connsiteY426" fmla="*/ 1456106 h 1607784"/>
                    <a:gd name="connsiteX427" fmla="*/ 6058442 w 7414874"/>
                    <a:gd name="connsiteY427" fmla="*/ 1499443 h 1607784"/>
                    <a:gd name="connsiteX428" fmla="*/ 6110446 w 7414874"/>
                    <a:gd name="connsiteY428" fmla="*/ 1499443 h 1607784"/>
                    <a:gd name="connsiteX429" fmla="*/ 6110446 w 7414874"/>
                    <a:gd name="connsiteY429" fmla="*/ 1508110 h 1607784"/>
                    <a:gd name="connsiteX430" fmla="*/ 6188451 w 7414874"/>
                    <a:gd name="connsiteY430" fmla="*/ 1508110 h 1607784"/>
                    <a:gd name="connsiteX431" fmla="*/ 6188451 w 7414874"/>
                    <a:gd name="connsiteY431" fmla="*/ 1464774 h 1607784"/>
                    <a:gd name="connsiteX432" fmla="*/ 6227454 w 7414874"/>
                    <a:gd name="connsiteY432" fmla="*/ 1464774 h 1607784"/>
                    <a:gd name="connsiteX433" fmla="*/ 6227454 w 7414874"/>
                    <a:gd name="connsiteY433" fmla="*/ 1516778 h 1607784"/>
                    <a:gd name="connsiteX434" fmla="*/ 6353130 w 7414874"/>
                    <a:gd name="connsiteY434" fmla="*/ 1516778 h 1607784"/>
                    <a:gd name="connsiteX435" fmla="*/ 6353130 w 7414874"/>
                    <a:gd name="connsiteY435" fmla="*/ 1477775 h 1607784"/>
                    <a:gd name="connsiteX436" fmla="*/ 6409467 w 7414874"/>
                    <a:gd name="connsiteY436" fmla="*/ 1477775 h 1607784"/>
                    <a:gd name="connsiteX437" fmla="*/ 6409467 w 7414874"/>
                    <a:gd name="connsiteY437" fmla="*/ 1529778 h 1607784"/>
                    <a:gd name="connsiteX438" fmla="*/ 6457138 w 7414874"/>
                    <a:gd name="connsiteY438" fmla="*/ 1529778 h 1607784"/>
                    <a:gd name="connsiteX439" fmla="*/ 6457138 w 7414874"/>
                    <a:gd name="connsiteY439" fmla="*/ 1482108 h 1607784"/>
                    <a:gd name="connsiteX440" fmla="*/ 6487473 w 7414874"/>
                    <a:gd name="connsiteY440" fmla="*/ 1482108 h 1607784"/>
                    <a:gd name="connsiteX441" fmla="*/ 6487473 w 7414874"/>
                    <a:gd name="connsiteY441" fmla="*/ 1529778 h 1607784"/>
                    <a:gd name="connsiteX442" fmla="*/ 6561145 w 7414874"/>
                    <a:gd name="connsiteY442" fmla="*/ 1529778 h 1607784"/>
                    <a:gd name="connsiteX443" fmla="*/ 6565479 w 7414874"/>
                    <a:gd name="connsiteY443" fmla="*/ 1534112 h 1607784"/>
                    <a:gd name="connsiteX444" fmla="*/ 6669486 w 7414874"/>
                    <a:gd name="connsiteY444" fmla="*/ 1534112 h 1607784"/>
                    <a:gd name="connsiteX445" fmla="*/ 6669486 w 7414874"/>
                    <a:gd name="connsiteY445" fmla="*/ 1499443 h 1607784"/>
                    <a:gd name="connsiteX446" fmla="*/ 6738825 w 7414874"/>
                    <a:gd name="connsiteY446" fmla="*/ 1499443 h 1607784"/>
                    <a:gd name="connsiteX447" fmla="*/ 6738825 w 7414874"/>
                    <a:gd name="connsiteY447" fmla="*/ 1542779 h 1607784"/>
                    <a:gd name="connsiteX448" fmla="*/ 6795162 w 7414874"/>
                    <a:gd name="connsiteY448" fmla="*/ 1542779 h 1607784"/>
                    <a:gd name="connsiteX449" fmla="*/ 6795162 w 7414874"/>
                    <a:gd name="connsiteY449" fmla="*/ 1499443 h 1607784"/>
                    <a:gd name="connsiteX450" fmla="*/ 6829831 w 7414874"/>
                    <a:gd name="connsiteY450" fmla="*/ 1499443 h 1607784"/>
                    <a:gd name="connsiteX451" fmla="*/ 6829831 w 7414874"/>
                    <a:gd name="connsiteY451" fmla="*/ 1529778 h 1607784"/>
                    <a:gd name="connsiteX452" fmla="*/ 6847166 w 7414874"/>
                    <a:gd name="connsiteY452" fmla="*/ 1529778 h 1607784"/>
                    <a:gd name="connsiteX453" fmla="*/ 6847166 w 7414874"/>
                    <a:gd name="connsiteY453" fmla="*/ 1555780 h 1607784"/>
                    <a:gd name="connsiteX454" fmla="*/ 7050847 w 7414874"/>
                    <a:gd name="connsiteY454" fmla="*/ 1555780 h 1607784"/>
                    <a:gd name="connsiteX455" fmla="*/ 7063848 w 7414874"/>
                    <a:gd name="connsiteY455" fmla="*/ 1568781 h 1607784"/>
                    <a:gd name="connsiteX456" fmla="*/ 7133187 w 7414874"/>
                    <a:gd name="connsiteY456" fmla="*/ 1568781 h 1607784"/>
                    <a:gd name="connsiteX457" fmla="*/ 7133187 w 7414874"/>
                    <a:gd name="connsiteY457" fmla="*/ 1586116 h 1607784"/>
                    <a:gd name="connsiteX458" fmla="*/ 7284865 w 7414874"/>
                    <a:gd name="connsiteY458" fmla="*/ 1586116 h 1607784"/>
                    <a:gd name="connsiteX459" fmla="*/ 7284865 w 7414874"/>
                    <a:gd name="connsiteY459" fmla="*/ 1607784 h 1607784"/>
                    <a:gd name="connsiteX460" fmla="*/ 7414874 w 7414874"/>
                    <a:gd name="connsiteY460"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47246 w 7414874"/>
                    <a:gd name="connsiteY326" fmla="*/ 905101 h 1607784"/>
                    <a:gd name="connsiteX327" fmla="*/ 2270403 w 7414874"/>
                    <a:gd name="connsiteY327" fmla="*/ 944454 h 1607784"/>
                    <a:gd name="connsiteX328" fmla="*/ 2275821 w 7414874"/>
                    <a:gd name="connsiteY328" fmla="*/ 881289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47246 w 7414874"/>
                    <a:gd name="connsiteY326" fmla="*/ 917007 h 1607784"/>
                    <a:gd name="connsiteX327" fmla="*/ 2270403 w 7414874"/>
                    <a:gd name="connsiteY327" fmla="*/ 944454 h 1607784"/>
                    <a:gd name="connsiteX328" fmla="*/ 2275821 w 7414874"/>
                    <a:gd name="connsiteY328" fmla="*/ 881289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169297 w 7414874"/>
                    <a:gd name="connsiteY324" fmla="*/ 1007461 h 1607784"/>
                    <a:gd name="connsiteX325" fmla="*/ 2240733 w 7414874"/>
                    <a:gd name="connsiteY325" fmla="*/ 881254 h 1607784"/>
                    <a:gd name="connsiteX326" fmla="*/ 2247246 w 7414874"/>
                    <a:gd name="connsiteY326" fmla="*/ 917007 h 1607784"/>
                    <a:gd name="connsiteX327" fmla="*/ 2265640 w 7414874"/>
                    <a:gd name="connsiteY327" fmla="*/ 915879 h 1607784"/>
                    <a:gd name="connsiteX328" fmla="*/ 2275821 w 7414874"/>
                    <a:gd name="connsiteY328" fmla="*/ 881289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02635 w 7414874"/>
                    <a:gd name="connsiteY324" fmla="*/ 893161 h 1607784"/>
                    <a:gd name="connsiteX325" fmla="*/ 2240733 w 7414874"/>
                    <a:gd name="connsiteY325" fmla="*/ 881254 h 1607784"/>
                    <a:gd name="connsiteX326" fmla="*/ 2247246 w 7414874"/>
                    <a:gd name="connsiteY326" fmla="*/ 917007 h 1607784"/>
                    <a:gd name="connsiteX327" fmla="*/ 2265640 w 7414874"/>
                    <a:gd name="connsiteY327" fmla="*/ 915879 h 1607784"/>
                    <a:gd name="connsiteX328" fmla="*/ 2275821 w 7414874"/>
                    <a:gd name="connsiteY328" fmla="*/ 881289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02635 w 7414874"/>
                    <a:gd name="connsiteY324" fmla="*/ 893161 h 1607784"/>
                    <a:gd name="connsiteX325" fmla="*/ 2240733 w 7414874"/>
                    <a:gd name="connsiteY325" fmla="*/ 881254 h 1607784"/>
                    <a:gd name="connsiteX326" fmla="*/ 2240102 w 7414874"/>
                    <a:gd name="connsiteY326" fmla="*/ 914626 h 1607784"/>
                    <a:gd name="connsiteX327" fmla="*/ 2265640 w 7414874"/>
                    <a:gd name="connsiteY327" fmla="*/ 915879 h 1607784"/>
                    <a:gd name="connsiteX328" fmla="*/ 2275821 w 7414874"/>
                    <a:gd name="connsiteY328" fmla="*/ 881289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00254 w 7414874"/>
                    <a:gd name="connsiteY324" fmla="*/ 883636 h 1607784"/>
                    <a:gd name="connsiteX325" fmla="*/ 2240733 w 7414874"/>
                    <a:gd name="connsiteY325" fmla="*/ 881254 h 1607784"/>
                    <a:gd name="connsiteX326" fmla="*/ 2240102 w 7414874"/>
                    <a:gd name="connsiteY326" fmla="*/ 914626 h 1607784"/>
                    <a:gd name="connsiteX327" fmla="*/ 2265640 w 7414874"/>
                    <a:gd name="connsiteY327" fmla="*/ 915879 h 1607784"/>
                    <a:gd name="connsiteX328" fmla="*/ 2275821 w 7414874"/>
                    <a:gd name="connsiteY328" fmla="*/ 881289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00254 w 7414874"/>
                    <a:gd name="connsiteY324" fmla="*/ 883636 h 1607784"/>
                    <a:gd name="connsiteX325" fmla="*/ 2240733 w 7414874"/>
                    <a:gd name="connsiteY325" fmla="*/ 881254 h 1607784"/>
                    <a:gd name="connsiteX326" fmla="*/ 2240102 w 7414874"/>
                    <a:gd name="connsiteY326" fmla="*/ 914626 h 1607784"/>
                    <a:gd name="connsiteX327" fmla="*/ 2265640 w 7414874"/>
                    <a:gd name="connsiteY327" fmla="*/ 915879 h 1607784"/>
                    <a:gd name="connsiteX328" fmla="*/ 2266296 w 7414874"/>
                    <a:gd name="connsiteY328" fmla="*/ 886052 h 1607784"/>
                    <a:gd name="connsiteX329" fmla="*/ 2301168 w 7414874"/>
                    <a:gd name="connsiteY329" fmla="*/ 875397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21490 w 7414874"/>
                    <a:gd name="connsiteY15" fmla="*/ 1460441 h 1607784"/>
                    <a:gd name="connsiteX16" fmla="*/ 6738824 w 7414874"/>
                    <a:gd name="connsiteY16" fmla="*/ 1477775 h 1607784"/>
                    <a:gd name="connsiteX17" fmla="*/ 6678154 w 7414874"/>
                    <a:gd name="connsiteY17" fmla="*/ 1477775 h 1607784"/>
                    <a:gd name="connsiteX18" fmla="*/ 6678154 w 7414874"/>
                    <a:gd name="connsiteY18" fmla="*/ 1438772 h 1607784"/>
                    <a:gd name="connsiteX19" fmla="*/ 6561145 w 7414874"/>
                    <a:gd name="connsiteY19" fmla="*/ 1438772 h 1607784"/>
                    <a:gd name="connsiteX20" fmla="*/ 6548144 w 7414874"/>
                    <a:gd name="connsiteY20" fmla="*/ 1425771 h 1607784"/>
                    <a:gd name="connsiteX21" fmla="*/ 6483139 w 7414874"/>
                    <a:gd name="connsiteY21" fmla="*/ 1425771 h 1607784"/>
                    <a:gd name="connsiteX22" fmla="*/ 6483139 w 7414874"/>
                    <a:gd name="connsiteY22" fmla="*/ 1482108 h 1607784"/>
                    <a:gd name="connsiteX23" fmla="*/ 6444137 w 7414874"/>
                    <a:gd name="connsiteY23" fmla="*/ 1482108 h 1607784"/>
                    <a:gd name="connsiteX24" fmla="*/ 6444137 w 7414874"/>
                    <a:gd name="connsiteY24" fmla="*/ 1434438 h 1607784"/>
                    <a:gd name="connsiteX25" fmla="*/ 6405134 w 7414874"/>
                    <a:gd name="connsiteY25" fmla="*/ 1434438 h 1607784"/>
                    <a:gd name="connsiteX26" fmla="*/ 6405134 w 7414874"/>
                    <a:gd name="connsiteY26" fmla="*/ 1477775 h 1607784"/>
                    <a:gd name="connsiteX27" fmla="*/ 6357464 w 7414874"/>
                    <a:gd name="connsiteY27" fmla="*/ 1477775 h 1607784"/>
                    <a:gd name="connsiteX28" fmla="*/ 6357464 w 7414874"/>
                    <a:gd name="connsiteY28" fmla="*/ 1430105 h 1607784"/>
                    <a:gd name="connsiteX29" fmla="*/ 6223120 w 7414874"/>
                    <a:gd name="connsiteY29" fmla="*/ 1430105 h 1607784"/>
                    <a:gd name="connsiteX30" fmla="*/ 6223120 w 7414874"/>
                    <a:gd name="connsiteY30" fmla="*/ 1443106 h 1607784"/>
                    <a:gd name="connsiteX31" fmla="*/ 6192785 w 7414874"/>
                    <a:gd name="connsiteY31" fmla="*/ 1443106 h 1607784"/>
                    <a:gd name="connsiteX32" fmla="*/ 6192785 w 7414874"/>
                    <a:gd name="connsiteY32" fmla="*/ 1412770 h 1607784"/>
                    <a:gd name="connsiteX33" fmla="*/ 6119113 w 7414874"/>
                    <a:gd name="connsiteY33" fmla="*/ 1412770 h 1607784"/>
                    <a:gd name="connsiteX34" fmla="*/ 6119113 w 7414874"/>
                    <a:gd name="connsiteY34" fmla="*/ 1399769 h 1607784"/>
                    <a:gd name="connsiteX35" fmla="*/ 6071443 w 7414874"/>
                    <a:gd name="connsiteY35" fmla="*/ 1399769 h 1607784"/>
                    <a:gd name="connsiteX36" fmla="*/ 6071443 w 7414874"/>
                    <a:gd name="connsiteY36" fmla="*/ 1382434 h 1607784"/>
                    <a:gd name="connsiteX37" fmla="*/ 6049774 w 7414874"/>
                    <a:gd name="connsiteY37" fmla="*/ 1382434 h 1607784"/>
                    <a:gd name="connsiteX38" fmla="*/ 6049774 w 7414874"/>
                    <a:gd name="connsiteY38" fmla="*/ 1421437 h 1607784"/>
                    <a:gd name="connsiteX39" fmla="*/ 6019439 w 7414874"/>
                    <a:gd name="connsiteY39" fmla="*/ 1421437 h 1607784"/>
                    <a:gd name="connsiteX40" fmla="*/ 6019439 w 7414874"/>
                    <a:gd name="connsiteY40" fmla="*/ 1391102 h 1607784"/>
                    <a:gd name="connsiteX41" fmla="*/ 5958768 w 7414874"/>
                    <a:gd name="connsiteY41" fmla="*/ 1391102 h 1607784"/>
                    <a:gd name="connsiteX42" fmla="*/ 5958768 w 7414874"/>
                    <a:gd name="connsiteY42" fmla="*/ 1373767 h 1607784"/>
                    <a:gd name="connsiteX43" fmla="*/ 5919765 w 7414874"/>
                    <a:gd name="connsiteY43" fmla="*/ 1373767 h 1607784"/>
                    <a:gd name="connsiteX44" fmla="*/ 5919765 w 7414874"/>
                    <a:gd name="connsiteY44" fmla="*/ 1352099 h 1607784"/>
                    <a:gd name="connsiteX45" fmla="*/ 5824425 w 7414874"/>
                    <a:gd name="connsiteY45" fmla="*/ 1352099 h 1607784"/>
                    <a:gd name="connsiteX46" fmla="*/ 5824425 w 7414874"/>
                    <a:gd name="connsiteY46" fmla="*/ 1399769 h 1607784"/>
                    <a:gd name="connsiteX47" fmla="*/ 5789756 w 7414874"/>
                    <a:gd name="connsiteY47" fmla="*/ 1399769 h 1607784"/>
                    <a:gd name="connsiteX48" fmla="*/ 5789756 w 7414874"/>
                    <a:gd name="connsiteY48" fmla="*/ 1365100 h 1607784"/>
                    <a:gd name="connsiteX49" fmla="*/ 5698749 w 7414874"/>
                    <a:gd name="connsiteY49" fmla="*/ 1365100 h 1607784"/>
                    <a:gd name="connsiteX50" fmla="*/ 5698749 w 7414874"/>
                    <a:gd name="connsiteY50" fmla="*/ 1326097 h 1607784"/>
                    <a:gd name="connsiteX51" fmla="*/ 5655412 w 7414874"/>
                    <a:gd name="connsiteY51" fmla="*/ 1326097 h 1607784"/>
                    <a:gd name="connsiteX52" fmla="*/ 5655412 w 7414874"/>
                    <a:gd name="connsiteY52" fmla="*/ 1373767 h 1607784"/>
                    <a:gd name="connsiteX53" fmla="*/ 5612076 w 7414874"/>
                    <a:gd name="connsiteY53" fmla="*/ 1373767 h 1607784"/>
                    <a:gd name="connsiteX54" fmla="*/ 5612076 w 7414874"/>
                    <a:gd name="connsiteY54" fmla="*/ 1334764 h 1607784"/>
                    <a:gd name="connsiteX55" fmla="*/ 5512402 w 7414874"/>
                    <a:gd name="connsiteY55" fmla="*/ 1334764 h 1607784"/>
                    <a:gd name="connsiteX56" fmla="*/ 5512402 w 7414874"/>
                    <a:gd name="connsiteY56" fmla="*/ 1360766 h 1607784"/>
                    <a:gd name="connsiteX57" fmla="*/ 5469065 w 7414874"/>
                    <a:gd name="connsiteY57" fmla="*/ 1360766 h 1607784"/>
                    <a:gd name="connsiteX58" fmla="*/ 5469065 w 7414874"/>
                    <a:gd name="connsiteY58" fmla="*/ 1321763 h 1607784"/>
                    <a:gd name="connsiteX59" fmla="*/ 5360724 w 7414874"/>
                    <a:gd name="connsiteY59" fmla="*/ 1321763 h 1607784"/>
                    <a:gd name="connsiteX60" fmla="*/ 5360724 w 7414874"/>
                    <a:gd name="connsiteY60" fmla="*/ 1304429 h 1607784"/>
                    <a:gd name="connsiteX61" fmla="*/ 5300053 w 7414874"/>
                    <a:gd name="connsiteY61" fmla="*/ 1304429 h 1607784"/>
                    <a:gd name="connsiteX62" fmla="*/ 5291386 w 7414874"/>
                    <a:gd name="connsiteY62" fmla="*/ 1295762 h 1607784"/>
                    <a:gd name="connsiteX63" fmla="*/ 5187378 w 7414874"/>
                    <a:gd name="connsiteY63" fmla="*/ 1295762 h 1607784"/>
                    <a:gd name="connsiteX64" fmla="*/ 5187378 w 7414874"/>
                    <a:gd name="connsiteY64" fmla="*/ 1278427 h 1607784"/>
                    <a:gd name="connsiteX65" fmla="*/ 5057369 w 7414874"/>
                    <a:gd name="connsiteY65" fmla="*/ 1278427 h 1607784"/>
                    <a:gd name="connsiteX66" fmla="*/ 5048701 w 7414874"/>
                    <a:gd name="connsiteY66" fmla="*/ 1269759 h 1607784"/>
                    <a:gd name="connsiteX67" fmla="*/ 4923026 w 7414874"/>
                    <a:gd name="connsiteY67" fmla="*/ 1269759 h 1607784"/>
                    <a:gd name="connsiteX68" fmla="*/ 4910025 w 7414874"/>
                    <a:gd name="connsiteY68" fmla="*/ 1256758 h 1607784"/>
                    <a:gd name="connsiteX69" fmla="*/ 4697676 w 7414874"/>
                    <a:gd name="connsiteY69" fmla="*/ 1256758 h 1607784"/>
                    <a:gd name="connsiteX70" fmla="*/ 4684675 w 7414874"/>
                    <a:gd name="connsiteY70" fmla="*/ 1243757 h 1607784"/>
                    <a:gd name="connsiteX71" fmla="*/ 4663007 w 7414874"/>
                    <a:gd name="connsiteY71" fmla="*/ 1243757 h 1607784"/>
                    <a:gd name="connsiteX72" fmla="*/ 4645673 w 7414874"/>
                    <a:gd name="connsiteY72" fmla="*/ 1226423 h 1607784"/>
                    <a:gd name="connsiteX73" fmla="*/ 4632672 w 7414874"/>
                    <a:gd name="connsiteY73" fmla="*/ 1213422 h 1607784"/>
                    <a:gd name="connsiteX74" fmla="*/ 4489661 w 7414874"/>
                    <a:gd name="connsiteY74" fmla="*/ 1213422 h 1607784"/>
                    <a:gd name="connsiteX75" fmla="*/ 4489661 w 7414874"/>
                    <a:gd name="connsiteY75" fmla="*/ 1200421 h 1607784"/>
                    <a:gd name="connsiteX76" fmla="*/ 4446324 w 7414874"/>
                    <a:gd name="connsiteY76" fmla="*/ 1200421 h 1607784"/>
                    <a:gd name="connsiteX77" fmla="*/ 4446324 w 7414874"/>
                    <a:gd name="connsiteY77" fmla="*/ 1183087 h 1607784"/>
                    <a:gd name="connsiteX78" fmla="*/ 4411655 w 7414874"/>
                    <a:gd name="connsiteY78" fmla="*/ 1183087 h 1607784"/>
                    <a:gd name="connsiteX79" fmla="*/ 4398654 w 7414874"/>
                    <a:gd name="connsiteY79" fmla="*/ 1170086 h 1607784"/>
                    <a:gd name="connsiteX80" fmla="*/ 4394321 w 7414874"/>
                    <a:gd name="connsiteY80" fmla="*/ 1174419 h 1607784"/>
                    <a:gd name="connsiteX81" fmla="*/ 4394321 w 7414874"/>
                    <a:gd name="connsiteY81" fmla="*/ 1200421 h 1607784"/>
                    <a:gd name="connsiteX82" fmla="*/ 4359651 w 7414874"/>
                    <a:gd name="connsiteY82" fmla="*/ 1200421 h 1607784"/>
                    <a:gd name="connsiteX83" fmla="*/ 4359651 w 7414874"/>
                    <a:gd name="connsiteY83" fmla="*/ 1157085 h 1607784"/>
                    <a:gd name="connsiteX84" fmla="*/ 4329316 w 7414874"/>
                    <a:gd name="connsiteY84" fmla="*/ 1157085 h 1607784"/>
                    <a:gd name="connsiteX85" fmla="*/ 4320648 w 7414874"/>
                    <a:gd name="connsiteY85" fmla="*/ 1148417 h 1607784"/>
                    <a:gd name="connsiteX86" fmla="*/ 4155970 w 7414874"/>
                    <a:gd name="connsiteY86" fmla="*/ 1148417 h 1607784"/>
                    <a:gd name="connsiteX87" fmla="*/ 4147302 w 7414874"/>
                    <a:gd name="connsiteY87" fmla="*/ 1139749 h 1607784"/>
                    <a:gd name="connsiteX88" fmla="*/ 4064963 w 7414874"/>
                    <a:gd name="connsiteY88" fmla="*/ 1139749 h 1607784"/>
                    <a:gd name="connsiteX89" fmla="*/ 4064963 w 7414874"/>
                    <a:gd name="connsiteY89" fmla="*/ 1122415 h 1607784"/>
                    <a:gd name="connsiteX90" fmla="*/ 4047628 w 7414874"/>
                    <a:gd name="connsiteY90" fmla="*/ 1122415 h 1607784"/>
                    <a:gd name="connsiteX91" fmla="*/ 4047628 w 7414874"/>
                    <a:gd name="connsiteY91" fmla="*/ 1105081 h 1607784"/>
                    <a:gd name="connsiteX92" fmla="*/ 4025960 w 7414874"/>
                    <a:gd name="connsiteY92" fmla="*/ 1105081 h 1607784"/>
                    <a:gd name="connsiteX93" fmla="*/ 4025960 w 7414874"/>
                    <a:gd name="connsiteY93" fmla="*/ 1152751 h 1607784"/>
                    <a:gd name="connsiteX94" fmla="*/ 3991291 w 7414874"/>
                    <a:gd name="connsiteY94" fmla="*/ 1152751 h 1607784"/>
                    <a:gd name="connsiteX95" fmla="*/ 3991291 w 7414874"/>
                    <a:gd name="connsiteY95" fmla="*/ 1109415 h 1607784"/>
                    <a:gd name="connsiteX96" fmla="*/ 3960956 w 7414874"/>
                    <a:gd name="connsiteY96" fmla="*/ 1109415 h 1607784"/>
                    <a:gd name="connsiteX97" fmla="*/ 3952288 w 7414874"/>
                    <a:gd name="connsiteY97" fmla="*/ 1100747 h 1607784"/>
                    <a:gd name="connsiteX98" fmla="*/ 3735606 w 7414874"/>
                    <a:gd name="connsiteY98" fmla="*/ 1100747 h 1607784"/>
                    <a:gd name="connsiteX99" fmla="*/ 3718272 w 7414874"/>
                    <a:gd name="connsiteY99" fmla="*/ 1083413 h 1607784"/>
                    <a:gd name="connsiteX100" fmla="*/ 3592595 w 7414874"/>
                    <a:gd name="connsiteY100" fmla="*/ 1083413 h 1607784"/>
                    <a:gd name="connsiteX101" fmla="*/ 3575261 w 7414874"/>
                    <a:gd name="connsiteY101" fmla="*/ 1066079 h 1607784"/>
                    <a:gd name="connsiteX102" fmla="*/ 3440918 w 7414874"/>
                    <a:gd name="connsiteY102" fmla="*/ 1066079 h 1607784"/>
                    <a:gd name="connsiteX103" fmla="*/ 3440918 w 7414874"/>
                    <a:gd name="connsiteY103" fmla="*/ 1040076 h 1607784"/>
                    <a:gd name="connsiteX104" fmla="*/ 3319575 w 7414874"/>
                    <a:gd name="connsiteY104" fmla="*/ 1040076 h 1607784"/>
                    <a:gd name="connsiteX105" fmla="*/ 3319575 w 7414874"/>
                    <a:gd name="connsiteY105" fmla="*/ 1027075 h 1607784"/>
                    <a:gd name="connsiteX106" fmla="*/ 3180899 w 7414874"/>
                    <a:gd name="connsiteY106" fmla="*/ 1027075 h 1607784"/>
                    <a:gd name="connsiteX107" fmla="*/ 3180899 w 7414874"/>
                    <a:gd name="connsiteY107" fmla="*/ 1020123 h 1607784"/>
                    <a:gd name="connsiteX108" fmla="*/ 3163564 w 7414874"/>
                    <a:gd name="connsiteY108" fmla="*/ 1018408 h 1607784"/>
                    <a:gd name="connsiteX109" fmla="*/ 3150563 w 7414874"/>
                    <a:gd name="connsiteY109" fmla="*/ 1005407 h 1607784"/>
                    <a:gd name="connsiteX110" fmla="*/ 2990218 w 7414874"/>
                    <a:gd name="connsiteY110" fmla="*/ 1005407 h 1607784"/>
                    <a:gd name="connsiteX111" fmla="*/ 2990218 w 7414874"/>
                    <a:gd name="connsiteY111" fmla="*/ 988072 h 1607784"/>
                    <a:gd name="connsiteX112" fmla="*/ 2907879 w 7414874"/>
                    <a:gd name="connsiteY112" fmla="*/ 988072 h 1607784"/>
                    <a:gd name="connsiteX113" fmla="*/ 2899211 w 7414874"/>
                    <a:gd name="connsiteY113" fmla="*/ 979404 h 1607784"/>
                    <a:gd name="connsiteX114" fmla="*/ 2868876 w 7414874"/>
                    <a:gd name="connsiteY114" fmla="*/ 979404 h 1607784"/>
                    <a:gd name="connsiteX115" fmla="*/ 2868876 w 7414874"/>
                    <a:gd name="connsiteY115" fmla="*/ 953403 h 1607784"/>
                    <a:gd name="connsiteX116" fmla="*/ 2842874 w 7414874"/>
                    <a:gd name="connsiteY116" fmla="*/ 953403 h 1607784"/>
                    <a:gd name="connsiteX117" fmla="*/ 2834207 w 7414874"/>
                    <a:gd name="connsiteY117" fmla="*/ 944736 h 1607784"/>
                    <a:gd name="connsiteX118" fmla="*/ 2756201 w 7414874"/>
                    <a:gd name="connsiteY118" fmla="*/ 944736 h 1607784"/>
                    <a:gd name="connsiteX119" fmla="*/ 2747534 w 7414874"/>
                    <a:gd name="connsiteY119" fmla="*/ 936069 h 1607784"/>
                    <a:gd name="connsiteX120" fmla="*/ 2699864 w 7414874"/>
                    <a:gd name="connsiteY120" fmla="*/ 936069 h 1607784"/>
                    <a:gd name="connsiteX121" fmla="*/ 2688815 w 7414874"/>
                    <a:gd name="connsiteY121" fmla="*/ 925019 h 1607784"/>
                    <a:gd name="connsiteX122" fmla="*/ 2643526 w 7414874"/>
                    <a:gd name="connsiteY122" fmla="*/ 927401 h 1607784"/>
                    <a:gd name="connsiteX123" fmla="*/ 2638099 w 7414874"/>
                    <a:gd name="connsiteY123" fmla="*/ 910067 h 1607784"/>
                    <a:gd name="connsiteX124" fmla="*/ 2616001 w 7414874"/>
                    <a:gd name="connsiteY124" fmla="*/ 899876 h 1607784"/>
                    <a:gd name="connsiteX125" fmla="*/ 2591522 w 7414874"/>
                    <a:gd name="connsiteY125" fmla="*/ 875397 h 1607784"/>
                    <a:gd name="connsiteX126" fmla="*/ 2561187 w 7414874"/>
                    <a:gd name="connsiteY126" fmla="*/ 875397 h 1607784"/>
                    <a:gd name="connsiteX127" fmla="*/ 2552519 w 7414874"/>
                    <a:gd name="connsiteY127" fmla="*/ 866729 h 1607784"/>
                    <a:gd name="connsiteX128" fmla="*/ 2500516 w 7414874"/>
                    <a:gd name="connsiteY128" fmla="*/ 866729 h 1607784"/>
                    <a:gd name="connsiteX129" fmla="*/ 2500516 w 7414874"/>
                    <a:gd name="connsiteY129" fmla="*/ 849396 h 1607784"/>
                    <a:gd name="connsiteX130" fmla="*/ 2444178 w 7414874"/>
                    <a:gd name="connsiteY130" fmla="*/ 849396 h 1607784"/>
                    <a:gd name="connsiteX131" fmla="*/ 2435510 w 7414874"/>
                    <a:gd name="connsiteY131" fmla="*/ 840728 h 1607784"/>
                    <a:gd name="connsiteX132" fmla="*/ 2413843 w 7414874"/>
                    <a:gd name="connsiteY132" fmla="*/ 840728 h 1607784"/>
                    <a:gd name="connsiteX133" fmla="*/ 2400842 w 7414874"/>
                    <a:gd name="connsiteY133" fmla="*/ 827727 h 1607784"/>
                    <a:gd name="connsiteX134" fmla="*/ 2348838 w 7414874"/>
                    <a:gd name="connsiteY134" fmla="*/ 827727 h 1607784"/>
                    <a:gd name="connsiteX135" fmla="*/ 2348838 w 7414874"/>
                    <a:gd name="connsiteY135" fmla="*/ 810393 h 1607784"/>
                    <a:gd name="connsiteX136" fmla="*/ 2309835 w 7414874"/>
                    <a:gd name="connsiteY136" fmla="*/ 810393 h 1607784"/>
                    <a:gd name="connsiteX137" fmla="*/ 2296834 w 7414874"/>
                    <a:gd name="connsiteY137" fmla="*/ 823394 h 1607784"/>
                    <a:gd name="connsiteX138" fmla="*/ 2266499 w 7414874"/>
                    <a:gd name="connsiteY138" fmla="*/ 823394 h 1607784"/>
                    <a:gd name="connsiteX139" fmla="*/ 2253498 w 7414874"/>
                    <a:gd name="connsiteY139" fmla="*/ 810393 h 1607784"/>
                    <a:gd name="connsiteX140" fmla="*/ 2244830 w 7414874"/>
                    <a:gd name="connsiteY140" fmla="*/ 801725 h 1607784"/>
                    <a:gd name="connsiteX141" fmla="*/ 2244830 w 7414874"/>
                    <a:gd name="connsiteY141" fmla="*/ 775724 h 1607784"/>
                    <a:gd name="connsiteX142" fmla="*/ 2123488 w 7414874"/>
                    <a:gd name="connsiteY142" fmla="*/ 775724 h 1607784"/>
                    <a:gd name="connsiteX143" fmla="*/ 2123488 w 7414874"/>
                    <a:gd name="connsiteY143" fmla="*/ 745388 h 1607784"/>
                    <a:gd name="connsiteX144" fmla="*/ 2071484 w 7414874"/>
                    <a:gd name="connsiteY144" fmla="*/ 745388 h 1607784"/>
                    <a:gd name="connsiteX145" fmla="*/ 2062817 w 7414874"/>
                    <a:gd name="connsiteY145" fmla="*/ 736721 h 1607784"/>
                    <a:gd name="connsiteX146" fmla="*/ 2006480 w 7414874"/>
                    <a:gd name="connsiteY146" fmla="*/ 736721 h 1607784"/>
                    <a:gd name="connsiteX147" fmla="*/ 2006480 w 7414874"/>
                    <a:gd name="connsiteY147" fmla="*/ 715052 h 1607784"/>
                    <a:gd name="connsiteX148" fmla="*/ 1906806 w 7414874"/>
                    <a:gd name="connsiteY148" fmla="*/ 715052 h 1607784"/>
                    <a:gd name="connsiteX149" fmla="*/ 1902473 w 7414874"/>
                    <a:gd name="connsiteY149" fmla="*/ 710719 h 1607784"/>
                    <a:gd name="connsiteX150" fmla="*/ 1863469 w 7414874"/>
                    <a:gd name="connsiteY150" fmla="*/ 710719 h 1607784"/>
                    <a:gd name="connsiteX151" fmla="*/ 1863469 w 7414874"/>
                    <a:gd name="connsiteY151" fmla="*/ 680383 h 1607784"/>
                    <a:gd name="connsiteX152" fmla="*/ 1807132 w 7414874"/>
                    <a:gd name="connsiteY152" fmla="*/ 680383 h 1607784"/>
                    <a:gd name="connsiteX153" fmla="*/ 1798465 w 7414874"/>
                    <a:gd name="connsiteY153" fmla="*/ 671716 h 1607784"/>
                    <a:gd name="connsiteX154" fmla="*/ 1785464 w 7414874"/>
                    <a:gd name="connsiteY154" fmla="*/ 671716 h 1607784"/>
                    <a:gd name="connsiteX155" fmla="*/ 1785464 w 7414874"/>
                    <a:gd name="connsiteY155" fmla="*/ 658715 h 1607784"/>
                    <a:gd name="connsiteX156" fmla="*/ 1750794 w 7414874"/>
                    <a:gd name="connsiteY156" fmla="*/ 658715 h 1607784"/>
                    <a:gd name="connsiteX157" fmla="*/ 1750794 w 7414874"/>
                    <a:gd name="connsiteY157" fmla="*/ 637047 h 1607784"/>
                    <a:gd name="connsiteX158" fmla="*/ 1698791 w 7414874"/>
                    <a:gd name="connsiteY158" fmla="*/ 637047 h 1607784"/>
                    <a:gd name="connsiteX159" fmla="*/ 1698791 w 7414874"/>
                    <a:gd name="connsiteY159" fmla="*/ 611045 h 1607784"/>
                    <a:gd name="connsiteX160" fmla="*/ 1616451 w 7414874"/>
                    <a:gd name="connsiteY160" fmla="*/ 611045 h 1607784"/>
                    <a:gd name="connsiteX161" fmla="*/ 1603450 w 7414874"/>
                    <a:gd name="connsiteY161" fmla="*/ 598044 h 1607784"/>
                    <a:gd name="connsiteX162" fmla="*/ 1590449 w 7414874"/>
                    <a:gd name="connsiteY162" fmla="*/ 598044 h 1607784"/>
                    <a:gd name="connsiteX163" fmla="*/ 1577448 w 7414874"/>
                    <a:gd name="connsiteY163" fmla="*/ 585043 h 1607784"/>
                    <a:gd name="connsiteX164" fmla="*/ 1529778 w 7414874"/>
                    <a:gd name="connsiteY164" fmla="*/ 585043 h 1607784"/>
                    <a:gd name="connsiteX165" fmla="*/ 1529778 w 7414874"/>
                    <a:gd name="connsiteY165" fmla="*/ 576376 h 1607784"/>
                    <a:gd name="connsiteX166" fmla="*/ 1477774 w 7414874"/>
                    <a:gd name="connsiteY166" fmla="*/ 576376 h 1607784"/>
                    <a:gd name="connsiteX167" fmla="*/ 1477774 w 7414874"/>
                    <a:gd name="connsiteY167" fmla="*/ 559041 h 1607784"/>
                    <a:gd name="connsiteX168" fmla="*/ 1408436 w 7414874"/>
                    <a:gd name="connsiteY168" fmla="*/ 559041 h 1607784"/>
                    <a:gd name="connsiteX169" fmla="*/ 1395435 w 7414874"/>
                    <a:gd name="connsiteY169" fmla="*/ 546040 h 1607784"/>
                    <a:gd name="connsiteX170" fmla="*/ 1330430 w 7414874"/>
                    <a:gd name="connsiteY170" fmla="*/ 546040 h 1607784"/>
                    <a:gd name="connsiteX171" fmla="*/ 1330430 w 7414874"/>
                    <a:gd name="connsiteY171" fmla="*/ 528706 h 1607784"/>
                    <a:gd name="connsiteX172" fmla="*/ 1274093 w 7414874"/>
                    <a:gd name="connsiteY172" fmla="*/ 528706 h 1607784"/>
                    <a:gd name="connsiteX173" fmla="*/ 1274093 w 7414874"/>
                    <a:gd name="connsiteY173" fmla="*/ 507037 h 1607784"/>
                    <a:gd name="connsiteX174" fmla="*/ 1191754 w 7414874"/>
                    <a:gd name="connsiteY174" fmla="*/ 507037 h 1607784"/>
                    <a:gd name="connsiteX175" fmla="*/ 1174419 w 7414874"/>
                    <a:gd name="connsiteY175" fmla="*/ 507037 h 1607784"/>
                    <a:gd name="connsiteX176" fmla="*/ 1148417 w 7414874"/>
                    <a:gd name="connsiteY176" fmla="*/ 507037 h 1607784"/>
                    <a:gd name="connsiteX177" fmla="*/ 1148417 w 7414874"/>
                    <a:gd name="connsiteY177" fmla="*/ 481035 h 1607784"/>
                    <a:gd name="connsiteX178" fmla="*/ 1092080 w 7414874"/>
                    <a:gd name="connsiteY178" fmla="*/ 481035 h 1607784"/>
                    <a:gd name="connsiteX179" fmla="*/ 1092080 w 7414874"/>
                    <a:gd name="connsiteY179" fmla="*/ 468034 h 1607784"/>
                    <a:gd name="connsiteX180" fmla="*/ 1044410 w 7414874"/>
                    <a:gd name="connsiteY180" fmla="*/ 468034 h 1607784"/>
                    <a:gd name="connsiteX181" fmla="*/ 1044410 w 7414874"/>
                    <a:gd name="connsiteY181" fmla="*/ 437699 h 1607784"/>
                    <a:gd name="connsiteX182" fmla="*/ 988072 w 7414874"/>
                    <a:gd name="connsiteY182" fmla="*/ 437699 h 1607784"/>
                    <a:gd name="connsiteX183" fmla="*/ 975071 w 7414874"/>
                    <a:gd name="connsiteY183" fmla="*/ 424698 h 1607784"/>
                    <a:gd name="connsiteX184" fmla="*/ 953403 w 7414874"/>
                    <a:gd name="connsiteY184" fmla="*/ 424698 h 1607784"/>
                    <a:gd name="connsiteX185" fmla="*/ 944736 w 7414874"/>
                    <a:gd name="connsiteY185" fmla="*/ 416031 h 1607784"/>
                    <a:gd name="connsiteX186" fmla="*/ 892732 w 7414874"/>
                    <a:gd name="connsiteY186" fmla="*/ 416031 h 1607784"/>
                    <a:gd name="connsiteX187" fmla="*/ 892732 w 7414874"/>
                    <a:gd name="connsiteY187" fmla="*/ 394362 h 1607784"/>
                    <a:gd name="connsiteX188" fmla="*/ 866730 w 7414874"/>
                    <a:gd name="connsiteY188" fmla="*/ 394362 h 1607784"/>
                    <a:gd name="connsiteX189" fmla="*/ 858063 w 7414874"/>
                    <a:gd name="connsiteY189" fmla="*/ 385695 h 1607784"/>
                    <a:gd name="connsiteX190" fmla="*/ 754055 w 7414874"/>
                    <a:gd name="connsiteY190" fmla="*/ 385695 h 1607784"/>
                    <a:gd name="connsiteX191" fmla="*/ 754055 w 7414874"/>
                    <a:gd name="connsiteY191" fmla="*/ 359693 h 1607784"/>
                    <a:gd name="connsiteX192" fmla="*/ 723719 w 7414874"/>
                    <a:gd name="connsiteY192" fmla="*/ 359693 h 1607784"/>
                    <a:gd name="connsiteX193" fmla="*/ 723719 w 7414874"/>
                    <a:gd name="connsiteY193" fmla="*/ 342359 h 1607784"/>
                    <a:gd name="connsiteX194" fmla="*/ 658715 w 7414874"/>
                    <a:gd name="connsiteY194" fmla="*/ 342359 h 1607784"/>
                    <a:gd name="connsiteX195" fmla="*/ 650047 w 7414874"/>
                    <a:gd name="connsiteY195" fmla="*/ 333691 h 1607784"/>
                    <a:gd name="connsiteX196" fmla="*/ 628379 w 7414874"/>
                    <a:gd name="connsiteY196" fmla="*/ 333691 h 1607784"/>
                    <a:gd name="connsiteX197" fmla="*/ 628379 w 7414874"/>
                    <a:gd name="connsiteY197" fmla="*/ 316357 h 1607784"/>
                    <a:gd name="connsiteX198" fmla="*/ 598044 w 7414874"/>
                    <a:gd name="connsiteY198" fmla="*/ 316357 h 1607784"/>
                    <a:gd name="connsiteX199" fmla="*/ 598044 w 7414874"/>
                    <a:gd name="connsiteY199" fmla="*/ 294688 h 1607784"/>
                    <a:gd name="connsiteX200" fmla="*/ 576375 w 7414874"/>
                    <a:gd name="connsiteY200" fmla="*/ 294688 h 1607784"/>
                    <a:gd name="connsiteX201" fmla="*/ 576375 w 7414874"/>
                    <a:gd name="connsiteY201" fmla="*/ 281687 h 1607784"/>
                    <a:gd name="connsiteX202" fmla="*/ 554707 w 7414874"/>
                    <a:gd name="connsiteY202" fmla="*/ 281687 h 1607784"/>
                    <a:gd name="connsiteX203" fmla="*/ 554707 w 7414874"/>
                    <a:gd name="connsiteY203" fmla="*/ 268687 h 1607784"/>
                    <a:gd name="connsiteX204" fmla="*/ 489702 w 7414874"/>
                    <a:gd name="connsiteY204" fmla="*/ 268687 h 1607784"/>
                    <a:gd name="connsiteX205" fmla="*/ 489702 w 7414874"/>
                    <a:gd name="connsiteY205" fmla="*/ 242685 h 1607784"/>
                    <a:gd name="connsiteX206" fmla="*/ 455033 w 7414874"/>
                    <a:gd name="connsiteY206" fmla="*/ 242685 h 1607784"/>
                    <a:gd name="connsiteX207" fmla="*/ 455033 w 7414874"/>
                    <a:gd name="connsiteY207" fmla="*/ 216683 h 1607784"/>
                    <a:gd name="connsiteX208" fmla="*/ 437699 w 7414874"/>
                    <a:gd name="connsiteY208" fmla="*/ 216683 h 1607784"/>
                    <a:gd name="connsiteX209" fmla="*/ 437699 w 7414874"/>
                    <a:gd name="connsiteY209" fmla="*/ 186347 h 1607784"/>
                    <a:gd name="connsiteX210" fmla="*/ 407363 w 7414874"/>
                    <a:gd name="connsiteY210" fmla="*/ 186347 h 1607784"/>
                    <a:gd name="connsiteX211" fmla="*/ 407363 w 7414874"/>
                    <a:gd name="connsiteY211" fmla="*/ 173346 h 1607784"/>
                    <a:gd name="connsiteX212" fmla="*/ 372694 w 7414874"/>
                    <a:gd name="connsiteY212" fmla="*/ 173346 h 1607784"/>
                    <a:gd name="connsiteX213" fmla="*/ 372694 w 7414874"/>
                    <a:gd name="connsiteY213" fmla="*/ 151678 h 1607784"/>
                    <a:gd name="connsiteX214" fmla="*/ 355359 w 7414874"/>
                    <a:gd name="connsiteY214" fmla="*/ 151678 h 1607784"/>
                    <a:gd name="connsiteX215" fmla="*/ 355359 w 7414874"/>
                    <a:gd name="connsiteY215" fmla="*/ 138677 h 1607784"/>
                    <a:gd name="connsiteX216" fmla="*/ 303356 w 7414874"/>
                    <a:gd name="connsiteY216" fmla="*/ 138677 h 1607784"/>
                    <a:gd name="connsiteX217" fmla="*/ 303356 w 7414874"/>
                    <a:gd name="connsiteY217" fmla="*/ 95341 h 1607784"/>
                    <a:gd name="connsiteX218" fmla="*/ 268686 w 7414874"/>
                    <a:gd name="connsiteY218" fmla="*/ 95341 h 1607784"/>
                    <a:gd name="connsiteX219" fmla="*/ 268686 w 7414874"/>
                    <a:gd name="connsiteY219" fmla="*/ 82340 h 1607784"/>
                    <a:gd name="connsiteX220" fmla="*/ 234017 w 7414874"/>
                    <a:gd name="connsiteY220" fmla="*/ 82340 h 1607784"/>
                    <a:gd name="connsiteX221" fmla="*/ 234017 w 7414874"/>
                    <a:gd name="connsiteY221" fmla="*/ 47670 h 1607784"/>
                    <a:gd name="connsiteX222" fmla="*/ 208015 w 7414874"/>
                    <a:gd name="connsiteY222" fmla="*/ 47670 h 1607784"/>
                    <a:gd name="connsiteX223" fmla="*/ 208015 w 7414874"/>
                    <a:gd name="connsiteY223" fmla="*/ 39003 h 1607784"/>
                    <a:gd name="connsiteX224" fmla="*/ 156011 w 7414874"/>
                    <a:gd name="connsiteY224" fmla="*/ 39003 h 1607784"/>
                    <a:gd name="connsiteX225" fmla="*/ 156011 w 7414874"/>
                    <a:gd name="connsiteY225" fmla="*/ 26002 h 1607784"/>
                    <a:gd name="connsiteX226" fmla="*/ 121342 w 7414874"/>
                    <a:gd name="connsiteY226" fmla="*/ 26002 h 1607784"/>
                    <a:gd name="connsiteX227" fmla="*/ 121342 w 7414874"/>
                    <a:gd name="connsiteY227" fmla="*/ 0 h 1607784"/>
                    <a:gd name="connsiteX228" fmla="*/ 82339 w 7414874"/>
                    <a:gd name="connsiteY228" fmla="*/ 0 h 1607784"/>
                    <a:gd name="connsiteX229" fmla="*/ 82339 w 7414874"/>
                    <a:gd name="connsiteY229" fmla="*/ 43337 h 1607784"/>
                    <a:gd name="connsiteX230" fmla="*/ 0 w 7414874"/>
                    <a:gd name="connsiteY230" fmla="*/ 43337 h 1607784"/>
                    <a:gd name="connsiteX231" fmla="*/ 8667 w 7414874"/>
                    <a:gd name="connsiteY231" fmla="*/ 34670 h 1607784"/>
                    <a:gd name="connsiteX232" fmla="*/ 8667 w 7414874"/>
                    <a:gd name="connsiteY232" fmla="*/ 52004 h 1607784"/>
                    <a:gd name="connsiteX233" fmla="*/ 21668 w 7414874"/>
                    <a:gd name="connsiteY233" fmla="*/ 52004 h 1607784"/>
                    <a:gd name="connsiteX234" fmla="*/ 21668 w 7414874"/>
                    <a:gd name="connsiteY234" fmla="*/ 65005 h 1607784"/>
                    <a:gd name="connsiteX235" fmla="*/ 52004 w 7414874"/>
                    <a:gd name="connsiteY235" fmla="*/ 65005 h 1607784"/>
                    <a:gd name="connsiteX236" fmla="*/ 52004 w 7414874"/>
                    <a:gd name="connsiteY236" fmla="*/ 86673 h 1607784"/>
                    <a:gd name="connsiteX237" fmla="*/ 78006 w 7414874"/>
                    <a:gd name="connsiteY237" fmla="*/ 86673 h 1607784"/>
                    <a:gd name="connsiteX238" fmla="*/ 78006 w 7414874"/>
                    <a:gd name="connsiteY238" fmla="*/ 125676 h 1607784"/>
                    <a:gd name="connsiteX239" fmla="*/ 138677 w 7414874"/>
                    <a:gd name="connsiteY239" fmla="*/ 125676 h 1607784"/>
                    <a:gd name="connsiteX240" fmla="*/ 147344 w 7414874"/>
                    <a:gd name="connsiteY240" fmla="*/ 134343 h 1607784"/>
                    <a:gd name="connsiteX241" fmla="*/ 164679 w 7414874"/>
                    <a:gd name="connsiteY241" fmla="*/ 134343 h 1607784"/>
                    <a:gd name="connsiteX242" fmla="*/ 164679 w 7414874"/>
                    <a:gd name="connsiteY242" fmla="*/ 156012 h 1607784"/>
                    <a:gd name="connsiteX243" fmla="*/ 182013 w 7414874"/>
                    <a:gd name="connsiteY243" fmla="*/ 156012 h 1607784"/>
                    <a:gd name="connsiteX244" fmla="*/ 195014 w 7414874"/>
                    <a:gd name="connsiteY244" fmla="*/ 169013 h 1607784"/>
                    <a:gd name="connsiteX245" fmla="*/ 225350 w 7414874"/>
                    <a:gd name="connsiteY245" fmla="*/ 169013 h 1607784"/>
                    <a:gd name="connsiteX246" fmla="*/ 225350 w 7414874"/>
                    <a:gd name="connsiteY246" fmla="*/ 208015 h 1607784"/>
                    <a:gd name="connsiteX247" fmla="*/ 251352 w 7414874"/>
                    <a:gd name="connsiteY247" fmla="*/ 208015 h 1607784"/>
                    <a:gd name="connsiteX248" fmla="*/ 260019 w 7414874"/>
                    <a:gd name="connsiteY248" fmla="*/ 216682 h 1607784"/>
                    <a:gd name="connsiteX249" fmla="*/ 273021 w 7414874"/>
                    <a:gd name="connsiteY249" fmla="*/ 229684 h 1607784"/>
                    <a:gd name="connsiteX250" fmla="*/ 273021 w 7414874"/>
                    <a:gd name="connsiteY250" fmla="*/ 251352 h 1607784"/>
                    <a:gd name="connsiteX251" fmla="*/ 303356 w 7414874"/>
                    <a:gd name="connsiteY251" fmla="*/ 251352 h 1607784"/>
                    <a:gd name="connsiteX252" fmla="*/ 303356 w 7414874"/>
                    <a:gd name="connsiteY252" fmla="*/ 268687 h 1607784"/>
                    <a:gd name="connsiteX253" fmla="*/ 342358 w 7414874"/>
                    <a:gd name="connsiteY253" fmla="*/ 268687 h 1607784"/>
                    <a:gd name="connsiteX254" fmla="*/ 342358 w 7414874"/>
                    <a:gd name="connsiteY254" fmla="*/ 286021 h 1607784"/>
                    <a:gd name="connsiteX255" fmla="*/ 385695 w 7414874"/>
                    <a:gd name="connsiteY255" fmla="*/ 286021 h 1607784"/>
                    <a:gd name="connsiteX256" fmla="*/ 385695 w 7414874"/>
                    <a:gd name="connsiteY256" fmla="*/ 286021 h 1607784"/>
                    <a:gd name="connsiteX257" fmla="*/ 407363 w 7414874"/>
                    <a:gd name="connsiteY257" fmla="*/ 307689 h 1607784"/>
                    <a:gd name="connsiteX258" fmla="*/ 424698 w 7414874"/>
                    <a:gd name="connsiteY258" fmla="*/ 325024 h 1607784"/>
                    <a:gd name="connsiteX259" fmla="*/ 472368 w 7414874"/>
                    <a:gd name="connsiteY259" fmla="*/ 325024 h 1607784"/>
                    <a:gd name="connsiteX260" fmla="*/ 472368 w 7414874"/>
                    <a:gd name="connsiteY260" fmla="*/ 355360 h 1607784"/>
                    <a:gd name="connsiteX261" fmla="*/ 511371 w 7414874"/>
                    <a:gd name="connsiteY261" fmla="*/ 355360 h 1607784"/>
                    <a:gd name="connsiteX262" fmla="*/ 511371 w 7414874"/>
                    <a:gd name="connsiteY262" fmla="*/ 377028 h 1607784"/>
                    <a:gd name="connsiteX263" fmla="*/ 559041 w 7414874"/>
                    <a:gd name="connsiteY263" fmla="*/ 377028 h 1607784"/>
                    <a:gd name="connsiteX264" fmla="*/ 559041 w 7414874"/>
                    <a:gd name="connsiteY264" fmla="*/ 398696 h 1607784"/>
                    <a:gd name="connsiteX265" fmla="*/ 589376 w 7414874"/>
                    <a:gd name="connsiteY265" fmla="*/ 398696 h 1607784"/>
                    <a:gd name="connsiteX266" fmla="*/ 602377 w 7414874"/>
                    <a:gd name="connsiteY266" fmla="*/ 411697 h 1607784"/>
                    <a:gd name="connsiteX267" fmla="*/ 650047 w 7414874"/>
                    <a:gd name="connsiteY267" fmla="*/ 411697 h 1607784"/>
                    <a:gd name="connsiteX268" fmla="*/ 650047 w 7414874"/>
                    <a:gd name="connsiteY268" fmla="*/ 450700 h 1607784"/>
                    <a:gd name="connsiteX269" fmla="*/ 758389 w 7414874"/>
                    <a:gd name="connsiteY269" fmla="*/ 450700 h 1607784"/>
                    <a:gd name="connsiteX270" fmla="*/ 758389 w 7414874"/>
                    <a:gd name="connsiteY270" fmla="*/ 481035 h 1607784"/>
                    <a:gd name="connsiteX271" fmla="*/ 875397 w 7414874"/>
                    <a:gd name="connsiteY271" fmla="*/ 481035 h 1607784"/>
                    <a:gd name="connsiteX272" fmla="*/ 875397 w 7414874"/>
                    <a:gd name="connsiteY272" fmla="*/ 507037 h 1607784"/>
                    <a:gd name="connsiteX273" fmla="*/ 927401 w 7414874"/>
                    <a:gd name="connsiteY273" fmla="*/ 507037 h 1607784"/>
                    <a:gd name="connsiteX274" fmla="*/ 927401 w 7414874"/>
                    <a:gd name="connsiteY274" fmla="*/ 524372 h 1607784"/>
                    <a:gd name="connsiteX275" fmla="*/ 979405 w 7414874"/>
                    <a:gd name="connsiteY275" fmla="*/ 524372 h 1607784"/>
                    <a:gd name="connsiteX276" fmla="*/ 992406 w 7414874"/>
                    <a:gd name="connsiteY276" fmla="*/ 524372 h 1607784"/>
                    <a:gd name="connsiteX277" fmla="*/ 1005407 w 7414874"/>
                    <a:gd name="connsiteY277" fmla="*/ 537373 h 1607784"/>
                    <a:gd name="connsiteX278" fmla="*/ 1027075 w 7414874"/>
                    <a:gd name="connsiteY278" fmla="*/ 537373 h 1607784"/>
                    <a:gd name="connsiteX279" fmla="*/ 1057410 w 7414874"/>
                    <a:gd name="connsiteY279" fmla="*/ 537373 h 1607784"/>
                    <a:gd name="connsiteX280" fmla="*/ 1057410 w 7414874"/>
                    <a:gd name="connsiteY280" fmla="*/ 563375 h 1607784"/>
                    <a:gd name="connsiteX281" fmla="*/ 1079079 w 7414874"/>
                    <a:gd name="connsiteY281" fmla="*/ 563375 h 1607784"/>
                    <a:gd name="connsiteX282" fmla="*/ 1079079 w 7414874"/>
                    <a:gd name="connsiteY282" fmla="*/ 576376 h 1607784"/>
                    <a:gd name="connsiteX283" fmla="*/ 1157084 w 7414874"/>
                    <a:gd name="connsiteY283" fmla="*/ 576376 h 1607784"/>
                    <a:gd name="connsiteX284" fmla="*/ 1157084 w 7414874"/>
                    <a:gd name="connsiteY284" fmla="*/ 589377 h 1607784"/>
                    <a:gd name="connsiteX285" fmla="*/ 1196087 w 7414874"/>
                    <a:gd name="connsiteY285" fmla="*/ 589377 h 1607784"/>
                    <a:gd name="connsiteX286" fmla="*/ 1196087 w 7414874"/>
                    <a:gd name="connsiteY286" fmla="*/ 598044 h 1607784"/>
                    <a:gd name="connsiteX287" fmla="*/ 1243757 w 7414874"/>
                    <a:gd name="connsiteY287" fmla="*/ 598044 h 1607784"/>
                    <a:gd name="connsiteX288" fmla="*/ 1256758 w 7414874"/>
                    <a:gd name="connsiteY288" fmla="*/ 611045 h 1607784"/>
                    <a:gd name="connsiteX289" fmla="*/ 1269759 w 7414874"/>
                    <a:gd name="connsiteY289" fmla="*/ 624046 h 1607784"/>
                    <a:gd name="connsiteX290" fmla="*/ 1334764 w 7414874"/>
                    <a:gd name="connsiteY290" fmla="*/ 624046 h 1607784"/>
                    <a:gd name="connsiteX291" fmla="*/ 1334764 w 7414874"/>
                    <a:gd name="connsiteY291" fmla="*/ 645714 h 1607784"/>
                    <a:gd name="connsiteX292" fmla="*/ 1425771 w 7414874"/>
                    <a:gd name="connsiteY292" fmla="*/ 645714 h 1607784"/>
                    <a:gd name="connsiteX293" fmla="*/ 1434438 w 7414874"/>
                    <a:gd name="connsiteY293" fmla="*/ 654381 h 1607784"/>
                    <a:gd name="connsiteX294" fmla="*/ 1456106 w 7414874"/>
                    <a:gd name="connsiteY294" fmla="*/ 654381 h 1607784"/>
                    <a:gd name="connsiteX295" fmla="*/ 1456106 w 7414874"/>
                    <a:gd name="connsiteY295" fmla="*/ 667382 h 1607784"/>
                    <a:gd name="connsiteX296" fmla="*/ 1508110 w 7414874"/>
                    <a:gd name="connsiteY296" fmla="*/ 667382 h 1607784"/>
                    <a:gd name="connsiteX297" fmla="*/ 1508110 w 7414874"/>
                    <a:gd name="connsiteY297" fmla="*/ 684717 h 1607784"/>
                    <a:gd name="connsiteX298" fmla="*/ 1564447 w 7414874"/>
                    <a:gd name="connsiteY298" fmla="*/ 684717 h 1607784"/>
                    <a:gd name="connsiteX299" fmla="*/ 1568781 w 7414874"/>
                    <a:gd name="connsiteY299" fmla="*/ 689051 h 1607784"/>
                    <a:gd name="connsiteX300" fmla="*/ 1612118 w 7414874"/>
                    <a:gd name="connsiteY300" fmla="*/ 689051 h 1607784"/>
                    <a:gd name="connsiteX301" fmla="*/ 1625119 w 7414874"/>
                    <a:gd name="connsiteY301" fmla="*/ 702052 h 1607784"/>
                    <a:gd name="connsiteX302" fmla="*/ 1677122 w 7414874"/>
                    <a:gd name="connsiteY302" fmla="*/ 702052 h 1607784"/>
                    <a:gd name="connsiteX303" fmla="*/ 1685790 w 7414874"/>
                    <a:gd name="connsiteY303" fmla="*/ 710720 h 1607784"/>
                    <a:gd name="connsiteX304" fmla="*/ 1703123 w 7414874"/>
                    <a:gd name="connsiteY304" fmla="*/ 728053 h 1607784"/>
                    <a:gd name="connsiteX305" fmla="*/ 1716124 w 7414874"/>
                    <a:gd name="connsiteY305" fmla="*/ 741054 h 1607784"/>
                    <a:gd name="connsiteX306" fmla="*/ 1750794 w 7414874"/>
                    <a:gd name="connsiteY306" fmla="*/ 741054 h 1607784"/>
                    <a:gd name="connsiteX307" fmla="*/ 1750794 w 7414874"/>
                    <a:gd name="connsiteY307" fmla="*/ 767056 h 1607784"/>
                    <a:gd name="connsiteX308" fmla="*/ 1798465 w 7414874"/>
                    <a:gd name="connsiteY308" fmla="*/ 767056 h 1607784"/>
                    <a:gd name="connsiteX309" fmla="*/ 1798465 w 7414874"/>
                    <a:gd name="connsiteY309" fmla="*/ 780057 h 1607784"/>
                    <a:gd name="connsiteX310" fmla="*/ 1841801 w 7414874"/>
                    <a:gd name="connsiteY310" fmla="*/ 780057 h 1607784"/>
                    <a:gd name="connsiteX311" fmla="*/ 1841801 w 7414874"/>
                    <a:gd name="connsiteY311" fmla="*/ 797392 h 1607784"/>
                    <a:gd name="connsiteX312" fmla="*/ 1876470 w 7414874"/>
                    <a:gd name="connsiteY312" fmla="*/ 797392 h 1607784"/>
                    <a:gd name="connsiteX313" fmla="*/ 1885138 w 7414874"/>
                    <a:gd name="connsiteY313" fmla="*/ 806060 h 1607784"/>
                    <a:gd name="connsiteX314" fmla="*/ 1963143 w 7414874"/>
                    <a:gd name="connsiteY314" fmla="*/ 806060 h 1607784"/>
                    <a:gd name="connsiteX315" fmla="*/ 2006480 w 7414874"/>
                    <a:gd name="connsiteY315" fmla="*/ 806060 h 1607784"/>
                    <a:gd name="connsiteX316" fmla="*/ 2036815 w 7414874"/>
                    <a:gd name="connsiteY316" fmla="*/ 836395 h 1607784"/>
                    <a:gd name="connsiteX317" fmla="*/ 2049816 w 7414874"/>
                    <a:gd name="connsiteY317" fmla="*/ 836395 h 1607784"/>
                    <a:gd name="connsiteX318" fmla="*/ 2106154 w 7414874"/>
                    <a:gd name="connsiteY318" fmla="*/ 836395 h 1607784"/>
                    <a:gd name="connsiteX319" fmla="*/ 2106154 w 7414874"/>
                    <a:gd name="connsiteY319" fmla="*/ 862396 h 1607784"/>
                    <a:gd name="connsiteX320" fmla="*/ 2119155 w 7414874"/>
                    <a:gd name="connsiteY320" fmla="*/ 862396 h 1607784"/>
                    <a:gd name="connsiteX321" fmla="*/ 2136489 w 7414874"/>
                    <a:gd name="connsiteY321" fmla="*/ 862396 h 1607784"/>
                    <a:gd name="connsiteX322" fmla="*/ 2184159 w 7414874"/>
                    <a:gd name="connsiteY322" fmla="*/ 862396 h 1607784"/>
                    <a:gd name="connsiteX323" fmla="*/ 2184159 w 7414874"/>
                    <a:gd name="connsiteY323" fmla="*/ 888398 h 1607784"/>
                    <a:gd name="connsiteX324" fmla="*/ 2200254 w 7414874"/>
                    <a:gd name="connsiteY324" fmla="*/ 883636 h 1607784"/>
                    <a:gd name="connsiteX325" fmla="*/ 2240733 w 7414874"/>
                    <a:gd name="connsiteY325" fmla="*/ 881254 h 1607784"/>
                    <a:gd name="connsiteX326" fmla="*/ 2240102 w 7414874"/>
                    <a:gd name="connsiteY326" fmla="*/ 914626 h 1607784"/>
                    <a:gd name="connsiteX327" fmla="*/ 2265640 w 7414874"/>
                    <a:gd name="connsiteY327" fmla="*/ 915879 h 1607784"/>
                    <a:gd name="connsiteX328" fmla="*/ 2266296 w 7414874"/>
                    <a:gd name="connsiteY328" fmla="*/ 886052 h 1607784"/>
                    <a:gd name="connsiteX329" fmla="*/ 2301168 w 7414874"/>
                    <a:gd name="connsiteY329" fmla="*/ 880160 h 1607784"/>
                    <a:gd name="connsiteX330" fmla="*/ 2301168 w 7414874"/>
                    <a:gd name="connsiteY330" fmla="*/ 914400 h 1607784"/>
                    <a:gd name="connsiteX331" fmla="*/ 2335837 w 7414874"/>
                    <a:gd name="connsiteY331" fmla="*/ 914400 h 1607784"/>
                    <a:gd name="connsiteX332" fmla="*/ 2335837 w 7414874"/>
                    <a:gd name="connsiteY332" fmla="*/ 923068 h 1607784"/>
                    <a:gd name="connsiteX333" fmla="*/ 2400842 w 7414874"/>
                    <a:gd name="connsiteY333" fmla="*/ 923068 h 1607784"/>
                    <a:gd name="connsiteX334" fmla="*/ 2400842 w 7414874"/>
                    <a:gd name="connsiteY334" fmla="*/ 936069 h 1607784"/>
                    <a:gd name="connsiteX335" fmla="*/ 2439845 w 7414874"/>
                    <a:gd name="connsiteY335" fmla="*/ 936069 h 1607784"/>
                    <a:gd name="connsiteX336" fmla="*/ 2452846 w 7414874"/>
                    <a:gd name="connsiteY336" fmla="*/ 949070 h 1607784"/>
                    <a:gd name="connsiteX337" fmla="*/ 2500516 w 7414874"/>
                    <a:gd name="connsiteY337" fmla="*/ 949070 h 1607784"/>
                    <a:gd name="connsiteX338" fmla="*/ 2513517 w 7414874"/>
                    <a:gd name="connsiteY338" fmla="*/ 962071 h 1607784"/>
                    <a:gd name="connsiteX339" fmla="*/ 2543852 w 7414874"/>
                    <a:gd name="connsiteY339" fmla="*/ 962071 h 1607784"/>
                    <a:gd name="connsiteX340" fmla="*/ 2543852 w 7414874"/>
                    <a:gd name="connsiteY340" fmla="*/ 979405 h 1607784"/>
                    <a:gd name="connsiteX341" fmla="*/ 2591522 w 7414874"/>
                    <a:gd name="connsiteY341" fmla="*/ 979405 h 1607784"/>
                    <a:gd name="connsiteX342" fmla="*/ 2591522 w 7414874"/>
                    <a:gd name="connsiteY342" fmla="*/ 1001073 h 1607784"/>
                    <a:gd name="connsiteX343" fmla="*/ 2639192 w 7414874"/>
                    <a:gd name="connsiteY343" fmla="*/ 1001073 h 1607784"/>
                    <a:gd name="connsiteX344" fmla="*/ 2639192 w 7414874"/>
                    <a:gd name="connsiteY344" fmla="*/ 1022742 h 1607784"/>
                    <a:gd name="connsiteX345" fmla="*/ 2699864 w 7414874"/>
                    <a:gd name="connsiteY345" fmla="*/ 1022742 h 1607784"/>
                    <a:gd name="connsiteX346" fmla="*/ 2699864 w 7414874"/>
                    <a:gd name="connsiteY346" fmla="*/ 1040076 h 1607784"/>
                    <a:gd name="connsiteX347" fmla="*/ 2808205 w 7414874"/>
                    <a:gd name="connsiteY347" fmla="*/ 1040076 h 1607784"/>
                    <a:gd name="connsiteX348" fmla="*/ 2816872 w 7414874"/>
                    <a:gd name="connsiteY348" fmla="*/ 1048743 h 1607784"/>
                    <a:gd name="connsiteX349" fmla="*/ 2825540 w 7414874"/>
                    <a:gd name="connsiteY349" fmla="*/ 1057411 h 1607784"/>
                    <a:gd name="connsiteX350" fmla="*/ 2864542 w 7414874"/>
                    <a:gd name="connsiteY350" fmla="*/ 1057411 h 1607784"/>
                    <a:gd name="connsiteX351" fmla="*/ 2886210 w 7414874"/>
                    <a:gd name="connsiteY351" fmla="*/ 1057411 h 1607784"/>
                    <a:gd name="connsiteX352" fmla="*/ 2899211 w 7414874"/>
                    <a:gd name="connsiteY352" fmla="*/ 1057411 h 1607784"/>
                    <a:gd name="connsiteX353" fmla="*/ 2916546 w 7414874"/>
                    <a:gd name="connsiteY353" fmla="*/ 1074746 h 1607784"/>
                    <a:gd name="connsiteX354" fmla="*/ 2968550 w 7414874"/>
                    <a:gd name="connsiteY354" fmla="*/ 1074746 h 1607784"/>
                    <a:gd name="connsiteX355" fmla="*/ 2968550 w 7414874"/>
                    <a:gd name="connsiteY355" fmla="*/ 1092080 h 1607784"/>
                    <a:gd name="connsiteX356" fmla="*/ 3141896 w 7414874"/>
                    <a:gd name="connsiteY356" fmla="*/ 1092080 h 1607784"/>
                    <a:gd name="connsiteX357" fmla="*/ 3141896 w 7414874"/>
                    <a:gd name="connsiteY357" fmla="*/ 1122415 h 1607784"/>
                    <a:gd name="connsiteX358" fmla="*/ 3211234 w 7414874"/>
                    <a:gd name="connsiteY358" fmla="*/ 1122415 h 1607784"/>
                    <a:gd name="connsiteX359" fmla="*/ 3215568 w 7414874"/>
                    <a:gd name="connsiteY359" fmla="*/ 1122415 h 1607784"/>
                    <a:gd name="connsiteX360" fmla="*/ 3302241 w 7414874"/>
                    <a:gd name="connsiteY360" fmla="*/ 1122415 h 1607784"/>
                    <a:gd name="connsiteX361" fmla="*/ 3302241 w 7414874"/>
                    <a:gd name="connsiteY361" fmla="*/ 1148417 h 1607784"/>
                    <a:gd name="connsiteX362" fmla="*/ 3388914 w 7414874"/>
                    <a:gd name="connsiteY362" fmla="*/ 1148417 h 1607784"/>
                    <a:gd name="connsiteX363" fmla="*/ 3388914 w 7414874"/>
                    <a:gd name="connsiteY363" fmla="*/ 1157085 h 1607784"/>
                    <a:gd name="connsiteX364" fmla="*/ 3445251 w 7414874"/>
                    <a:gd name="connsiteY364" fmla="*/ 1157085 h 1607784"/>
                    <a:gd name="connsiteX365" fmla="*/ 3453919 w 7414874"/>
                    <a:gd name="connsiteY365" fmla="*/ 1165753 h 1607784"/>
                    <a:gd name="connsiteX366" fmla="*/ 3596929 w 7414874"/>
                    <a:gd name="connsiteY366" fmla="*/ 1165753 h 1607784"/>
                    <a:gd name="connsiteX367" fmla="*/ 3596929 w 7414874"/>
                    <a:gd name="connsiteY367" fmla="*/ 1178753 h 1607784"/>
                    <a:gd name="connsiteX368" fmla="*/ 3705270 w 7414874"/>
                    <a:gd name="connsiteY368" fmla="*/ 1178753 h 1607784"/>
                    <a:gd name="connsiteX369" fmla="*/ 3709604 w 7414874"/>
                    <a:gd name="connsiteY369" fmla="*/ 1183087 h 1607784"/>
                    <a:gd name="connsiteX370" fmla="*/ 3960956 w 7414874"/>
                    <a:gd name="connsiteY370" fmla="*/ 1183087 h 1607784"/>
                    <a:gd name="connsiteX371" fmla="*/ 3960956 w 7414874"/>
                    <a:gd name="connsiteY371" fmla="*/ 1204755 h 1607784"/>
                    <a:gd name="connsiteX372" fmla="*/ 3991291 w 7414874"/>
                    <a:gd name="connsiteY372" fmla="*/ 1204755 h 1607784"/>
                    <a:gd name="connsiteX373" fmla="*/ 3991291 w 7414874"/>
                    <a:gd name="connsiteY373" fmla="*/ 1178753 h 1607784"/>
                    <a:gd name="connsiteX374" fmla="*/ 4030294 w 7414874"/>
                    <a:gd name="connsiteY374" fmla="*/ 1178753 h 1607784"/>
                    <a:gd name="connsiteX375" fmla="*/ 4030294 w 7414874"/>
                    <a:gd name="connsiteY375" fmla="*/ 1213422 h 1607784"/>
                    <a:gd name="connsiteX376" fmla="*/ 4043295 w 7414874"/>
                    <a:gd name="connsiteY376" fmla="*/ 1213422 h 1607784"/>
                    <a:gd name="connsiteX377" fmla="*/ 4043295 w 7414874"/>
                    <a:gd name="connsiteY377" fmla="*/ 1222089 h 1607784"/>
                    <a:gd name="connsiteX378" fmla="*/ 4164637 w 7414874"/>
                    <a:gd name="connsiteY378" fmla="*/ 1222089 h 1607784"/>
                    <a:gd name="connsiteX379" fmla="*/ 4164637 w 7414874"/>
                    <a:gd name="connsiteY379" fmla="*/ 1243758 h 1607784"/>
                    <a:gd name="connsiteX380" fmla="*/ 4320648 w 7414874"/>
                    <a:gd name="connsiteY380" fmla="*/ 1243758 h 1607784"/>
                    <a:gd name="connsiteX381" fmla="*/ 4320648 w 7414874"/>
                    <a:gd name="connsiteY381" fmla="*/ 1261092 h 1607784"/>
                    <a:gd name="connsiteX382" fmla="*/ 4398654 w 7414874"/>
                    <a:gd name="connsiteY382" fmla="*/ 1261092 h 1607784"/>
                    <a:gd name="connsiteX383" fmla="*/ 4398654 w 7414874"/>
                    <a:gd name="connsiteY383" fmla="*/ 1287094 h 1607784"/>
                    <a:gd name="connsiteX384" fmla="*/ 4450658 w 7414874"/>
                    <a:gd name="connsiteY384" fmla="*/ 1287094 h 1607784"/>
                    <a:gd name="connsiteX385" fmla="*/ 4476660 w 7414874"/>
                    <a:gd name="connsiteY385" fmla="*/ 1287094 h 1607784"/>
                    <a:gd name="connsiteX386" fmla="*/ 4498328 w 7414874"/>
                    <a:gd name="connsiteY386" fmla="*/ 1308762 h 1607784"/>
                    <a:gd name="connsiteX387" fmla="*/ 4593668 w 7414874"/>
                    <a:gd name="connsiteY387" fmla="*/ 1308762 h 1607784"/>
                    <a:gd name="connsiteX388" fmla="*/ 4602336 w 7414874"/>
                    <a:gd name="connsiteY388" fmla="*/ 1317430 h 1607784"/>
                    <a:gd name="connsiteX389" fmla="*/ 4663007 w 7414874"/>
                    <a:gd name="connsiteY389" fmla="*/ 1317430 h 1607784"/>
                    <a:gd name="connsiteX390" fmla="*/ 4663007 w 7414874"/>
                    <a:gd name="connsiteY390" fmla="*/ 1339098 h 1607784"/>
                    <a:gd name="connsiteX391" fmla="*/ 4706343 w 7414874"/>
                    <a:gd name="connsiteY391" fmla="*/ 1339098 h 1607784"/>
                    <a:gd name="connsiteX392" fmla="*/ 4710677 w 7414874"/>
                    <a:gd name="connsiteY392" fmla="*/ 1343432 h 1607784"/>
                    <a:gd name="connsiteX393" fmla="*/ 4767014 w 7414874"/>
                    <a:gd name="connsiteY393" fmla="*/ 1343432 h 1607784"/>
                    <a:gd name="connsiteX394" fmla="*/ 4780015 w 7414874"/>
                    <a:gd name="connsiteY394" fmla="*/ 1356433 h 1607784"/>
                    <a:gd name="connsiteX395" fmla="*/ 5005365 w 7414874"/>
                    <a:gd name="connsiteY395" fmla="*/ 1356433 h 1607784"/>
                    <a:gd name="connsiteX396" fmla="*/ 5018366 w 7414874"/>
                    <a:gd name="connsiteY396" fmla="*/ 1369434 h 1607784"/>
                    <a:gd name="connsiteX397" fmla="*/ 5152709 w 7414874"/>
                    <a:gd name="connsiteY397" fmla="*/ 1369434 h 1607784"/>
                    <a:gd name="connsiteX398" fmla="*/ 5152709 w 7414874"/>
                    <a:gd name="connsiteY398" fmla="*/ 1391102 h 1607784"/>
                    <a:gd name="connsiteX399" fmla="*/ 5282719 w 7414874"/>
                    <a:gd name="connsiteY399" fmla="*/ 1391102 h 1607784"/>
                    <a:gd name="connsiteX400" fmla="*/ 5291386 w 7414874"/>
                    <a:gd name="connsiteY400" fmla="*/ 1399769 h 1607784"/>
                    <a:gd name="connsiteX401" fmla="*/ 5356391 w 7414874"/>
                    <a:gd name="connsiteY401" fmla="*/ 1399769 h 1607784"/>
                    <a:gd name="connsiteX402" fmla="*/ 5369392 w 7414874"/>
                    <a:gd name="connsiteY402" fmla="*/ 1399769 h 1607784"/>
                    <a:gd name="connsiteX403" fmla="*/ 5369392 w 7414874"/>
                    <a:gd name="connsiteY403" fmla="*/ 1421437 h 1607784"/>
                    <a:gd name="connsiteX404" fmla="*/ 5473399 w 7414874"/>
                    <a:gd name="connsiteY404" fmla="*/ 1421437 h 1607784"/>
                    <a:gd name="connsiteX405" fmla="*/ 5473399 w 7414874"/>
                    <a:gd name="connsiteY405" fmla="*/ 1399769 h 1607784"/>
                    <a:gd name="connsiteX406" fmla="*/ 5512402 w 7414874"/>
                    <a:gd name="connsiteY406" fmla="*/ 1399769 h 1607784"/>
                    <a:gd name="connsiteX407" fmla="*/ 5512402 w 7414874"/>
                    <a:gd name="connsiteY407" fmla="*/ 1425771 h 1607784"/>
                    <a:gd name="connsiteX408" fmla="*/ 5607742 w 7414874"/>
                    <a:gd name="connsiteY408" fmla="*/ 1425771 h 1607784"/>
                    <a:gd name="connsiteX409" fmla="*/ 5607742 w 7414874"/>
                    <a:gd name="connsiteY409" fmla="*/ 1399769 h 1607784"/>
                    <a:gd name="connsiteX410" fmla="*/ 5664080 w 7414874"/>
                    <a:gd name="connsiteY410" fmla="*/ 1399769 h 1607784"/>
                    <a:gd name="connsiteX411" fmla="*/ 5664080 w 7414874"/>
                    <a:gd name="connsiteY411" fmla="*/ 1434438 h 1607784"/>
                    <a:gd name="connsiteX412" fmla="*/ 5685748 w 7414874"/>
                    <a:gd name="connsiteY412" fmla="*/ 1434438 h 1607784"/>
                    <a:gd name="connsiteX413" fmla="*/ 5685748 w 7414874"/>
                    <a:gd name="connsiteY413" fmla="*/ 1443106 h 1607784"/>
                    <a:gd name="connsiteX414" fmla="*/ 5716083 w 7414874"/>
                    <a:gd name="connsiteY414" fmla="*/ 1443106 h 1607784"/>
                    <a:gd name="connsiteX415" fmla="*/ 5716083 w 7414874"/>
                    <a:gd name="connsiteY415" fmla="*/ 1456106 h 1607784"/>
                    <a:gd name="connsiteX416" fmla="*/ 5794089 w 7414874"/>
                    <a:gd name="connsiteY416" fmla="*/ 1456106 h 1607784"/>
                    <a:gd name="connsiteX417" fmla="*/ 5794089 w 7414874"/>
                    <a:gd name="connsiteY417" fmla="*/ 1421437 h 1607784"/>
                    <a:gd name="connsiteX418" fmla="*/ 5837426 w 7414874"/>
                    <a:gd name="connsiteY418" fmla="*/ 1421437 h 1607784"/>
                    <a:gd name="connsiteX419" fmla="*/ 5837426 w 7414874"/>
                    <a:gd name="connsiteY419" fmla="*/ 1456106 h 1607784"/>
                    <a:gd name="connsiteX420" fmla="*/ 5902430 w 7414874"/>
                    <a:gd name="connsiteY420" fmla="*/ 1456106 h 1607784"/>
                    <a:gd name="connsiteX421" fmla="*/ 5928432 w 7414874"/>
                    <a:gd name="connsiteY421" fmla="*/ 1456106 h 1607784"/>
                    <a:gd name="connsiteX422" fmla="*/ 5928432 w 7414874"/>
                    <a:gd name="connsiteY422" fmla="*/ 1473441 h 1607784"/>
                    <a:gd name="connsiteX423" fmla="*/ 5945767 w 7414874"/>
                    <a:gd name="connsiteY423" fmla="*/ 1473441 h 1607784"/>
                    <a:gd name="connsiteX424" fmla="*/ 5950101 w 7414874"/>
                    <a:gd name="connsiteY424" fmla="*/ 1477775 h 1607784"/>
                    <a:gd name="connsiteX425" fmla="*/ 6019439 w 7414874"/>
                    <a:gd name="connsiteY425" fmla="*/ 1477775 h 1607784"/>
                    <a:gd name="connsiteX426" fmla="*/ 6019439 w 7414874"/>
                    <a:gd name="connsiteY426" fmla="*/ 1456106 h 1607784"/>
                    <a:gd name="connsiteX427" fmla="*/ 6058442 w 7414874"/>
                    <a:gd name="connsiteY427" fmla="*/ 1456106 h 1607784"/>
                    <a:gd name="connsiteX428" fmla="*/ 6058442 w 7414874"/>
                    <a:gd name="connsiteY428" fmla="*/ 1499443 h 1607784"/>
                    <a:gd name="connsiteX429" fmla="*/ 6110446 w 7414874"/>
                    <a:gd name="connsiteY429" fmla="*/ 1499443 h 1607784"/>
                    <a:gd name="connsiteX430" fmla="*/ 6110446 w 7414874"/>
                    <a:gd name="connsiteY430" fmla="*/ 1508110 h 1607784"/>
                    <a:gd name="connsiteX431" fmla="*/ 6188451 w 7414874"/>
                    <a:gd name="connsiteY431" fmla="*/ 1508110 h 1607784"/>
                    <a:gd name="connsiteX432" fmla="*/ 6188451 w 7414874"/>
                    <a:gd name="connsiteY432" fmla="*/ 1464774 h 1607784"/>
                    <a:gd name="connsiteX433" fmla="*/ 6227454 w 7414874"/>
                    <a:gd name="connsiteY433" fmla="*/ 1464774 h 1607784"/>
                    <a:gd name="connsiteX434" fmla="*/ 6227454 w 7414874"/>
                    <a:gd name="connsiteY434" fmla="*/ 1516778 h 1607784"/>
                    <a:gd name="connsiteX435" fmla="*/ 6353130 w 7414874"/>
                    <a:gd name="connsiteY435" fmla="*/ 1516778 h 1607784"/>
                    <a:gd name="connsiteX436" fmla="*/ 6353130 w 7414874"/>
                    <a:gd name="connsiteY436" fmla="*/ 1477775 h 1607784"/>
                    <a:gd name="connsiteX437" fmla="*/ 6409467 w 7414874"/>
                    <a:gd name="connsiteY437" fmla="*/ 1477775 h 1607784"/>
                    <a:gd name="connsiteX438" fmla="*/ 6409467 w 7414874"/>
                    <a:gd name="connsiteY438" fmla="*/ 1529778 h 1607784"/>
                    <a:gd name="connsiteX439" fmla="*/ 6457138 w 7414874"/>
                    <a:gd name="connsiteY439" fmla="*/ 1529778 h 1607784"/>
                    <a:gd name="connsiteX440" fmla="*/ 6457138 w 7414874"/>
                    <a:gd name="connsiteY440" fmla="*/ 1482108 h 1607784"/>
                    <a:gd name="connsiteX441" fmla="*/ 6487473 w 7414874"/>
                    <a:gd name="connsiteY441" fmla="*/ 1482108 h 1607784"/>
                    <a:gd name="connsiteX442" fmla="*/ 6487473 w 7414874"/>
                    <a:gd name="connsiteY442" fmla="*/ 1529778 h 1607784"/>
                    <a:gd name="connsiteX443" fmla="*/ 6561145 w 7414874"/>
                    <a:gd name="connsiteY443" fmla="*/ 1529778 h 1607784"/>
                    <a:gd name="connsiteX444" fmla="*/ 6565479 w 7414874"/>
                    <a:gd name="connsiteY444" fmla="*/ 1534112 h 1607784"/>
                    <a:gd name="connsiteX445" fmla="*/ 6669486 w 7414874"/>
                    <a:gd name="connsiteY445" fmla="*/ 1534112 h 1607784"/>
                    <a:gd name="connsiteX446" fmla="*/ 6669486 w 7414874"/>
                    <a:gd name="connsiteY446" fmla="*/ 1499443 h 1607784"/>
                    <a:gd name="connsiteX447" fmla="*/ 6738825 w 7414874"/>
                    <a:gd name="connsiteY447" fmla="*/ 1499443 h 1607784"/>
                    <a:gd name="connsiteX448" fmla="*/ 6738825 w 7414874"/>
                    <a:gd name="connsiteY448" fmla="*/ 1542779 h 1607784"/>
                    <a:gd name="connsiteX449" fmla="*/ 6795162 w 7414874"/>
                    <a:gd name="connsiteY449" fmla="*/ 1542779 h 1607784"/>
                    <a:gd name="connsiteX450" fmla="*/ 6795162 w 7414874"/>
                    <a:gd name="connsiteY450" fmla="*/ 1499443 h 1607784"/>
                    <a:gd name="connsiteX451" fmla="*/ 6829831 w 7414874"/>
                    <a:gd name="connsiteY451" fmla="*/ 1499443 h 1607784"/>
                    <a:gd name="connsiteX452" fmla="*/ 6829831 w 7414874"/>
                    <a:gd name="connsiteY452" fmla="*/ 1529778 h 1607784"/>
                    <a:gd name="connsiteX453" fmla="*/ 6847166 w 7414874"/>
                    <a:gd name="connsiteY453" fmla="*/ 1529778 h 1607784"/>
                    <a:gd name="connsiteX454" fmla="*/ 6847166 w 7414874"/>
                    <a:gd name="connsiteY454" fmla="*/ 1555780 h 1607784"/>
                    <a:gd name="connsiteX455" fmla="*/ 7050847 w 7414874"/>
                    <a:gd name="connsiteY455" fmla="*/ 1555780 h 1607784"/>
                    <a:gd name="connsiteX456" fmla="*/ 7063848 w 7414874"/>
                    <a:gd name="connsiteY456" fmla="*/ 1568781 h 1607784"/>
                    <a:gd name="connsiteX457" fmla="*/ 7133187 w 7414874"/>
                    <a:gd name="connsiteY457" fmla="*/ 1568781 h 1607784"/>
                    <a:gd name="connsiteX458" fmla="*/ 7133187 w 7414874"/>
                    <a:gd name="connsiteY458" fmla="*/ 1586116 h 1607784"/>
                    <a:gd name="connsiteX459" fmla="*/ 7284865 w 7414874"/>
                    <a:gd name="connsiteY459" fmla="*/ 1586116 h 1607784"/>
                    <a:gd name="connsiteX460" fmla="*/ 7284865 w 7414874"/>
                    <a:gd name="connsiteY460" fmla="*/ 1607784 h 1607784"/>
                    <a:gd name="connsiteX461" fmla="*/ 7414874 w 7414874"/>
                    <a:gd name="connsiteY461" fmla="*/ 1594783 h 1607784"/>
                    <a:gd name="connsiteX0" fmla="*/ 7414874 w 7414874"/>
                    <a:gd name="connsiteY0" fmla="*/ 1594783 h 1607784"/>
                    <a:gd name="connsiteX1" fmla="*/ 7414874 w 7414874"/>
                    <a:gd name="connsiteY1" fmla="*/ 1508110 h 1607784"/>
                    <a:gd name="connsiteX2" fmla="*/ 7271864 w 7414874"/>
                    <a:gd name="connsiteY2" fmla="*/ 1508110 h 1607784"/>
                    <a:gd name="connsiteX3" fmla="*/ 7258863 w 7414874"/>
                    <a:gd name="connsiteY3" fmla="*/ 1495109 h 1607784"/>
                    <a:gd name="connsiteX4" fmla="*/ 7159189 w 7414874"/>
                    <a:gd name="connsiteY4" fmla="*/ 1495109 h 1607784"/>
                    <a:gd name="connsiteX5" fmla="*/ 7141854 w 7414874"/>
                    <a:gd name="connsiteY5" fmla="*/ 1477774 h 1607784"/>
                    <a:gd name="connsiteX6" fmla="*/ 7037847 w 7414874"/>
                    <a:gd name="connsiteY6" fmla="*/ 1477774 h 1607784"/>
                    <a:gd name="connsiteX7" fmla="*/ 7037847 w 7414874"/>
                    <a:gd name="connsiteY7" fmla="*/ 1451773 h 1607784"/>
                    <a:gd name="connsiteX8" fmla="*/ 6873168 w 7414874"/>
                    <a:gd name="connsiteY8" fmla="*/ 1451773 h 1607784"/>
                    <a:gd name="connsiteX9" fmla="*/ 6868834 w 7414874"/>
                    <a:gd name="connsiteY9" fmla="*/ 1447439 h 1607784"/>
                    <a:gd name="connsiteX10" fmla="*/ 6825498 w 7414874"/>
                    <a:gd name="connsiteY10" fmla="*/ 1447439 h 1607784"/>
                    <a:gd name="connsiteX11" fmla="*/ 6825498 w 7414874"/>
                    <a:gd name="connsiteY11" fmla="*/ 1495109 h 1607784"/>
                    <a:gd name="connsiteX12" fmla="*/ 6786495 w 7414874"/>
                    <a:gd name="connsiteY12" fmla="*/ 1495109 h 1607784"/>
                    <a:gd name="connsiteX13" fmla="*/ 6786495 w 7414874"/>
                    <a:gd name="connsiteY13" fmla="*/ 1443106 h 1607784"/>
                    <a:gd name="connsiteX14" fmla="*/ 6738825 w 7414874"/>
                    <a:gd name="connsiteY14" fmla="*/ 1443106 h 1607784"/>
                    <a:gd name="connsiteX15" fmla="*/ 6738824 w 7414874"/>
                    <a:gd name="connsiteY15" fmla="*/ 1477775 h 1607784"/>
                    <a:gd name="connsiteX16" fmla="*/ 6678154 w 7414874"/>
                    <a:gd name="connsiteY16" fmla="*/ 1477775 h 1607784"/>
                    <a:gd name="connsiteX17" fmla="*/ 6678154 w 7414874"/>
                    <a:gd name="connsiteY17" fmla="*/ 1438772 h 1607784"/>
                    <a:gd name="connsiteX18" fmla="*/ 6561145 w 7414874"/>
                    <a:gd name="connsiteY18" fmla="*/ 1438772 h 1607784"/>
                    <a:gd name="connsiteX19" fmla="*/ 6548144 w 7414874"/>
                    <a:gd name="connsiteY19" fmla="*/ 1425771 h 1607784"/>
                    <a:gd name="connsiteX20" fmla="*/ 6483139 w 7414874"/>
                    <a:gd name="connsiteY20" fmla="*/ 1425771 h 1607784"/>
                    <a:gd name="connsiteX21" fmla="*/ 6483139 w 7414874"/>
                    <a:gd name="connsiteY21" fmla="*/ 1482108 h 1607784"/>
                    <a:gd name="connsiteX22" fmla="*/ 6444137 w 7414874"/>
                    <a:gd name="connsiteY22" fmla="*/ 1482108 h 1607784"/>
                    <a:gd name="connsiteX23" fmla="*/ 6444137 w 7414874"/>
                    <a:gd name="connsiteY23" fmla="*/ 1434438 h 1607784"/>
                    <a:gd name="connsiteX24" fmla="*/ 6405134 w 7414874"/>
                    <a:gd name="connsiteY24" fmla="*/ 1434438 h 1607784"/>
                    <a:gd name="connsiteX25" fmla="*/ 6405134 w 7414874"/>
                    <a:gd name="connsiteY25" fmla="*/ 1477775 h 1607784"/>
                    <a:gd name="connsiteX26" fmla="*/ 6357464 w 7414874"/>
                    <a:gd name="connsiteY26" fmla="*/ 1477775 h 1607784"/>
                    <a:gd name="connsiteX27" fmla="*/ 6357464 w 7414874"/>
                    <a:gd name="connsiteY27" fmla="*/ 1430105 h 1607784"/>
                    <a:gd name="connsiteX28" fmla="*/ 6223120 w 7414874"/>
                    <a:gd name="connsiteY28" fmla="*/ 1430105 h 1607784"/>
                    <a:gd name="connsiteX29" fmla="*/ 6223120 w 7414874"/>
                    <a:gd name="connsiteY29" fmla="*/ 1443106 h 1607784"/>
                    <a:gd name="connsiteX30" fmla="*/ 6192785 w 7414874"/>
                    <a:gd name="connsiteY30" fmla="*/ 1443106 h 1607784"/>
                    <a:gd name="connsiteX31" fmla="*/ 6192785 w 7414874"/>
                    <a:gd name="connsiteY31" fmla="*/ 1412770 h 1607784"/>
                    <a:gd name="connsiteX32" fmla="*/ 6119113 w 7414874"/>
                    <a:gd name="connsiteY32" fmla="*/ 1412770 h 1607784"/>
                    <a:gd name="connsiteX33" fmla="*/ 6119113 w 7414874"/>
                    <a:gd name="connsiteY33" fmla="*/ 1399769 h 1607784"/>
                    <a:gd name="connsiteX34" fmla="*/ 6071443 w 7414874"/>
                    <a:gd name="connsiteY34" fmla="*/ 1399769 h 1607784"/>
                    <a:gd name="connsiteX35" fmla="*/ 6071443 w 7414874"/>
                    <a:gd name="connsiteY35" fmla="*/ 1382434 h 1607784"/>
                    <a:gd name="connsiteX36" fmla="*/ 6049774 w 7414874"/>
                    <a:gd name="connsiteY36" fmla="*/ 1382434 h 1607784"/>
                    <a:gd name="connsiteX37" fmla="*/ 6049774 w 7414874"/>
                    <a:gd name="connsiteY37" fmla="*/ 1421437 h 1607784"/>
                    <a:gd name="connsiteX38" fmla="*/ 6019439 w 7414874"/>
                    <a:gd name="connsiteY38" fmla="*/ 1421437 h 1607784"/>
                    <a:gd name="connsiteX39" fmla="*/ 6019439 w 7414874"/>
                    <a:gd name="connsiteY39" fmla="*/ 1391102 h 1607784"/>
                    <a:gd name="connsiteX40" fmla="*/ 5958768 w 7414874"/>
                    <a:gd name="connsiteY40" fmla="*/ 1391102 h 1607784"/>
                    <a:gd name="connsiteX41" fmla="*/ 5958768 w 7414874"/>
                    <a:gd name="connsiteY41" fmla="*/ 1373767 h 1607784"/>
                    <a:gd name="connsiteX42" fmla="*/ 5919765 w 7414874"/>
                    <a:gd name="connsiteY42" fmla="*/ 1373767 h 1607784"/>
                    <a:gd name="connsiteX43" fmla="*/ 5919765 w 7414874"/>
                    <a:gd name="connsiteY43" fmla="*/ 1352099 h 1607784"/>
                    <a:gd name="connsiteX44" fmla="*/ 5824425 w 7414874"/>
                    <a:gd name="connsiteY44" fmla="*/ 1352099 h 1607784"/>
                    <a:gd name="connsiteX45" fmla="*/ 5824425 w 7414874"/>
                    <a:gd name="connsiteY45" fmla="*/ 1399769 h 1607784"/>
                    <a:gd name="connsiteX46" fmla="*/ 5789756 w 7414874"/>
                    <a:gd name="connsiteY46" fmla="*/ 1399769 h 1607784"/>
                    <a:gd name="connsiteX47" fmla="*/ 5789756 w 7414874"/>
                    <a:gd name="connsiteY47" fmla="*/ 1365100 h 1607784"/>
                    <a:gd name="connsiteX48" fmla="*/ 5698749 w 7414874"/>
                    <a:gd name="connsiteY48" fmla="*/ 1365100 h 1607784"/>
                    <a:gd name="connsiteX49" fmla="*/ 5698749 w 7414874"/>
                    <a:gd name="connsiteY49" fmla="*/ 1326097 h 1607784"/>
                    <a:gd name="connsiteX50" fmla="*/ 5655412 w 7414874"/>
                    <a:gd name="connsiteY50" fmla="*/ 1326097 h 1607784"/>
                    <a:gd name="connsiteX51" fmla="*/ 5655412 w 7414874"/>
                    <a:gd name="connsiteY51" fmla="*/ 1373767 h 1607784"/>
                    <a:gd name="connsiteX52" fmla="*/ 5612076 w 7414874"/>
                    <a:gd name="connsiteY52" fmla="*/ 1373767 h 1607784"/>
                    <a:gd name="connsiteX53" fmla="*/ 5612076 w 7414874"/>
                    <a:gd name="connsiteY53" fmla="*/ 1334764 h 1607784"/>
                    <a:gd name="connsiteX54" fmla="*/ 5512402 w 7414874"/>
                    <a:gd name="connsiteY54" fmla="*/ 1334764 h 1607784"/>
                    <a:gd name="connsiteX55" fmla="*/ 5512402 w 7414874"/>
                    <a:gd name="connsiteY55" fmla="*/ 1360766 h 1607784"/>
                    <a:gd name="connsiteX56" fmla="*/ 5469065 w 7414874"/>
                    <a:gd name="connsiteY56" fmla="*/ 1360766 h 1607784"/>
                    <a:gd name="connsiteX57" fmla="*/ 5469065 w 7414874"/>
                    <a:gd name="connsiteY57" fmla="*/ 1321763 h 1607784"/>
                    <a:gd name="connsiteX58" fmla="*/ 5360724 w 7414874"/>
                    <a:gd name="connsiteY58" fmla="*/ 1321763 h 1607784"/>
                    <a:gd name="connsiteX59" fmla="*/ 5360724 w 7414874"/>
                    <a:gd name="connsiteY59" fmla="*/ 1304429 h 1607784"/>
                    <a:gd name="connsiteX60" fmla="*/ 5300053 w 7414874"/>
                    <a:gd name="connsiteY60" fmla="*/ 1304429 h 1607784"/>
                    <a:gd name="connsiteX61" fmla="*/ 5291386 w 7414874"/>
                    <a:gd name="connsiteY61" fmla="*/ 1295762 h 1607784"/>
                    <a:gd name="connsiteX62" fmla="*/ 5187378 w 7414874"/>
                    <a:gd name="connsiteY62" fmla="*/ 1295762 h 1607784"/>
                    <a:gd name="connsiteX63" fmla="*/ 5187378 w 7414874"/>
                    <a:gd name="connsiteY63" fmla="*/ 1278427 h 1607784"/>
                    <a:gd name="connsiteX64" fmla="*/ 5057369 w 7414874"/>
                    <a:gd name="connsiteY64" fmla="*/ 1278427 h 1607784"/>
                    <a:gd name="connsiteX65" fmla="*/ 5048701 w 7414874"/>
                    <a:gd name="connsiteY65" fmla="*/ 1269759 h 1607784"/>
                    <a:gd name="connsiteX66" fmla="*/ 4923026 w 7414874"/>
                    <a:gd name="connsiteY66" fmla="*/ 1269759 h 1607784"/>
                    <a:gd name="connsiteX67" fmla="*/ 4910025 w 7414874"/>
                    <a:gd name="connsiteY67" fmla="*/ 1256758 h 1607784"/>
                    <a:gd name="connsiteX68" fmla="*/ 4697676 w 7414874"/>
                    <a:gd name="connsiteY68" fmla="*/ 1256758 h 1607784"/>
                    <a:gd name="connsiteX69" fmla="*/ 4684675 w 7414874"/>
                    <a:gd name="connsiteY69" fmla="*/ 1243757 h 1607784"/>
                    <a:gd name="connsiteX70" fmla="*/ 4663007 w 7414874"/>
                    <a:gd name="connsiteY70" fmla="*/ 1243757 h 1607784"/>
                    <a:gd name="connsiteX71" fmla="*/ 4645673 w 7414874"/>
                    <a:gd name="connsiteY71" fmla="*/ 1226423 h 1607784"/>
                    <a:gd name="connsiteX72" fmla="*/ 4632672 w 7414874"/>
                    <a:gd name="connsiteY72" fmla="*/ 1213422 h 1607784"/>
                    <a:gd name="connsiteX73" fmla="*/ 4489661 w 7414874"/>
                    <a:gd name="connsiteY73" fmla="*/ 1213422 h 1607784"/>
                    <a:gd name="connsiteX74" fmla="*/ 4489661 w 7414874"/>
                    <a:gd name="connsiteY74" fmla="*/ 1200421 h 1607784"/>
                    <a:gd name="connsiteX75" fmla="*/ 4446324 w 7414874"/>
                    <a:gd name="connsiteY75" fmla="*/ 1200421 h 1607784"/>
                    <a:gd name="connsiteX76" fmla="*/ 4446324 w 7414874"/>
                    <a:gd name="connsiteY76" fmla="*/ 1183087 h 1607784"/>
                    <a:gd name="connsiteX77" fmla="*/ 4411655 w 7414874"/>
                    <a:gd name="connsiteY77" fmla="*/ 1183087 h 1607784"/>
                    <a:gd name="connsiteX78" fmla="*/ 4398654 w 7414874"/>
                    <a:gd name="connsiteY78" fmla="*/ 1170086 h 1607784"/>
                    <a:gd name="connsiteX79" fmla="*/ 4394321 w 7414874"/>
                    <a:gd name="connsiteY79" fmla="*/ 1174419 h 1607784"/>
                    <a:gd name="connsiteX80" fmla="*/ 4394321 w 7414874"/>
                    <a:gd name="connsiteY80" fmla="*/ 1200421 h 1607784"/>
                    <a:gd name="connsiteX81" fmla="*/ 4359651 w 7414874"/>
                    <a:gd name="connsiteY81" fmla="*/ 1200421 h 1607784"/>
                    <a:gd name="connsiteX82" fmla="*/ 4359651 w 7414874"/>
                    <a:gd name="connsiteY82" fmla="*/ 1157085 h 1607784"/>
                    <a:gd name="connsiteX83" fmla="*/ 4329316 w 7414874"/>
                    <a:gd name="connsiteY83" fmla="*/ 1157085 h 1607784"/>
                    <a:gd name="connsiteX84" fmla="*/ 4320648 w 7414874"/>
                    <a:gd name="connsiteY84" fmla="*/ 1148417 h 1607784"/>
                    <a:gd name="connsiteX85" fmla="*/ 4155970 w 7414874"/>
                    <a:gd name="connsiteY85" fmla="*/ 1148417 h 1607784"/>
                    <a:gd name="connsiteX86" fmla="*/ 4147302 w 7414874"/>
                    <a:gd name="connsiteY86" fmla="*/ 1139749 h 1607784"/>
                    <a:gd name="connsiteX87" fmla="*/ 4064963 w 7414874"/>
                    <a:gd name="connsiteY87" fmla="*/ 1139749 h 1607784"/>
                    <a:gd name="connsiteX88" fmla="*/ 4064963 w 7414874"/>
                    <a:gd name="connsiteY88" fmla="*/ 1122415 h 1607784"/>
                    <a:gd name="connsiteX89" fmla="*/ 4047628 w 7414874"/>
                    <a:gd name="connsiteY89" fmla="*/ 1122415 h 1607784"/>
                    <a:gd name="connsiteX90" fmla="*/ 4047628 w 7414874"/>
                    <a:gd name="connsiteY90" fmla="*/ 1105081 h 1607784"/>
                    <a:gd name="connsiteX91" fmla="*/ 4025960 w 7414874"/>
                    <a:gd name="connsiteY91" fmla="*/ 1105081 h 1607784"/>
                    <a:gd name="connsiteX92" fmla="*/ 4025960 w 7414874"/>
                    <a:gd name="connsiteY92" fmla="*/ 1152751 h 1607784"/>
                    <a:gd name="connsiteX93" fmla="*/ 3991291 w 7414874"/>
                    <a:gd name="connsiteY93" fmla="*/ 1152751 h 1607784"/>
                    <a:gd name="connsiteX94" fmla="*/ 3991291 w 7414874"/>
                    <a:gd name="connsiteY94" fmla="*/ 1109415 h 1607784"/>
                    <a:gd name="connsiteX95" fmla="*/ 3960956 w 7414874"/>
                    <a:gd name="connsiteY95" fmla="*/ 1109415 h 1607784"/>
                    <a:gd name="connsiteX96" fmla="*/ 3952288 w 7414874"/>
                    <a:gd name="connsiteY96" fmla="*/ 1100747 h 1607784"/>
                    <a:gd name="connsiteX97" fmla="*/ 3735606 w 7414874"/>
                    <a:gd name="connsiteY97" fmla="*/ 1100747 h 1607784"/>
                    <a:gd name="connsiteX98" fmla="*/ 3718272 w 7414874"/>
                    <a:gd name="connsiteY98" fmla="*/ 1083413 h 1607784"/>
                    <a:gd name="connsiteX99" fmla="*/ 3592595 w 7414874"/>
                    <a:gd name="connsiteY99" fmla="*/ 1083413 h 1607784"/>
                    <a:gd name="connsiteX100" fmla="*/ 3575261 w 7414874"/>
                    <a:gd name="connsiteY100" fmla="*/ 1066079 h 1607784"/>
                    <a:gd name="connsiteX101" fmla="*/ 3440918 w 7414874"/>
                    <a:gd name="connsiteY101" fmla="*/ 1066079 h 1607784"/>
                    <a:gd name="connsiteX102" fmla="*/ 3440918 w 7414874"/>
                    <a:gd name="connsiteY102" fmla="*/ 1040076 h 1607784"/>
                    <a:gd name="connsiteX103" fmla="*/ 3319575 w 7414874"/>
                    <a:gd name="connsiteY103" fmla="*/ 1040076 h 1607784"/>
                    <a:gd name="connsiteX104" fmla="*/ 3319575 w 7414874"/>
                    <a:gd name="connsiteY104" fmla="*/ 1027075 h 1607784"/>
                    <a:gd name="connsiteX105" fmla="*/ 3180899 w 7414874"/>
                    <a:gd name="connsiteY105" fmla="*/ 1027075 h 1607784"/>
                    <a:gd name="connsiteX106" fmla="*/ 3180899 w 7414874"/>
                    <a:gd name="connsiteY106" fmla="*/ 1020123 h 1607784"/>
                    <a:gd name="connsiteX107" fmla="*/ 3163564 w 7414874"/>
                    <a:gd name="connsiteY107" fmla="*/ 1018408 h 1607784"/>
                    <a:gd name="connsiteX108" fmla="*/ 3150563 w 7414874"/>
                    <a:gd name="connsiteY108" fmla="*/ 1005407 h 1607784"/>
                    <a:gd name="connsiteX109" fmla="*/ 2990218 w 7414874"/>
                    <a:gd name="connsiteY109" fmla="*/ 1005407 h 1607784"/>
                    <a:gd name="connsiteX110" fmla="*/ 2990218 w 7414874"/>
                    <a:gd name="connsiteY110" fmla="*/ 988072 h 1607784"/>
                    <a:gd name="connsiteX111" fmla="*/ 2907879 w 7414874"/>
                    <a:gd name="connsiteY111" fmla="*/ 988072 h 1607784"/>
                    <a:gd name="connsiteX112" fmla="*/ 2899211 w 7414874"/>
                    <a:gd name="connsiteY112" fmla="*/ 979404 h 1607784"/>
                    <a:gd name="connsiteX113" fmla="*/ 2868876 w 7414874"/>
                    <a:gd name="connsiteY113" fmla="*/ 979404 h 1607784"/>
                    <a:gd name="connsiteX114" fmla="*/ 2868876 w 7414874"/>
                    <a:gd name="connsiteY114" fmla="*/ 953403 h 1607784"/>
                    <a:gd name="connsiteX115" fmla="*/ 2842874 w 7414874"/>
                    <a:gd name="connsiteY115" fmla="*/ 953403 h 1607784"/>
                    <a:gd name="connsiteX116" fmla="*/ 2834207 w 7414874"/>
                    <a:gd name="connsiteY116" fmla="*/ 944736 h 1607784"/>
                    <a:gd name="connsiteX117" fmla="*/ 2756201 w 7414874"/>
                    <a:gd name="connsiteY117" fmla="*/ 944736 h 1607784"/>
                    <a:gd name="connsiteX118" fmla="*/ 2747534 w 7414874"/>
                    <a:gd name="connsiteY118" fmla="*/ 936069 h 1607784"/>
                    <a:gd name="connsiteX119" fmla="*/ 2699864 w 7414874"/>
                    <a:gd name="connsiteY119" fmla="*/ 936069 h 1607784"/>
                    <a:gd name="connsiteX120" fmla="*/ 2688815 w 7414874"/>
                    <a:gd name="connsiteY120" fmla="*/ 925019 h 1607784"/>
                    <a:gd name="connsiteX121" fmla="*/ 2643526 w 7414874"/>
                    <a:gd name="connsiteY121" fmla="*/ 927401 h 1607784"/>
                    <a:gd name="connsiteX122" fmla="*/ 2638099 w 7414874"/>
                    <a:gd name="connsiteY122" fmla="*/ 910067 h 1607784"/>
                    <a:gd name="connsiteX123" fmla="*/ 2616001 w 7414874"/>
                    <a:gd name="connsiteY123" fmla="*/ 899876 h 1607784"/>
                    <a:gd name="connsiteX124" fmla="*/ 2591522 w 7414874"/>
                    <a:gd name="connsiteY124" fmla="*/ 875397 h 1607784"/>
                    <a:gd name="connsiteX125" fmla="*/ 2561187 w 7414874"/>
                    <a:gd name="connsiteY125" fmla="*/ 875397 h 1607784"/>
                    <a:gd name="connsiteX126" fmla="*/ 2552519 w 7414874"/>
                    <a:gd name="connsiteY126" fmla="*/ 866729 h 1607784"/>
                    <a:gd name="connsiteX127" fmla="*/ 2500516 w 7414874"/>
                    <a:gd name="connsiteY127" fmla="*/ 866729 h 1607784"/>
                    <a:gd name="connsiteX128" fmla="*/ 2500516 w 7414874"/>
                    <a:gd name="connsiteY128" fmla="*/ 849396 h 1607784"/>
                    <a:gd name="connsiteX129" fmla="*/ 2444178 w 7414874"/>
                    <a:gd name="connsiteY129" fmla="*/ 849396 h 1607784"/>
                    <a:gd name="connsiteX130" fmla="*/ 2435510 w 7414874"/>
                    <a:gd name="connsiteY130" fmla="*/ 840728 h 1607784"/>
                    <a:gd name="connsiteX131" fmla="*/ 2413843 w 7414874"/>
                    <a:gd name="connsiteY131" fmla="*/ 840728 h 1607784"/>
                    <a:gd name="connsiteX132" fmla="*/ 2400842 w 7414874"/>
                    <a:gd name="connsiteY132" fmla="*/ 827727 h 1607784"/>
                    <a:gd name="connsiteX133" fmla="*/ 2348838 w 7414874"/>
                    <a:gd name="connsiteY133" fmla="*/ 827727 h 1607784"/>
                    <a:gd name="connsiteX134" fmla="*/ 2348838 w 7414874"/>
                    <a:gd name="connsiteY134" fmla="*/ 810393 h 1607784"/>
                    <a:gd name="connsiteX135" fmla="*/ 2309835 w 7414874"/>
                    <a:gd name="connsiteY135" fmla="*/ 810393 h 1607784"/>
                    <a:gd name="connsiteX136" fmla="*/ 2296834 w 7414874"/>
                    <a:gd name="connsiteY136" fmla="*/ 823394 h 1607784"/>
                    <a:gd name="connsiteX137" fmla="*/ 2266499 w 7414874"/>
                    <a:gd name="connsiteY137" fmla="*/ 823394 h 1607784"/>
                    <a:gd name="connsiteX138" fmla="*/ 2253498 w 7414874"/>
                    <a:gd name="connsiteY138" fmla="*/ 810393 h 1607784"/>
                    <a:gd name="connsiteX139" fmla="*/ 2244830 w 7414874"/>
                    <a:gd name="connsiteY139" fmla="*/ 801725 h 1607784"/>
                    <a:gd name="connsiteX140" fmla="*/ 2244830 w 7414874"/>
                    <a:gd name="connsiteY140" fmla="*/ 775724 h 1607784"/>
                    <a:gd name="connsiteX141" fmla="*/ 2123488 w 7414874"/>
                    <a:gd name="connsiteY141" fmla="*/ 775724 h 1607784"/>
                    <a:gd name="connsiteX142" fmla="*/ 2123488 w 7414874"/>
                    <a:gd name="connsiteY142" fmla="*/ 745388 h 1607784"/>
                    <a:gd name="connsiteX143" fmla="*/ 2071484 w 7414874"/>
                    <a:gd name="connsiteY143" fmla="*/ 745388 h 1607784"/>
                    <a:gd name="connsiteX144" fmla="*/ 2062817 w 7414874"/>
                    <a:gd name="connsiteY144" fmla="*/ 736721 h 1607784"/>
                    <a:gd name="connsiteX145" fmla="*/ 2006480 w 7414874"/>
                    <a:gd name="connsiteY145" fmla="*/ 736721 h 1607784"/>
                    <a:gd name="connsiteX146" fmla="*/ 2006480 w 7414874"/>
                    <a:gd name="connsiteY146" fmla="*/ 715052 h 1607784"/>
                    <a:gd name="connsiteX147" fmla="*/ 1906806 w 7414874"/>
                    <a:gd name="connsiteY147" fmla="*/ 715052 h 1607784"/>
                    <a:gd name="connsiteX148" fmla="*/ 1902473 w 7414874"/>
                    <a:gd name="connsiteY148" fmla="*/ 710719 h 1607784"/>
                    <a:gd name="connsiteX149" fmla="*/ 1863469 w 7414874"/>
                    <a:gd name="connsiteY149" fmla="*/ 710719 h 1607784"/>
                    <a:gd name="connsiteX150" fmla="*/ 1863469 w 7414874"/>
                    <a:gd name="connsiteY150" fmla="*/ 680383 h 1607784"/>
                    <a:gd name="connsiteX151" fmla="*/ 1807132 w 7414874"/>
                    <a:gd name="connsiteY151" fmla="*/ 680383 h 1607784"/>
                    <a:gd name="connsiteX152" fmla="*/ 1798465 w 7414874"/>
                    <a:gd name="connsiteY152" fmla="*/ 671716 h 1607784"/>
                    <a:gd name="connsiteX153" fmla="*/ 1785464 w 7414874"/>
                    <a:gd name="connsiteY153" fmla="*/ 671716 h 1607784"/>
                    <a:gd name="connsiteX154" fmla="*/ 1785464 w 7414874"/>
                    <a:gd name="connsiteY154" fmla="*/ 658715 h 1607784"/>
                    <a:gd name="connsiteX155" fmla="*/ 1750794 w 7414874"/>
                    <a:gd name="connsiteY155" fmla="*/ 658715 h 1607784"/>
                    <a:gd name="connsiteX156" fmla="*/ 1750794 w 7414874"/>
                    <a:gd name="connsiteY156" fmla="*/ 637047 h 1607784"/>
                    <a:gd name="connsiteX157" fmla="*/ 1698791 w 7414874"/>
                    <a:gd name="connsiteY157" fmla="*/ 637047 h 1607784"/>
                    <a:gd name="connsiteX158" fmla="*/ 1698791 w 7414874"/>
                    <a:gd name="connsiteY158" fmla="*/ 611045 h 1607784"/>
                    <a:gd name="connsiteX159" fmla="*/ 1616451 w 7414874"/>
                    <a:gd name="connsiteY159" fmla="*/ 611045 h 1607784"/>
                    <a:gd name="connsiteX160" fmla="*/ 1603450 w 7414874"/>
                    <a:gd name="connsiteY160" fmla="*/ 598044 h 1607784"/>
                    <a:gd name="connsiteX161" fmla="*/ 1590449 w 7414874"/>
                    <a:gd name="connsiteY161" fmla="*/ 598044 h 1607784"/>
                    <a:gd name="connsiteX162" fmla="*/ 1577448 w 7414874"/>
                    <a:gd name="connsiteY162" fmla="*/ 585043 h 1607784"/>
                    <a:gd name="connsiteX163" fmla="*/ 1529778 w 7414874"/>
                    <a:gd name="connsiteY163" fmla="*/ 585043 h 1607784"/>
                    <a:gd name="connsiteX164" fmla="*/ 1529778 w 7414874"/>
                    <a:gd name="connsiteY164" fmla="*/ 576376 h 1607784"/>
                    <a:gd name="connsiteX165" fmla="*/ 1477774 w 7414874"/>
                    <a:gd name="connsiteY165" fmla="*/ 576376 h 1607784"/>
                    <a:gd name="connsiteX166" fmla="*/ 1477774 w 7414874"/>
                    <a:gd name="connsiteY166" fmla="*/ 559041 h 1607784"/>
                    <a:gd name="connsiteX167" fmla="*/ 1408436 w 7414874"/>
                    <a:gd name="connsiteY167" fmla="*/ 559041 h 1607784"/>
                    <a:gd name="connsiteX168" fmla="*/ 1395435 w 7414874"/>
                    <a:gd name="connsiteY168" fmla="*/ 546040 h 1607784"/>
                    <a:gd name="connsiteX169" fmla="*/ 1330430 w 7414874"/>
                    <a:gd name="connsiteY169" fmla="*/ 546040 h 1607784"/>
                    <a:gd name="connsiteX170" fmla="*/ 1330430 w 7414874"/>
                    <a:gd name="connsiteY170" fmla="*/ 528706 h 1607784"/>
                    <a:gd name="connsiteX171" fmla="*/ 1274093 w 7414874"/>
                    <a:gd name="connsiteY171" fmla="*/ 528706 h 1607784"/>
                    <a:gd name="connsiteX172" fmla="*/ 1274093 w 7414874"/>
                    <a:gd name="connsiteY172" fmla="*/ 507037 h 1607784"/>
                    <a:gd name="connsiteX173" fmla="*/ 1191754 w 7414874"/>
                    <a:gd name="connsiteY173" fmla="*/ 507037 h 1607784"/>
                    <a:gd name="connsiteX174" fmla="*/ 1174419 w 7414874"/>
                    <a:gd name="connsiteY174" fmla="*/ 507037 h 1607784"/>
                    <a:gd name="connsiteX175" fmla="*/ 1148417 w 7414874"/>
                    <a:gd name="connsiteY175" fmla="*/ 507037 h 1607784"/>
                    <a:gd name="connsiteX176" fmla="*/ 1148417 w 7414874"/>
                    <a:gd name="connsiteY176" fmla="*/ 481035 h 1607784"/>
                    <a:gd name="connsiteX177" fmla="*/ 1092080 w 7414874"/>
                    <a:gd name="connsiteY177" fmla="*/ 481035 h 1607784"/>
                    <a:gd name="connsiteX178" fmla="*/ 1092080 w 7414874"/>
                    <a:gd name="connsiteY178" fmla="*/ 468034 h 1607784"/>
                    <a:gd name="connsiteX179" fmla="*/ 1044410 w 7414874"/>
                    <a:gd name="connsiteY179" fmla="*/ 468034 h 1607784"/>
                    <a:gd name="connsiteX180" fmla="*/ 1044410 w 7414874"/>
                    <a:gd name="connsiteY180" fmla="*/ 437699 h 1607784"/>
                    <a:gd name="connsiteX181" fmla="*/ 988072 w 7414874"/>
                    <a:gd name="connsiteY181" fmla="*/ 437699 h 1607784"/>
                    <a:gd name="connsiteX182" fmla="*/ 975071 w 7414874"/>
                    <a:gd name="connsiteY182" fmla="*/ 424698 h 1607784"/>
                    <a:gd name="connsiteX183" fmla="*/ 953403 w 7414874"/>
                    <a:gd name="connsiteY183" fmla="*/ 424698 h 1607784"/>
                    <a:gd name="connsiteX184" fmla="*/ 944736 w 7414874"/>
                    <a:gd name="connsiteY184" fmla="*/ 416031 h 1607784"/>
                    <a:gd name="connsiteX185" fmla="*/ 892732 w 7414874"/>
                    <a:gd name="connsiteY185" fmla="*/ 416031 h 1607784"/>
                    <a:gd name="connsiteX186" fmla="*/ 892732 w 7414874"/>
                    <a:gd name="connsiteY186" fmla="*/ 394362 h 1607784"/>
                    <a:gd name="connsiteX187" fmla="*/ 866730 w 7414874"/>
                    <a:gd name="connsiteY187" fmla="*/ 394362 h 1607784"/>
                    <a:gd name="connsiteX188" fmla="*/ 858063 w 7414874"/>
                    <a:gd name="connsiteY188" fmla="*/ 385695 h 1607784"/>
                    <a:gd name="connsiteX189" fmla="*/ 754055 w 7414874"/>
                    <a:gd name="connsiteY189" fmla="*/ 385695 h 1607784"/>
                    <a:gd name="connsiteX190" fmla="*/ 754055 w 7414874"/>
                    <a:gd name="connsiteY190" fmla="*/ 359693 h 1607784"/>
                    <a:gd name="connsiteX191" fmla="*/ 723719 w 7414874"/>
                    <a:gd name="connsiteY191" fmla="*/ 359693 h 1607784"/>
                    <a:gd name="connsiteX192" fmla="*/ 723719 w 7414874"/>
                    <a:gd name="connsiteY192" fmla="*/ 342359 h 1607784"/>
                    <a:gd name="connsiteX193" fmla="*/ 658715 w 7414874"/>
                    <a:gd name="connsiteY193" fmla="*/ 342359 h 1607784"/>
                    <a:gd name="connsiteX194" fmla="*/ 650047 w 7414874"/>
                    <a:gd name="connsiteY194" fmla="*/ 333691 h 1607784"/>
                    <a:gd name="connsiteX195" fmla="*/ 628379 w 7414874"/>
                    <a:gd name="connsiteY195" fmla="*/ 333691 h 1607784"/>
                    <a:gd name="connsiteX196" fmla="*/ 628379 w 7414874"/>
                    <a:gd name="connsiteY196" fmla="*/ 316357 h 1607784"/>
                    <a:gd name="connsiteX197" fmla="*/ 598044 w 7414874"/>
                    <a:gd name="connsiteY197" fmla="*/ 316357 h 1607784"/>
                    <a:gd name="connsiteX198" fmla="*/ 598044 w 7414874"/>
                    <a:gd name="connsiteY198" fmla="*/ 294688 h 1607784"/>
                    <a:gd name="connsiteX199" fmla="*/ 576375 w 7414874"/>
                    <a:gd name="connsiteY199" fmla="*/ 294688 h 1607784"/>
                    <a:gd name="connsiteX200" fmla="*/ 576375 w 7414874"/>
                    <a:gd name="connsiteY200" fmla="*/ 281687 h 1607784"/>
                    <a:gd name="connsiteX201" fmla="*/ 554707 w 7414874"/>
                    <a:gd name="connsiteY201" fmla="*/ 281687 h 1607784"/>
                    <a:gd name="connsiteX202" fmla="*/ 554707 w 7414874"/>
                    <a:gd name="connsiteY202" fmla="*/ 268687 h 1607784"/>
                    <a:gd name="connsiteX203" fmla="*/ 489702 w 7414874"/>
                    <a:gd name="connsiteY203" fmla="*/ 268687 h 1607784"/>
                    <a:gd name="connsiteX204" fmla="*/ 489702 w 7414874"/>
                    <a:gd name="connsiteY204" fmla="*/ 242685 h 1607784"/>
                    <a:gd name="connsiteX205" fmla="*/ 455033 w 7414874"/>
                    <a:gd name="connsiteY205" fmla="*/ 242685 h 1607784"/>
                    <a:gd name="connsiteX206" fmla="*/ 455033 w 7414874"/>
                    <a:gd name="connsiteY206" fmla="*/ 216683 h 1607784"/>
                    <a:gd name="connsiteX207" fmla="*/ 437699 w 7414874"/>
                    <a:gd name="connsiteY207" fmla="*/ 216683 h 1607784"/>
                    <a:gd name="connsiteX208" fmla="*/ 437699 w 7414874"/>
                    <a:gd name="connsiteY208" fmla="*/ 186347 h 1607784"/>
                    <a:gd name="connsiteX209" fmla="*/ 407363 w 7414874"/>
                    <a:gd name="connsiteY209" fmla="*/ 186347 h 1607784"/>
                    <a:gd name="connsiteX210" fmla="*/ 407363 w 7414874"/>
                    <a:gd name="connsiteY210" fmla="*/ 173346 h 1607784"/>
                    <a:gd name="connsiteX211" fmla="*/ 372694 w 7414874"/>
                    <a:gd name="connsiteY211" fmla="*/ 173346 h 1607784"/>
                    <a:gd name="connsiteX212" fmla="*/ 372694 w 7414874"/>
                    <a:gd name="connsiteY212" fmla="*/ 151678 h 1607784"/>
                    <a:gd name="connsiteX213" fmla="*/ 355359 w 7414874"/>
                    <a:gd name="connsiteY213" fmla="*/ 151678 h 1607784"/>
                    <a:gd name="connsiteX214" fmla="*/ 355359 w 7414874"/>
                    <a:gd name="connsiteY214" fmla="*/ 138677 h 1607784"/>
                    <a:gd name="connsiteX215" fmla="*/ 303356 w 7414874"/>
                    <a:gd name="connsiteY215" fmla="*/ 138677 h 1607784"/>
                    <a:gd name="connsiteX216" fmla="*/ 303356 w 7414874"/>
                    <a:gd name="connsiteY216" fmla="*/ 95341 h 1607784"/>
                    <a:gd name="connsiteX217" fmla="*/ 268686 w 7414874"/>
                    <a:gd name="connsiteY217" fmla="*/ 95341 h 1607784"/>
                    <a:gd name="connsiteX218" fmla="*/ 268686 w 7414874"/>
                    <a:gd name="connsiteY218" fmla="*/ 82340 h 1607784"/>
                    <a:gd name="connsiteX219" fmla="*/ 234017 w 7414874"/>
                    <a:gd name="connsiteY219" fmla="*/ 82340 h 1607784"/>
                    <a:gd name="connsiteX220" fmla="*/ 234017 w 7414874"/>
                    <a:gd name="connsiteY220" fmla="*/ 47670 h 1607784"/>
                    <a:gd name="connsiteX221" fmla="*/ 208015 w 7414874"/>
                    <a:gd name="connsiteY221" fmla="*/ 47670 h 1607784"/>
                    <a:gd name="connsiteX222" fmla="*/ 208015 w 7414874"/>
                    <a:gd name="connsiteY222" fmla="*/ 39003 h 1607784"/>
                    <a:gd name="connsiteX223" fmla="*/ 156011 w 7414874"/>
                    <a:gd name="connsiteY223" fmla="*/ 39003 h 1607784"/>
                    <a:gd name="connsiteX224" fmla="*/ 156011 w 7414874"/>
                    <a:gd name="connsiteY224" fmla="*/ 26002 h 1607784"/>
                    <a:gd name="connsiteX225" fmla="*/ 121342 w 7414874"/>
                    <a:gd name="connsiteY225" fmla="*/ 26002 h 1607784"/>
                    <a:gd name="connsiteX226" fmla="*/ 121342 w 7414874"/>
                    <a:gd name="connsiteY226" fmla="*/ 0 h 1607784"/>
                    <a:gd name="connsiteX227" fmla="*/ 82339 w 7414874"/>
                    <a:gd name="connsiteY227" fmla="*/ 0 h 1607784"/>
                    <a:gd name="connsiteX228" fmla="*/ 82339 w 7414874"/>
                    <a:gd name="connsiteY228" fmla="*/ 43337 h 1607784"/>
                    <a:gd name="connsiteX229" fmla="*/ 0 w 7414874"/>
                    <a:gd name="connsiteY229" fmla="*/ 43337 h 1607784"/>
                    <a:gd name="connsiteX230" fmla="*/ 8667 w 7414874"/>
                    <a:gd name="connsiteY230" fmla="*/ 34670 h 1607784"/>
                    <a:gd name="connsiteX231" fmla="*/ 8667 w 7414874"/>
                    <a:gd name="connsiteY231" fmla="*/ 52004 h 1607784"/>
                    <a:gd name="connsiteX232" fmla="*/ 21668 w 7414874"/>
                    <a:gd name="connsiteY232" fmla="*/ 52004 h 1607784"/>
                    <a:gd name="connsiteX233" fmla="*/ 21668 w 7414874"/>
                    <a:gd name="connsiteY233" fmla="*/ 65005 h 1607784"/>
                    <a:gd name="connsiteX234" fmla="*/ 52004 w 7414874"/>
                    <a:gd name="connsiteY234" fmla="*/ 65005 h 1607784"/>
                    <a:gd name="connsiteX235" fmla="*/ 52004 w 7414874"/>
                    <a:gd name="connsiteY235" fmla="*/ 86673 h 1607784"/>
                    <a:gd name="connsiteX236" fmla="*/ 78006 w 7414874"/>
                    <a:gd name="connsiteY236" fmla="*/ 86673 h 1607784"/>
                    <a:gd name="connsiteX237" fmla="*/ 78006 w 7414874"/>
                    <a:gd name="connsiteY237" fmla="*/ 125676 h 1607784"/>
                    <a:gd name="connsiteX238" fmla="*/ 138677 w 7414874"/>
                    <a:gd name="connsiteY238" fmla="*/ 125676 h 1607784"/>
                    <a:gd name="connsiteX239" fmla="*/ 147344 w 7414874"/>
                    <a:gd name="connsiteY239" fmla="*/ 134343 h 1607784"/>
                    <a:gd name="connsiteX240" fmla="*/ 164679 w 7414874"/>
                    <a:gd name="connsiteY240" fmla="*/ 134343 h 1607784"/>
                    <a:gd name="connsiteX241" fmla="*/ 164679 w 7414874"/>
                    <a:gd name="connsiteY241" fmla="*/ 156012 h 1607784"/>
                    <a:gd name="connsiteX242" fmla="*/ 182013 w 7414874"/>
                    <a:gd name="connsiteY242" fmla="*/ 156012 h 1607784"/>
                    <a:gd name="connsiteX243" fmla="*/ 195014 w 7414874"/>
                    <a:gd name="connsiteY243" fmla="*/ 169013 h 1607784"/>
                    <a:gd name="connsiteX244" fmla="*/ 225350 w 7414874"/>
                    <a:gd name="connsiteY244" fmla="*/ 169013 h 1607784"/>
                    <a:gd name="connsiteX245" fmla="*/ 225350 w 7414874"/>
                    <a:gd name="connsiteY245" fmla="*/ 208015 h 1607784"/>
                    <a:gd name="connsiteX246" fmla="*/ 251352 w 7414874"/>
                    <a:gd name="connsiteY246" fmla="*/ 208015 h 1607784"/>
                    <a:gd name="connsiteX247" fmla="*/ 260019 w 7414874"/>
                    <a:gd name="connsiteY247" fmla="*/ 216682 h 1607784"/>
                    <a:gd name="connsiteX248" fmla="*/ 273021 w 7414874"/>
                    <a:gd name="connsiteY248" fmla="*/ 229684 h 1607784"/>
                    <a:gd name="connsiteX249" fmla="*/ 273021 w 7414874"/>
                    <a:gd name="connsiteY249" fmla="*/ 251352 h 1607784"/>
                    <a:gd name="connsiteX250" fmla="*/ 303356 w 7414874"/>
                    <a:gd name="connsiteY250" fmla="*/ 251352 h 1607784"/>
                    <a:gd name="connsiteX251" fmla="*/ 303356 w 7414874"/>
                    <a:gd name="connsiteY251" fmla="*/ 268687 h 1607784"/>
                    <a:gd name="connsiteX252" fmla="*/ 342358 w 7414874"/>
                    <a:gd name="connsiteY252" fmla="*/ 268687 h 1607784"/>
                    <a:gd name="connsiteX253" fmla="*/ 342358 w 7414874"/>
                    <a:gd name="connsiteY253" fmla="*/ 286021 h 1607784"/>
                    <a:gd name="connsiteX254" fmla="*/ 385695 w 7414874"/>
                    <a:gd name="connsiteY254" fmla="*/ 286021 h 1607784"/>
                    <a:gd name="connsiteX255" fmla="*/ 385695 w 7414874"/>
                    <a:gd name="connsiteY255" fmla="*/ 286021 h 1607784"/>
                    <a:gd name="connsiteX256" fmla="*/ 407363 w 7414874"/>
                    <a:gd name="connsiteY256" fmla="*/ 307689 h 1607784"/>
                    <a:gd name="connsiteX257" fmla="*/ 424698 w 7414874"/>
                    <a:gd name="connsiteY257" fmla="*/ 325024 h 1607784"/>
                    <a:gd name="connsiteX258" fmla="*/ 472368 w 7414874"/>
                    <a:gd name="connsiteY258" fmla="*/ 325024 h 1607784"/>
                    <a:gd name="connsiteX259" fmla="*/ 472368 w 7414874"/>
                    <a:gd name="connsiteY259" fmla="*/ 355360 h 1607784"/>
                    <a:gd name="connsiteX260" fmla="*/ 511371 w 7414874"/>
                    <a:gd name="connsiteY260" fmla="*/ 355360 h 1607784"/>
                    <a:gd name="connsiteX261" fmla="*/ 511371 w 7414874"/>
                    <a:gd name="connsiteY261" fmla="*/ 377028 h 1607784"/>
                    <a:gd name="connsiteX262" fmla="*/ 559041 w 7414874"/>
                    <a:gd name="connsiteY262" fmla="*/ 377028 h 1607784"/>
                    <a:gd name="connsiteX263" fmla="*/ 559041 w 7414874"/>
                    <a:gd name="connsiteY263" fmla="*/ 398696 h 1607784"/>
                    <a:gd name="connsiteX264" fmla="*/ 589376 w 7414874"/>
                    <a:gd name="connsiteY264" fmla="*/ 398696 h 1607784"/>
                    <a:gd name="connsiteX265" fmla="*/ 602377 w 7414874"/>
                    <a:gd name="connsiteY265" fmla="*/ 411697 h 1607784"/>
                    <a:gd name="connsiteX266" fmla="*/ 650047 w 7414874"/>
                    <a:gd name="connsiteY266" fmla="*/ 411697 h 1607784"/>
                    <a:gd name="connsiteX267" fmla="*/ 650047 w 7414874"/>
                    <a:gd name="connsiteY267" fmla="*/ 450700 h 1607784"/>
                    <a:gd name="connsiteX268" fmla="*/ 758389 w 7414874"/>
                    <a:gd name="connsiteY268" fmla="*/ 450700 h 1607784"/>
                    <a:gd name="connsiteX269" fmla="*/ 758389 w 7414874"/>
                    <a:gd name="connsiteY269" fmla="*/ 481035 h 1607784"/>
                    <a:gd name="connsiteX270" fmla="*/ 875397 w 7414874"/>
                    <a:gd name="connsiteY270" fmla="*/ 481035 h 1607784"/>
                    <a:gd name="connsiteX271" fmla="*/ 875397 w 7414874"/>
                    <a:gd name="connsiteY271" fmla="*/ 507037 h 1607784"/>
                    <a:gd name="connsiteX272" fmla="*/ 927401 w 7414874"/>
                    <a:gd name="connsiteY272" fmla="*/ 507037 h 1607784"/>
                    <a:gd name="connsiteX273" fmla="*/ 927401 w 7414874"/>
                    <a:gd name="connsiteY273" fmla="*/ 524372 h 1607784"/>
                    <a:gd name="connsiteX274" fmla="*/ 979405 w 7414874"/>
                    <a:gd name="connsiteY274" fmla="*/ 524372 h 1607784"/>
                    <a:gd name="connsiteX275" fmla="*/ 992406 w 7414874"/>
                    <a:gd name="connsiteY275" fmla="*/ 524372 h 1607784"/>
                    <a:gd name="connsiteX276" fmla="*/ 1005407 w 7414874"/>
                    <a:gd name="connsiteY276" fmla="*/ 537373 h 1607784"/>
                    <a:gd name="connsiteX277" fmla="*/ 1027075 w 7414874"/>
                    <a:gd name="connsiteY277" fmla="*/ 537373 h 1607784"/>
                    <a:gd name="connsiteX278" fmla="*/ 1057410 w 7414874"/>
                    <a:gd name="connsiteY278" fmla="*/ 537373 h 1607784"/>
                    <a:gd name="connsiteX279" fmla="*/ 1057410 w 7414874"/>
                    <a:gd name="connsiteY279" fmla="*/ 563375 h 1607784"/>
                    <a:gd name="connsiteX280" fmla="*/ 1079079 w 7414874"/>
                    <a:gd name="connsiteY280" fmla="*/ 563375 h 1607784"/>
                    <a:gd name="connsiteX281" fmla="*/ 1079079 w 7414874"/>
                    <a:gd name="connsiteY281" fmla="*/ 576376 h 1607784"/>
                    <a:gd name="connsiteX282" fmla="*/ 1157084 w 7414874"/>
                    <a:gd name="connsiteY282" fmla="*/ 576376 h 1607784"/>
                    <a:gd name="connsiteX283" fmla="*/ 1157084 w 7414874"/>
                    <a:gd name="connsiteY283" fmla="*/ 589377 h 1607784"/>
                    <a:gd name="connsiteX284" fmla="*/ 1196087 w 7414874"/>
                    <a:gd name="connsiteY284" fmla="*/ 589377 h 1607784"/>
                    <a:gd name="connsiteX285" fmla="*/ 1196087 w 7414874"/>
                    <a:gd name="connsiteY285" fmla="*/ 598044 h 1607784"/>
                    <a:gd name="connsiteX286" fmla="*/ 1243757 w 7414874"/>
                    <a:gd name="connsiteY286" fmla="*/ 598044 h 1607784"/>
                    <a:gd name="connsiteX287" fmla="*/ 1256758 w 7414874"/>
                    <a:gd name="connsiteY287" fmla="*/ 611045 h 1607784"/>
                    <a:gd name="connsiteX288" fmla="*/ 1269759 w 7414874"/>
                    <a:gd name="connsiteY288" fmla="*/ 624046 h 1607784"/>
                    <a:gd name="connsiteX289" fmla="*/ 1334764 w 7414874"/>
                    <a:gd name="connsiteY289" fmla="*/ 624046 h 1607784"/>
                    <a:gd name="connsiteX290" fmla="*/ 1334764 w 7414874"/>
                    <a:gd name="connsiteY290" fmla="*/ 645714 h 1607784"/>
                    <a:gd name="connsiteX291" fmla="*/ 1425771 w 7414874"/>
                    <a:gd name="connsiteY291" fmla="*/ 645714 h 1607784"/>
                    <a:gd name="connsiteX292" fmla="*/ 1434438 w 7414874"/>
                    <a:gd name="connsiteY292" fmla="*/ 654381 h 1607784"/>
                    <a:gd name="connsiteX293" fmla="*/ 1456106 w 7414874"/>
                    <a:gd name="connsiteY293" fmla="*/ 654381 h 1607784"/>
                    <a:gd name="connsiteX294" fmla="*/ 1456106 w 7414874"/>
                    <a:gd name="connsiteY294" fmla="*/ 667382 h 1607784"/>
                    <a:gd name="connsiteX295" fmla="*/ 1508110 w 7414874"/>
                    <a:gd name="connsiteY295" fmla="*/ 667382 h 1607784"/>
                    <a:gd name="connsiteX296" fmla="*/ 1508110 w 7414874"/>
                    <a:gd name="connsiteY296" fmla="*/ 684717 h 1607784"/>
                    <a:gd name="connsiteX297" fmla="*/ 1564447 w 7414874"/>
                    <a:gd name="connsiteY297" fmla="*/ 684717 h 1607784"/>
                    <a:gd name="connsiteX298" fmla="*/ 1568781 w 7414874"/>
                    <a:gd name="connsiteY298" fmla="*/ 689051 h 1607784"/>
                    <a:gd name="connsiteX299" fmla="*/ 1612118 w 7414874"/>
                    <a:gd name="connsiteY299" fmla="*/ 689051 h 1607784"/>
                    <a:gd name="connsiteX300" fmla="*/ 1625119 w 7414874"/>
                    <a:gd name="connsiteY300" fmla="*/ 702052 h 1607784"/>
                    <a:gd name="connsiteX301" fmla="*/ 1677122 w 7414874"/>
                    <a:gd name="connsiteY301" fmla="*/ 702052 h 1607784"/>
                    <a:gd name="connsiteX302" fmla="*/ 1685790 w 7414874"/>
                    <a:gd name="connsiteY302" fmla="*/ 710720 h 1607784"/>
                    <a:gd name="connsiteX303" fmla="*/ 1703123 w 7414874"/>
                    <a:gd name="connsiteY303" fmla="*/ 728053 h 1607784"/>
                    <a:gd name="connsiteX304" fmla="*/ 1716124 w 7414874"/>
                    <a:gd name="connsiteY304" fmla="*/ 741054 h 1607784"/>
                    <a:gd name="connsiteX305" fmla="*/ 1750794 w 7414874"/>
                    <a:gd name="connsiteY305" fmla="*/ 741054 h 1607784"/>
                    <a:gd name="connsiteX306" fmla="*/ 1750794 w 7414874"/>
                    <a:gd name="connsiteY306" fmla="*/ 767056 h 1607784"/>
                    <a:gd name="connsiteX307" fmla="*/ 1798465 w 7414874"/>
                    <a:gd name="connsiteY307" fmla="*/ 767056 h 1607784"/>
                    <a:gd name="connsiteX308" fmla="*/ 1798465 w 7414874"/>
                    <a:gd name="connsiteY308" fmla="*/ 780057 h 1607784"/>
                    <a:gd name="connsiteX309" fmla="*/ 1841801 w 7414874"/>
                    <a:gd name="connsiteY309" fmla="*/ 780057 h 1607784"/>
                    <a:gd name="connsiteX310" fmla="*/ 1841801 w 7414874"/>
                    <a:gd name="connsiteY310" fmla="*/ 797392 h 1607784"/>
                    <a:gd name="connsiteX311" fmla="*/ 1876470 w 7414874"/>
                    <a:gd name="connsiteY311" fmla="*/ 797392 h 1607784"/>
                    <a:gd name="connsiteX312" fmla="*/ 1885138 w 7414874"/>
                    <a:gd name="connsiteY312" fmla="*/ 806060 h 1607784"/>
                    <a:gd name="connsiteX313" fmla="*/ 1963143 w 7414874"/>
                    <a:gd name="connsiteY313" fmla="*/ 806060 h 1607784"/>
                    <a:gd name="connsiteX314" fmla="*/ 2006480 w 7414874"/>
                    <a:gd name="connsiteY314" fmla="*/ 806060 h 1607784"/>
                    <a:gd name="connsiteX315" fmla="*/ 2036815 w 7414874"/>
                    <a:gd name="connsiteY315" fmla="*/ 836395 h 1607784"/>
                    <a:gd name="connsiteX316" fmla="*/ 2049816 w 7414874"/>
                    <a:gd name="connsiteY316" fmla="*/ 836395 h 1607784"/>
                    <a:gd name="connsiteX317" fmla="*/ 2106154 w 7414874"/>
                    <a:gd name="connsiteY317" fmla="*/ 836395 h 1607784"/>
                    <a:gd name="connsiteX318" fmla="*/ 2106154 w 7414874"/>
                    <a:gd name="connsiteY318" fmla="*/ 862396 h 1607784"/>
                    <a:gd name="connsiteX319" fmla="*/ 2119155 w 7414874"/>
                    <a:gd name="connsiteY319" fmla="*/ 862396 h 1607784"/>
                    <a:gd name="connsiteX320" fmla="*/ 2136489 w 7414874"/>
                    <a:gd name="connsiteY320" fmla="*/ 862396 h 1607784"/>
                    <a:gd name="connsiteX321" fmla="*/ 2184159 w 7414874"/>
                    <a:gd name="connsiteY321" fmla="*/ 862396 h 1607784"/>
                    <a:gd name="connsiteX322" fmla="*/ 2184159 w 7414874"/>
                    <a:gd name="connsiteY322" fmla="*/ 888398 h 1607784"/>
                    <a:gd name="connsiteX323" fmla="*/ 2200254 w 7414874"/>
                    <a:gd name="connsiteY323" fmla="*/ 883636 h 1607784"/>
                    <a:gd name="connsiteX324" fmla="*/ 2240733 w 7414874"/>
                    <a:gd name="connsiteY324" fmla="*/ 881254 h 1607784"/>
                    <a:gd name="connsiteX325" fmla="*/ 2240102 w 7414874"/>
                    <a:gd name="connsiteY325" fmla="*/ 914626 h 1607784"/>
                    <a:gd name="connsiteX326" fmla="*/ 2265640 w 7414874"/>
                    <a:gd name="connsiteY326" fmla="*/ 915879 h 1607784"/>
                    <a:gd name="connsiteX327" fmla="*/ 2266296 w 7414874"/>
                    <a:gd name="connsiteY327" fmla="*/ 886052 h 1607784"/>
                    <a:gd name="connsiteX328" fmla="*/ 2301168 w 7414874"/>
                    <a:gd name="connsiteY328" fmla="*/ 880160 h 1607784"/>
                    <a:gd name="connsiteX329" fmla="*/ 2301168 w 7414874"/>
                    <a:gd name="connsiteY329" fmla="*/ 914400 h 1607784"/>
                    <a:gd name="connsiteX330" fmla="*/ 2335837 w 7414874"/>
                    <a:gd name="connsiteY330" fmla="*/ 914400 h 1607784"/>
                    <a:gd name="connsiteX331" fmla="*/ 2335837 w 7414874"/>
                    <a:gd name="connsiteY331" fmla="*/ 923068 h 1607784"/>
                    <a:gd name="connsiteX332" fmla="*/ 2400842 w 7414874"/>
                    <a:gd name="connsiteY332" fmla="*/ 923068 h 1607784"/>
                    <a:gd name="connsiteX333" fmla="*/ 2400842 w 7414874"/>
                    <a:gd name="connsiteY333" fmla="*/ 936069 h 1607784"/>
                    <a:gd name="connsiteX334" fmla="*/ 2439845 w 7414874"/>
                    <a:gd name="connsiteY334" fmla="*/ 936069 h 1607784"/>
                    <a:gd name="connsiteX335" fmla="*/ 2452846 w 7414874"/>
                    <a:gd name="connsiteY335" fmla="*/ 949070 h 1607784"/>
                    <a:gd name="connsiteX336" fmla="*/ 2500516 w 7414874"/>
                    <a:gd name="connsiteY336" fmla="*/ 949070 h 1607784"/>
                    <a:gd name="connsiteX337" fmla="*/ 2513517 w 7414874"/>
                    <a:gd name="connsiteY337" fmla="*/ 962071 h 1607784"/>
                    <a:gd name="connsiteX338" fmla="*/ 2543852 w 7414874"/>
                    <a:gd name="connsiteY338" fmla="*/ 962071 h 1607784"/>
                    <a:gd name="connsiteX339" fmla="*/ 2543852 w 7414874"/>
                    <a:gd name="connsiteY339" fmla="*/ 979405 h 1607784"/>
                    <a:gd name="connsiteX340" fmla="*/ 2591522 w 7414874"/>
                    <a:gd name="connsiteY340" fmla="*/ 979405 h 1607784"/>
                    <a:gd name="connsiteX341" fmla="*/ 2591522 w 7414874"/>
                    <a:gd name="connsiteY341" fmla="*/ 1001073 h 1607784"/>
                    <a:gd name="connsiteX342" fmla="*/ 2639192 w 7414874"/>
                    <a:gd name="connsiteY342" fmla="*/ 1001073 h 1607784"/>
                    <a:gd name="connsiteX343" fmla="*/ 2639192 w 7414874"/>
                    <a:gd name="connsiteY343" fmla="*/ 1022742 h 1607784"/>
                    <a:gd name="connsiteX344" fmla="*/ 2699864 w 7414874"/>
                    <a:gd name="connsiteY344" fmla="*/ 1022742 h 1607784"/>
                    <a:gd name="connsiteX345" fmla="*/ 2699864 w 7414874"/>
                    <a:gd name="connsiteY345" fmla="*/ 1040076 h 1607784"/>
                    <a:gd name="connsiteX346" fmla="*/ 2808205 w 7414874"/>
                    <a:gd name="connsiteY346" fmla="*/ 1040076 h 1607784"/>
                    <a:gd name="connsiteX347" fmla="*/ 2816872 w 7414874"/>
                    <a:gd name="connsiteY347" fmla="*/ 1048743 h 1607784"/>
                    <a:gd name="connsiteX348" fmla="*/ 2825540 w 7414874"/>
                    <a:gd name="connsiteY348" fmla="*/ 1057411 h 1607784"/>
                    <a:gd name="connsiteX349" fmla="*/ 2864542 w 7414874"/>
                    <a:gd name="connsiteY349" fmla="*/ 1057411 h 1607784"/>
                    <a:gd name="connsiteX350" fmla="*/ 2886210 w 7414874"/>
                    <a:gd name="connsiteY350" fmla="*/ 1057411 h 1607784"/>
                    <a:gd name="connsiteX351" fmla="*/ 2899211 w 7414874"/>
                    <a:gd name="connsiteY351" fmla="*/ 1057411 h 1607784"/>
                    <a:gd name="connsiteX352" fmla="*/ 2916546 w 7414874"/>
                    <a:gd name="connsiteY352" fmla="*/ 1074746 h 1607784"/>
                    <a:gd name="connsiteX353" fmla="*/ 2968550 w 7414874"/>
                    <a:gd name="connsiteY353" fmla="*/ 1074746 h 1607784"/>
                    <a:gd name="connsiteX354" fmla="*/ 2968550 w 7414874"/>
                    <a:gd name="connsiteY354" fmla="*/ 1092080 h 1607784"/>
                    <a:gd name="connsiteX355" fmla="*/ 3141896 w 7414874"/>
                    <a:gd name="connsiteY355" fmla="*/ 1092080 h 1607784"/>
                    <a:gd name="connsiteX356" fmla="*/ 3141896 w 7414874"/>
                    <a:gd name="connsiteY356" fmla="*/ 1122415 h 1607784"/>
                    <a:gd name="connsiteX357" fmla="*/ 3211234 w 7414874"/>
                    <a:gd name="connsiteY357" fmla="*/ 1122415 h 1607784"/>
                    <a:gd name="connsiteX358" fmla="*/ 3215568 w 7414874"/>
                    <a:gd name="connsiteY358" fmla="*/ 1122415 h 1607784"/>
                    <a:gd name="connsiteX359" fmla="*/ 3302241 w 7414874"/>
                    <a:gd name="connsiteY359" fmla="*/ 1122415 h 1607784"/>
                    <a:gd name="connsiteX360" fmla="*/ 3302241 w 7414874"/>
                    <a:gd name="connsiteY360" fmla="*/ 1148417 h 1607784"/>
                    <a:gd name="connsiteX361" fmla="*/ 3388914 w 7414874"/>
                    <a:gd name="connsiteY361" fmla="*/ 1148417 h 1607784"/>
                    <a:gd name="connsiteX362" fmla="*/ 3388914 w 7414874"/>
                    <a:gd name="connsiteY362" fmla="*/ 1157085 h 1607784"/>
                    <a:gd name="connsiteX363" fmla="*/ 3445251 w 7414874"/>
                    <a:gd name="connsiteY363" fmla="*/ 1157085 h 1607784"/>
                    <a:gd name="connsiteX364" fmla="*/ 3453919 w 7414874"/>
                    <a:gd name="connsiteY364" fmla="*/ 1165753 h 1607784"/>
                    <a:gd name="connsiteX365" fmla="*/ 3596929 w 7414874"/>
                    <a:gd name="connsiteY365" fmla="*/ 1165753 h 1607784"/>
                    <a:gd name="connsiteX366" fmla="*/ 3596929 w 7414874"/>
                    <a:gd name="connsiteY366" fmla="*/ 1178753 h 1607784"/>
                    <a:gd name="connsiteX367" fmla="*/ 3705270 w 7414874"/>
                    <a:gd name="connsiteY367" fmla="*/ 1178753 h 1607784"/>
                    <a:gd name="connsiteX368" fmla="*/ 3709604 w 7414874"/>
                    <a:gd name="connsiteY368" fmla="*/ 1183087 h 1607784"/>
                    <a:gd name="connsiteX369" fmla="*/ 3960956 w 7414874"/>
                    <a:gd name="connsiteY369" fmla="*/ 1183087 h 1607784"/>
                    <a:gd name="connsiteX370" fmla="*/ 3960956 w 7414874"/>
                    <a:gd name="connsiteY370" fmla="*/ 1204755 h 1607784"/>
                    <a:gd name="connsiteX371" fmla="*/ 3991291 w 7414874"/>
                    <a:gd name="connsiteY371" fmla="*/ 1204755 h 1607784"/>
                    <a:gd name="connsiteX372" fmla="*/ 3991291 w 7414874"/>
                    <a:gd name="connsiteY372" fmla="*/ 1178753 h 1607784"/>
                    <a:gd name="connsiteX373" fmla="*/ 4030294 w 7414874"/>
                    <a:gd name="connsiteY373" fmla="*/ 1178753 h 1607784"/>
                    <a:gd name="connsiteX374" fmla="*/ 4030294 w 7414874"/>
                    <a:gd name="connsiteY374" fmla="*/ 1213422 h 1607784"/>
                    <a:gd name="connsiteX375" fmla="*/ 4043295 w 7414874"/>
                    <a:gd name="connsiteY375" fmla="*/ 1213422 h 1607784"/>
                    <a:gd name="connsiteX376" fmla="*/ 4043295 w 7414874"/>
                    <a:gd name="connsiteY376" fmla="*/ 1222089 h 1607784"/>
                    <a:gd name="connsiteX377" fmla="*/ 4164637 w 7414874"/>
                    <a:gd name="connsiteY377" fmla="*/ 1222089 h 1607784"/>
                    <a:gd name="connsiteX378" fmla="*/ 4164637 w 7414874"/>
                    <a:gd name="connsiteY378" fmla="*/ 1243758 h 1607784"/>
                    <a:gd name="connsiteX379" fmla="*/ 4320648 w 7414874"/>
                    <a:gd name="connsiteY379" fmla="*/ 1243758 h 1607784"/>
                    <a:gd name="connsiteX380" fmla="*/ 4320648 w 7414874"/>
                    <a:gd name="connsiteY380" fmla="*/ 1261092 h 1607784"/>
                    <a:gd name="connsiteX381" fmla="*/ 4398654 w 7414874"/>
                    <a:gd name="connsiteY381" fmla="*/ 1261092 h 1607784"/>
                    <a:gd name="connsiteX382" fmla="*/ 4398654 w 7414874"/>
                    <a:gd name="connsiteY382" fmla="*/ 1287094 h 1607784"/>
                    <a:gd name="connsiteX383" fmla="*/ 4450658 w 7414874"/>
                    <a:gd name="connsiteY383" fmla="*/ 1287094 h 1607784"/>
                    <a:gd name="connsiteX384" fmla="*/ 4476660 w 7414874"/>
                    <a:gd name="connsiteY384" fmla="*/ 1287094 h 1607784"/>
                    <a:gd name="connsiteX385" fmla="*/ 4498328 w 7414874"/>
                    <a:gd name="connsiteY385" fmla="*/ 1308762 h 1607784"/>
                    <a:gd name="connsiteX386" fmla="*/ 4593668 w 7414874"/>
                    <a:gd name="connsiteY386" fmla="*/ 1308762 h 1607784"/>
                    <a:gd name="connsiteX387" fmla="*/ 4602336 w 7414874"/>
                    <a:gd name="connsiteY387" fmla="*/ 1317430 h 1607784"/>
                    <a:gd name="connsiteX388" fmla="*/ 4663007 w 7414874"/>
                    <a:gd name="connsiteY388" fmla="*/ 1317430 h 1607784"/>
                    <a:gd name="connsiteX389" fmla="*/ 4663007 w 7414874"/>
                    <a:gd name="connsiteY389" fmla="*/ 1339098 h 1607784"/>
                    <a:gd name="connsiteX390" fmla="*/ 4706343 w 7414874"/>
                    <a:gd name="connsiteY390" fmla="*/ 1339098 h 1607784"/>
                    <a:gd name="connsiteX391" fmla="*/ 4710677 w 7414874"/>
                    <a:gd name="connsiteY391" fmla="*/ 1343432 h 1607784"/>
                    <a:gd name="connsiteX392" fmla="*/ 4767014 w 7414874"/>
                    <a:gd name="connsiteY392" fmla="*/ 1343432 h 1607784"/>
                    <a:gd name="connsiteX393" fmla="*/ 4780015 w 7414874"/>
                    <a:gd name="connsiteY393" fmla="*/ 1356433 h 1607784"/>
                    <a:gd name="connsiteX394" fmla="*/ 5005365 w 7414874"/>
                    <a:gd name="connsiteY394" fmla="*/ 1356433 h 1607784"/>
                    <a:gd name="connsiteX395" fmla="*/ 5018366 w 7414874"/>
                    <a:gd name="connsiteY395" fmla="*/ 1369434 h 1607784"/>
                    <a:gd name="connsiteX396" fmla="*/ 5152709 w 7414874"/>
                    <a:gd name="connsiteY396" fmla="*/ 1369434 h 1607784"/>
                    <a:gd name="connsiteX397" fmla="*/ 5152709 w 7414874"/>
                    <a:gd name="connsiteY397" fmla="*/ 1391102 h 1607784"/>
                    <a:gd name="connsiteX398" fmla="*/ 5282719 w 7414874"/>
                    <a:gd name="connsiteY398" fmla="*/ 1391102 h 1607784"/>
                    <a:gd name="connsiteX399" fmla="*/ 5291386 w 7414874"/>
                    <a:gd name="connsiteY399" fmla="*/ 1399769 h 1607784"/>
                    <a:gd name="connsiteX400" fmla="*/ 5356391 w 7414874"/>
                    <a:gd name="connsiteY400" fmla="*/ 1399769 h 1607784"/>
                    <a:gd name="connsiteX401" fmla="*/ 5369392 w 7414874"/>
                    <a:gd name="connsiteY401" fmla="*/ 1399769 h 1607784"/>
                    <a:gd name="connsiteX402" fmla="*/ 5369392 w 7414874"/>
                    <a:gd name="connsiteY402" fmla="*/ 1421437 h 1607784"/>
                    <a:gd name="connsiteX403" fmla="*/ 5473399 w 7414874"/>
                    <a:gd name="connsiteY403" fmla="*/ 1421437 h 1607784"/>
                    <a:gd name="connsiteX404" fmla="*/ 5473399 w 7414874"/>
                    <a:gd name="connsiteY404" fmla="*/ 1399769 h 1607784"/>
                    <a:gd name="connsiteX405" fmla="*/ 5512402 w 7414874"/>
                    <a:gd name="connsiteY405" fmla="*/ 1399769 h 1607784"/>
                    <a:gd name="connsiteX406" fmla="*/ 5512402 w 7414874"/>
                    <a:gd name="connsiteY406" fmla="*/ 1425771 h 1607784"/>
                    <a:gd name="connsiteX407" fmla="*/ 5607742 w 7414874"/>
                    <a:gd name="connsiteY407" fmla="*/ 1425771 h 1607784"/>
                    <a:gd name="connsiteX408" fmla="*/ 5607742 w 7414874"/>
                    <a:gd name="connsiteY408" fmla="*/ 1399769 h 1607784"/>
                    <a:gd name="connsiteX409" fmla="*/ 5664080 w 7414874"/>
                    <a:gd name="connsiteY409" fmla="*/ 1399769 h 1607784"/>
                    <a:gd name="connsiteX410" fmla="*/ 5664080 w 7414874"/>
                    <a:gd name="connsiteY410" fmla="*/ 1434438 h 1607784"/>
                    <a:gd name="connsiteX411" fmla="*/ 5685748 w 7414874"/>
                    <a:gd name="connsiteY411" fmla="*/ 1434438 h 1607784"/>
                    <a:gd name="connsiteX412" fmla="*/ 5685748 w 7414874"/>
                    <a:gd name="connsiteY412" fmla="*/ 1443106 h 1607784"/>
                    <a:gd name="connsiteX413" fmla="*/ 5716083 w 7414874"/>
                    <a:gd name="connsiteY413" fmla="*/ 1443106 h 1607784"/>
                    <a:gd name="connsiteX414" fmla="*/ 5716083 w 7414874"/>
                    <a:gd name="connsiteY414" fmla="*/ 1456106 h 1607784"/>
                    <a:gd name="connsiteX415" fmla="*/ 5794089 w 7414874"/>
                    <a:gd name="connsiteY415" fmla="*/ 1456106 h 1607784"/>
                    <a:gd name="connsiteX416" fmla="*/ 5794089 w 7414874"/>
                    <a:gd name="connsiteY416" fmla="*/ 1421437 h 1607784"/>
                    <a:gd name="connsiteX417" fmla="*/ 5837426 w 7414874"/>
                    <a:gd name="connsiteY417" fmla="*/ 1421437 h 1607784"/>
                    <a:gd name="connsiteX418" fmla="*/ 5837426 w 7414874"/>
                    <a:gd name="connsiteY418" fmla="*/ 1456106 h 1607784"/>
                    <a:gd name="connsiteX419" fmla="*/ 5902430 w 7414874"/>
                    <a:gd name="connsiteY419" fmla="*/ 1456106 h 1607784"/>
                    <a:gd name="connsiteX420" fmla="*/ 5928432 w 7414874"/>
                    <a:gd name="connsiteY420" fmla="*/ 1456106 h 1607784"/>
                    <a:gd name="connsiteX421" fmla="*/ 5928432 w 7414874"/>
                    <a:gd name="connsiteY421" fmla="*/ 1473441 h 1607784"/>
                    <a:gd name="connsiteX422" fmla="*/ 5945767 w 7414874"/>
                    <a:gd name="connsiteY422" fmla="*/ 1473441 h 1607784"/>
                    <a:gd name="connsiteX423" fmla="*/ 5950101 w 7414874"/>
                    <a:gd name="connsiteY423" fmla="*/ 1477775 h 1607784"/>
                    <a:gd name="connsiteX424" fmla="*/ 6019439 w 7414874"/>
                    <a:gd name="connsiteY424" fmla="*/ 1477775 h 1607784"/>
                    <a:gd name="connsiteX425" fmla="*/ 6019439 w 7414874"/>
                    <a:gd name="connsiteY425" fmla="*/ 1456106 h 1607784"/>
                    <a:gd name="connsiteX426" fmla="*/ 6058442 w 7414874"/>
                    <a:gd name="connsiteY426" fmla="*/ 1456106 h 1607784"/>
                    <a:gd name="connsiteX427" fmla="*/ 6058442 w 7414874"/>
                    <a:gd name="connsiteY427" fmla="*/ 1499443 h 1607784"/>
                    <a:gd name="connsiteX428" fmla="*/ 6110446 w 7414874"/>
                    <a:gd name="connsiteY428" fmla="*/ 1499443 h 1607784"/>
                    <a:gd name="connsiteX429" fmla="*/ 6110446 w 7414874"/>
                    <a:gd name="connsiteY429" fmla="*/ 1508110 h 1607784"/>
                    <a:gd name="connsiteX430" fmla="*/ 6188451 w 7414874"/>
                    <a:gd name="connsiteY430" fmla="*/ 1508110 h 1607784"/>
                    <a:gd name="connsiteX431" fmla="*/ 6188451 w 7414874"/>
                    <a:gd name="connsiteY431" fmla="*/ 1464774 h 1607784"/>
                    <a:gd name="connsiteX432" fmla="*/ 6227454 w 7414874"/>
                    <a:gd name="connsiteY432" fmla="*/ 1464774 h 1607784"/>
                    <a:gd name="connsiteX433" fmla="*/ 6227454 w 7414874"/>
                    <a:gd name="connsiteY433" fmla="*/ 1516778 h 1607784"/>
                    <a:gd name="connsiteX434" fmla="*/ 6353130 w 7414874"/>
                    <a:gd name="connsiteY434" fmla="*/ 1516778 h 1607784"/>
                    <a:gd name="connsiteX435" fmla="*/ 6353130 w 7414874"/>
                    <a:gd name="connsiteY435" fmla="*/ 1477775 h 1607784"/>
                    <a:gd name="connsiteX436" fmla="*/ 6409467 w 7414874"/>
                    <a:gd name="connsiteY436" fmla="*/ 1477775 h 1607784"/>
                    <a:gd name="connsiteX437" fmla="*/ 6409467 w 7414874"/>
                    <a:gd name="connsiteY437" fmla="*/ 1529778 h 1607784"/>
                    <a:gd name="connsiteX438" fmla="*/ 6457138 w 7414874"/>
                    <a:gd name="connsiteY438" fmla="*/ 1529778 h 1607784"/>
                    <a:gd name="connsiteX439" fmla="*/ 6457138 w 7414874"/>
                    <a:gd name="connsiteY439" fmla="*/ 1482108 h 1607784"/>
                    <a:gd name="connsiteX440" fmla="*/ 6487473 w 7414874"/>
                    <a:gd name="connsiteY440" fmla="*/ 1482108 h 1607784"/>
                    <a:gd name="connsiteX441" fmla="*/ 6487473 w 7414874"/>
                    <a:gd name="connsiteY441" fmla="*/ 1529778 h 1607784"/>
                    <a:gd name="connsiteX442" fmla="*/ 6561145 w 7414874"/>
                    <a:gd name="connsiteY442" fmla="*/ 1529778 h 1607784"/>
                    <a:gd name="connsiteX443" fmla="*/ 6565479 w 7414874"/>
                    <a:gd name="connsiteY443" fmla="*/ 1534112 h 1607784"/>
                    <a:gd name="connsiteX444" fmla="*/ 6669486 w 7414874"/>
                    <a:gd name="connsiteY444" fmla="*/ 1534112 h 1607784"/>
                    <a:gd name="connsiteX445" fmla="*/ 6669486 w 7414874"/>
                    <a:gd name="connsiteY445" fmla="*/ 1499443 h 1607784"/>
                    <a:gd name="connsiteX446" fmla="*/ 6738825 w 7414874"/>
                    <a:gd name="connsiteY446" fmla="*/ 1499443 h 1607784"/>
                    <a:gd name="connsiteX447" fmla="*/ 6738825 w 7414874"/>
                    <a:gd name="connsiteY447" fmla="*/ 1542779 h 1607784"/>
                    <a:gd name="connsiteX448" fmla="*/ 6795162 w 7414874"/>
                    <a:gd name="connsiteY448" fmla="*/ 1542779 h 1607784"/>
                    <a:gd name="connsiteX449" fmla="*/ 6795162 w 7414874"/>
                    <a:gd name="connsiteY449" fmla="*/ 1499443 h 1607784"/>
                    <a:gd name="connsiteX450" fmla="*/ 6829831 w 7414874"/>
                    <a:gd name="connsiteY450" fmla="*/ 1499443 h 1607784"/>
                    <a:gd name="connsiteX451" fmla="*/ 6829831 w 7414874"/>
                    <a:gd name="connsiteY451" fmla="*/ 1529778 h 1607784"/>
                    <a:gd name="connsiteX452" fmla="*/ 6847166 w 7414874"/>
                    <a:gd name="connsiteY452" fmla="*/ 1529778 h 1607784"/>
                    <a:gd name="connsiteX453" fmla="*/ 6847166 w 7414874"/>
                    <a:gd name="connsiteY453" fmla="*/ 1555780 h 1607784"/>
                    <a:gd name="connsiteX454" fmla="*/ 7050847 w 7414874"/>
                    <a:gd name="connsiteY454" fmla="*/ 1555780 h 1607784"/>
                    <a:gd name="connsiteX455" fmla="*/ 7063848 w 7414874"/>
                    <a:gd name="connsiteY455" fmla="*/ 1568781 h 1607784"/>
                    <a:gd name="connsiteX456" fmla="*/ 7133187 w 7414874"/>
                    <a:gd name="connsiteY456" fmla="*/ 1568781 h 1607784"/>
                    <a:gd name="connsiteX457" fmla="*/ 7133187 w 7414874"/>
                    <a:gd name="connsiteY457" fmla="*/ 1586116 h 1607784"/>
                    <a:gd name="connsiteX458" fmla="*/ 7284865 w 7414874"/>
                    <a:gd name="connsiteY458" fmla="*/ 1586116 h 1607784"/>
                    <a:gd name="connsiteX459" fmla="*/ 7284865 w 7414874"/>
                    <a:gd name="connsiteY459" fmla="*/ 1607784 h 1607784"/>
                    <a:gd name="connsiteX460" fmla="*/ 7414874 w 7414874"/>
                    <a:gd name="connsiteY460" fmla="*/ 1594783 h 1607784"/>
                    <a:gd name="connsiteX0" fmla="*/ 7412493 w 7414874"/>
                    <a:gd name="connsiteY0" fmla="*/ 1611451 h 1611451"/>
                    <a:gd name="connsiteX1" fmla="*/ 7414874 w 7414874"/>
                    <a:gd name="connsiteY1" fmla="*/ 1508110 h 1611451"/>
                    <a:gd name="connsiteX2" fmla="*/ 7271864 w 7414874"/>
                    <a:gd name="connsiteY2" fmla="*/ 1508110 h 1611451"/>
                    <a:gd name="connsiteX3" fmla="*/ 7258863 w 7414874"/>
                    <a:gd name="connsiteY3" fmla="*/ 1495109 h 1611451"/>
                    <a:gd name="connsiteX4" fmla="*/ 7159189 w 7414874"/>
                    <a:gd name="connsiteY4" fmla="*/ 1495109 h 1611451"/>
                    <a:gd name="connsiteX5" fmla="*/ 7141854 w 7414874"/>
                    <a:gd name="connsiteY5" fmla="*/ 1477774 h 1611451"/>
                    <a:gd name="connsiteX6" fmla="*/ 7037847 w 7414874"/>
                    <a:gd name="connsiteY6" fmla="*/ 1477774 h 1611451"/>
                    <a:gd name="connsiteX7" fmla="*/ 7037847 w 7414874"/>
                    <a:gd name="connsiteY7" fmla="*/ 1451773 h 1611451"/>
                    <a:gd name="connsiteX8" fmla="*/ 6873168 w 7414874"/>
                    <a:gd name="connsiteY8" fmla="*/ 1451773 h 1611451"/>
                    <a:gd name="connsiteX9" fmla="*/ 6868834 w 7414874"/>
                    <a:gd name="connsiteY9" fmla="*/ 1447439 h 1611451"/>
                    <a:gd name="connsiteX10" fmla="*/ 6825498 w 7414874"/>
                    <a:gd name="connsiteY10" fmla="*/ 1447439 h 1611451"/>
                    <a:gd name="connsiteX11" fmla="*/ 6825498 w 7414874"/>
                    <a:gd name="connsiteY11" fmla="*/ 1495109 h 1611451"/>
                    <a:gd name="connsiteX12" fmla="*/ 6786495 w 7414874"/>
                    <a:gd name="connsiteY12" fmla="*/ 1495109 h 1611451"/>
                    <a:gd name="connsiteX13" fmla="*/ 6786495 w 7414874"/>
                    <a:gd name="connsiteY13" fmla="*/ 1443106 h 1611451"/>
                    <a:gd name="connsiteX14" fmla="*/ 6738825 w 7414874"/>
                    <a:gd name="connsiteY14" fmla="*/ 1443106 h 1611451"/>
                    <a:gd name="connsiteX15" fmla="*/ 6738824 w 7414874"/>
                    <a:gd name="connsiteY15" fmla="*/ 1477775 h 1611451"/>
                    <a:gd name="connsiteX16" fmla="*/ 6678154 w 7414874"/>
                    <a:gd name="connsiteY16" fmla="*/ 1477775 h 1611451"/>
                    <a:gd name="connsiteX17" fmla="*/ 6678154 w 7414874"/>
                    <a:gd name="connsiteY17" fmla="*/ 1438772 h 1611451"/>
                    <a:gd name="connsiteX18" fmla="*/ 6561145 w 7414874"/>
                    <a:gd name="connsiteY18" fmla="*/ 1438772 h 1611451"/>
                    <a:gd name="connsiteX19" fmla="*/ 6548144 w 7414874"/>
                    <a:gd name="connsiteY19" fmla="*/ 1425771 h 1611451"/>
                    <a:gd name="connsiteX20" fmla="*/ 6483139 w 7414874"/>
                    <a:gd name="connsiteY20" fmla="*/ 1425771 h 1611451"/>
                    <a:gd name="connsiteX21" fmla="*/ 6483139 w 7414874"/>
                    <a:gd name="connsiteY21" fmla="*/ 1482108 h 1611451"/>
                    <a:gd name="connsiteX22" fmla="*/ 6444137 w 7414874"/>
                    <a:gd name="connsiteY22" fmla="*/ 1482108 h 1611451"/>
                    <a:gd name="connsiteX23" fmla="*/ 6444137 w 7414874"/>
                    <a:gd name="connsiteY23" fmla="*/ 1434438 h 1611451"/>
                    <a:gd name="connsiteX24" fmla="*/ 6405134 w 7414874"/>
                    <a:gd name="connsiteY24" fmla="*/ 1434438 h 1611451"/>
                    <a:gd name="connsiteX25" fmla="*/ 6405134 w 7414874"/>
                    <a:gd name="connsiteY25" fmla="*/ 1477775 h 1611451"/>
                    <a:gd name="connsiteX26" fmla="*/ 6357464 w 7414874"/>
                    <a:gd name="connsiteY26" fmla="*/ 1477775 h 1611451"/>
                    <a:gd name="connsiteX27" fmla="*/ 6357464 w 7414874"/>
                    <a:gd name="connsiteY27" fmla="*/ 1430105 h 1611451"/>
                    <a:gd name="connsiteX28" fmla="*/ 6223120 w 7414874"/>
                    <a:gd name="connsiteY28" fmla="*/ 1430105 h 1611451"/>
                    <a:gd name="connsiteX29" fmla="*/ 6223120 w 7414874"/>
                    <a:gd name="connsiteY29" fmla="*/ 1443106 h 1611451"/>
                    <a:gd name="connsiteX30" fmla="*/ 6192785 w 7414874"/>
                    <a:gd name="connsiteY30" fmla="*/ 1443106 h 1611451"/>
                    <a:gd name="connsiteX31" fmla="*/ 6192785 w 7414874"/>
                    <a:gd name="connsiteY31" fmla="*/ 1412770 h 1611451"/>
                    <a:gd name="connsiteX32" fmla="*/ 6119113 w 7414874"/>
                    <a:gd name="connsiteY32" fmla="*/ 1412770 h 1611451"/>
                    <a:gd name="connsiteX33" fmla="*/ 6119113 w 7414874"/>
                    <a:gd name="connsiteY33" fmla="*/ 1399769 h 1611451"/>
                    <a:gd name="connsiteX34" fmla="*/ 6071443 w 7414874"/>
                    <a:gd name="connsiteY34" fmla="*/ 1399769 h 1611451"/>
                    <a:gd name="connsiteX35" fmla="*/ 6071443 w 7414874"/>
                    <a:gd name="connsiteY35" fmla="*/ 1382434 h 1611451"/>
                    <a:gd name="connsiteX36" fmla="*/ 6049774 w 7414874"/>
                    <a:gd name="connsiteY36" fmla="*/ 1382434 h 1611451"/>
                    <a:gd name="connsiteX37" fmla="*/ 6049774 w 7414874"/>
                    <a:gd name="connsiteY37" fmla="*/ 1421437 h 1611451"/>
                    <a:gd name="connsiteX38" fmla="*/ 6019439 w 7414874"/>
                    <a:gd name="connsiteY38" fmla="*/ 1421437 h 1611451"/>
                    <a:gd name="connsiteX39" fmla="*/ 6019439 w 7414874"/>
                    <a:gd name="connsiteY39" fmla="*/ 1391102 h 1611451"/>
                    <a:gd name="connsiteX40" fmla="*/ 5958768 w 7414874"/>
                    <a:gd name="connsiteY40" fmla="*/ 1391102 h 1611451"/>
                    <a:gd name="connsiteX41" fmla="*/ 5958768 w 7414874"/>
                    <a:gd name="connsiteY41" fmla="*/ 1373767 h 1611451"/>
                    <a:gd name="connsiteX42" fmla="*/ 5919765 w 7414874"/>
                    <a:gd name="connsiteY42" fmla="*/ 1373767 h 1611451"/>
                    <a:gd name="connsiteX43" fmla="*/ 5919765 w 7414874"/>
                    <a:gd name="connsiteY43" fmla="*/ 1352099 h 1611451"/>
                    <a:gd name="connsiteX44" fmla="*/ 5824425 w 7414874"/>
                    <a:gd name="connsiteY44" fmla="*/ 1352099 h 1611451"/>
                    <a:gd name="connsiteX45" fmla="*/ 5824425 w 7414874"/>
                    <a:gd name="connsiteY45" fmla="*/ 1399769 h 1611451"/>
                    <a:gd name="connsiteX46" fmla="*/ 5789756 w 7414874"/>
                    <a:gd name="connsiteY46" fmla="*/ 1399769 h 1611451"/>
                    <a:gd name="connsiteX47" fmla="*/ 5789756 w 7414874"/>
                    <a:gd name="connsiteY47" fmla="*/ 1365100 h 1611451"/>
                    <a:gd name="connsiteX48" fmla="*/ 5698749 w 7414874"/>
                    <a:gd name="connsiteY48" fmla="*/ 1365100 h 1611451"/>
                    <a:gd name="connsiteX49" fmla="*/ 5698749 w 7414874"/>
                    <a:gd name="connsiteY49" fmla="*/ 1326097 h 1611451"/>
                    <a:gd name="connsiteX50" fmla="*/ 5655412 w 7414874"/>
                    <a:gd name="connsiteY50" fmla="*/ 1326097 h 1611451"/>
                    <a:gd name="connsiteX51" fmla="*/ 5655412 w 7414874"/>
                    <a:gd name="connsiteY51" fmla="*/ 1373767 h 1611451"/>
                    <a:gd name="connsiteX52" fmla="*/ 5612076 w 7414874"/>
                    <a:gd name="connsiteY52" fmla="*/ 1373767 h 1611451"/>
                    <a:gd name="connsiteX53" fmla="*/ 5612076 w 7414874"/>
                    <a:gd name="connsiteY53" fmla="*/ 1334764 h 1611451"/>
                    <a:gd name="connsiteX54" fmla="*/ 5512402 w 7414874"/>
                    <a:gd name="connsiteY54" fmla="*/ 1334764 h 1611451"/>
                    <a:gd name="connsiteX55" fmla="*/ 5512402 w 7414874"/>
                    <a:gd name="connsiteY55" fmla="*/ 1360766 h 1611451"/>
                    <a:gd name="connsiteX56" fmla="*/ 5469065 w 7414874"/>
                    <a:gd name="connsiteY56" fmla="*/ 1360766 h 1611451"/>
                    <a:gd name="connsiteX57" fmla="*/ 5469065 w 7414874"/>
                    <a:gd name="connsiteY57" fmla="*/ 1321763 h 1611451"/>
                    <a:gd name="connsiteX58" fmla="*/ 5360724 w 7414874"/>
                    <a:gd name="connsiteY58" fmla="*/ 1321763 h 1611451"/>
                    <a:gd name="connsiteX59" fmla="*/ 5360724 w 7414874"/>
                    <a:gd name="connsiteY59" fmla="*/ 1304429 h 1611451"/>
                    <a:gd name="connsiteX60" fmla="*/ 5300053 w 7414874"/>
                    <a:gd name="connsiteY60" fmla="*/ 1304429 h 1611451"/>
                    <a:gd name="connsiteX61" fmla="*/ 5291386 w 7414874"/>
                    <a:gd name="connsiteY61" fmla="*/ 1295762 h 1611451"/>
                    <a:gd name="connsiteX62" fmla="*/ 5187378 w 7414874"/>
                    <a:gd name="connsiteY62" fmla="*/ 1295762 h 1611451"/>
                    <a:gd name="connsiteX63" fmla="*/ 5187378 w 7414874"/>
                    <a:gd name="connsiteY63" fmla="*/ 1278427 h 1611451"/>
                    <a:gd name="connsiteX64" fmla="*/ 5057369 w 7414874"/>
                    <a:gd name="connsiteY64" fmla="*/ 1278427 h 1611451"/>
                    <a:gd name="connsiteX65" fmla="*/ 5048701 w 7414874"/>
                    <a:gd name="connsiteY65" fmla="*/ 1269759 h 1611451"/>
                    <a:gd name="connsiteX66" fmla="*/ 4923026 w 7414874"/>
                    <a:gd name="connsiteY66" fmla="*/ 1269759 h 1611451"/>
                    <a:gd name="connsiteX67" fmla="*/ 4910025 w 7414874"/>
                    <a:gd name="connsiteY67" fmla="*/ 1256758 h 1611451"/>
                    <a:gd name="connsiteX68" fmla="*/ 4697676 w 7414874"/>
                    <a:gd name="connsiteY68" fmla="*/ 1256758 h 1611451"/>
                    <a:gd name="connsiteX69" fmla="*/ 4684675 w 7414874"/>
                    <a:gd name="connsiteY69" fmla="*/ 1243757 h 1611451"/>
                    <a:gd name="connsiteX70" fmla="*/ 4663007 w 7414874"/>
                    <a:gd name="connsiteY70" fmla="*/ 1243757 h 1611451"/>
                    <a:gd name="connsiteX71" fmla="*/ 4645673 w 7414874"/>
                    <a:gd name="connsiteY71" fmla="*/ 1226423 h 1611451"/>
                    <a:gd name="connsiteX72" fmla="*/ 4632672 w 7414874"/>
                    <a:gd name="connsiteY72" fmla="*/ 1213422 h 1611451"/>
                    <a:gd name="connsiteX73" fmla="*/ 4489661 w 7414874"/>
                    <a:gd name="connsiteY73" fmla="*/ 1213422 h 1611451"/>
                    <a:gd name="connsiteX74" fmla="*/ 4489661 w 7414874"/>
                    <a:gd name="connsiteY74" fmla="*/ 1200421 h 1611451"/>
                    <a:gd name="connsiteX75" fmla="*/ 4446324 w 7414874"/>
                    <a:gd name="connsiteY75" fmla="*/ 1200421 h 1611451"/>
                    <a:gd name="connsiteX76" fmla="*/ 4446324 w 7414874"/>
                    <a:gd name="connsiteY76" fmla="*/ 1183087 h 1611451"/>
                    <a:gd name="connsiteX77" fmla="*/ 4411655 w 7414874"/>
                    <a:gd name="connsiteY77" fmla="*/ 1183087 h 1611451"/>
                    <a:gd name="connsiteX78" fmla="*/ 4398654 w 7414874"/>
                    <a:gd name="connsiteY78" fmla="*/ 1170086 h 1611451"/>
                    <a:gd name="connsiteX79" fmla="*/ 4394321 w 7414874"/>
                    <a:gd name="connsiteY79" fmla="*/ 1174419 h 1611451"/>
                    <a:gd name="connsiteX80" fmla="*/ 4394321 w 7414874"/>
                    <a:gd name="connsiteY80" fmla="*/ 1200421 h 1611451"/>
                    <a:gd name="connsiteX81" fmla="*/ 4359651 w 7414874"/>
                    <a:gd name="connsiteY81" fmla="*/ 1200421 h 1611451"/>
                    <a:gd name="connsiteX82" fmla="*/ 4359651 w 7414874"/>
                    <a:gd name="connsiteY82" fmla="*/ 1157085 h 1611451"/>
                    <a:gd name="connsiteX83" fmla="*/ 4329316 w 7414874"/>
                    <a:gd name="connsiteY83" fmla="*/ 1157085 h 1611451"/>
                    <a:gd name="connsiteX84" fmla="*/ 4320648 w 7414874"/>
                    <a:gd name="connsiteY84" fmla="*/ 1148417 h 1611451"/>
                    <a:gd name="connsiteX85" fmla="*/ 4155970 w 7414874"/>
                    <a:gd name="connsiteY85" fmla="*/ 1148417 h 1611451"/>
                    <a:gd name="connsiteX86" fmla="*/ 4147302 w 7414874"/>
                    <a:gd name="connsiteY86" fmla="*/ 1139749 h 1611451"/>
                    <a:gd name="connsiteX87" fmla="*/ 4064963 w 7414874"/>
                    <a:gd name="connsiteY87" fmla="*/ 1139749 h 1611451"/>
                    <a:gd name="connsiteX88" fmla="*/ 4064963 w 7414874"/>
                    <a:gd name="connsiteY88" fmla="*/ 1122415 h 1611451"/>
                    <a:gd name="connsiteX89" fmla="*/ 4047628 w 7414874"/>
                    <a:gd name="connsiteY89" fmla="*/ 1122415 h 1611451"/>
                    <a:gd name="connsiteX90" fmla="*/ 4047628 w 7414874"/>
                    <a:gd name="connsiteY90" fmla="*/ 1105081 h 1611451"/>
                    <a:gd name="connsiteX91" fmla="*/ 4025960 w 7414874"/>
                    <a:gd name="connsiteY91" fmla="*/ 1105081 h 1611451"/>
                    <a:gd name="connsiteX92" fmla="*/ 4025960 w 7414874"/>
                    <a:gd name="connsiteY92" fmla="*/ 1152751 h 1611451"/>
                    <a:gd name="connsiteX93" fmla="*/ 3991291 w 7414874"/>
                    <a:gd name="connsiteY93" fmla="*/ 1152751 h 1611451"/>
                    <a:gd name="connsiteX94" fmla="*/ 3991291 w 7414874"/>
                    <a:gd name="connsiteY94" fmla="*/ 1109415 h 1611451"/>
                    <a:gd name="connsiteX95" fmla="*/ 3960956 w 7414874"/>
                    <a:gd name="connsiteY95" fmla="*/ 1109415 h 1611451"/>
                    <a:gd name="connsiteX96" fmla="*/ 3952288 w 7414874"/>
                    <a:gd name="connsiteY96" fmla="*/ 1100747 h 1611451"/>
                    <a:gd name="connsiteX97" fmla="*/ 3735606 w 7414874"/>
                    <a:gd name="connsiteY97" fmla="*/ 1100747 h 1611451"/>
                    <a:gd name="connsiteX98" fmla="*/ 3718272 w 7414874"/>
                    <a:gd name="connsiteY98" fmla="*/ 1083413 h 1611451"/>
                    <a:gd name="connsiteX99" fmla="*/ 3592595 w 7414874"/>
                    <a:gd name="connsiteY99" fmla="*/ 1083413 h 1611451"/>
                    <a:gd name="connsiteX100" fmla="*/ 3575261 w 7414874"/>
                    <a:gd name="connsiteY100" fmla="*/ 1066079 h 1611451"/>
                    <a:gd name="connsiteX101" fmla="*/ 3440918 w 7414874"/>
                    <a:gd name="connsiteY101" fmla="*/ 1066079 h 1611451"/>
                    <a:gd name="connsiteX102" fmla="*/ 3440918 w 7414874"/>
                    <a:gd name="connsiteY102" fmla="*/ 1040076 h 1611451"/>
                    <a:gd name="connsiteX103" fmla="*/ 3319575 w 7414874"/>
                    <a:gd name="connsiteY103" fmla="*/ 1040076 h 1611451"/>
                    <a:gd name="connsiteX104" fmla="*/ 3319575 w 7414874"/>
                    <a:gd name="connsiteY104" fmla="*/ 1027075 h 1611451"/>
                    <a:gd name="connsiteX105" fmla="*/ 3180899 w 7414874"/>
                    <a:gd name="connsiteY105" fmla="*/ 1027075 h 1611451"/>
                    <a:gd name="connsiteX106" fmla="*/ 3180899 w 7414874"/>
                    <a:gd name="connsiteY106" fmla="*/ 1020123 h 1611451"/>
                    <a:gd name="connsiteX107" fmla="*/ 3163564 w 7414874"/>
                    <a:gd name="connsiteY107" fmla="*/ 1018408 h 1611451"/>
                    <a:gd name="connsiteX108" fmla="*/ 3150563 w 7414874"/>
                    <a:gd name="connsiteY108" fmla="*/ 1005407 h 1611451"/>
                    <a:gd name="connsiteX109" fmla="*/ 2990218 w 7414874"/>
                    <a:gd name="connsiteY109" fmla="*/ 1005407 h 1611451"/>
                    <a:gd name="connsiteX110" fmla="*/ 2990218 w 7414874"/>
                    <a:gd name="connsiteY110" fmla="*/ 988072 h 1611451"/>
                    <a:gd name="connsiteX111" fmla="*/ 2907879 w 7414874"/>
                    <a:gd name="connsiteY111" fmla="*/ 988072 h 1611451"/>
                    <a:gd name="connsiteX112" fmla="*/ 2899211 w 7414874"/>
                    <a:gd name="connsiteY112" fmla="*/ 979404 h 1611451"/>
                    <a:gd name="connsiteX113" fmla="*/ 2868876 w 7414874"/>
                    <a:gd name="connsiteY113" fmla="*/ 979404 h 1611451"/>
                    <a:gd name="connsiteX114" fmla="*/ 2868876 w 7414874"/>
                    <a:gd name="connsiteY114" fmla="*/ 953403 h 1611451"/>
                    <a:gd name="connsiteX115" fmla="*/ 2842874 w 7414874"/>
                    <a:gd name="connsiteY115" fmla="*/ 953403 h 1611451"/>
                    <a:gd name="connsiteX116" fmla="*/ 2834207 w 7414874"/>
                    <a:gd name="connsiteY116" fmla="*/ 944736 h 1611451"/>
                    <a:gd name="connsiteX117" fmla="*/ 2756201 w 7414874"/>
                    <a:gd name="connsiteY117" fmla="*/ 944736 h 1611451"/>
                    <a:gd name="connsiteX118" fmla="*/ 2747534 w 7414874"/>
                    <a:gd name="connsiteY118" fmla="*/ 936069 h 1611451"/>
                    <a:gd name="connsiteX119" fmla="*/ 2699864 w 7414874"/>
                    <a:gd name="connsiteY119" fmla="*/ 936069 h 1611451"/>
                    <a:gd name="connsiteX120" fmla="*/ 2688815 w 7414874"/>
                    <a:gd name="connsiteY120" fmla="*/ 925019 h 1611451"/>
                    <a:gd name="connsiteX121" fmla="*/ 2643526 w 7414874"/>
                    <a:gd name="connsiteY121" fmla="*/ 927401 h 1611451"/>
                    <a:gd name="connsiteX122" fmla="*/ 2638099 w 7414874"/>
                    <a:gd name="connsiteY122" fmla="*/ 910067 h 1611451"/>
                    <a:gd name="connsiteX123" fmla="*/ 2616001 w 7414874"/>
                    <a:gd name="connsiteY123" fmla="*/ 899876 h 1611451"/>
                    <a:gd name="connsiteX124" fmla="*/ 2591522 w 7414874"/>
                    <a:gd name="connsiteY124" fmla="*/ 875397 h 1611451"/>
                    <a:gd name="connsiteX125" fmla="*/ 2561187 w 7414874"/>
                    <a:gd name="connsiteY125" fmla="*/ 875397 h 1611451"/>
                    <a:gd name="connsiteX126" fmla="*/ 2552519 w 7414874"/>
                    <a:gd name="connsiteY126" fmla="*/ 866729 h 1611451"/>
                    <a:gd name="connsiteX127" fmla="*/ 2500516 w 7414874"/>
                    <a:gd name="connsiteY127" fmla="*/ 866729 h 1611451"/>
                    <a:gd name="connsiteX128" fmla="*/ 2500516 w 7414874"/>
                    <a:gd name="connsiteY128" fmla="*/ 849396 h 1611451"/>
                    <a:gd name="connsiteX129" fmla="*/ 2444178 w 7414874"/>
                    <a:gd name="connsiteY129" fmla="*/ 849396 h 1611451"/>
                    <a:gd name="connsiteX130" fmla="*/ 2435510 w 7414874"/>
                    <a:gd name="connsiteY130" fmla="*/ 840728 h 1611451"/>
                    <a:gd name="connsiteX131" fmla="*/ 2413843 w 7414874"/>
                    <a:gd name="connsiteY131" fmla="*/ 840728 h 1611451"/>
                    <a:gd name="connsiteX132" fmla="*/ 2400842 w 7414874"/>
                    <a:gd name="connsiteY132" fmla="*/ 827727 h 1611451"/>
                    <a:gd name="connsiteX133" fmla="*/ 2348838 w 7414874"/>
                    <a:gd name="connsiteY133" fmla="*/ 827727 h 1611451"/>
                    <a:gd name="connsiteX134" fmla="*/ 2348838 w 7414874"/>
                    <a:gd name="connsiteY134" fmla="*/ 810393 h 1611451"/>
                    <a:gd name="connsiteX135" fmla="*/ 2309835 w 7414874"/>
                    <a:gd name="connsiteY135" fmla="*/ 810393 h 1611451"/>
                    <a:gd name="connsiteX136" fmla="*/ 2296834 w 7414874"/>
                    <a:gd name="connsiteY136" fmla="*/ 823394 h 1611451"/>
                    <a:gd name="connsiteX137" fmla="*/ 2266499 w 7414874"/>
                    <a:gd name="connsiteY137" fmla="*/ 823394 h 1611451"/>
                    <a:gd name="connsiteX138" fmla="*/ 2253498 w 7414874"/>
                    <a:gd name="connsiteY138" fmla="*/ 810393 h 1611451"/>
                    <a:gd name="connsiteX139" fmla="*/ 2244830 w 7414874"/>
                    <a:gd name="connsiteY139" fmla="*/ 801725 h 1611451"/>
                    <a:gd name="connsiteX140" fmla="*/ 2244830 w 7414874"/>
                    <a:gd name="connsiteY140" fmla="*/ 775724 h 1611451"/>
                    <a:gd name="connsiteX141" fmla="*/ 2123488 w 7414874"/>
                    <a:gd name="connsiteY141" fmla="*/ 775724 h 1611451"/>
                    <a:gd name="connsiteX142" fmla="*/ 2123488 w 7414874"/>
                    <a:gd name="connsiteY142" fmla="*/ 745388 h 1611451"/>
                    <a:gd name="connsiteX143" fmla="*/ 2071484 w 7414874"/>
                    <a:gd name="connsiteY143" fmla="*/ 745388 h 1611451"/>
                    <a:gd name="connsiteX144" fmla="*/ 2062817 w 7414874"/>
                    <a:gd name="connsiteY144" fmla="*/ 736721 h 1611451"/>
                    <a:gd name="connsiteX145" fmla="*/ 2006480 w 7414874"/>
                    <a:gd name="connsiteY145" fmla="*/ 736721 h 1611451"/>
                    <a:gd name="connsiteX146" fmla="*/ 2006480 w 7414874"/>
                    <a:gd name="connsiteY146" fmla="*/ 715052 h 1611451"/>
                    <a:gd name="connsiteX147" fmla="*/ 1906806 w 7414874"/>
                    <a:gd name="connsiteY147" fmla="*/ 715052 h 1611451"/>
                    <a:gd name="connsiteX148" fmla="*/ 1902473 w 7414874"/>
                    <a:gd name="connsiteY148" fmla="*/ 710719 h 1611451"/>
                    <a:gd name="connsiteX149" fmla="*/ 1863469 w 7414874"/>
                    <a:gd name="connsiteY149" fmla="*/ 710719 h 1611451"/>
                    <a:gd name="connsiteX150" fmla="*/ 1863469 w 7414874"/>
                    <a:gd name="connsiteY150" fmla="*/ 680383 h 1611451"/>
                    <a:gd name="connsiteX151" fmla="*/ 1807132 w 7414874"/>
                    <a:gd name="connsiteY151" fmla="*/ 680383 h 1611451"/>
                    <a:gd name="connsiteX152" fmla="*/ 1798465 w 7414874"/>
                    <a:gd name="connsiteY152" fmla="*/ 671716 h 1611451"/>
                    <a:gd name="connsiteX153" fmla="*/ 1785464 w 7414874"/>
                    <a:gd name="connsiteY153" fmla="*/ 671716 h 1611451"/>
                    <a:gd name="connsiteX154" fmla="*/ 1785464 w 7414874"/>
                    <a:gd name="connsiteY154" fmla="*/ 658715 h 1611451"/>
                    <a:gd name="connsiteX155" fmla="*/ 1750794 w 7414874"/>
                    <a:gd name="connsiteY155" fmla="*/ 658715 h 1611451"/>
                    <a:gd name="connsiteX156" fmla="*/ 1750794 w 7414874"/>
                    <a:gd name="connsiteY156" fmla="*/ 637047 h 1611451"/>
                    <a:gd name="connsiteX157" fmla="*/ 1698791 w 7414874"/>
                    <a:gd name="connsiteY157" fmla="*/ 637047 h 1611451"/>
                    <a:gd name="connsiteX158" fmla="*/ 1698791 w 7414874"/>
                    <a:gd name="connsiteY158" fmla="*/ 611045 h 1611451"/>
                    <a:gd name="connsiteX159" fmla="*/ 1616451 w 7414874"/>
                    <a:gd name="connsiteY159" fmla="*/ 611045 h 1611451"/>
                    <a:gd name="connsiteX160" fmla="*/ 1603450 w 7414874"/>
                    <a:gd name="connsiteY160" fmla="*/ 598044 h 1611451"/>
                    <a:gd name="connsiteX161" fmla="*/ 1590449 w 7414874"/>
                    <a:gd name="connsiteY161" fmla="*/ 598044 h 1611451"/>
                    <a:gd name="connsiteX162" fmla="*/ 1577448 w 7414874"/>
                    <a:gd name="connsiteY162" fmla="*/ 585043 h 1611451"/>
                    <a:gd name="connsiteX163" fmla="*/ 1529778 w 7414874"/>
                    <a:gd name="connsiteY163" fmla="*/ 585043 h 1611451"/>
                    <a:gd name="connsiteX164" fmla="*/ 1529778 w 7414874"/>
                    <a:gd name="connsiteY164" fmla="*/ 576376 h 1611451"/>
                    <a:gd name="connsiteX165" fmla="*/ 1477774 w 7414874"/>
                    <a:gd name="connsiteY165" fmla="*/ 576376 h 1611451"/>
                    <a:gd name="connsiteX166" fmla="*/ 1477774 w 7414874"/>
                    <a:gd name="connsiteY166" fmla="*/ 559041 h 1611451"/>
                    <a:gd name="connsiteX167" fmla="*/ 1408436 w 7414874"/>
                    <a:gd name="connsiteY167" fmla="*/ 559041 h 1611451"/>
                    <a:gd name="connsiteX168" fmla="*/ 1395435 w 7414874"/>
                    <a:gd name="connsiteY168" fmla="*/ 546040 h 1611451"/>
                    <a:gd name="connsiteX169" fmla="*/ 1330430 w 7414874"/>
                    <a:gd name="connsiteY169" fmla="*/ 546040 h 1611451"/>
                    <a:gd name="connsiteX170" fmla="*/ 1330430 w 7414874"/>
                    <a:gd name="connsiteY170" fmla="*/ 528706 h 1611451"/>
                    <a:gd name="connsiteX171" fmla="*/ 1274093 w 7414874"/>
                    <a:gd name="connsiteY171" fmla="*/ 528706 h 1611451"/>
                    <a:gd name="connsiteX172" fmla="*/ 1274093 w 7414874"/>
                    <a:gd name="connsiteY172" fmla="*/ 507037 h 1611451"/>
                    <a:gd name="connsiteX173" fmla="*/ 1191754 w 7414874"/>
                    <a:gd name="connsiteY173" fmla="*/ 507037 h 1611451"/>
                    <a:gd name="connsiteX174" fmla="*/ 1174419 w 7414874"/>
                    <a:gd name="connsiteY174" fmla="*/ 507037 h 1611451"/>
                    <a:gd name="connsiteX175" fmla="*/ 1148417 w 7414874"/>
                    <a:gd name="connsiteY175" fmla="*/ 507037 h 1611451"/>
                    <a:gd name="connsiteX176" fmla="*/ 1148417 w 7414874"/>
                    <a:gd name="connsiteY176" fmla="*/ 481035 h 1611451"/>
                    <a:gd name="connsiteX177" fmla="*/ 1092080 w 7414874"/>
                    <a:gd name="connsiteY177" fmla="*/ 481035 h 1611451"/>
                    <a:gd name="connsiteX178" fmla="*/ 1092080 w 7414874"/>
                    <a:gd name="connsiteY178" fmla="*/ 468034 h 1611451"/>
                    <a:gd name="connsiteX179" fmla="*/ 1044410 w 7414874"/>
                    <a:gd name="connsiteY179" fmla="*/ 468034 h 1611451"/>
                    <a:gd name="connsiteX180" fmla="*/ 1044410 w 7414874"/>
                    <a:gd name="connsiteY180" fmla="*/ 437699 h 1611451"/>
                    <a:gd name="connsiteX181" fmla="*/ 988072 w 7414874"/>
                    <a:gd name="connsiteY181" fmla="*/ 437699 h 1611451"/>
                    <a:gd name="connsiteX182" fmla="*/ 975071 w 7414874"/>
                    <a:gd name="connsiteY182" fmla="*/ 424698 h 1611451"/>
                    <a:gd name="connsiteX183" fmla="*/ 953403 w 7414874"/>
                    <a:gd name="connsiteY183" fmla="*/ 424698 h 1611451"/>
                    <a:gd name="connsiteX184" fmla="*/ 944736 w 7414874"/>
                    <a:gd name="connsiteY184" fmla="*/ 416031 h 1611451"/>
                    <a:gd name="connsiteX185" fmla="*/ 892732 w 7414874"/>
                    <a:gd name="connsiteY185" fmla="*/ 416031 h 1611451"/>
                    <a:gd name="connsiteX186" fmla="*/ 892732 w 7414874"/>
                    <a:gd name="connsiteY186" fmla="*/ 394362 h 1611451"/>
                    <a:gd name="connsiteX187" fmla="*/ 866730 w 7414874"/>
                    <a:gd name="connsiteY187" fmla="*/ 394362 h 1611451"/>
                    <a:gd name="connsiteX188" fmla="*/ 858063 w 7414874"/>
                    <a:gd name="connsiteY188" fmla="*/ 385695 h 1611451"/>
                    <a:gd name="connsiteX189" fmla="*/ 754055 w 7414874"/>
                    <a:gd name="connsiteY189" fmla="*/ 385695 h 1611451"/>
                    <a:gd name="connsiteX190" fmla="*/ 754055 w 7414874"/>
                    <a:gd name="connsiteY190" fmla="*/ 359693 h 1611451"/>
                    <a:gd name="connsiteX191" fmla="*/ 723719 w 7414874"/>
                    <a:gd name="connsiteY191" fmla="*/ 359693 h 1611451"/>
                    <a:gd name="connsiteX192" fmla="*/ 723719 w 7414874"/>
                    <a:gd name="connsiteY192" fmla="*/ 342359 h 1611451"/>
                    <a:gd name="connsiteX193" fmla="*/ 658715 w 7414874"/>
                    <a:gd name="connsiteY193" fmla="*/ 342359 h 1611451"/>
                    <a:gd name="connsiteX194" fmla="*/ 650047 w 7414874"/>
                    <a:gd name="connsiteY194" fmla="*/ 333691 h 1611451"/>
                    <a:gd name="connsiteX195" fmla="*/ 628379 w 7414874"/>
                    <a:gd name="connsiteY195" fmla="*/ 333691 h 1611451"/>
                    <a:gd name="connsiteX196" fmla="*/ 628379 w 7414874"/>
                    <a:gd name="connsiteY196" fmla="*/ 316357 h 1611451"/>
                    <a:gd name="connsiteX197" fmla="*/ 598044 w 7414874"/>
                    <a:gd name="connsiteY197" fmla="*/ 316357 h 1611451"/>
                    <a:gd name="connsiteX198" fmla="*/ 598044 w 7414874"/>
                    <a:gd name="connsiteY198" fmla="*/ 294688 h 1611451"/>
                    <a:gd name="connsiteX199" fmla="*/ 576375 w 7414874"/>
                    <a:gd name="connsiteY199" fmla="*/ 294688 h 1611451"/>
                    <a:gd name="connsiteX200" fmla="*/ 576375 w 7414874"/>
                    <a:gd name="connsiteY200" fmla="*/ 281687 h 1611451"/>
                    <a:gd name="connsiteX201" fmla="*/ 554707 w 7414874"/>
                    <a:gd name="connsiteY201" fmla="*/ 281687 h 1611451"/>
                    <a:gd name="connsiteX202" fmla="*/ 554707 w 7414874"/>
                    <a:gd name="connsiteY202" fmla="*/ 268687 h 1611451"/>
                    <a:gd name="connsiteX203" fmla="*/ 489702 w 7414874"/>
                    <a:gd name="connsiteY203" fmla="*/ 268687 h 1611451"/>
                    <a:gd name="connsiteX204" fmla="*/ 489702 w 7414874"/>
                    <a:gd name="connsiteY204" fmla="*/ 242685 h 1611451"/>
                    <a:gd name="connsiteX205" fmla="*/ 455033 w 7414874"/>
                    <a:gd name="connsiteY205" fmla="*/ 242685 h 1611451"/>
                    <a:gd name="connsiteX206" fmla="*/ 455033 w 7414874"/>
                    <a:gd name="connsiteY206" fmla="*/ 216683 h 1611451"/>
                    <a:gd name="connsiteX207" fmla="*/ 437699 w 7414874"/>
                    <a:gd name="connsiteY207" fmla="*/ 216683 h 1611451"/>
                    <a:gd name="connsiteX208" fmla="*/ 437699 w 7414874"/>
                    <a:gd name="connsiteY208" fmla="*/ 186347 h 1611451"/>
                    <a:gd name="connsiteX209" fmla="*/ 407363 w 7414874"/>
                    <a:gd name="connsiteY209" fmla="*/ 186347 h 1611451"/>
                    <a:gd name="connsiteX210" fmla="*/ 407363 w 7414874"/>
                    <a:gd name="connsiteY210" fmla="*/ 173346 h 1611451"/>
                    <a:gd name="connsiteX211" fmla="*/ 372694 w 7414874"/>
                    <a:gd name="connsiteY211" fmla="*/ 173346 h 1611451"/>
                    <a:gd name="connsiteX212" fmla="*/ 372694 w 7414874"/>
                    <a:gd name="connsiteY212" fmla="*/ 151678 h 1611451"/>
                    <a:gd name="connsiteX213" fmla="*/ 355359 w 7414874"/>
                    <a:gd name="connsiteY213" fmla="*/ 151678 h 1611451"/>
                    <a:gd name="connsiteX214" fmla="*/ 355359 w 7414874"/>
                    <a:gd name="connsiteY214" fmla="*/ 138677 h 1611451"/>
                    <a:gd name="connsiteX215" fmla="*/ 303356 w 7414874"/>
                    <a:gd name="connsiteY215" fmla="*/ 138677 h 1611451"/>
                    <a:gd name="connsiteX216" fmla="*/ 303356 w 7414874"/>
                    <a:gd name="connsiteY216" fmla="*/ 95341 h 1611451"/>
                    <a:gd name="connsiteX217" fmla="*/ 268686 w 7414874"/>
                    <a:gd name="connsiteY217" fmla="*/ 95341 h 1611451"/>
                    <a:gd name="connsiteX218" fmla="*/ 268686 w 7414874"/>
                    <a:gd name="connsiteY218" fmla="*/ 82340 h 1611451"/>
                    <a:gd name="connsiteX219" fmla="*/ 234017 w 7414874"/>
                    <a:gd name="connsiteY219" fmla="*/ 82340 h 1611451"/>
                    <a:gd name="connsiteX220" fmla="*/ 234017 w 7414874"/>
                    <a:gd name="connsiteY220" fmla="*/ 47670 h 1611451"/>
                    <a:gd name="connsiteX221" fmla="*/ 208015 w 7414874"/>
                    <a:gd name="connsiteY221" fmla="*/ 47670 h 1611451"/>
                    <a:gd name="connsiteX222" fmla="*/ 208015 w 7414874"/>
                    <a:gd name="connsiteY222" fmla="*/ 39003 h 1611451"/>
                    <a:gd name="connsiteX223" fmla="*/ 156011 w 7414874"/>
                    <a:gd name="connsiteY223" fmla="*/ 39003 h 1611451"/>
                    <a:gd name="connsiteX224" fmla="*/ 156011 w 7414874"/>
                    <a:gd name="connsiteY224" fmla="*/ 26002 h 1611451"/>
                    <a:gd name="connsiteX225" fmla="*/ 121342 w 7414874"/>
                    <a:gd name="connsiteY225" fmla="*/ 26002 h 1611451"/>
                    <a:gd name="connsiteX226" fmla="*/ 121342 w 7414874"/>
                    <a:gd name="connsiteY226" fmla="*/ 0 h 1611451"/>
                    <a:gd name="connsiteX227" fmla="*/ 82339 w 7414874"/>
                    <a:gd name="connsiteY227" fmla="*/ 0 h 1611451"/>
                    <a:gd name="connsiteX228" fmla="*/ 82339 w 7414874"/>
                    <a:gd name="connsiteY228" fmla="*/ 43337 h 1611451"/>
                    <a:gd name="connsiteX229" fmla="*/ 0 w 7414874"/>
                    <a:gd name="connsiteY229" fmla="*/ 43337 h 1611451"/>
                    <a:gd name="connsiteX230" fmla="*/ 8667 w 7414874"/>
                    <a:gd name="connsiteY230" fmla="*/ 34670 h 1611451"/>
                    <a:gd name="connsiteX231" fmla="*/ 8667 w 7414874"/>
                    <a:gd name="connsiteY231" fmla="*/ 52004 h 1611451"/>
                    <a:gd name="connsiteX232" fmla="*/ 21668 w 7414874"/>
                    <a:gd name="connsiteY232" fmla="*/ 52004 h 1611451"/>
                    <a:gd name="connsiteX233" fmla="*/ 21668 w 7414874"/>
                    <a:gd name="connsiteY233" fmla="*/ 65005 h 1611451"/>
                    <a:gd name="connsiteX234" fmla="*/ 52004 w 7414874"/>
                    <a:gd name="connsiteY234" fmla="*/ 65005 h 1611451"/>
                    <a:gd name="connsiteX235" fmla="*/ 52004 w 7414874"/>
                    <a:gd name="connsiteY235" fmla="*/ 86673 h 1611451"/>
                    <a:gd name="connsiteX236" fmla="*/ 78006 w 7414874"/>
                    <a:gd name="connsiteY236" fmla="*/ 86673 h 1611451"/>
                    <a:gd name="connsiteX237" fmla="*/ 78006 w 7414874"/>
                    <a:gd name="connsiteY237" fmla="*/ 125676 h 1611451"/>
                    <a:gd name="connsiteX238" fmla="*/ 138677 w 7414874"/>
                    <a:gd name="connsiteY238" fmla="*/ 125676 h 1611451"/>
                    <a:gd name="connsiteX239" fmla="*/ 147344 w 7414874"/>
                    <a:gd name="connsiteY239" fmla="*/ 134343 h 1611451"/>
                    <a:gd name="connsiteX240" fmla="*/ 164679 w 7414874"/>
                    <a:gd name="connsiteY240" fmla="*/ 134343 h 1611451"/>
                    <a:gd name="connsiteX241" fmla="*/ 164679 w 7414874"/>
                    <a:gd name="connsiteY241" fmla="*/ 156012 h 1611451"/>
                    <a:gd name="connsiteX242" fmla="*/ 182013 w 7414874"/>
                    <a:gd name="connsiteY242" fmla="*/ 156012 h 1611451"/>
                    <a:gd name="connsiteX243" fmla="*/ 195014 w 7414874"/>
                    <a:gd name="connsiteY243" fmla="*/ 169013 h 1611451"/>
                    <a:gd name="connsiteX244" fmla="*/ 225350 w 7414874"/>
                    <a:gd name="connsiteY244" fmla="*/ 169013 h 1611451"/>
                    <a:gd name="connsiteX245" fmla="*/ 225350 w 7414874"/>
                    <a:gd name="connsiteY245" fmla="*/ 208015 h 1611451"/>
                    <a:gd name="connsiteX246" fmla="*/ 251352 w 7414874"/>
                    <a:gd name="connsiteY246" fmla="*/ 208015 h 1611451"/>
                    <a:gd name="connsiteX247" fmla="*/ 260019 w 7414874"/>
                    <a:gd name="connsiteY247" fmla="*/ 216682 h 1611451"/>
                    <a:gd name="connsiteX248" fmla="*/ 273021 w 7414874"/>
                    <a:gd name="connsiteY248" fmla="*/ 229684 h 1611451"/>
                    <a:gd name="connsiteX249" fmla="*/ 273021 w 7414874"/>
                    <a:gd name="connsiteY249" fmla="*/ 251352 h 1611451"/>
                    <a:gd name="connsiteX250" fmla="*/ 303356 w 7414874"/>
                    <a:gd name="connsiteY250" fmla="*/ 251352 h 1611451"/>
                    <a:gd name="connsiteX251" fmla="*/ 303356 w 7414874"/>
                    <a:gd name="connsiteY251" fmla="*/ 268687 h 1611451"/>
                    <a:gd name="connsiteX252" fmla="*/ 342358 w 7414874"/>
                    <a:gd name="connsiteY252" fmla="*/ 268687 h 1611451"/>
                    <a:gd name="connsiteX253" fmla="*/ 342358 w 7414874"/>
                    <a:gd name="connsiteY253" fmla="*/ 286021 h 1611451"/>
                    <a:gd name="connsiteX254" fmla="*/ 385695 w 7414874"/>
                    <a:gd name="connsiteY254" fmla="*/ 286021 h 1611451"/>
                    <a:gd name="connsiteX255" fmla="*/ 385695 w 7414874"/>
                    <a:gd name="connsiteY255" fmla="*/ 286021 h 1611451"/>
                    <a:gd name="connsiteX256" fmla="*/ 407363 w 7414874"/>
                    <a:gd name="connsiteY256" fmla="*/ 307689 h 1611451"/>
                    <a:gd name="connsiteX257" fmla="*/ 424698 w 7414874"/>
                    <a:gd name="connsiteY257" fmla="*/ 325024 h 1611451"/>
                    <a:gd name="connsiteX258" fmla="*/ 472368 w 7414874"/>
                    <a:gd name="connsiteY258" fmla="*/ 325024 h 1611451"/>
                    <a:gd name="connsiteX259" fmla="*/ 472368 w 7414874"/>
                    <a:gd name="connsiteY259" fmla="*/ 355360 h 1611451"/>
                    <a:gd name="connsiteX260" fmla="*/ 511371 w 7414874"/>
                    <a:gd name="connsiteY260" fmla="*/ 355360 h 1611451"/>
                    <a:gd name="connsiteX261" fmla="*/ 511371 w 7414874"/>
                    <a:gd name="connsiteY261" fmla="*/ 377028 h 1611451"/>
                    <a:gd name="connsiteX262" fmla="*/ 559041 w 7414874"/>
                    <a:gd name="connsiteY262" fmla="*/ 377028 h 1611451"/>
                    <a:gd name="connsiteX263" fmla="*/ 559041 w 7414874"/>
                    <a:gd name="connsiteY263" fmla="*/ 398696 h 1611451"/>
                    <a:gd name="connsiteX264" fmla="*/ 589376 w 7414874"/>
                    <a:gd name="connsiteY264" fmla="*/ 398696 h 1611451"/>
                    <a:gd name="connsiteX265" fmla="*/ 602377 w 7414874"/>
                    <a:gd name="connsiteY265" fmla="*/ 411697 h 1611451"/>
                    <a:gd name="connsiteX266" fmla="*/ 650047 w 7414874"/>
                    <a:gd name="connsiteY266" fmla="*/ 411697 h 1611451"/>
                    <a:gd name="connsiteX267" fmla="*/ 650047 w 7414874"/>
                    <a:gd name="connsiteY267" fmla="*/ 450700 h 1611451"/>
                    <a:gd name="connsiteX268" fmla="*/ 758389 w 7414874"/>
                    <a:gd name="connsiteY268" fmla="*/ 450700 h 1611451"/>
                    <a:gd name="connsiteX269" fmla="*/ 758389 w 7414874"/>
                    <a:gd name="connsiteY269" fmla="*/ 481035 h 1611451"/>
                    <a:gd name="connsiteX270" fmla="*/ 875397 w 7414874"/>
                    <a:gd name="connsiteY270" fmla="*/ 481035 h 1611451"/>
                    <a:gd name="connsiteX271" fmla="*/ 875397 w 7414874"/>
                    <a:gd name="connsiteY271" fmla="*/ 507037 h 1611451"/>
                    <a:gd name="connsiteX272" fmla="*/ 927401 w 7414874"/>
                    <a:gd name="connsiteY272" fmla="*/ 507037 h 1611451"/>
                    <a:gd name="connsiteX273" fmla="*/ 927401 w 7414874"/>
                    <a:gd name="connsiteY273" fmla="*/ 524372 h 1611451"/>
                    <a:gd name="connsiteX274" fmla="*/ 979405 w 7414874"/>
                    <a:gd name="connsiteY274" fmla="*/ 524372 h 1611451"/>
                    <a:gd name="connsiteX275" fmla="*/ 992406 w 7414874"/>
                    <a:gd name="connsiteY275" fmla="*/ 524372 h 1611451"/>
                    <a:gd name="connsiteX276" fmla="*/ 1005407 w 7414874"/>
                    <a:gd name="connsiteY276" fmla="*/ 537373 h 1611451"/>
                    <a:gd name="connsiteX277" fmla="*/ 1027075 w 7414874"/>
                    <a:gd name="connsiteY277" fmla="*/ 537373 h 1611451"/>
                    <a:gd name="connsiteX278" fmla="*/ 1057410 w 7414874"/>
                    <a:gd name="connsiteY278" fmla="*/ 537373 h 1611451"/>
                    <a:gd name="connsiteX279" fmla="*/ 1057410 w 7414874"/>
                    <a:gd name="connsiteY279" fmla="*/ 563375 h 1611451"/>
                    <a:gd name="connsiteX280" fmla="*/ 1079079 w 7414874"/>
                    <a:gd name="connsiteY280" fmla="*/ 563375 h 1611451"/>
                    <a:gd name="connsiteX281" fmla="*/ 1079079 w 7414874"/>
                    <a:gd name="connsiteY281" fmla="*/ 576376 h 1611451"/>
                    <a:gd name="connsiteX282" fmla="*/ 1157084 w 7414874"/>
                    <a:gd name="connsiteY282" fmla="*/ 576376 h 1611451"/>
                    <a:gd name="connsiteX283" fmla="*/ 1157084 w 7414874"/>
                    <a:gd name="connsiteY283" fmla="*/ 589377 h 1611451"/>
                    <a:gd name="connsiteX284" fmla="*/ 1196087 w 7414874"/>
                    <a:gd name="connsiteY284" fmla="*/ 589377 h 1611451"/>
                    <a:gd name="connsiteX285" fmla="*/ 1196087 w 7414874"/>
                    <a:gd name="connsiteY285" fmla="*/ 598044 h 1611451"/>
                    <a:gd name="connsiteX286" fmla="*/ 1243757 w 7414874"/>
                    <a:gd name="connsiteY286" fmla="*/ 598044 h 1611451"/>
                    <a:gd name="connsiteX287" fmla="*/ 1256758 w 7414874"/>
                    <a:gd name="connsiteY287" fmla="*/ 611045 h 1611451"/>
                    <a:gd name="connsiteX288" fmla="*/ 1269759 w 7414874"/>
                    <a:gd name="connsiteY288" fmla="*/ 624046 h 1611451"/>
                    <a:gd name="connsiteX289" fmla="*/ 1334764 w 7414874"/>
                    <a:gd name="connsiteY289" fmla="*/ 624046 h 1611451"/>
                    <a:gd name="connsiteX290" fmla="*/ 1334764 w 7414874"/>
                    <a:gd name="connsiteY290" fmla="*/ 645714 h 1611451"/>
                    <a:gd name="connsiteX291" fmla="*/ 1425771 w 7414874"/>
                    <a:gd name="connsiteY291" fmla="*/ 645714 h 1611451"/>
                    <a:gd name="connsiteX292" fmla="*/ 1434438 w 7414874"/>
                    <a:gd name="connsiteY292" fmla="*/ 654381 h 1611451"/>
                    <a:gd name="connsiteX293" fmla="*/ 1456106 w 7414874"/>
                    <a:gd name="connsiteY293" fmla="*/ 654381 h 1611451"/>
                    <a:gd name="connsiteX294" fmla="*/ 1456106 w 7414874"/>
                    <a:gd name="connsiteY294" fmla="*/ 667382 h 1611451"/>
                    <a:gd name="connsiteX295" fmla="*/ 1508110 w 7414874"/>
                    <a:gd name="connsiteY295" fmla="*/ 667382 h 1611451"/>
                    <a:gd name="connsiteX296" fmla="*/ 1508110 w 7414874"/>
                    <a:gd name="connsiteY296" fmla="*/ 684717 h 1611451"/>
                    <a:gd name="connsiteX297" fmla="*/ 1564447 w 7414874"/>
                    <a:gd name="connsiteY297" fmla="*/ 684717 h 1611451"/>
                    <a:gd name="connsiteX298" fmla="*/ 1568781 w 7414874"/>
                    <a:gd name="connsiteY298" fmla="*/ 689051 h 1611451"/>
                    <a:gd name="connsiteX299" fmla="*/ 1612118 w 7414874"/>
                    <a:gd name="connsiteY299" fmla="*/ 689051 h 1611451"/>
                    <a:gd name="connsiteX300" fmla="*/ 1625119 w 7414874"/>
                    <a:gd name="connsiteY300" fmla="*/ 702052 h 1611451"/>
                    <a:gd name="connsiteX301" fmla="*/ 1677122 w 7414874"/>
                    <a:gd name="connsiteY301" fmla="*/ 702052 h 1611451"/>
                    <a:gd name="connsiteX302" fmla="*/ 1685790 w 7414874"/>
                    <a:gd name="connsiteY302" fmla="*/ 710720 h 1611451"/>
                    <a:gd name="connsiteX303" fmla="*/ 1703123 w 7414874"/>
                    <a:gd name="connsiteY303" fmla="*/ 728053 h 1611451"/>
                    <a:gd name="connsiteX304" fmla="*/ 1716124 w 7414874"/>
                    <a:gd name="connsiteY304" fmla="*/ 741054 h 1611451"/>
                    <a:gd name="connsiteX305" fmla="*/ 1750794 w 7414874"/>
                    <a:gd name="connsiteY305" fmla="*/ 741054 h 1611451"/>
                    <a:gd name="connsiteX306" fmla="*/ 1750794 w 7414874"/>
                    <a:gd name="connsiteY306" fmla="*/ 767056 h 1611451"/>
                    <a:gd name="connsiteX307" fmla="*/ 1798465 w 7414874"/>
                    <a:gd name="connsiteY307" fmla="*/ 767056 h 1611451"/>
                    <a:gd name="connsiteX308" fmla="*/ 1798465 w 7414874"/>
                    <a:gd name="connsiteY308" fmla="*/ 780057 h 1611451"/>
                    <a:gd name="connsiteX309" fmla="*/ 1841801 w 7414874"/>
                    <a:gd name="connsiteY309" fmla="*/ 780057 h 1611451"/>
                    <a:gd name="connsiteX310" fmla="*/ 1841801 w 7414874"/>
                    <a:gd name="connsiteY310" fmla="*/ 797392 h 1611451"/>
                    <a:gd name="connsiteX311" fmla="*/ 1876470 w 7414874"/>
                    <a:gd name="connsiteY311" fmla="*/ 797392 h 1611451"/>
                    <a:gd name="connsiteX312" fmla="*/ 1885138 w 7414874"/>
                    <a:gd name="connsiteY312" fmla="*/ 806060 h 1611451"/>
                    <a:gd name="connsiteX313" fmla="*/ 1963143 w 7414874"/>
                    <a:gd name="connsiteY313" fmla="*/ 806060 h 1611451"/>
                    <a:gd name="connsiteX314" fmla="*/ 2006480 w 7414874"/>
                    <a:gd name="connsiteY314" fmla="*/ 806060 h 1611451"/>
                    <a:gd name="connsiteX315" fmla="*/ 2036815 w 7414874"/>
                    <a:gd name="connsiteY315" fmla="*/ 836395 h 1611451"/>
                    <a:gd name="connsiteX316" fmla="*/ 2049816 w 7414874"/>
                    <a:gd name="connsiteY316" fmla="*/ 836395 h 1611451"/>
                    <a:gd name="connsiteX317" fmla="*/ 2106154 w 7414874"/>
                    <a:gd name="connsiteY317" fmla="*/ 836395 h 1611451"/>
                    <a:gd name="connsiteX318" fmla="*/ 2106154 w 7414874"/>
                    <a:gd name="connsiteY318" fmla="*/ 862396 h 1611451"/>
                    <a:gd name="connsiteX319" fmla="*/ 2119155 w 7414874"/>
                    <a:gd name="connsiteY319" fmla="*/ 862396 h 1611451"/>
                    <a:gd name="connsiteX320" fmla="*/ 2136489 w 7414874"/>
                    <a:gd name="connsiteY320" fmla="*/ 862396 h 1611451"/>
                    <a:gd name="connsiteX321" fmla="*/ 2184159 w 7414874"/>
                    <a:gd name="connsiteY321" fmla="*/ 862396 h 1611451"/>
                    <a:gd name="connsiteX322" fmla="*/ 2184159 w 7414874"/>
                    <a:gd name="connsiteY322" fmla="*/ 888398 h 1611451"/>
                    <a:gd name="connsiteX323" fmla="*/ 2200254 w 7414874"/>
                    <a:gd name="connsiteY323" fmla="*/ 883636 h 1611451"/>
                    <a:gd name="connsiteX324" fmla="*/ 2240733 w 7414874"/>
                    <a:gd name="connsiteY324" fmla="*/ 881254 h 1611451"/>
                    <a:gd name="connsiteX325" fmla="*/ 2240102 w 7414874"/>
                    <a:gd name="connsiteY325" fmla="*/ 914626 h 1611451"/>
                    <a:gd name="connsiteX326" fmla="*/ 2265640 w 7414874"/>
                    <a:gd name="connsiteY326" fmla="*/ 915879 h 1611451"/>
                    <a:gd name="connsiteX327" fmla="*/ 2266296 w 7414874"/>
                    <a:gd name="connsiteY327" fmla="*/ 886052 h 1611451"/>
                    <a:gd name="connsiteX328" fmla="*/ 2301168 w 7414874"/>
                    <a:gd name="connsiteY328" fmla="*/ 880160 h 1611451"/>
                    <a:gd name="connsiteX329" fmla="*/ 2301168 w 7414874"/>
                    <a:gd name="connsiteY329" fmla="*/ 914400 h 1611451"/>
                    <a:gd name="connsiteX330" fmla="*/ 2335837 w 7414874"/>
                    <a:gd name="connsiteY330" fmla="*/ 914400 h 1611451"/>
                    <a:gd name="connsiteX331" fmla="*/ 2335837 w 7414874"/>
                    <a:gd name="connsiteY331" fmla="*/ 923068 h 1611451"/>
                    <a:gd name="connsiteX332" fmla="*/ 2400842 w 7414874"/>
                    <a:gd name="connsiteY332" fmla="*/ 923068 h 1611451"/>
                    <a:gd name="connsiteX333" fmla="*/ 2400842 w 7414874"/>
                    <a:gd name="connsiteY333" fmla="*/ 936069 h 1611451"/>
                    <a:gd name="connsiteX334" fmla="*/ 2439845 w 7414874"/>
                    <a:gd name="connsiteY334" fmla="*/ 936069 h 1611451"/>
                    <a:gd name="connsiteX335" fmla="*/ 2452846 w 7414874"/>
                    <a:gd name="connsiteY335" fmla="*/ 949070 h 1611451"/>
                    <a:gd name="connsiteX336" fmla="*/ 2500516 w 7414874"/>
                    <a:gd name="connsiteY336" fmla="*/ 949070 h 1611451"/>
                    <a:gd name="connsiteX337" fmla="*/ 2513517 w 7414874"/>
                    <a:gd name="connsiteY337" fmla="*/ 962071 h 1611451"/>
                    <a:gd name="connsiteX338" fmla="*/ 2543852 w 7414874"/>
                    <a:gd name="connsiteY338" fmla="*/ 962071 h 1611451"/>
                    <a:gd name="connsiteX339" fmla="*/ 2543852 w 7414874"/>
                    <a:gd name="connsiteY339" fmla="*/ 979405 h 1611451"/>
                    <a:gd name="connsiteX340" fmla="*/ 2591522 w 7414874"/>
                    <a:gd name="connsiteY340" fmla="*/ 979405 h 1611451"/>
                    <a:gd name="connsiteX341" fmla="*/ 2591522 w 7414874"/>
                    <a:gd name="connsiteY341" fmla="*/ 1001073 h 1611451"/>
                    <a:gd name="connsiteX342" fmla="*/ 2639192 w 7414874"/>
                    <a:gd name="connsiteY342" fmla="*/ 1001073 h 1611451"/>
                    <a:gd name="connsiteX343" fmla="*/ 2639192 w 7414874"/>
                    <a:gd name="connsiteY343" fmla="*/ 1022742 h 1611451"/>
                    <a:gd name="connsiteX344" fmla="*/ 2699864 w 7414874"/>
                    <a:gd name="connsiteY344" fmla="*/ 1022742 h 1611451"/>
                    <a:gd name="connsiteX345" fmla="*/ 2699864 w 7414874"/>
                    <a:gd name="connsiteY345" fmla="*/ 1040076 h 1611451"/>
                    <a:gd name="connsiteX346" fmla="*/ 2808205 w 7414874"/>
                    <a:gd name="connsiteY346" fmla="*/ 1040076 h 1611451"/>
                    <a:gd name="connsiteX347" fmla="*/ 2816872 w 7414874"/>
                    <a:gd name="connsiteY347" fmla="*/ 1048743 h 1611451"/>
                    <a:gd name="connsiteX348" fmla="*/ 2825540 w 7414874"/>
                    <a:gd name="connsiteY348" fmla="*/ 1057411 h 1611451"/>
                    <a:gd name="connsiteX349" fmla="*/ 2864542 w 7414874"/>
                    <a:gd name="connsiteY349" fmla="*/ 1057411 h 1611451"/>
                    <a:gd name="connsiteX350" fmla="*/ 2886210 w 7414874"/>
                    <a:gd name="connsiteY350" fmla="*/ 1057411 h 1611451"/>
                    <a:gd name="connsiteX351" fmla="*/ 2899211 w 7414874"/>
                    <a:gd name="connsiteY351" fmla="*/ 1057411 h 1611451"/>
                    <a:gd name="connsiteX352" fmla="*/ 2916546 w 7414874"/>
                    <a:gd name="connsiteY352" fmla="*/ 1074746 h 1611451"/>
                    <a:gd name="connsiteX353" fmla="*/ 2968550 w 7414874"/>
                    <a:gd name="connsiteY353" fmla="*/ 1074746 h 1611451"/>
                    <a:gd name="connsiteX354" fmla="*/ 2968550 w 7414874"/>
                    <a:gd name="connsiteY354" fmla="*/ 1092080 h 1611451"/>
                    <a:gd name="connsiteX355" fmla="*/ 3141896 w 7414874"/>
                    <a:gd name="connsiteY355" fmla="*/ 1092080 h 1611451"/>
                    <a:gd name="connsiteX356" fmla="*/ 3141896 w 7414874"/>
                    <a:gd name="connsiteY356" fmla="*/ 1122415 h 1611451"/>
                    <a:gd name="connsiteX357" fmla="*/ 3211234 w 7414874"/>
                    <a:gd name="connsiteY357" fmla="*/ 1122415 h 1611451"/>
                    <a:gd name="connsiteX358" fmla="*/ 3215568 w 7414874"/>
                    <a:gd name="connsiteY358" fmla="*/ 1122415 h 1611451"/>
                    <a:gd name="connsiteX359" fmla="*/ 3302241 w 7414874"/>
                    <a:gd name="connsiteY359" fmla="*/ 1122415 h 1611451"/>
                    <a:gd name="connsiteX360" fmla="*/ 3302241 w 7414874"/>
                    <a:gd name="connsiteY360" fmla="*/ 1148417 h 1611451"/>
                    <a:gd name="connsiteX361" fmla="*/ 3388914 w 7414874"/>
                    <a:gd name="connsiteY361" fmla="*/ 1148417 h 1611451"/>
                    <a:gd name="connsiteX362" fmla="*/ 3388914 w 7414874"/>
                    <a:gd name="connsiteY362" fmla="*/ 1157085 h 1611451"/>
                    <a:gd name="connsiteX363" fmla="*/ 3445251 w 7414874"/>
                    <a:gd name="connsiteY363" fmla="*/ 1157085 h 1611451"/>
                    <a:gd name="connsiteX364" fmla="*/ 3453919 w 7414874"/>
                    <a:gd name="connsiteY364" fmla="*/ 1165753 h 1611451"/>
                    <a:gd name="connsiteX365" fmla="*/ 3596929 w 7414874"/>
                    <a:gd name="connsiteY365" fmla="*/ 1165753 h 1611451"/>
                    <a:gd name="connsiteX366" fmla="*/ 3596929 w 7414874"/>
                    <a:gd name="connsiteY366" fmla="*/ 1178753 h 1611451"/>
                    <a:gd name="connsiteX367" fmla="*/ 3705270 w 7414874"/>
                    <a:gd name="connsiteY367" fmla="*/ 1178753 h 1611451"/>
                    <a:gd name="connsiteX368" fmla="*/ 3709604 w 7414874"/>
                    <a:gd name="connsiteY368" fmla="*/ 1183087 h 1611451"/>
                    <a:gd name="connsiteX369" fmla="*/ 3960956 w 7414874"/>
                    <a:gd name="connsiteY369" fmla="*/ 1183087 h 1611451"/>
                    <a:gd name="connsiteX370" fmla="*/ 3960956 w 7414874"/>
                    <a:gd name="connsiteY370" fmla="*/ 1204755 h 1611451"/>
                    <a:gd name="connsiteX371" fmla="*/ 3991291 w 7414874"/>
                    <a:gd name="connsiteY371" fmla="*/ 1204755 h 1611451"/>
                    <a:gd name="connsiteX372" fmla="*/ 3991291 w 7414874"/>
                    <a:gd name="connsiteY372" fmla="*/ 1178753 h 1611451"/>
                    <a:gd name="connsiteX373" fmla="*/ 4030294 w 7414874"/>
                    <a:gd name="connsiteY373" fmla="*/ 1178753 h 1611451"/>
                    <a:gd name="connsiteX374" fmla="*/ 4030294 w 7414874"/>
                    <a:gd name="connsiteY374" fmla="*/ 1213422 h 1611451"/>
                    <a:gd name="connsiteX375" fmla="*/ 4043295 w 7414874"/>
                    <a:gd name="connsiteY375" fmla="*/ 1213422 h 1611451"/>
                    <a:gd name="connsiteX376" fmla="*/ 4043295 w 7414874"/>
                    <a:gd name="connsiteY376" fmla="*/ 1222089 h 1611451"/>
                    <a:gd name="connsiteX377" fmla="*/ 4164637 w 7414874"/>
                    <a:gd name="connsiteY377" fmla="*/ 1222089 h 1611451"/>
                    <a:gd name="connsiteX378" fmla="*/ 4164637 w 7414874"/>
                    <a:gd name="connsiteY378" fmla="*/ 1243758 h 1611451"/>
                    <a:gd name="connsiteX379" fmla="*/ 4320648 w 7414874"/>
                    <a:gd name="connsiteY379" fmla="*/ 1243758 h 1611451"/>
                    <a:gd name="connsiteX380" fmla="*/ 4320648 w 7414874"/>
                    <a:gd name="connsiteY380" fmla="*/ 1261092 h 1611451"/>
                    <a:gd name="connsiteX381" fmla="*/ 4398654 w 7414874"/>
                    <a:gd name="connsiteY381" fmla="*/ 1261092 h 1611451"/>
                    <a:gd name="connsiteX382" fmla="*/ 4398654 w 7414874"/>
                    <a:gd name="connsiteY382" fmla="*/ 1287094 h 1611451"/>
                    <a:gd name="connsiteX383" fmla="*/ 4450658 w 7414874"/>
                    <a:gd name="connsiteY383" fmla="*/ 1287094 h 1611451"/>
                    <a:gd name="connsiteX384" fmla="*/ 4476660 w 7414874"/>
                    <a:gd name="connsiteY384" fmla="*/ 1287094 h 1611451"/>
                    <a:gd name="connsiteX385" fmla="*/ 4498328 w 7414874"/>
                    <a:gd name="connsiteY385" fmla="*/ 1308762 h 1611451"/>
                    <a:gd name="connsiteX386" fmla="*/ 4593668 w 7414874"/>
                    <a:gd name="connsiteY386" fmla="*/ 1308762 h 1611451"/>
                    <a:gd name="connsiteX387" fmla="*/ 4602336 w 7414874"/>
                    <a:gd name="connsiteY387" fmla="*/ 1317430 h 1611451"/>
                    <a:gd name="connsiteX388" fmla="*/ 4663007 w 7414874"/>
                    <a:gd name="connsiteY388" fmla="*/ 1317430 h 1611451"/>
                    <a:gd name="connsiteX389" fmla="*/ 4663007 w 7414874"/>
                    <a:gd name="connsiteY389" fmla="*/ 1339098 h 1611451"/>
                    <a:gd name="connsiteX390" fmla="*/ 4706343 w 7414874"/>
                    <a:gd name="connsiteY390" fmla="*/ 1339098 h 1611451"/>
                    <a:gd name="connsiteX391" fmla="*/ 4710677 w 7414874"/>
                    <a:gd name="connsiteY391" fmla="*/ 1343432 h 1611451"/>
                    <a:gd name="connsiteX392" fmla="*/ 4767014 w 7414874"/>
                    <a:gd name="connsiteY392" fmla="*/ 1343432 h 1611451"/>
                    <a:gd name="connsiteX393" fmla="*/ 4780015 w 7414874"/>
                    <a:gd name="connsiteY393" fmla="*/ 1356433 h 1611451"/>
                    <a:gd name="connsiteX394" fmla="*/ 5005365 w 7414874"/>
                    <a:gd name="connsiteY394" fmla="*/ 1356433 h 1611451"/>
                    <a:gd name="connsiteX395" fmla="*/ 5018366 w 7414874"/>
                    <a:gd name="connsiteY395" fmla="*/ 1369434 h 1611451"/>
                    <a:gd name="connsiteX396" fmla="*/ 5152709 w 7414874"/>
                    <a:gd name="connsiteY396" fmla="*/ 1369434 h 1611451"/>
                    <a:gd name="connsiteX397" fmla="*/ 5152709 w 7414874"/>
                    <a:gd name="connsiteY397" fmla="*/ 1391102 h 1611451"/>
                    <a:gd name="connsiteX398" fmla="*/ 5282719 w 7414874"/>
                    <a:gd name="connsiteY398" fmla="*/ 1391102 h 1611451"/>
                    <a:gd name="connsiteX399" fmla="*/ 5291386 w 7414874"/>
                    <a:gd name="connsiteY399" fmla="*/ 1399769 h 1611451"/>
                    <a:gd name="connsiteX400" fmla="*/ 5356391 w 7414874"/>
                    <a:gd name="connsiteY400" fmla="*/ 1399769 h 1611451"/>
                    <a:gd name="connsiteX401" fmla="*/ 5369392 w 7414874"/>
                    <a:gd name="connsiteY401" fmla="*/ 1399769 h 1611451"/>
                    <a:gd name="connsiteX402" fmla="*/ 5369392 w 7414874"/>
                    <a:gd name="connsiteY402" fmla="*/ 1421437 h 1611451"/>
                    <a:gd name="connsiteX403" fmla="*/ 5473399 w 7414874"/>
                    <a:gd name="connsiteY403" fmla="*/ 1421437 h 1611451"/>
                    <a:gd name="connsiteX404" fmla="*/ 5473399 w 7414874"/>
                    <a:gd name="connsiteY404" fmla="*/ 1399769 h 1611451"/>
                    <a:gd name="connsiteX405" fmla="*/ 5512402 w 7414874"/>
                    <a:gd name="connsiteY405" fmla="*/ 1399769 h 1611451"/>
                    <a:gd name="connsiteX406" fmla="*/ 5512402 w 7414874"/>
                    <a:gd name="connsiteY406" fmla="*/ 1425771 h 1611451"/>
                    <a:gd name="connsiteX407" fmla="*/ 5607742 w 7414874"/>
                    <a:gd name="connsiteY407" fmla="*/ 1425771 h 1611451"/>
                    <a:gd name="connsiteX408" fmla="*/ 5607742 w 7414874"/>
                    <a:gd name="connsiteY408" fmla="*/ 1399769 h 1611451"/>
                    <a:gd name="connsiteX409" fmla="*/ 5664080 w 7414874"/>
                    <a:gd name="connsiteY409" fmla="*/ 1399769 h 1611451"/>
                    <a:gd name="connsiteX410" fmla="*/ 5664080 w 7414874"/>
                    <a:gd name="connsiteY410" fmla="*/ 1434438 h 1611451"/>
                    <a:gd name="connsiteX411" fmla="*/ 5685748 w 7414874"/>
                    <a:gd name="connsiteY411" fmla="*/ 1434438 h 1611451"/>
                    <a:gd name="connsiteX412" fmla="*/ 5685748 w 7414874"/>
                    <a:gd name="connsiteY412" fmla="*/ 1443106 h 1611451"/>
                    <a:gd name="connsiteX413" fmla="*/ 5716083 w 7414874"/>
                    <a:gd name="connsiteY413" fmla="*/ 1443106 h 1611451"/>
                    <a:gd name="connsiteX414" fmla="*/ 5716083 w 7414874"/>
                    <a:gd name="connsiteY414" fmla="*/ 1456106 h 1611451"/>
                    <a:gd name="connsiteX415" fmla="*/ 5794089 w 7414874"/>
                    <a:gd name="connsiteY415" fmla="*/ 1456106 h 1611451"/>
                    <a:gd name="connsiteX416" fmla="*/ 5794089 w 7414874"/>
                    <a:gd name="connsiteY416" fmla="*/ 1421437 h 1611451"/>
                    <a:gd name="connsiteX417" fmla="*/ 5837426 w 7414874"/>
                    <a:gd name="connsiteY417" fmla="*/ 1421437 h 1611451"/>
                    <a:gd name="connsiteX418" fmla="*/ 5837426 w 7414874"/>
                    <a:gd name="connsiteY418" fmla="*/ 1456106 h 1611451"/>
                    <a:gd name="connsiteX419" fmla="*/ 5902430 w 7414874"/>
                    <a:gd name="connsiteY419" fmla="*/ 1456106 h 1611451"/>
                    <a:gd name="connsiteX420" fmla="*/ 5928432 w 7414874"/>
                    <a:gd name="connsiteY420" fmla="*/ 1456106 h 1611451"/>
                    <a:gd name="connsiteX421" fmla="*/ 5928432 w 7414874"/>
                    <a:gd name="connsiteY421" fmla="*/ 1473441 h 1611451"/>
                    <a:gd name="connsiteX422" fmla="*/ 5945767 w 7414874"/>
                    <a:gd name="connsiteY422" fmla="*/ 1473441 h 1611451"/>
                    <a:gd name="connsiteX423" fmla="*/ 5950101 w 7414874"/>
                    <a:gd name="connsiteY423" fmla="*/ 1477775 h 1611451"/>
                    <a:gd name="connsiteX424" fmla="*/ 6019439 w 7414874"/>
                    <a:gd name="connsiteY424" fmla="*/ 1477775 h 1611451"/>
                    <a:gd name="connsiteX425" fmla="*/ 6019439 w 7414874"/>
                    <a:gd name="connsiteY425" fmla="*/ 1456106 h 1611451"/>
                    <a:gd name="connsiteX426" fmla="*/ 6058442 w 7414874"/>
                    <a:gd name="connsiteY426" fmla="*/ 1456106 h 1611451"/>
                    <a:gd name="connsiteX427" fmla="*/ 6058442 w 7414874"/>
                    <a:gd name="connsiteY427" fmla="*/ 1499443 h 1611451"/>
                    <a:gd name="connsiteX428" fmla="*/ 6110446 w 7414874"/>
                    <a:gd name="connsiteY428" fmla="*/ 1499443 h 1611451"/>
                    <a:gd name="connsiteX429" fmla="*/ 6110446 w 7414874"/>
                    <a:gd name="connsiteY429" fmla="*/ 1508110 h 1611451"/>
                    <a:gd name="connsiteX430" fmla="*/ 6188451 w 7414874"/>
                    <a:gd name="connsiteY430" fmla="*/ 1508110 h 1611451"/>
                    <a:gd name="connsiteX431" fmla="*/ 6188451 w 7414874"/>
                    <a:gd name="connsiteY431" fmla="*/ 1464774 h 1611451"/>
                    <a:gd name="connsiteX432" fmla="*/ 6227454 w 7414874"/>
                    <a:gd name="connsiteY432" fmla="*/ 1464774 h 1611451"/>
                    <a:gd name="connsiteX433" fmla="*/ 6227454 w 7414874"/>
                    <a:gd name="connsiteY433" fmla="*/ 1516778 h 1611451"/>
                    <a:gd name="connsiteX434" fmla="*/ 6353130 w 7414874"/>
                    <a:gd name="connsiteY434" fmla="*/ 1516778 h 1611451"/>
                    <a:gd name="connsiteX435" fmla="*/ 6353130 w 7414874"/>
                    <a:gd name="connsiteY435" fmla="*/ 1477775 h 1611451"/>
                    <a:gd name="connsiteX436" fmla="*/ 6409467 w 7414874"/>
                    <a:gd name="connsiteY436" fmla="*/ 1477775 h 1611451"/>
                    <a:gd name="connsiteX437" fmla="*/ 6409467 w 7414874"/>
                    <a:gd name="connsiteY437" fmla="*/ 1529778 h 1611451"/>
                    <a:gd name="connsiteX438" fmla="*/ 6457138 w 7414874"/>
                    <a:gd name="connsiteY438" fmla="*/ 1529778 h 1611451"/>
                    <a:gd name="connsiteX439" fmla="*/ 6457138 w 7414874"/>
                    <a:gd name="connsiteY439" fmla="*/ 1482108 h 1611451"/>
                    <a:gd name="connsiteX440" fmla="*/ 6487473 w 7414874"/>
                    <a:gd name="connsiteY440" fmla="*/ 1482108 h 1611451"/>
                    <a:gd name="connsiteX441" fmla="*/ 6487473 w 7414874"/>
                    <a:gd name="connsiteY441" fmla="*/ 1529778 h 1611451"/>
                    <a:gd name="connsiteX442" fmla="*/ 6561145 w 7414874"/>
                    <a:gd name="connsiteY442" fmla="*/ 1529778 h 1611451"/>
                    <a:gd name="connsiteX443" fmla="*/ 6565479 w 7414874"/>
                    <a:gd name="connsiteY443" fmla="*/ 1534112 h 1611451"/>
                    <a:gd name="connsiteX444" fmla="*/ 6669486 w 7414874"/>
                    <a:gd name="connsiteY444" fmla="*/ 1534112 h 1611451"/>
                    <a:gd name="connsiteX445" fmla="*/ 6669486 w 7414874"/>
                    <a:gd name="connsiteY445" fmla="*/ 1499443 h 1611451"/>
                    <a:gd name="connsiteX446" fmla="*/ 6738825 w 7414874"/>
                    <a:gd name="connsiteY446" fmla="*/ 1499443 h 1611451"/>
                    <a:gd name="connsiteX447" fmla="*/ 6738825 w 7414874"/>
                    <a:gd name="connsiteY447" fmla="*/ 1542779 h 1611451"/>
                    <a:gd name="connsiteX448" fmla="*/ 6795162 w 7414874"/>
                    <a:gd name="connsiteY448" fmla="*/ 1542779 h 1611451"/>
                    <a:gd name="connsiteX449" fmla="*/ 6795162 w 7414874"/>
                    <a:gd name="connsiteY449" fmla="*/ 1499443 h 1611451"/>
                    <a:gd name="connsiteX450" fmla="*/ 6829831 w 7414874"/>
                    <a:gd name="connsiteY450" fmla="*/ 1499443 h 1611451"/>
                    <a:gd name="connsiteX451" fmla="*/ 6829831 w 7414874"/>
                    <a:gd name="connsiteY451" fmla="*/ 1529778 h 1611451"/>
                    <a:gd name="connsiteX452" fmla="*/ 6847166 w 7414874"/>
                    <a:gd name="connsiteY452" fmla="*/ 1529778 h 1611451"/>
                    <a:gd name="connsiteX453" fmla="*/ 6847166 w 7414874"/>
                    <a:gd name="connsiteY453" fmla="*/ 1555780 h 1611451"/>
                    <a:gd name="connsiteX454" fmla="*/ 7050847 w 7414874"/>
                    <a:gd name="connsiteY454" fmla="*/ 1555780 h 1611451"/>
                    <a:gd name="connsiteX455" fmla="*/ 7063848 w 7414874"/>
                    <a:gd name="connsiteY455" fmla="*/ 1568781 h 1611451"/>
                    <a:gd name="connsiteX456" fmla="*/ 7133187 w 7414874"/>
                    <a:gd name="connsiteY456" fmla="*/ 1568781 h 1611451"/>
                    <a:gd name="connsiteX457" fmla="*/ 7133187 w 7414874"/>
                    <a:gd name="connsiteY457" fmla="*/ 1586116 h 1611451"/>
                    <a:gd name="connsiteX458" fmla="*/ 7284865 w 7414874"/>
                    <a:gd name="connsiteY458" fmla="*/ 1586116 h 1611451"/>
                    <a:gd name="connsiteX459" fmla="*/ 7284865 w 7414874"/>
                    <a:gd name="connsiteY459" fmla="*/ 1607784 h 1611451"/>
                    <a:gd name="connsiteX460" fmla="*/ 7412493 w 7414874"/>
                    <a:gd name="connsiteY460" fmla="*/ 1611451 h 1611451"/>
                    <a:gd name="connsiteX0" fmla="*/ 7414875 w 7415104"/>
                    <a:gd name="connsiteY0" fmla="*/ 1611451 h 1611451"/>
                    <a:gd name="connsiteX1" fmla="*/ 7414874 w 7415104"/>
                    <a:gd name="connsiteY1" fmla="*/ 1508110 h 1611451"/>
                    <a:gd name="connsiteX2" fmla="*/ 7271864 w 7415104"/>
                    <a:gd name="connsiteY2" fmla="*/ 1508110 h 1611451"/>
                    <a:gd name="connsiteX3" fmla="*/ 7258863 w 7415104"/>
                    <a:gd name="connsiteY3" fmla="*/ 1495109 h 1611451"/>
                    <a:gd name="connsiteX4" fmla="*/ 7159189 w 7415104"/>
                    <a:gd name="connsiteY4" fmla="*/ 1495109 h 1611451"/>
                    <a:gd name="connsiteX5" fmla="*/ 7141854 w 7415104"/>
                    <a:gd name="connsiteY5" fmla="*/ 1477774 h 1611451"/>
                    <a:gd name="connsiteX6" fmla="*/ 7037847 w 7415104"/>
                    <a:gd name="connsiteY6" fmla="*/ 1477774 h 1611451"/>
                    <a:gd name="connsiteX7" fmla="*/ 7037847 w 7415104"/>
                    <a:gd name="connsiteY7" fmla="*/ 1451773 h 1611451"/>
                    <a:gd name="connsiteX8" fmla="*/ 6873168 w 7415104"/>
                    <a:gd name="connsiteY8" fmla="*/ 1451773 h 1611451"/>
                    <a:gd name="connsiteX9" fmla="*/ 6868834 w 7415104"/>
                    <a:gd name="connsiteY9" fmla="*/ 1447439 h 1611451"/>
                    <a:gd name="connsiteX10" fmla="*/ 6825498 w 7415104"/>
                    <a:gd name="connsiteY10" fmla="*/ 1447439 h 1611451"/>
                    <a:gd name="connsiteX11" fmla="*/ 6825498 w 7415104"/>
                    <a:gd name="connsiteY11" fmla="*/ 1495109 h 1611451"/>
                    <a:gd name="connsiteX12" fmla="*/ 6786495 w 7415104"/>
                    <a:gd name="connsiteY12" fmla="*/ 1495109 h 1611451"/>
                    <a:gd name="connsiteX13" fmla="*/ 6786495 w 7415104"/>
                    <a:gd name="connsiteY13" fmla="*/ 1443106 h 1611451"/>
                    <a:gd name="connsiteX14" fmla="*/ 6738825 w 7415104"/>
                    <a:gd name="connsiteY14" fmla="*/ 1443106 h 1611451"/>
                    <a:gd name="connsiteX15" fmla="*/ 6738824 w 7415104"/>
                    <a:gd name="connsiteY15" fmla="*/ 1477775 h 1611451"/>
                    <a:gd name="connsiteX16" fmla="*/ 6678154 w 7415104"/>
                    <a:gd name="connsiteY16" fmla="*/ 1477775 h 1611451"/>
                    <a:gd name="connsiteX17" fmla="*/ 6678154 w 7415104"/>
                    <a:gd name="connsiteY17" fmla="*/ 1438772 h 1611451"/>
                    <a:gd name="connsiteX18" fmla="*/ 6561145 w 7415104"/>
                    <a:gd name="connsiteY18" fmla="*/ 1438772 h 1611451"/>
                    <a:gd name="connsiteX19" fmla="*/ 6548144 w 7415104"/>
                    <a:gd name="connsiteY19" fmla="*/ 1425771 h 1611451"/>
                    <a:gd name="connsiteX20" fmla="*/ 6483139 w 7415104"/>
                    <a:gd name="connsiteY20" fmla="*/ 1425771 h 1611451"/>
                    <a:gd name="connsiteX21" fmla="*/ 6483139 w 7415104"/>
                    <a:gd name="connsiteY21" fmla="*/ 1482108 h 1611451"/>
                    <a:gd name="connsiteX22" fmla="*/ 6444137 w 7415104"/>
                    <a:gd name="connsiteY22" fmla="*/ 1482108 h 1611451"/>
                    <a:gd name="connsiteX23" fmla="*/ 6444137 w 7415104"/>
                    <a:gd name="connsiteY23" fmla="*/ 1434438 h 1611451"/>
                    <a:gd name="connsiteX24" fmla="*/ 6405134 w 7415104"/>
                    <a:gd name="connsiteY24" fmla="*/ 1434438 h 1611451"/>
                    <a:gd name="connsiteX25" fmla="*/ 6405134 w 7415104"/>
                    <a:gd name="connsiteY25" fmla="*/ 1477775 h 1611451"/>
                    <a:gd name="connsiteX26" fmla="*/ 6357464 w 7415104"/>
                    <a:gd name="connsiteY26" fmla="*/ 1477775 h 1611451"/>
                    <a:gd name="connsiteX27" fmla="*/ 6357464 w 7415104"/>
                    <a:gd name="connsiteY27" fmla="*/ 1430105 h 1611451"/>
                    <a:gd name="connsiteX28" fmla="*/ 6223120 w 7415104"/>
                    <a:gd name="connsiteY28" fmla="*/ 1430105 h 1611451"/>
                    <a:gd name="connsiteX29" fmla="*/ 6223120 w 7415104"/>
                    <a:gd name="connsiteY29" fmla="*/ 1443106 h 1611451"/>
                    <a:gd name="connsiteX30" fmla="*/ 6192785 w 7415104"/>
                    <a:gd name="connsiteY30" fmla="*/ 1443106 h 1611451"/>
                    <a:gd name="connsiteX31" fmla="*/ 6192785 w 7415104"/>
                    <a:gd name="connsiteY31" fmla="*/ 1412770 h 1611451"/>
                    <a:gd name="connsiteX32" fmla="*/ 6119113 w 7415104"/>
                    <a:gd name="connsiteY32" fmla="*/ 1412770 h 1611451"/>
                    <a:gd name="connsiteX33" fmla="*/ 6119113 w 7415104"/>
                    <a:gd name="connsiteY33" fmla="*/ 1399769 h 1611451"/>
                    <a:gd name="connsiteX34" fmla="*/ 6071443 w 7415104"/>
                    <a:gd name="connsiteY34" fmla="*/ 1399769 h 1611451"/>
                    <a:gd name="connsiteX35" fmla="*/ 6071443 w 7415104"/>
                    <a:gd name="connsiteY35" fmla="*/ 1382434 h 1611451"/>
                    <a:gd name="connsiteX36" fmla="*/ 6049774 w 7415104"/>
                    <a:gd name="connsiteY36" fmla="*/ 1382434 h 1611451"/>
                    <a:gd name="connsiteX37" fmla="*/ 6049774 w 7415104"/>
                    <a:gd name="connsiteY37" fmla="*/ 1421437 h 1611451"/>
                    <a:gd name="connsiteX38" fmla="*/ 6019439 w 7415104"/>
                    <a:gd name="connsiteY38" fmla="*/ 1421437 h 1611451"/>
                    <a:gd name="connsiteX39" fmla="*/ 6019439 w 7415104"/>
                    <a:gd name="connsiteY39" fmla="*/ 1391102 h 1611451"/>
                    <a:gd name="connsiteX40" fmla="*/ 5958768 w 7415104"/>
                    <a:gd name="connsiteY40" fmla="*/ 1391102 h 1611451"/>
                    <a:gd name="connsiteX41" fmla="*/ 5958768 w 7415104"/>
                    <a:gd name="connsiteY41" fmla="*/ 1373767 h 1611451"/>
                    <a:gd name="connsiteX42" fmla="*/ 5919765 w 7415104"/>
                    <a:gd name="connsiteY42" fmla="*/ 1373767 h 1611451"/>
                    <a:gd name="connsiteX43" fmla="*/ 5919765 w 7415104"/>
                    <a:gd name="connsiteY43" fmla="*/ 1352099 h 1611451"/>
                    <a:gd name="connsiteX44" fmla="*/ 5824425 w 7415104"/>
                    <a:gd name="connsiteY44" fmla="*/ 1352099 h 1611451"/>
                    <a:gd name="connsiteX45" fmla="*/ 5824425 w 7415104"/>
                    <a:gd name="connsiteY45" fmla="*/ 1399769 h 1611451"/>
                    <a:gd name="connsiteX46" fmla="*/ 5789756 w 7415104"/>
                    <a:gd name="connsiteY46" fmla="*/ 1399769 h 1611451"/>
                    <a:gd name="connsiteX47" fmla="*/ 5789756 w 7415104"/>
                    <a:gd name="connsiteY47" fmla="*/ 1365100 h 1611451"/>
                    <a:gd name="connsiteX48" fmla="*/ 5698749 w 7415104"/>
                    <a:gd name="connsiteY48" fmla="*/ 1365100 h 1611451"/>
                    <a:gd name="connsiteX49" fmla="*/ 5698749 w 7415104"/>
                    <a:gd name="connsiteY49" fmla="*/ 1326097 h 1611451"/>
                    <a:gd name="connsiteX50" fmla="*/ 5655412 w 7415104"/>
                    <a:gd name="connsiteY50" fmla="*/ 1326097 h 1611451"/>
                    <a:gd name="connsiteX51" fmla="*/ 5655412 w 7415104"/>
                    <a:gd name="connsiteY51" fmla="*/ 1373767 h 1611451"/>
                    <a:gd name="connsiteX52" fmla="*/ 5612076 w 7415104"/>
                    <a:gd name="connsiteY52" fmla="*/ 1373767 h 1611451"/>
                    <a:gd name="connsiteX53" fmla="*/ 5612076 w 7415104"/>
                    <a:gd name="connsiteY53" fmla="*/ 1334764 h 1611451"/>
                    <a:gd name="connsiteX54" fmla="*/ 5512402 w 7415104"/>
                    <a:gd name="connsiteY54" fmla="*/ 1334764 h 1611451"/>
                    <a:gd name="connsiteX55" fmla="*/ 5512402 w 7415104"/>
                    <a:gd name="connsiteY55" fmla="*/ 1360766 h 1611451"/>
                    <a:gd name="connsiteX56" fmla="*/ 5469065 w 7415104"/>
                    <a:gd name="connsiteY56" fmla="*/ 1360766 h 1611451"/>
                    <a:gd name="connsiteX57" fmla="*/ 5469065 w 7415104"/>
                    <a:gd name="connsiteY57" fmla="*/ 1321763 h 1611451"/>
                    <a:gd name="connsiteX58" fmla="*/ 5360724 w 7415104"/>
                    <a:gd name="connsiteY58" fmla="*/ 1321763 h 1611451"/>
                    <a:gd name="connsiteX59" fmla="*/ 5360724 w 7415104"/>
                    <a:gd name="connsiteY59" fmla="*/ 1304429 h 1611451"/>
                    <a:gd name="connsiteX60" fmla="*/ 5300053 w 7415104"/>
                    <a:gd name="connsiteY60" fmla="*/ 1304429 h 1611451"/>
                    <a:gd name="connsiteX61" fmla="*/ 5291386 w 7415104"/>
                    <a:gd name="connsiteY61" fmla="*/ 1295762 h 1611451"/>
                    <a:gd name="connsiteX62" fmla="*/ 5187378 w 7415104"/>
                    <a:gd name="connsiteY62" fmla="*/ 1295762 h 1611451"/>
                    <a:gd name="connsiteX63" fmla="*/ 5187378 w 7415104"/>
                    <a:gd name="connsiteY63" fmla="*/ 1278427 h 1611451"/>
                    <a:gd name="connsiteX64" fmla="*/ 5057369 w 7415104"/>
                    <a:gd name="connsiteY64" fmla="*/ 1278427 h 1611451"/>
                    <a:gd name="connsiteX65" fmla="*/ 5048701 w 7415104"/>
                    <a:gd name="connsiteY65" fmla="*/ 1269759 h 1611451"/>
                    <a:gd name="connsiteX66" fmla="*/ 4923026 w 7415104"/>
                    <a:gd name="connsiteY66" fmla="*/ 1269759 h 1611451"/>
                    <a:gd name="connsiteX67" fmla="*/ 4910025 w 7415104"/>
                    <a:gd name="connsiteY67" fmla="*/ 1256758 h 1611451"/>
                    <a:gd name="connsiteX68" fmla="*/ 4697676 w 7415104"/>
                    <a:gd name="connsiteY68" fmla="*/ 1256758 h 1611451"/>
                    <a:gd name="connsiteX69" fmla="*/ 4684675 w 7415104"/>
                    <a:gd name="connsiteY69" fmla="*/ 1243757 h 1611451"/>
                    <a:gd name="connsiteX70" fmla="*/ 4663007 w 7415104"/>
                    <a:gd name="connsiteY70" fmla="*/ 1243757 h 1611451"/>
                    <a:gd name="connsiteX71" fmla="*/ 4645673 w 7415104"/>
                    <a:gd name="connsiteY71" fmla="*/ 1226423 h 1611451"/>
                    <a:gd name="connsiteX72" fmla="*/ 4632672 w 7415104"/>
                    <a:gd name="connsiteY72" fmla="*/ 1213422 h 1611451"/>
                    <a:gd name="connsiteX73" fmla="*/ 4489661 w 7415104"/>
                    <a:gd name="connsiteY73" fmla="*/ 1213422 h 1611451"/>
                    <a:gd name="connsiteX74" fmla="*/ 4489661 w 7415104"/>
                    <a:gd name="connsiteY74" fmla="*/ 1200421 h 1611451"/>
                    <a:gd name="connsiteX75" fmla="*/ 4446324 w 7415104"/>
                    <a:gd name="connsiteY75" fmla="*/ 1200421 h 1611451"/>
                    <a:gd name="connsiteX76" fmla="*/ 4446324 w 7415104"/>
                    <a:gd name="connsiteY76" fmla="*/ 1183087 h 1611451"/>
                    <a:gd name="connsiteX77" fmla="*/ 4411655 w 7415104"/>
                    <a:gd name="connsiteY77" fmla="*/ 1183087 h 1611451"/>
                    <a:gd name="connsiteX78" fmla="*/ 4398654 w 7415104"/>
                    <a:gd name="connsiteY78" fmla="*/ 1170086 h 1611451"/>
                    <a:gd name="connsiteX79" fmla="*/ 4394321 w 7415104"/>
                    <a:gd name="connsiteY79" fmla="*/ 1174419 h 1611451"/>
                    <a:gd name="connsiteX80" fmla="*/ 4394321 w 7415104"/>
                    <a:gd name="connsiteY80" fmla="*/ 1200421 h 1611451"/>
                    <a:gd name="connsiteX81" fmla="*/ 4359651 w 7415104"/>
                    <a:gd name="connsiteY81" fmla="*/ 1200421 h 1611451"/>
                    <a:gd name="connsiteX82" fmla="*/ 4359651 w 7415104"/>
                    <a:gd name="connsiteY82" fmla="*/ 1157085 h 1611451"/>
                    <a:gd name="connsiteX83" fmla="*/ 4329316 w 7415104"/>
                    <a:gd name="connsiteY83" fmla="*/ 1157085 h 1611451"/>
                    <a:gd name="connsiteX84" fmla="*/ 4320648 w 7415104"/>
                    <a:gd name="connsiteY84" fmla="*/ 1148417 h 1611451"/>
                    <a:gd name="connsiteX85" fmla="*/ 4155970 w 7415104"/>
                    <a:gd name="connsiteY85" fmla="*/ 1148417 h 1611451"/>
                    <a:gd name="connsiteX86" fmla="*/ 4147302 w 7415104"/>
                    <a:gd name="connsiteY86" fmla="*/ 1139749 h 1611451"/>
                    <a:gd name="connsiteX87" fmla="*/ 4064963 w 7415104"/>
                    <a:gd name="connsiteY87" fmla="*/ 1139749 h 1611451"/>
                    <a:gd name="connsiteX88" fmla="*/ 4064963 w 7415104"/>
                    <a:gd name="connsiteY88" fmla="*/ 1122415 h 1611451"/>
                    <a:gd name="connsiteX89" fmla="*/ 4047628 w 7415104"/>
                    <a:gd name="connsiteY89" fmla="*/ 1122415 h 1611451"/>
                    <a:gd name="connsiteX90" fmla="*/ 4047628 w 7415104"/>
                    <a:gd name="connsiteY90" fmla="*/ 1105081 h 1611451"/>
                    <a:gd name="connsiteX91" fmla="*/ 4025960 w 7415104"/>
                    <a:gd name="connsiteY91" fmla="*/ 1105081 h 1611451"/>
                    <a:gd name="connsiteX92" fmla="*/ 4025960 w 7415104"/>
                    <a:gd name="connsiteY92" fmla="*/ 1152751 h 1611451"/>
                    <a:gd name="connsiteX93" fmla="*/ 3991291 w 7415104"/>
                    <a:gd name="connsiteY93" fmla="*/ 1152751 h 1611451"/>
                    <a:gd name="connsiteX94" fmla="*/ 3991291 w 7415104"/>
                    <a:gd name="connsiteY94" fmla="*/ 1109415 h 1611451"/>
                    <a:gd name="connsiteX95" fmla="*/ 3960956 w 7415104"/>
                    <a:gd name="connsiteY95" fmla="*/ 1109415 h 1611451"/>
                    <a:gd name="connsiteX96" fmla="*/ 3952288 w 7415104"/>
                    <a:gd name="connsiteY96" fmla="*/ 1100747 h 1611451"/>
                    <a:gd name="connsiteX97" fmla="*/ 3735606 w 7415104"/>
                    <a:gd name="connsiteY97" fmla="*/ 1100747 h 1611451"/>
                    <a:gd name="connsiteX98" fmla="*/ 3718272 w 7415104"/>
                    <a:gd name="connsiteY98" fmla="*/ 1083413 h 1611451"/>
                    <a:gd name="connsiteX99" fmla="*/ 3592595 w 7415104"/>
                    <a:gd name="connsiteY99" fmla="*/ 1083413 h 1611451"/>
                    <a:gd name="connsiteX100" fmla="*/ 3575261 w 7415104"/>
                    <a:gd name="connsiteY100" fmla="*/ 1066079 h 1611451"/>
                    <a:gd name="connsiteX101" fmla="*/ 3440918 w 7415104"/>
                    <a:gd name="connsiteY101" fmla="*/ 1066079 h 1611451"/>
                    <a:gd name="connsiteX102" fmla="*/ 3440918 w 7415104"/>
                    <a:gd name="connsiteY102" fmla="*/ 1040076 h 1611451"/>
                    <a:gd name="connsiteX103" fmla="*/ 3319575 w 7415104"/>
                    <a:gd name="connsiteY103" fmla="*/ 1040076 h 1611451"/>
                    <a:gd name="connsiteX104" fmla="*/ 3319575 w 7415104"/>
                    <a:gd name="connsiteY104" fmla="*/ 1027075 h 1611451"/>
                    <a:gd name="connsiteX105" fmla="*/ 3180899 w 7415104"/>
                    <a:gd name="connsiteY105" fmla="*/ 1027075 h 1611451"/>
                    <a:gd name="connsiteX106" fmla="*/ 3180899 w 7415104"/>
                    <a:gd name="connsiteY106" fmla="*/ 1020123 h 1611451"/>
                    <a:gd name="connsiteX107" fmla="*/ 3163564 w 7415104"/>
                    <a:gd name="connsiteY107" fmla="*/ 1018408 h 1611451"/>
                    <a:gd name="connsiteX108" fmla="*/ 3150563 w 7415104"/>
                    <a:gd name="connsiteY108" fmla="*/ 1005407 h 1611451"/>
                    <a:gd name="connsiteX109" fmla="*/ 2990218 w 7415104"/>
                    <a:gd name="connsiteY109" fmla="*/ 1005407 h 1611451"/>
                    <a:gd name="connsiteX110" fmla="*/ 2990218 w 7415104"/>
                    <a:gd name="connsiteY110" fmla="*/ 988072 h 1611451"/>
                    <a:gd name="connsiteX111" fmla="*/ 2907879 w 7415104"/>
                    <a:gd name="connsiteY111" fmla="*/ 988072 h 1611451"/>
                    <a:gd name="connsiteX112" fmla="*/ 2899211 w 7415104"/>
                    <a:gd name="connsiteY112" fmla="*/ 979404 h 1611451"/>
                    <a:gd name="connsiteX113" fmla="*/ 2868876 w 7415104"/>
                    <a:gd name="connsiteY113" fmla="*/ 979404 h 1611451"/>
                    <a:gd name="connsiteX114" fmla="*/ 2868876 w 7415104"/>
                    <a:gd name="connsiteY114" fmla="*/ 953403 h 1611451"/>
                    <a:gd name="connsiteX115" fmla="*/ 2842874 w 7415104"/>
                    <a:gd name="connsiteY115" fmla="*/ 953403 h 1611451"/>
                    <a:gd name="connsiteX116" fmla="*/ 2834207 w 7415104"/>
                    <a:gd name="connsiteY116" fmla="*/ 944736 h 1611451"/>
                    <a:gd name="connsiteX117" fmla="*/ 2756201 w 7415104"/>
                    <a:gd name="connsiteY117" fmla="*/ 944736 h 1611451"/>
                    <a:gd name="connsiteX118" fmla="*/ 2747534 w 7415104"/>
                    <a:gd name="connsiteY118" fmla="*/ 936069 h 1611451"/>
                    <a:gd name="connsiteX119" fmla="*/ 2699864 w 7415104"/>
                    <a:gd name="connsiteY119" fmla="*/ 936069 h 1611451"/>
                    <a:gd name="connsiteX120" fmla="*/ 2688815 w 7415104"/>
                    <a:gd name="connsiteY120" fmla="*/ 925019 h 1611451"/>
                    <a:gd name="connsiteX121" fmla="*/ 2643526 w 7415104"/>
                    <a:gd name="connsiteY121" fmla="*/ 927401 h 1611451"/>
                    <a:gd name="connsiteX122" fmla="*/ 2638099 w 7415104"/>
                    <a:gd name="connsiteY122" fmla="*/ 910067 h 1611451"/>
                    <a:gd name="connsiteX123" fmla="*/ 2616001 w 7415104"/>
                    <a:gd name="connsiteY123" fmla="*/ 899876 h 1611451"/>
                    <a:gd name="connsiteX124" fmla="*/ 2591522 w 7415104"/>
                    <a:gd name="connsiteY124" fmla="*/ 875397 h 1611451"/>
                    <a:gd name="connsiteX125" fmla="*/ 2561187 w 7415104"/>
                    <a:gd name="connsiteY125" fmla="*/ 875397 h 1611451"/>
                    <a:gd name="connsiteX126" fmla="*/ 2552519 w 7415104"/>
                    <a:gd name="connsiteY126" fmla="*/ 866729 h 1611451"/>
                    <a:gd name="connsiteX127" fmla="*/ 2500516 w 7415104"/>
                    <a:gd name="connsiteY127" fmla="*/ 866729 h 1611451"/>
                    <a:gd name="connsiteX128" fmla="*/ 2500516 w 7415104"/>
                    <a:gd name="connsiteY128" fmla="*/ 849396 h 1611451"/>
                    <a:gd name="connsiteX129" fmla="*/ 2444178 w 7415104"/>
                    <a:gd name="connsiteY129" fmla="*/ 849396 h 1611451"/>
                    <a:gd name="connsiteX130" fmla="*/ 2435510 w 7415104"/>
                    <a:gd name="connsiteY130" fmla="*/ 840728 h 1611451"/>
                    <a:gd name="connsiteX131" fmla="*/ 2413843 w 7415104"/>
                    <a:gd name="connsiteY131" fmla="*/ 840728 h 1611451"/>
                    <a:gd name="connsiteX132" fmla="*/ 2400842 w 7415104"/>
                    <a:gd name="connsiteY132" fmla="*/ 827727 h 1611451"/>
                    <a:gd name="connsiteX133" fmla="*/ 2348838 w 7415104"/>
                    <a:gd name="connsiteY133" fmla="*/ 827727 h 1611451"/>
                    <a:gd name="connsiteX134" fmla="*/ 2348838 w 7415104"/>
                    <a:gd name="connsiteY134" fmla="*/ 810393 h 1611451"/>
                    <a:gd name="connsiteX135" fmla="*/ 2309835 w 7415104"/>
                    <a:gd name="connsiteY135" fmla="*/ 810393 h 1611451"/>
                    <a:gd name="connsiteX136" fmla="*/ 2296834 w 7415104"/>
                    <a:gd name="connsiteY136" fmla="*/ 823394 h 1611451"/>
                    <a:gd name="connsiteX137" fmla="*/ 2266499 w 7415104"/>
                    <a:gd name="connsiteY137" fmla="*/ 823394 h 1611451"/>
                    <a:gd name="connsiteX138" fmla="*/ 2253498 w 7415104"/>
                    <a:gd name="connsiteY138" fmla="*/ 810393 h 1611451"/>
                    <a:gd name="connsiteX139" fmla="*/ 2244830 w 7415104"/>
                    <a:gd name="connsiteY139" fmla="*/ 801725 h 1611451"/>
                    <a:gd name="connsiteX140" fmla="*/ 2244830 w 7415104"/>
                    <a:gd name="connsiteY140" fmla="*/ 775724 h 1611451"/>
                    <a:gd name="connsiteX141" fmla="*/ 2123488 w 7415104"/>
                    <a:gd name="connsiteY141" fmla="*/ 775724 h 1611451"/>
                    <a:gd name="connsiteX142" fmla="*/ 2123488 w 7415104"/>
                    <a:gd name="connsiteY142" fmla="*/ 745388 h 1611451"/>
                    <a:gd name="connsiteX143" fmla="*/ 2071484 w 7415104"/>
                    <a:gd name="connsiteY143" fmla="*/ 745388 h 1611451"/>
                    <a:gd name="connsiteX144" fmla="*/ 2062817 w 7415104"/>
                    <a:gd name="connsiteY144" fmla="*/ 736721 h 1611451"/>
                    <a:gd name="connsiteX145" fmla="*/ 2006480 w 7415104"/>
                    <a:gd name="connsiteY145" fmla="*/ 736721 h 1611451"/>
                    <a:gd name="connsiteX146" fmla="*/ 2006480 w 7415104"/>
                    <a:gd name="connsiteY146" fmla="*/ 715052 h 1611451"/>
                    <a:gd name="connsiteX147" fmla="*/ 1906806 w 7415104"/>
                    <a:gd name="connsiteY147" fmla="*/ 715052 h 1611451"/>
                    <a:gd name="connsiteX148" fmla="*/ 1902473 w 7415104"/>
                    <a:gd name="connsiteY148" fmla="*/ 710719 h 1611451"/>
                    <a:gd name="connsiteX149" fmla="*/ 1863469 w 7415104"/>
                    <a:gd name="connsiteY149" fmla="*/ 710719 h 1611451"/>
                    <a:gd name="connsiteX150" fmla="*/ 1863469 w 7415104"/>
                    <a:gd name="connsiteY150" fmla="*/ 680383 h 1611451"/>
                    <a:gd name="connsiteX151" fmla="*/ 1807132 w 7415104"/>
                    <a:gd name="connsiteY151" fmla="*/ 680383 h 1611451"/>
                    <a:gd name="connsiteX152" fmla="*/ 1798465 w 7415104"/>
                    <a:gd name="connsiteY152" fmla="*/ 671716 h 1611451"/>
                    <a:gd name="connsiteX153" fmla="*/ 1785464 w 7415104"/>
                    <a:gd name="connsiteY153" fmla="*/ 671716 h 1611451"/>
                    <a:gd name="connsiteX154" fmla="*/ 1785464 w 7415104"/>
                    <a:gd name="connsiteY154" fmla="*/ 658715 h 1611451"/>
                    <a:gd name="connsiteX155" fmla="*/ 1750794 w 7415104"/>
                    <a:gd name="connsiteY155" fmla="*/ 658715 h 1611451"/>
                    <a:gd name="connsiteX156" fmla="*/ 1750794 w 7415104"/>
                    <a:gd name="connsiteY156" fmla="*/ 637047 h 1611451"/>
                    <a:gd name="connsiteX157" fmla="*/ 1698791 w 7415104"/>
                    <a:gd name="connsiteY157" fmla="*/ 637047 h 1611451"/>
                    <a:gd name="connsiteX158" fmla="*/ 1698791 w 7415104"/>
                    <a:gd name="connsiteY158" fmla="*/ 611045 h 1611451"/>
                    <a:gd name="connsiteX159" fmla="*/ 1616451 w 7415104"/>
                    <a:gd name="connsiteY159" fmla="*/ 611045 h 1611451"/>
                    <a:gd name="connsiteX160" fmla="*/ 1603450 w 7415104"/>
                    <a:gd name="connsiteY160" fmla="*/ 598044 h 1611451"/>
                    <a:gd name="connsiteX161" fmla="*/ 1590449 w 7415104"/>
                    <a:gd name="connsiteY161" fmla="*/ 598044 h 1611451"/>
                    <a:gd name="connsiteX162" fmla="*/ 1577448 w 7415104"/>
                    <a:gd name="connsiteY162" fmla="*/ 585043 h 1611451"/>
                    <a:gd name="connsiteX163" fmla="*/ 1529778 w 7415104"/>
                    <a:gd name="connsiteY163" fmla="*/ 585043 h 1611451"/>
                    <a:gd name="connsiteX164" fmla="*/ 1529778 w 7415104"/>
                    <a:gd name="connsiteY164" fmla="*/ 576376 h 1611451"/>
                    <a:gd name="connsiteX165" fmla="*/ 1477774 w 7415104"/>
                    <a:gd name="connsiteY165" fmla="*/ 576376 h 1611451"/>
                    <a:gd name="connsiteX166" fmla="*/ 1477774 w 7415104"/>
                    <a:gd name="connsiteY166" fmla="*/ 559041 h 1611451"/>
                    <a:gd name="connsiteX167" fmla="*/ 1408436 w 7415104"/>
                    <a:gd name="connsiteY167" fmla="*/ 559041 h 1611451"/>
                    <a:gd name="connsiteX168" fmla="*/ 1395435 w 7415104"/>
                    <a:gd name="connsiteY168" fmla="*/ 546040 h 1611451"/>
                    <a:gd name="connsiteX169" fmla="*/ 1330430 w 7415104"/>
                    <a:gd name="connsiteY169" fmla="*/ 546040 h 1611451"/>
                    <a:gd name="connsiteX170" fmla="*/ 1330430 w 7415104"/>
                    <a:gd name="connsiteY170" fmla="*/ 528706 h 1611451"/>
                    <a:gd name="connsiteX171" fmla="*/ 1274093 w 7415104"/>
                    <a:gd name="connsiteY171" fmla="*/ 528706 h 1611451"/>
                    <a:gd name="connsiteX172" fmla="*/ 1274093 w 7415104"/>
                    <a:gd name="connsiteY172" fmla="*/ 507037 h 1611451"/>
                    <a:gd name="connsiteX173" fmla="*/ 1191754 w 7415104"/>
                    <a:gd name="connsiteY173" fmla="*/ 507037 h 1611451"/>
                    <a:gd name="connsiteX174" fmla="*/ 1174419 w 7415104"/>
                    <a:gd name="connsiteY174" fmla="*/ 507037 h 1611451"/>
                    <a:gd name="connsiteX175" fmla="*/ 1148417 w 7415104"/>
                    <a:gd name="connsiteY175" fmla="*/ 507037 h 1611451"/>
                    <a:gd name="connsiteX176" fmla="*/ 1148417 w 7415104"/>
                    <a:gd name="connsiteY176" fmla="*/ 481035 h 1611451"/>
                    <a:gd name="connsiteX177" fmla="*/ 1092080 w 7415104"/>
                    <a:gd name="connsiteY177" fmla="*/ 481035 h 1611451"/>
                    <a:gd name="connsiteX178" fmla="*/ 1092080 w 7415104"/>
                    <a:gd name="connsiteY178" fmla="*/ 468034 h 1611451"/>
                    <a:gd name="connsiteX179" fmla="*/ 1044410 w 7415104"/>
                    <a:gd name="connsiteY179" fmla="*/ 468034 h 1611451"/>
                    <a:gd name="connsiteX180" fmla="*/ 1044410 w 7415104"/>
                    <a:gd name="connsiteY180" fmla="*/ 437699 h 1611451"/>
                    <a:gd name="connsiteX181" fmla="*/ 988072 w 7415104"/>
                    <a:gd name="connsiteY181" fmla="*/ 437699 h 1611451"/>
                    <a:gd name="connsiteX182" fmla="*/ 975071 w 7415104"/>
                    <a:gd name="connsiteY182" fmla="*/ 424698 h 1611451"/>
                    <a:gd name="connsiteX183" fmla="*/ 953403 w 7415104"/>
                    <a:gd name="connsiteY183" fmla="*/ 424698 h 1611451"/>
                    <a:gd name="connsiteX184" fmla="*/ 944736 w 7415104"/>
                    <a:gd name="connsiteY184" fmla="*/ 416031 h 1611451"/>
                    <a:gd name="connsiteX185" fmla="*/ 892732 w 7415104"/>
                    <a:gd name="connsiteY185" fmla="*/ 416031 h 1611451"/>
                    <a:gd name="connsiteX186" fmla="*/ 892732 w 7415104"/>
                    <a:gd name="connsiteY186" fmla="*/ 394362 h 1611451"/>
                    <a:gd name="connsiteX187" fmla="*/ 866730 w 7415104"/>
                    <a:gd name="connsiteY187" fmla="*/ 394362 h 1611451"/>
                    <a:gd name="connsiteX188" fmla="*/ 858063 w 7415104"/>
                    <a:gd name="connsiteY188" fmla="*/ 385695 h 1611451"/>
                    <a:gd name="connsiteX189" fmla="*/ 754055 w 7415104"/>
                    <a:gd name="connsiteY189" fmla="*/ 385695 h 1611451"/>
                    <a:gd name="connsiteX190" fmla="*/ 754055 w 7415104"/>
                    <a:gd name="connsiteY190" fmla="*/ 359693 h 1611451"/>
                    <a:gd name="connsiteX191" fmla="*/ 723719 w 7415104"/>
                    <a:gd name="connsiteY191" fmla="*/ 359693 h 1611451"/>
                    <a:gd name="connsiteX192" fmla="*/ 723719 w 7415104"/>
                    <a:gd name="connsiteY192" fmla="*/ 342359 h 1611451"/>
                    <a:gd name="connsiteX193" fmla="*/ 658715 w 7415104"/>
                    <a:gd name="connsiteY193" fmla="*/ 342359 h 1611451"/>
                    <a:gd name="connsiteX194" fmla="*/ 650047 w 7415104"/>
                    <a:gd name="connsiteY194" fmla="*/ 333691 h 1611451"/>
                    <a:gd name="connsiteX195" fmla="*/ 628379 w 7415104"/>
                    <a:gd name="connsiteY195" fmla="*/ 333691 h 1611451"/>
                    <a:gd name="connsiteX196" fmla="*/ 628379 w 7415104"/>
                    <a:gd name="connsiteY196" fmla="*/ 316357 h 1611451"/>
                    <a:gd name="connsiteX197" fmla="*/ 598044 w 7415104"/>
                    <a:gd name="connsiteY197" fmla="*/ 316357 h 1611451"/>
                    <a:gd name="connsiteX198" fmla="*/ 598044 w 7415104"/>
                    <a:gd name="connsiteY198" fmla="*/ 294688 h 1611451"/>
                    <a:gd name="connsiteX199" fmla="*/ 576375 w 7415104"/>
                    <a:gd name="connsiteY199" fmla="*/ 294688 h 1611451"/>
                    <a:gd name="connsiteX200" fmla="*/ 576375 w 7415104"/>
                    <a:gd name="connsiteY200" fmla="*/ 281687 h 1611451"/>
                    <a:gd name="connsiteX201" fmla="*/ 554707 w 7415104"/>
                    <a:gd name="connsiteY201" fmla="*/ 281687 h 1611451"/>
                    <a:gd name="connsiteX202" fmla="*/ 554707 w 7415104"/>
                    <a:gd name="connsiteY202" fmla="*/ 268687 h 1611451"/>
                    <a:gd name="connsiteX203" fmla="*/ 489702 w 7415104"/>
                    <a:gd name="connsiteY203" fmla="*/ 268687 h 1611451"/>
                    <a:gd name="connsiteX204" fmla="*/ 489702 w 7415104"/>
                    <a:gd name="connsiteY204" fmla="*/ 242685 h 1611451"/>
                    <a:gd name="connsiteX205" fmla="*/ 455033 w 7415104"/>
                    <a:gd name="connsiteY205" fmla="*/ 242685 h 1611451"/>
                    <a:gd name="connsiteX206" fmla="*/ 455033 w 7415104"/>
                    <a:gd name="connsiteY206" fmla="*/ 216683 h 1611451"/>
                    <a:gd name="connsiteX207" fmla="*/ 437699 w 7415104"/>
                    <a:gd name="connsiteY207" fmla="*/ 216683 h 1611451"/>
                    <a:gd name="connsiteX208" fmla="*/ 437699 w 7415104"/>
                    <a:gd name="connsiteY208" fmla="*/ 186347 h 1611451"/>
                    <a:gd name="connsiteX209" fmla="*/ 407363 w 7415104"/>
                    <a:gd name="connsiteY209" fmla="*/ 186347 h 1611451"/>
                    <a:gd name="connsiteX210" fmla="*/ 407363 w 7415104"/>
                    <a:gd name="connsiteY210" fmla="*/ 173346 h 1611451"/>
                    <a:gd name="connsiteX211" fmla="*/ 372694 w 7415104"/>
                    <a:gd name="connsiteY211" fmla="*/ 173346 h 1611451"/>
                    <a:gd name="connsiteX212" fmla="*/ 372694 w 7415104"/>
                    <a:gd name="connsiteY212" fmla="*/ 151678 h 1611451"/>
                    <a:gd name="connsiteX213" fmla="*/ 355359 w 7415104"/>
                    <a:gd name="connsiteY213" fmla="*/ 151678 h 1611451"/>
                    <a:gd name="connsiteX214" fmla="*/ 355359 w 7415104"/>
                    <a:gd name="connsiteY214" fmla="*/ 138677 h 1611451"/>
                    <a:gd name="connsiteX215" fmla="*/ 303356 w 7415104"/>
                    <a:gd name="connsiteY215" fmla="*/ 138677 h 1611451"/>
                    <a:gd name="connsiteX216" fmla="*/ 303356 w 7415104"/>
                    <a:gd name="connsiteY216" fmla="*/ 95341 h 1611451"/>
                    <a:gd name="connsiteX217" fmla="*/ 268686 w 7415104"/>
                    <a:gd name="connsiteY217" fmla="*/ 95341 h 1611451"/>
                    <a:gd name="connsiteX218" fmla="*/ 268686 w 7415104"/>
                    <a:gd name="connsiteY218" fmla="*/ 82340 h 1611451"/>
                    <a:gd name="connsiteX219" fmla="*/ 234017 w 7415104"/>
                    <a:gd name="connsiteY219" fmla="*/ 82340 h 1611451"/>
                    <a:gd name="connsiteX220" fmla="*/ 234017 w 7415104"/>
                    <a:gd name="connsiteY220" fmla="*/ 47670 h 1611451"/>
                    <a:gd name="connsiteX221" fmla="*/ 208015 w 7415104"/>
                    <a:gd name="connsiteY221" fmla="*/ 47670 h 1611451"/>
                    <a:gd name="connsiteX222" fmla="*/ 208015 w 7415104"/>
                    <a:gd name="connsiteY222" fmla="*/ 39003 h 1611451"/>
                    <a:gd name="connsiteX223" fmla="*/ 156011 w 7415104"/>
                    <a:gd name="connsiteY223" fmla="*/ 39003 h 1611451"/>
                    <a:gd name="connsiteX224" fmla="*/ 156011 w 7415104"/>
                    <a:gd name="connsiteY224" fmla="*/ 26002 h 1611451"/>
                    <a:gd name="connsiteX225" fmla="*/ 121342 w 7415104"/>
                    <a:gd name="connsiteY225" fmla="*/ 26002 h 1611451"/>
                    <a:gd name="connsiteX226" fmla="*/ 121342 w 7415104"/>
                    <a:gd name="connsiteY226" fmla="*/ 0 h 1611451"/>
                    <a:gd name="connsiteX227" fmla="*/ 82339 w 7415104"/>
                    <a:gd name="connsiteY227" fmla="*/ 0 h 1611451"/>
                    <a:gd name="connsiteX228" fmla="*/ 82339 w 7415104"/>
                    <a:gd name="connsiteY228" fmla="*/ 43337 h 1611451"/>
                    <a:gd name="connsiteX229" fmla="*/ 0 w 7415104"/>
                    <a:gd name="connsiteY229" fmla="*/ 43337 h 1611451"/>
                    <a:gd name="connsiteX230" fmla="*/ 8667 w 7415104"/>
                    <a:gd name="connsiteY230" fmla="*/ 34670 h 1611451"/>
                    <a:gd name="connsiteX231" fmla="*/ 8667 w 7415104"/>
                    <a:gd name="connsiteY231" fmla="*/ 52004 h 1611451"/>
                    <a:gd name="connsiteX232" fmla="*/ 21668 w 7415104"/>
                    <a:gd name="connsiteY232" fmla="*/ 52004 h 1611451"/>
                    <a:gd name="connsiteX233" fmla="*/ 21668 w 7415104"/>
                    <a:gd name="connsiteY233" fmla="*/ 65005 h 1611451"/>
                    <a:gd name="connsiteX234" fmla="*/ 52004 w 7415104"/>
                    <a:gd name="connsiteY234" fmla="*/ 65005 h 1611451"/>
                    <a:gd name="connsiteX235" fmla="*/ 52004 w 7415104"/>
                    <a:gd name="connsiteY235" fmla="*/ 86673 h 1611451"/>
                    <a:gd name="connsiteX236" fmla="*/ 78006 w 7415104"/>
                    <a:gd name="connsiteY236" fmla="*/ 86673 h 1611451"/>
                    <a:gd name="connsiteX237" fmla="*/ 78006 w 7415104"/>
                    <a:gd name="connsiteY237" fmla="*/ 125676 h 1611451"/>
                    <a:gd name="connsiteX238" fmla="*/ 138677 w 7415104"/>
                    <a:gd name="connsiteY238" fmla="*/ 125676 h 1611451"/>
                    <a:gd name="connsiteX239" fmla="*/ 147344 w 7415104"/>
                    <a:gd name="connsiteY239" fmla="*/ 134343 h 1611451"/>
                    <a:gd name="connsiteX240" fmla="*/ 164679 w 7415104"/>
                    <a:gd name="connsiteY240" fmla="*/ 134343 h 1611451"/>
                    <a:gd name="connsiteX241" fmla="*/ 164679 w 7415104"/>
                    <a:gd name="connsiteY241" fmla="*/ 156012 h 1611451"/>
                    <a:gd name="connsiteX242" fmla="*/ 182013 w 7415104"/>
                    <a:gd name="connsiteY242" fmla="*/ 156012 h 1611451"/>
                    <a:gd name="connsiteX243" fmla="*/ 195014 w 7415104"/>
                    <a:gd name="connsiteY243" fmla="*/ 169013 h 1611451"/>
                    <a:gd name="connsiteX244" fmla="*/ 225350 w 7415104"/>
                    <a:gd name="connsiteY244" fmla="*/ 169013 h 1611451"/>
                    <a:gd name="connsiteX245" fmla="*/ 225350 w 7415104"/>
                    <a:gd name="connsiteY245" fmla="*/ 208015 h 1611451"/>
                    <a:gd name="connsiteX246" fmla="*/ 251352 w 7415104"/>
                    <a:gd name="connsiteY246" fmla="*/ 208015 h 1611451"/>
                    <a:gd name="connsiteX247" fmla="*/ 260019 w 7415104"/>
                    <a:gd name="connsiteY247" fmla="*/ 216682 h 1611451"/>
                    <a:gd name="connsiteX248" fmla="*/ 273021 w 7415104"/>
                    <a:gd name="connsiteY248" fmla="*/ 229684 h 1611451"/>
                    <a:gd name="connsiteX249" fmla="*/ 273021 w 7415104"/>
                    <a:gd name="connsiteY249" fmla="*/ 251352 h 1611451"/>
                    <a:gd name="connsiteX250" fmla="*/ 303356 w 7415104"/>
                    <a:gd name="connsiteY250" fmla="*/ 251352 h 1611451"/>
                    <a:gd name="connsiteX251" fmla="*/ 303356 w 7415104"/>
                    <a:gd name="connsiteY251" fmla="*/ 268687 h 1611451"/>
                    <a:gd name="connsiteX252" fmla="*/ 342358 w 7415104"/>
                    <a:gd name="connsiteY252" fmla="*/ 268687 h 1611451"/>
                    <a:gd name="connsiteX253" fmla="*/ 342358 w 7415104"/>
                    <a:gd name="connsiteY253" fmla="*/ 286021 h 1611451"/>
                    <a:gd name="connsiteX254" fmla="*/ 385695 w 7415104"/>
                    <a:gd name="connsiteY254" fmla="*/ 286021 h 1611451"/>
                    <a:gd name="connsiteX255" fmla="*/ 385695 w 7415104"/>
                    <a:gd name="connsiteY255" fmla="*/ 286021 h 1611451"/>
                    <a:gd name="connsiteX256" fmla="*/ 407363 w 7415104"/>
                    <a:gd name="connsiteY256" fmla="*/ 307689 h 1611451"/>
                    <a:gd name="connsiteX257" fmla="*/ 424698 w 7415104"/>
                    <a:gd name="connsiteY257" fmla="*/ 325024 h 1611451"/>
                    <a:gd name="connsiteX258" fmla="*/ 472368 w 7415104"/>
                    <a:gd name="connsiteY258" fmla="*/ 325024 h 1611451"/>
                    <a:gd name="connsiteX259" fmla="*/ 472368 w 7415104"/>
                    <a:gd name="connsiteY259" fmla="*/ 355360 h 1611451"/>
                    <a:gd name="connsiteX260" fmla="*/ 511371 w 7415104"/>
                    <a:gd name="connsiteY260" fmla="*/ 355360 h 1611451"/>
                    <a:gd name="connsiteX261" fmla="*/ 511371 w 7415104"/>
                    <a:gd name="connsiteY261" fmla="*/ 377028 h 1611451"/>
                    <a:gd name="connsiteX262" fmla="*/ 559041 w 7415104"/>
                    <a:gd name="connsiteY262" fmla="*/ 377028 h 1611451"/>
                    <a:gd name="connsiteX263" fmla="*/ 559041 w 7415104"/>
                    <a:gd name="connsiteY263" fmla="*/ 398696 h 1611451"/>
                    <a:gd name="connsiteX264" fmla="*/ 589376 w 7415104"/>
                    <a:gd name="connsiteY264" fmla="*/ 398696 h 1611451"/>
                    <a:gd name="connsiteX265" fmla="*/ 602377 w 7415104"/>
                    <a:gd name="connsiteY265" fmla="*/ 411697 h 1611451"/>
                    <a:gd name="connsiteX266" fmla="*/ 650047 w 7415104"/>
                    <a:gd name="connsiteY266" fmla="*/ 411697 h 1611451"/>
                    <a:gd name="connsiteX267" fmla="*/ 650047 w 7415104"/>
                    <a:gd name="connsiteY267" fmla="*/ 450700 h 1611451"/>
                    <a:gd name="connsiteX268" fmla="*/ 758389 w 7415104"/>
                    <a:gd name="connsiteY268" fmla="*/ 450700 h 1611451"/>
                    <a:gd name="connsiteX269" fmla="*/ 758389 w 7415104"/>
                    <a:gd name="connsiteY269" fmla="*/ 481035 h 1611451"/>
                    <a:gd name="connsiteX270" fmla="*/ 875397 w 7415104"/>
                    <a:gd name="connsiteY270" fmla="*/ 481035 h 1611451"/>
                    <a:gd name="connsiteX271" fmla="*/ 875397 w 7415104"/>
                    <a:gd name="connsiteY271" fmla="*/ 507037 h 1611451"/>
                    <a:gd name="connsiteX272" fmla="*/ 927401 w 7415104"/>
                    <a:gd name="connsiteY272" fmla="*/ 507037 h 1611451"/>
                    <a:gd name="connsiteX273" fmla="*/ 927401 w 7415104"/>
                    <a:gd name="connsiteY273" fmla="*/ 524372 h 1611451"/>
                    <a:gd name="connsiteX274" fmla="*/ 979405 w 7415104"/>
                    <a:gd name="connsiteY274" fmla="*/ 524372 h 1611451"/>
                    <a:gd name="connsiteX275" fmla="*/ 992406 w 7415104"/>
                    <a:gd name="connsiteY275" fmla="*/ 524372 h 1611451"/>
                    <a:gd name="connsiteX276" fmla="*/ 1005407 w 7415104"/>
                    <a:gd name="connsiteY276" fmla="*/ 537373 h 1611451"/>
                    <a:gd name="connsiteX277" fmla="*/ 1027075 w 7415104"/>
                    <a:gd name="connsiteY277" fmla="*/ 537373 h 1611451"/>
                    <a:gd name="connsiteX278" fmla="*/ 1057410 w 7415104"/>
                    <a:gd name="connsiteY278" fmla="*/ 537373 h 1611451"/>
                    <a:gd name="connsiteX279" fmla="*/ 1057410 w 7415104"/>
                    <a:gd name="connsiteY279" fmla="*/ 563375 h 1611451"/>
                    <a:gd name="connsiteX280" fmla="*/ 1079079 w 7415104"/>
                    <a:gd name="connsiteY280" fmla="*/ 563375 h 1611451"/>
                    <a:gd name="connsiteX281" fmla="*/ 1079079 w 7415104"/>
                    <a:gd name="connsiteY281" fmla="*/ 576376 h 1611451"/>
                    <a:gd name="connsiteX282" fmla="*/ 1157084 w 7415104"/>
                    <a:gd name="connsiteY282" fmla="*/ 576376 h 1611451"/>
                    <a:gd name="connsiteX283" fmla="*/ 1157084 w 7415104"/>
                    <a:gd name="connsiteY283" fmla="*/ 589377 h 1611451"/>
                    <a:gd name="connsiteX284" fmla="*/ 1196087 w 7415104"/>
                    <a:gd name="connsiteY284" fmla="*/ 589377 h 1611451"/>
                    <a:gd name="connsiteX285" fmla="*/ 1196087 w 7415104"/>
                    <a:gd name="connsiteY285" fmla="*/ 598044 h 1611451"/>
                    <a:gd name="connsiteX286" fmla="*/ 1243757 w 7415104"/>
                    <a:gd name="connsiteY286" fmla="*/ 598044 h 1611451"/>
                    <a:gd name="connsiteX287" fmla="*/ 1256758 w 7415104"/>
                    <a:gd name="connsiteY287" fmla="*/ 611045 h 1611451"/>
                    <a:gd name="connsiteX288" fmla="*/ 1269759 w 7415104"/>
                    <a:gd name="connsiteY288" fmla="*/ 624046 h 1611451"/>
                    <a:gd name="connsiteX289" fmla="*/ 1334764 w 7415104"/>
                    <a:gd name="connsiteY289" fmla="*/ 624046 h 1611451"/>
                    <a:gd name="connsiteX290" fmla="*/ 1334764 w 7415104"/>
                    <a:gd name="connsiteY290" fmla="*/ 645714 h 1611451"/>
                    <a:gd name="connsiteX291" fmla="*/ 1425771 w 7415104"/>
                    <a:gd name="connsiteY291" fmla="*/ 645714 h 1611451"/>
                    <a:gd name="connsiteX292" fmla="*/ 1434438 w 7415104"/>
                    <a:gd name="connsiteY292" fmla="*/ 654381 h 1611451"/>
                    <a:gd name="connsiteX293" fmla="*/ 1456106 w 7415104"/>
                    <a:gd name="connsiteY293" fmla="*/ 654381 h 1611451"/>
                    <a:gd name="connsiteX294" fmla="*/ 1456106 w 7415104"/>
                    <a:gd name="connsiteY294" fmla="*/ 667382 h 1611451"/>
                    <a:gd name="connsiteX295" fmla="*/ 1508110 w 7415104"/>
                    <a:gd name="connsiteY295" fmla="*/ 667382 h 1611451"/>
                    <a:gd name="connsiteX296" fmla="*/ 1508110 w 7415104"/>
                    <a:gd name="connsiteY296" fmla="*/ 684717 h 1611451"/>
                    <a:gd name="connsiteX297" fmla="*/ 1564447 w 7415104"/>
                    <a:gd name="connsiteY297" fmla="*/ 684717 h 1611451"/>
                    <a:gd name="connsiteX298" fmla="*/ 1568781 w 7415104"/>
                    <a:gd name="connsiteY298" fmla="*/ 689051 h 1611451"/>
                    <a:gd name="connsiteX299" fmla="*/ 1612118 w 7415104"/>
                    <a:gd name="connsiteY299" fmla="*/ 689051 h 1611451"/>
                    <a:gd name="connsiteX300" fmla="*/ 1625119 w 7415104"/>
                    <a:gd name="connsiteY300" fmla="*/ 702052 h 1611451"/>
                    <a:gd name="connsiteX301" fmla="*/ 1677122 w 7415104"/>
                    <a:gd name="connsiteY301" fmla="*/ 702052 h 1611451"/>
                    <a:gd name="connsiteX302" fmla="*/ 1685790 w 7415104"/>
                    <a:gd name="connsiteY302" fmla="*/ 710720 h 1611451"/>
                    <a:gd name="connsiteX303" fmla="*/ 1703123 w 7415104"/>
                    <a:gd name="connsiteY303" fmla="*/ 728053 h 1611451"/>
                    <a:gd name="connsiteX304" fmla="*/ 1716124 w 7415104"/>
                    <a:gd name="connsiteY304" fmla="*/ 741054 h 1611451"/>
                    <a:gd name="connsiteX305" fmla="*/ 1750794 w 7415104"/>
                    <a:gd name="connsiteY305" fmla="*/ 741054 h 1611451"/>
                    <a:gd name="connsiteX306" fmla="*/ 1750794 w 7415104"/>
                    <a:gd name="connsiteY306" fmla="*/ 767056 h 1611451"/>
                    <a:gd name="connsiteX307" fmla="*/ 1798465 w 7415104"/>
                    <a:gd name="connsiteY307" fmla="*/ 767056 h 1611451"/>
                    <a:gd name="connsiteX308" fmla="*/ 1798465 w 7415104"/>
                    <a:gd name="connsiteY308" fmla="*/ 780057 h 1611451"/>
                    <a:gd name="connsiteX309" fmla="*/ 1841801 w 7415104"/>
                    <a:gd name="connsiteY309" fmla="*/ 780057 h 1611451"/>
                    <a:gd name="connsiteX310" fmla="*/ 1841801 w 7415104"/>
                    <a:gd name="connsiteY310" fmla="*/ 797392 h 1611451"/>
                    <a:gd name="connsiteX311" fmla="*/ 1876470 w 7415104"/>
                    <a:gd name="connsiteY311" fmla="*/ 797392 h 1611451"/>
                    <a:gd name="connsiteX312" fmla="*/ 1885138 w 7415104"/>
                    <a:gd name="connsiteY312" fmla="*/ 806060 h 1611451"/>
                    <a:gd name="connsiteX313" fmla="*/ 1963143 w 7415104"/>
                    <a:gd name="connsiteY313" fmla="*/ 806060 h 1611451"/>
                    <a:gd name="connsiteX314" fmla="*/ 2006480 w 7415104"/>
                    <a:gd name="connsiteY314" fmla="*/ 806060 h 1611451"/>
                    <a:gd name="connsiteX315" fmla="*/ 2036815 w 7415104"/>
                    <a:gd name="connsiteY315" fmla="*/ 836395 h 1611451"/>
                    <a:gd name="connsiteX316" fmla="*/ 2049816 w 7415104"/>
                    <a:gd name="connsiteY316" fmla="*/ 836395 h 1611451"/>
                    <a:gd name="connsiteX317" fmla="*/ 2106154 w 7415104"/>
                    <a:gd name="connsiteY317" fmla="*/ 836395 h 1611451"/>
                    <a:gd name="connsiteX318" fmla="*/ 2106154 w 7415104"/>
                    <a:gd name="connsiteY318" fmla="*/ 862396 h 1611451"/>
                    <a:gd name="connsiteX319" fmla="*/ 2119155 w 7415104"/>
                    <a:gd name="connsiteY319" fmla="*/ 862396 h 1611451"/>
                    <a:gd name="connsiteX320" fmla="*/ 2136489 w 7415104"/>
                    <a:gd name="connsiteY320" fmla="*/ 862396 h 1611451"/>
                    <a:gd name="connsiteX321" fmla="*/ 2184159 w 7415104"/>
                    <a:gd name="connsiteY321" fmla="*/ 862396 h 1611451"/>
                    <a:gd name="connsiteX322" fmla="*/ 2184159 w 7415104"/>
                    <a:gd name="connsiteY322" fmla="*/ 888398 h 1611451"/>
                    <a:gd name="connsiteX323" fmla="*/ 2200254 w 7415104"/>
                    <a:gd name="connsiteY323" fmla="*/ 883636 h 1611451"/>
                    <a:gd name="connsiteX324" fmla="*/ 2240733 w 7415104"/>
                    <a:gd name="connsiteY324" fmla="*/ 881254 h 1611451"/>
                    <a:gd name="connsiteX325" fmla="*/ 2240102 w 7415104"/>
                    <a:gd name="connsiteY325" fmla="*/ 914626 h 1611451"/>
                    <a:gd name="connsiteX326" fmla="*/ 2265640 w 7415104"/>
                    <a:gd name="connsiteY326" fmla="*/ 915879 h 1611451"/>
                    <a:gd name="connsiteX327" fmla="*/ 2266296 w 7415104"/>
                    <a:gd name="connsiteY327" fmla="*/ 886052 h 1611451"/>
                    <a:gd name="connsiteX328" fmla="*/ 2301168 w 7415104"/>
                    <a:gd name="connsiteY328" fmla="*/ 880160 h 1611451"/>
                    <a:gd name="connsiteX329" fmla="*/ 2301168 w 7415104"/>
                    <a:gd name="connsiteY329" fmla="*/ 914400 h 1611451"/>
                    <a:gd name="connsiteX330" fmla="*/ 2335837 w 7415104"/>
                    <a:gd name="connsiteY330" fmla="*/ 914400 h 1611451"/>
                    <a:gd name="connsiteX331" fmla="*/ 2335837 w 7415104"/>
                    <a:gd name="connsiteY331" fmla="*/ 923068 h 1611451"/>
                    <a:gd name="connsiteX332" fmla="*/ 2400842 w 7415104"/>
                    <a:gd name="connsiteY332" fmla="*/ 923068 h 1611451"/>
                    <a:gd name="connsiteX333" fmla="*/ 2400842 w 7415104"/>
                    <a:gd name="connsiteY333" fmla="*/ 936069 h 1611451"/>
                    <a:gd name="connsiteX334" fmla="*/ 2439845 w 7415104"/>
                    <a:gd name="connsiteY334" fmla="*/ 936069 h 1611451"/>
                    <a:gd name="connsiteX335" fmla="*/ 2452846 w 7415104"/>
                    <a:gd name="connsiteY335" fmla="*/ 949070 h 1611451"/>
                    <a:gd name="connsiteX336" fmla="*/ 2500516 w 7415104"/>
                    <a:gd name="connsiteY336" fmla="*/ 949070 h 1611451"/>
                    <a:gd name="connsiteX337" fmla="*/ 2513517 w 7415104"/>
                    <a:gd name="connsiteY337" fmla="*/ 962071 h 1611451"/>
                    <a:gd name="connsiteX338" fmla="*/ 2543852 w 7415104"/>
                    <a:gd name="connsiteY338" fmla="*/ 962071 h 1611451"/>
                    <a:gd name="connsiteX339" fmla="*/ 2543852 w 7415104"/>
                    <a:gd name="connsiteY339" fmla="*/ 979405 h 1611451"/>
                    <a:gd name="connsiteX340" fmla="*/ 2591522 w 7415104"/>
                    <a:gd name="connsiteY340" fmla="*/ 979405 h 1611451"/>
                    <a:gd name="connsiteX341" fmla="*/ 2591522 w 7415104"/>
                    <a:gd name="connsiteY341" fmla="*/ 1001073 h 1611451"/>
                    <a:gd name="connsiteX342" fmla="*/ 2639192 w 7415104"/>
                    <a:gd name="connsiteY342" fmla="*/ 1001073 h 1611451"/>
                    <a:gd name="connsiteX343" fmla="*/ 2639192 w 7415104"/>
                    <a:gd name="connsiteY343" fmla="*/ 1022742 h 1611451"/>
                    <a:gd name="connsiteX344" fmla="*/ 2699864 w 7415104"/>
                    <a:gd name="connsiteY344" fmla="*/ 1022742 h 1611451"/>
                    <a:gd name="connsiteX345" fmla="*/ 2699864 w 7415104"/>
                    <a:gd name="connsiteY345" fmla="*/ 1040076 h 1611451"/>
                    <a:gd name="connsiteX346" fmla="*/ 2808205 w 7415104"/>
                    <a:gd name="connsiteY346" fmla="*/ 1040076 h 1611451"/>
                    <a:gd name="connsiteX347" fmla="*/ 2816872 w 7415104"/>
                    <a:gd name="connsiteY347" fmla="*/ 1048743 h 1611451"/>
                    <a:gd name="connsiteX348" fmla="*/ 2825540 w 7415104"/>
                    <a:gd name="connsiteY348" fmla="*/ 1057411 h 1611451"/>
                    <a:gd name="connsiteX349" fmla="*/ 2864542 w 7415104"/>
                    <a:gd name="connsiteY349" fmla="*/ 1057411 h 1611451"/>
                    <a:gd name="connsiteX350" fmla="*/ 2886210 w 7415104"/>
                    <a:gd name="connsiteY350" fmla="*/ 1057411 h 1611451"/>
                    <a:gd name="connsiteX351" fmla="*/ 2899211 w 7415104"/>
                    <a:gd name="connsiteY351" fmla="*/ 1057411 h 1611451"/>
                    <a:gd name="connsiteX352" fmla="*/ 2916546 w 7415104"/>
                    <a:gd name="connsiteY352" fmla="*/ 1074746 h 1611451"/>
                    <a:gd name="connsiteX353" fmla="*/ 2968550 w 7415104"/>
                    <a:gd name="connsiteY353" fmla="*/ 1074746 h 1611451"/>
                    <a:gd name="connsiteX354" fmla="*/ 2968550 w 7415104"/>
                    <a:gd name="connsiteY354" fmla="*/ 1092080 h 1611451"/>
                    <a:gd name="connsiteX355" fmla="*/ 3141896 w 7415104"/>
                    <a:gd name="connsiteY355" fmla="*/ 1092080 h 1611451"/>
                    <a:gd name="connsiteX356" fmla="*/ 3141896 w 7415104"/>
                    <a:gd name="connsiteY356" fmla="*/ 1122415 h 1611451"/>
                    <a:gd name="connsiteX357" fmla="*/ 3211234 w 7415104"/>
                    <a:gd name="connsiteY357" fmla="*/ 1122415 h 1611451"/>
                    <a:gd name="connsiteX358" fmla="*/ 3215568 w 7415104"/>
                    <a:gd name="connsiteY358" fmla="*/ 1122415 h 1611451"/>
                    <a:gd name="connsiteX359" fmla="*/ 3302241 w 7415104"/>
                    <a:gd name="connsiteY359" fmla="*/ 1122415 h 1611451"/>
                    <a:gd name="connsiteX360" fmla="*/ 3302241 w 7415104"/>
                    <a:gd name="connsiteY360" fmla="*/ 1148417 h 1611451"/>
                    <a:gd name="connsiteX361" fmla="*/ 3388914 w 7415104"/>
                    <a:gd name="connsiteY361" fmla="*/ 1148417 h 1611451"/>
                    <a:gd name="connsiteX362" fmla="*/ 3388914 w 7415104"/>
                    <a:gd name="connsiteY362" fmla="*/ 1157085 h 1611451"/>
                    <a:gd name="connsiteX363" fmla="*/ 3445251 w 7415104"/>
                    <a:gd name="connsiteY363" fmla="*/ 1157085 h 1611451"/>
                    <a:gd name="connsiteX364" fmla="*/ 3453919 w 7415104"/>
                    <a:gd name="connsiteY364" fmla="*/ 1165753 h 1611451"/>
                    <a:gd name="connsiteX365" fmla="*/ 3596929 w 7415104"/>
                    <a:gd name="connsiteY365" fmla="*/ 1165753 h 1611451"/>
                    <a:gd name="connsiteX366" fmla="*/ 3596929 w 7415104"/>
                    <a:gd name="connsiteY366" fmla="*/ 1178753 h 1611451"/>
                    <a:gd name="connsiteX367" fmla="*/ 3705270 w 7415104"/>
                    <a:gd name="connsiteY367" fmla="*/ 1178753 h 1611451"/>
                    <a:gd name="connsiteX368" fmla="*/ 3709604 w 7415104"/>
                    <a:gd name="connsiteY368" fmla="*/ 1183087 h 1611451"/>
                    <a:gd name="connsiteX369" fmla="*/ 3960956 w 7415104"/>
                    <a:gd name="connsiteY369" fmla="*/ 1183087 h 1611451"/>
                    <a:gd name="connsiteX370" fmla="*/ 3960956 w 7415104"/>
                    <a:gd name="connsiteY370" fmla="*/ 1204755 h 1611451"/>
                    <a:gd name="connsiteX371" fmla="*/ 3991291 w 7415104"/>
                    <a:gd name="connsiteY371" fmla="*/ 1204755 h 1611451"/>
                    <a:gd name="connsiteX372" fmla="*/ 3991291 w 7415104"/>
                    <a:gd name="connsiteY372" fmla="*/ 1178753 h 1611451"/>
                    <a:gd name="connsiteX373" fmla="*/ 4030294 w 7415104"/>
                    <a:gd name="connsiteY373" fmla="*/ 1178753 h 1611451"/>
                    <a:gd name="connsiteX374" fmla="*/ 4030294 w 7415104"/>
                    <a:gd name="connsiteY374" fmla="*/ 1213422 h 1611451"/>
                    <a:gd name="connsiteX375" fmla="*/ 4043295 w 7415104"/>
                    <a:gd name="connsiteY375" fmla="*/ 1213422 h 1611451"/>
                    <a:gd name="connsiteX376" fmla="*/ 4043295 w 7415104"/>
                    <a:gd name="connsiteY376" fmla="*/ 1222089 h 1611451"/>
                    <a:gd name="connsiteX377" fmla="*/ 4164637 w 7415104"/>
                    <a:gd name="connsiteY377" fmla="*/ 1222089 h 1611451"/>
                    <a:gd name="connsiteX378" fmla="*/ 4164637 w 7415104"/>
                    <a:gd name="connsiteY378" fmla="*/ 1243758 h 1611451"/>
                    <a:gd name="connsiteX379" fmla="*/ 4320648 w 7415104"/>
                    <a:gd name="connsiteY379" fmla="*/ 1243758 h 1611451"/>
                    <a:gd name="connsiteX380" fmla="*/ 4320648 w 7415104"/>
                    <a:gd name="connsiteY380" fmla="*/ 1261092 h 1611451"/>
                    <a:gd name="connsiteX381" fmla="*/ 4398654 w 7415104"/>
                    <a:gd name="connsiteY381" fmla="*/ 1261092 h 1611451"/>
                    <a:gd name="connsiteX382" fmla="*/ 4398654 w 7415104"/>
                    <a:gd name="connsiteY382" fmla="*/ 1287094 h 1611451"/>
                    <a:gd name="connsiteX383" fmla="*/ 4450658 w 7415104"/>
                    <a:gd name="connsiteY383" fmla="*/ 1287094 h 1611451"/>
                    <a:gd name="connsiteX384" fmla="*/ 4476660 w 7415104"/>
                    <a:gd name="connsiteY384" fmla="*/ 1287094 h 1611451"/>
                    <a:gd name="connsiteX385" fmla="*/ 4498328 w 7415104"/>
                    <a:gd name="connsiteY385" fmla="*/ 1308762 h 1611451"/>
                    <a:gd name="connsiteX386" fmla="*/ 4593668 w 7415104"/>
                    <a:gd name="connsiteY386" fmla="*/ 1308762 h 1611451"/>
                    <a:gd name="connsiteX387" fmla="*/ 4602336 w 7415104"/>
                    <a:gd name="connsiteY387" fmla="*/ 1317430 h 1611451"/>
                    <a:gd name="connsiteX388" fmla="*/ 4663007 w 7415104"/>
                    <a:gd name="connsiteY388" fmla="*/ 1317430 h 1611451"/>
                    <a:gd name="connsiteX389" fmla="*/ 4663007 w 7415104"/>
                    <a:gd name="connsiteY389" fmla="*/ 1339098 h 1611451"/>
                    <a:gd name="connsiteX390" fmla="*/ 4706343 w 7415104"/>
                    <a:gd name="connsiteY390" fmla="*/ 1339098 h 1611451"/>
                    <a:gd name="connsiteX391" fmla="*/ 4710677 w 7415104"/>
                    <a:gd name="connsiteY391" fmla="*/ 1343432 h 1611451"/>
                    <a:gd name="connsiteX392" fmla="*/ 4767014 w 7415104"/>
                    <a:gd name="connsiteY392" fmla="*/ 1343432 h 1611451"/>
                    <a:gd name="connsiteX393" fmla="*/ 4780015 w 7415104"/>
                    <a:gd name="connsiteY393" fmla="*/ 1356433 h 1611451"/>
                    <a:gd name="connsiteX394" fmla="*/ 5005365 w 7415104"/>
                    <a:gd name="connsiteY394" fmla="*/ 1356433 h 1611451"/>
                    <a:gd name="connsiteX395" fmla="*/ 5018366 w 7415104"/>
                    <a:gd name="connsiteY395" fmla="*/ 1369434 h 1611451"/>
                    <a:gd name="connsiteX396" fmla="*/ 5152709 w 7415104"/>
                    <a:gd name="connsiteY396" fmla="*/ 1369434 h 1611451"/>
                    <a:gd name="connsiteX397" fmla="*/ 5152709 w 7415104"/>
                    <a:gd name="connsiteY397" fmla="*/ 1391102 h 1611451"/>
                    <a:gd name="connsiteX398" fmla="*/ 5282719 w 7415104"/>
                    <a:gd name="connsiteY398" fmla="*/ 1391102 h 1611451"/>
                    <a:gd name="connsiteX399" fmla="*/ 5291386 w 7415104"/>
                    <a:gd name="connsiteY399" fmla="*/ 1399769 h 1611451"/>
                    <a:gd name="connsiteX400" fmla="*/ 5356391 w 7415104"/>
                    <a:gd name="connsiteY400" fmla="*/ 1399769 h 1611451"/>
                    <a:gd name="connsiteX401" fmla="*/ 5369392 w 7415104"/>
                    <a:gd name="connsiteY401" fmla="*/ 1399769 h 1611451"/>
                    <a:gd name="connsiteX402" fmla="*/ 5369392 w 7415104"/>
                    <a:gd name="connsiteY402" fmla="*/ 1421437 h 1611451"/>
                    <a:gd name="connsiteX403" fmla="*/ 5473399 w 7415104"/>
                    <a:gd name="connsiteY403" fmla="*/ 1421437 h 1611451"/>
                    <a:gd name="connsiteX404" fmla="*/ 5473399 w 7415104"/>
                    <a:gd name="connsiteY404" fmla="*/ 1399769 h 1611451"/>
                    <a:gd name="connsiteX405" fmla="*/ 5512402 w 7415104"/>
                    <a:gd name="connsiteY405" fmla="*/ 1399769 h 1611451"/>
                    <a:gd name="connsiteX406" fmla="*/ 5512402 w 7415104"/>
                    <a:gd name="connsiteY406" fmla="*/ 1425771 h 1611451"/>
                    <a:gd name="connsiteX407" fmla="*/ 5607742 w 7415104"/>
                    <a:gd name="connsiteY407" fmla="*/ 1425771 h 1611451"/>
                    <a:gd name="connsiteX408" fmla="*/ 5607742 w 7415104"/>
                    <a:gd name="connsiteY408" fmla="*/ 1399769 h 1611451"/>
                    <a:gd name="connsiteX409" fmla="*/ 5664080 w 7415104"/>
                    <a:gd name="connsiteY409" fmla="*/ 1399769 h 1611451"/>
                    <a:gd name="connsiteX410" fmla="*/ 5664080 w 7415104"/>
                    <a:gd name="connsiteY410" fmla="*/ 1434438 h 1611451"/>
                    <a:gd name="connsiteX411" fmla="*/ 5685748 w 7415104"/>
                    <a:gd name="connsiteY411" fmla="*/ 1434438 h 1611451"/>
                    <a:gd name="connsiteX412" fmla="*/ 5685748 w 7415104"/>
                    <a:gd name="connsiteY412" fmla="*/ 1443106 h 1611451"/>
                    <a:gd name="connsiteX413" fmla="*/ 5716083 w 7415104"/>
                    <a:gd name="connsiteY413" fmla="*/ 1443106 h 1611451"/>
                    <a:gd name="connsiteX414" fmla="*/ 5716083 w 7415104"/>
                    <a:gd name="connsiteY414" fmla="*/ 1456106 h 1611451"/>
                    <a:gd name="connsiteX415" fmla="*/ 5794089 w 7415104"/>
                    <a:gd name="connsiteY415" fmla="*/ 1456106 h 1611451"/>
                    <a:gd name="connsiteX416" fmla="*/ 5794089 w 7415104"/>
                    <a:gd name="connsiteY416" fmla="*/ 1421437 h 1611451"/>
                    <a:gd name="connsiteX417" fmla="*/ 5837426 w 7415104"/>
                    <a:gd name="connsiteY417" fmla="*/ 1421437 h 1611451"/>
                    <a:gd name="connsiteX418" fmla="*/ 5837426 w 7415104"/>
                    <a:gd name="connsiteY418" fmla="*/ 1456106 h 1611451"/>
                    <a:gd name="connsiteX419" fmla="*/ 5902430 w 7415104"/>
                    <a:gd name="connsiteY419" fmla="*/ 1456106 h 1611451"/>
                    <a:gd name="connsiteX420" fmla="*/ 5928432 w 7415104"/>
                    <a:gd name="connsiteY420" fmla="*/ 1456106 h 1611451"/>
                    <a:gd name="connsiteX421" fmla="*/ 5928432 w 7415104"/>
                    <a:gd name="connsiteY421" fmla="*/ 1473441 h 1611451"/>
                    <a:gd name="connsiteX422" fmla="*/ 5945767 w 7415104"/>
                    <a:gd name="connsiteY422" fmla="*/ 1473441 h 1611451"/>
                    <a:gd name="connsiteX423" fmla="*/ 5950101 w 7415104"/>
                    <a:gd name="connsiteY423" fmla="*/ 1477775 h 1611451"/>
                    <a:gd name="connsiteX424" fmla="*/ 6019439 w 7415104"/>
                    <a:gd name="connsiteY424" fmla="*/ 1477775 h 1611451"/>
                    <a:gd name="connsiteX425" fmla="*/ 6019439 w 7415104"/>
                    <a:gd name="connsiteY425" fmla="*/ 1456106 h 1611451"/>
                    <a:gd name="connsiteX426" fmla="*/ 6058442 w 7415104"/>
                    <a:gd name="connsiteY426" fmla="*/ 1456106 h 1611451"/>
                    <a:gd name="connsiteX427" fmla="*/ 6058442 w 7415104"/>
                    <a:gd name="connsiteY427" fmla="*/ 1499443 h 1611451"/>
                    <a:gd name="connsiteX428" fmla="*/ 6110446 w 7415104"/>
                    <a:gd name="connsiteY428" fmla="*/ 1499443 h 1611451"/>
                    <a:gd name="connsiteX429" fmla="*/ 6110446 w 7415104"/>
                    <a:gd name="connsiteY429" fmla="*/ 1508110 h 1611451"/>
                    <a:gd name="connsiteX430" fmla="*/ 6188451 w 7415104"/>
                    <a:gd name="connsiteY430" fmla="*/ 1508110 h 1611451"/>
                    <a:gd name="connsiteX431" fmla="*/ 6188451 w 7415104"/>
                    <a:gd name="connsiteY431" fmla="*/ 1464774 h 1611451"/>
                    <a:gd name="connsiteX432" fmla="*/ 6227454 w 7415104"/>
                    <a:gd name="connsiteY432" fmla="*/ 1464774 h 1611451"/>
                    <a:gd name="connsiteX433" fmla="*/ 6227454 w 7415104"/>
                    <a:gd name="connsiteY433" fmla="*/ 1516778 h 1611451"/>
                    <a:gd name="connsiteX434" fmla="*/ 6353130 w 7415104"/>
                    <a:gd name="connsiteY434" fmla="*/ 1516778 h 1611451"/>
                    <a:gd name="connsiteX435" fmla="*/ 6353130 w 7415104"/>
                    <a:gd name="connsiteY435" fmla="*/ 1477775 h 1611451"/>
                    <a:gd name="connsiteX436" fmla="*/ 6409467 w 7415104"/>
                    <a:gd name="connsiteY436" fmla="*/ 1477775 h 1611451"/>
                    <a:gd name="connsiteX437" fmla="*/ 6409467 w 7415104"/>
                    <a:gd name="connsiteY437" fmla="*/ 1529778 h 1611451"/>
                    <a:gd name="connsiteX438" fmla="*/ 6457138 w 7415104"/>
                    <a:gd name="connsiteY438" fmla="*/ 1529778 h 1611451"/>
                    <a:gd name="connsiteX439" fmla="*/ 6457138 w 7415104"/>
                    <a:gd name="connsiteY439" fmla="*/ 1482108 h 1611451"/>
                    <a:gd name="connsiteX440" fmla="*/ 6487473 w 7415104"/>
                    <a:gd name="connsiteY440" fmla="*/ 1482108 h 1611451"/>
                    <a:gd name="connsiteX441" fmla="*/ 6487473 w 7415104"/>
                    <a:gd name="connsiteY441" fmla="*/ 1529778 h 1611451"/>
                    <a:gd name="connsiteX442" fmla="*/ 6561145 w 7415104"/>
                    <a:gd name="connsiteY442" fmla="*/ 1529778 h 1611451"/>
                    <a:gd name="connsiteX443" fmla="*/ 6565479 w 7415104"/>
                    <a:gd name="connsiteY443" fmla="*/ 1534112 h 1611451"/>
                    <a:gd name="connsiteX444" fmla="*/ 6669486 w 7415104"/>
                    <a:gd name="connsiteY444" fmla="*/ 1534112 h 1611451"/>
                    <a:gd name="connsiteX445" fmla="*/ 6669486 w 7415104"/>
                    <a:gd name="connsiteY445" fmla="*/ 1499443 h 1611451"/>
                    <a:gd name="connsiteX446" fmla="*/ 6738825 w 7415104"/>
                    <a:gd name="connsiteY446" fmla="*/ 1499443 h 1611451"/>
                    <a:gd name="connsiteX447" fmla="*/ 6738825 w 7415104"/>
                    <a:gd name="connsiteY447" fmla="*/ 1542779 h 1611451"/>
                    <a:gd name="connsiteX448" fmla="*/ 6795162 w 7415104"/>
                    <a:gd name="connsiteY448" fmla="*/ 1542779 h 1611451"/>
                    <a:gd name="connsiteX449" fmla="*/ 6795162 w 7415104"/>
                    <a:gd name="connsiteY449" fmla="*/ 1499443 h 1611451"/>
                    <a:gd name="connsiteX450" fmla="*/ 6829831 w 7415104"/>
                    <a:gd name="connsiteY450" fmla="*/ 1499443 h 1611451"/>
                    <a:gd name="connsiteX451" fmla="*/ 6829831 w 7415104"/>
                    <a:gd name="connsiteY451" fmla="*/ 1529778 h 1611451"/>
                    <a:gd name="connsiteX452" fmla="*/ 6847166 w 7415104"/>
                    <a:gd name="connsiteY452" fmla="*/ 1529778 h 1611451"/>
                    <a:gd name="connsiteX453" fmla="*/ 6847166 w 7415104"/>
                    <a:gd name="connsiteY453" fmla="*/ 1555780 h 1611451"/>
                    <a:gd name="connsiteX454" fmla="*/ 7050847 w 7415104"/>
                    <a:gd name="connsiteY454" fmla="*/ 1555780 h 1611451"/>
                    <a:gd name="connsiteX455" fmla="*/ 7063848 w 7415104"/>
                    <a:gd name="connsiteY455" fmla="*/ 1568781 h 1611451"/>
                    <a:gd name="connsiteX456" fmla="*/ 7133187 w 7415104"/>
                    <a:gd name="connsiteY456" fmla="*/ 1568781 h 1611451"/>
                    <a:gd name="connsiteX457" fmla="*/ 7133187 w 7415104"/>
                    <a:gd name="connsiteY457" fmla="*/ 1586116 h 1611451"/>
                    <a:gd name="connsiteX458" fmla="*/ 7284865 w 7415104"/>
                    <a:gd name="connsiteY458" fmla="*/ 1586116 h 1611451"/>
                    <a:gd name="connsiteX459" fmla="*/ 7284865 w 7415104"/>
                    <a:gd name="connsiteY459" fmla="*/ 1607784 h 1611451"/>
                    <a:gd name="connsiteX460" fmla="*/ 7414875 w 7415104"/>
                    <a:gd name="connsiteY460" fmla="*/ 1611451 h 1611451"/>
                    <a:gd name="connsiteX0" fmla="*/ 7417257 w 7417362"/>
                    <a:gd name="connsiteY0" fmla="*/ 1609070 h 1609070"/>
                    <a:gd name="connsiteX1" fmla="*/ 7414874 w 7417362"/>
                    <a:gd name="connsiteY1" fmla="*/ 1508110 h 1609070"/>
                    <a:gd name="connsiteX2" fmla="*/ 7271864 w 7417362"/>
                    <a:gd name="connsiteY2" fmla="*/ 1508110 h 1609070"/>
                    <a:gd name="connsiteX3" fmla="*/ 7258863 w 7417362"/>
                    <a:gd name="connsiteY3" fmla="*/ 1495109 h 1609070"/>
                    <a:gd name="connsiteX4" fmla="*/ 7159189 w 7417362"/>
                    <a:gd name="connsiteY4" fmla="*/ 1495109 h 1609070"/>
                    <a:gd name="connsiteX5" fmla="*/ 7141854 w 7417362"/>
                    <a:gd name="connsiteY5" fmla="*/ 1477774 h 1609070"/>
                    <a:gd name="connsiteX6" fmla="*/ 7037847 w 7417362"/>
                    <a:gd name="connsiteY6" fmla="*/ 1477774 h 1609070"/>
                    <a:gd name="connsiteX7" fmla="*/ 7037847 w 7417362"/>
                    <a:gd name="connsiteY7" fmla="*/ 1451773 h 1609070"/>
                    <a:gd name="connsiteX8" fmla="*/ 6873168 w 7417362"/>
                    <a:gd name="connsiteY8" fmla="*/ 1451773 h 1609070"/>
                    <a:gd name="connsiteX9" fmla="*/ 6868834 w 7417362"/>
                    <a:gd name="connsiteY9" fmla="*/ 1447439 h 1609070"/>
                    <a:gd name="connsiteX10" fmla="*/ 6825498 w 7417362"/>
                    <a:gd name="connsiteY10" fmla="*/ 1447439 h 1609070"/>
                    <a:gd name="connsiteX11" fmla="*/ 6825498 w 7417362"/>
                    <a:gd name="connsiteY11" fmla="*/ 1495109 h 1609070"/>
                    <a:gd name="connsiteX12" fmla="*/ 6786495 w 7417362"/>
                    <a:gd name="connsiteY12" fmla="*/ 1495109 h 1609070"/>
                    <a:gd name="connsiteX13" fmla="*/ 6786495 w 7417362"/>
                    <a:gd name="connsiteY13" fmla="*/ 1443106 h 1609070"/>
                    <a:gd name="connsiteX14" fmla="*/ 6738825 w 7417362"/>
                    <a:gd name="connsiteY14" fmla="*/ 1443106 h 1609070"/>
                    <a:gd name="connsiteX15" fmla="*/ 6738824 w 7417362"/>
                    <a:gd name="connsiteY15" fmla="*/ 1477775 h 1609070"/>
                    <a:gd name="connsiteX16" fmla="*/ 6678154 w 7417362"/>
                    <a:gd name="connsiteY16" fmla="*/ 1477775 h 1609070"/>
                    <a:gd name="connsiteX17" fmla="*/ 6678154 w 7417362"/>
                    <a:gd name="connsiteY17" fmla="*/ 1438772 h 1609070"/>
                    <a:gd name="connsiteX18" fmla="*/ 6561145 w 7417362"/>
                    <a:gd name="connsiteY18" fmla="*/ 1438772 h 1609070"/>
                    <a:gd name="connsiteX19" fmla="*/ 6548144 w 7417362"/>
                    <a:gd name="connsiteY19" fmla="*/ 1425771 h 1609070"/>
                    <a:gd name="connsiteX20" fmla="*/ 6483139 w 7417362"/>
                    <a:gd name="connsiteY20" fmla="*/ 1425771 h 1609070"/>
                    <a:gd name="connsiteX21" fmla="*/ 6483139 w 7417362"/>
                    <a:gd name="connsiteY21" fmla="*/ 1482108 h 1609070"/>
                    <a:gd name="connsiteX22" fmla="*/ 6444137 w 7417362"/>
                    <a:gd name="connsiteY22" fmla="*/ 1482108 h 1609070"/>
                    <a:gd name="connsiteX23" fmla="*/ 6444137 w 7417362"/>
                    <a:gd name="connsiteY23" fmla="*/ 1434438 h 1609070"/>
                    <a:gd name="connsiteX24" fmla="*/ 6405134 w 7417362"/>
                    <a:gd name="connsiteY24" fmla="*/ 1434438 h 1609070"/>
                    <a:gd name="connsiteX25" fmla="*/ 6405134 w 7417362"/>
                    <a:gd name="connsiteY25" fmla="*/ 1477775 h 1609070"/>
                    <a:gd name="connsiteX26" fmla="*/ 6357464 w 7417362"/>
                    <a:gd name="connsiteY26" fmla="*/ 1477775 h 1609070"/>
                    <a:gd name="connsiteX27" fmla="*/ 6357464 w 7417362"/>
                    <a:gd name="connsiteY27" fmla="*/ 1430105 h 1609070"/>
                    <a:gd name="connsiteX28" fmla="*/ 6223120 w 7417362"/>
                    <a:gd name="connsiteY28" fmla="*/ 1430105 h 1609070"/>
                    <a:gd name="connsiteX29" fmla="*/ 6223120 w 7417362"/>
                    <a:gd name="connsiteY29" fmla="*/ 1443106 h 1609070"/>
                    <a:gd name="connsiteX30" fmla="*/ 6192785 w 7417362"/>
                    <a:gd name="connsiteY30" fmla="*/ 1443106 h 1609070"/>
                    <a:gd name="connsiteX31" fmla="*/ 6192785 w 7417362"/>
                    <a:gd name="connsiteY31" fmla="*/ 1412770 h 1609070"/>
                    <a:gd name="connsiteX32" fmla="*/ 6119113 w 7417362"/>
                    <a:gd name="connsiteY32" fmla="*/ 1412770 h 1609070"/>
                    <a:gd name="connsiteX33" fmla="*/ 6119113 w 7417362"/>
                    <a:gd name="connsiteY33" fmla="*/ 1399769 h 1609070"/>
                    <a:gd name="connsiteX34" fmla="*/ 6071443 w 7417362"/>
                    <a:gd name="connsiteY34" fmla="*/ 1399769 h 1609070"/>
                    <a:gd name="connsiteX35" fmla="*/ 6071443 w 7417362"/>
                    <a:gd name="connsiteY35" fmla="*/ 1382434 h 1609070"/>
                    <a:gd name="connsiteX36" fmla="*/ 6049774 w 7417362"/>
                    <a:gd name="connsiteY36" fmla="*/ 1382434 h 1609070"/>
                    <a:gd name="connsiteX37" fmla="*/ 6049774 w 7417362"/>
                    <a:gd name="connsiteY37" fmla="*/ 1421437 h 1609070"/>
                    <a:gd name="connsiteX38" fmla="*/ 6019439 w 7417362"/>
                    <a:gd name="connsiteY38" fmla="*/ 1421437 h 1609070"/>
                    <a:gd name="connsiteX39" fmla="*/ 6019439 w 7417362"/>
                    <a:gd name="connsiteY39" fmla="*/ 1391102 h 1609070"/>
                    <a:gd name="connsiteX40" fmla="*/ 5958768 w 7417362"/>
                    <a:gd name="connsiteY40" fmla="*/ 1391102 h 1609070"/>
                    <a:gd name="connsiteX41" fmla="*/ 5958768 w 7417362"/>
                    <a:gd name="connsiteY41" fmla="*/ 1373767 h 1609070"/>
                    <a:gd name="connsiteX42" fmla="*/ 5919765 w 7417362"/>
                    <a:gd name="connsiteY42" fmla="*/ 1373767 h 1609070"/>
                    <a:gd name="connsiteX43" fmla="*/ 5919765 w 7417362"/>
                    <a:gd name="connsiteY43" fmla="*/ 1352099 h 1609070"/>
                    <a:gd name="connsiteX44" fmla="*/ 5824425 w 7417362"/>
                    <a:gd name="connsiteY44" fmla="*/ 1352099 h 1609070"/>
                    <a:gd name="connsiteX45" fmla="*/ 5824425 w 7417362"/>
                    <a:gd name="connsiteY45" fmla="*/ 1399769 h 1609070"/>
                    <a:gd name="connsiteX46" fmla="*/ 5789756 w 7417362"/>
                    <a:gd name="connsiteY46" fmla="*/ 1399769 h 1609070"/>
                    <a:gd name="connsiteX47" fmla="*/ 5789756 w 7417362"/>
                    <a:gd name="connsiteY47" fmla="*/ 1365100 h 1609070"/>
                    <a:gd name="connsiteX48" fmla="*/ 5698749 w 7417362"/>
                    <a:gd name="connsiteY48" fmla="*/ 1365100 h 1609070"/>
                    <a:gd name="connsiteX49" fmla="*/ 5698749 w 7417362"/>
                    <a:gd name="connsiteY49" fmla="*/ 1326097 h 1609070"/>
                    <a:gd name="connsiteX50" fmla="*/ 5655412 w 7417362"/>
                    <a:gd name="connsiteY50" fmla="*/ 1326097 h 1609070"/>
                    <a:gd name="connsiteX51" fmla="*/ 5655412 w 7417362"/>
                    <a:gd name="connsiteY51" fmla="*/ 1373767 h 1609070"/>
                    <a:gd name="connsiteX52" fmla="*/ 5612076 w 7417362"/>
                    <a:gd name="connsiteY52" fmla="*/ 1373767 h 1609070"/>
                    <a:gd name="connsiteX53" fmla="*/ 5612076 w 7417362"/>
                    <a:gd name="connsiteY53" fmla="*/ 1334764 h 1609070"/>
                    <a:gd name="connsiteX54" fmla="*/ 5512402 w 7417362"/>
                    <a:gd name="connsiteY54" fmla="*/ 1334764 h 1609070"/>
                    <a:gd name="connsiteX55" fmla="*/ 5512402 w 7417362"/>
                    <a:gd name="connsiteY55" fmla="*/ 1360766 h 1609070"/>
                    <a:gd name="connsiteX56" fmla="*/ 5469065 w 7417362"/>
                    <a:gd name="connsiteY56" fmla="*/ 1360766 h 1609070"/>
                    <a:gd name="connsiteX57" fmla="*/ 5469065 w 7417362"/>
                    <a:gd name="connsiteY57" fmla="*/ 1321763 h 1609070"/>
                    <a:gd name="connsiteX58" fmla="*/ 5360724 w 7417362"/>
                    <a:gd name="connsiteY58" fmla="*/ 1321763 h 1609070"/>
                    <a:gd name="connsiteX59" fmla="*/ 5360724 w 7417362"/>
                    <a:gd name="connsiteY59" fmla="*/ 1304429 h 1609070"/>
                    <a:gd name="connsiteX60" fmla="*/ 5300053 w 7417362"/>
                    <a:gd name="connsiteY60" fmla="*/ 1304429 h 1609070"/>
                    <a:gd name="connsiteX61" fmla="*/ 5291386 w 7417362"/>
                    <a:gd name="connsiteY61" fmla="*/ 1295762 h 1609070"/>
                    <a:gd name="connsiteX62" fmla="*/ 5187378 w 7417362"/>
                    <a:gd name="connsiteY62" fmla="*/ 1295762 h 1609070"/>
                    <a:gd name="connsiteX63" fmla="*/ 5187378 w 7417362"/>
                    <a:gd name="connsiteY63" fmla="*/ 1278427 h 1609070"/>
                    <a:gd name="connsiteX64" fmla="*/ 5057369 w 7417362"/>
                    <a:gd name="connsiteY64" fmla="*/ 1278427 h 1609070"/>
                    <a:gd name="connsiteX65" fmla="*/ 5048701 w 7417362"/>
                    <a:gd name="connsiteY65" fmla="*/ 1269759 h 1609070"/>
                    <a:gd name="connsiteX66" fmla="*/ 4923026 w 7417362"/>
                    <a:gd name="connsiteY66" fmla="*/ 1269759 h 1609070"/>
                    <a:gd name="connsiteX67" fmla="*/ 4910025 w 7417362"/>
                    <a:gd name="connsiteY67" fmla="*/ 1256758 h 1609070"/>
                    <a:gd name="connsiteX68" fmla="*/ 4697676 w 7417362"/>
                    <a:gd name="connsiteY68" fmla="*/ 1256758 h 1609070"/>
                    <a:gd name="connsiteX69" fmla="*/ 4684675 w 7417362"/>
                    <a:gd name="connsiteY69" fmla="*/ 1243757 h 1609070"/>
                    <a:gd name="connsiteX70" fmla="*/ 4663007 w 7417362"/>
                    <a:gd name="connsiteY70" fmla="*/ 1243757 h 1609070"/>
                    <a:gd name="connsiteX71" fmla="*/ 4645673 w 7417362"/>
                    <a:gd name="connsiteY71" fmla="*/ 1226423 h 1609070"/>
                    <a:gd name="connsiteX72" fmla="*/ 4632672 w 7417362"/>
                    <a:gd name="connsiteY72" fmla="*/ 1213422 h 1609070"/>
                    <a:gd name="connsiteX73" fmla="*/ 4489661 w 7417362"/>
                    <a:gd name="connsiteY73" fmla="*/ 1213422 h 1609070"/>
                    <a:gd name="connsiteX74" fmla="*/ 4489661 w 7417362"/>
                    <a:gd name="connsiteY74" fmla="*/ 1200421 h 1609070"/>
                    <a:gd name="connsiteX75" fmla="*/ 4446324 w 7417362"/>
                    <a:gd name="connsiteY75" fmla="*/ 1200421 h 1609070"/>
                    <a:gd name="connsiteX76" fmla="*/ 4446324 w 7417362"/>
                    <a:gd name="connsiteY76" fmla="*/ 1183087 h 1609070"/>
                    <a:gd name="connsiteX77" fmla="*/ 4411655 w 7417362"/>
                    <a:gd name="connsiteY77" fmla="*/ 1183087 h 1609070"/>
                    <a:gd name="connsiteX78" fmla="*/ 4398654 w 7417362"/>
                    <a:gd name="connsiteY78" fmla="*/ 1170086 h 1609070"/>
                    <a:gd name="connsiteX79" fmla="*/ 4394321 w 7417362"/>
                    <a:gd name="connsiteY79" fmla="*/ 1174419 h 1609070"/>
                    <a:gd name="connsiteX80" fmla="*/ 4394321 w 7417362"/>
                    <a:gd name="connsiteY80" fmla="*/ 1200421 h 1609070"/>
                    <a:gd name="connsiteX81" fmla="*/ 4359651 w 7417362"/>
                    <a:gd name="connsiteY81" fmla="*/ 1200421 h 1609070"/>
                    <a:gd name="connsiteX82" fmla="*/ 4359651 w 7417362"/>
                    <a:gd name="connsiteY82" fmla="*/ 1157085 h 1609070"/>
                    <a:gd name="connsiteX83" fmla="*/ 4329316 w 7417362"/>
                    <a:gd name="connsiteY83" fmla="*/ 1157085 h 1609070"/>
                    <a:gd name="connsiteX84" fmla="*/ 4320648 w 7417362"/>
                    <a:gd name="connsiteY84" fmla="*/ 1148417 h 1609070"/>
                    <a:gd name="connsiteX85" fmla="*/ 4155970 w 7417362"/>
                    <a:gd name="connsiteY85" fmla="*/ 1148417 h 1609070"/>
                    <a:gd name="connsiteX86" fmla="*/ 4147302 w 7417362"/>
                    <a:gd name="connsiteY86" fmla="*/ 1139749 h 1609070"/>
                    <a:gd name="connsiteX87" fmla="*/ 4064963 w 7417362"/>
                    <a:gd name="connsiteY87" fmla="*/ 1139749 h 1609070"/>
                    <a:gd name="connsiteX88" fmla="*/ 4064963 w 7417362"/>
                    <a:gd name="connsiteY88" fmla="*/ 1122415 h 1609070"/>
                    <a:gd name="connsiteX89" fmla="*/ 4047628 w 7417362"/>
                    <a:gd name="connsiteY89" fmla="*/ 1122415 h 1609070"/>
                    <a:gd name="connsiteX90" fmla="*/ 4047628 w 7417362"/>
                    <a:gd name="connsiteY90" fmla="*/ 1105081 h 1609070"/>
                    <a:gd name="connsiteX91" fmla="*/ 4025960 w 7417362"/>
                    <a:gd name="connsiteY91" fmla="*/ 1105081 h 1609070"/>
                    <a:gd name="connsiteX92" fmla="*/ 4025960 w 7417362"/>
                    <a:gd name="connsiteY92" fmla="*/ 1152751 h 1609070"/>
                    <a:gd name="connsiteX93" fmla="*/ 3991291 w 7417362"/>
                    <a:gd name="connsiteY93" fmla="*/ 1152751 h 1609070"/>
                    <a:gd name="connsiteX94" fmla="*/ 3991291 w 7417362"/>
                    <a:gd name="connsiteY94" fmla="*/ 1109415 h 1609070"/>
                    <a:gd name="connsiteX95" fmla="*/ 3960956 w 7417362"/>
                    <a:gd name="connsiteY95" fmla="*/ 1109415 h 1609070"/>
                    <a:gd name="connsiteX96" fmla="*/ 3952288 w 7417362"/>
                    <a:gd name="connsiteY96" fmla="*/ 1100747 h 1609070"/>
                    <a:gd name="connsiteX97" fmla="*/ 3735606 w 7417362"/>
                    <a:gd name="connsiteY97" fmla="*/ 1100747 h 1609070"/>
                    <a:gd name="connsiteX98" fmla="*/ 3718272 w 7417362"/>
                    <a:gd name="connsiteY98" fmla="*/ 1083413 h 1609070"/>
                    <a:gd name="connsiteX99" fmla="*/ 3592595 w 7417362"/>
                    <a:gd name="connsiteY99" fmla="*/ 1083413 h 1609070"/>
                    <a:gd name="connsiteX100" fmla="*/ 3575261 w 7417362"/>
                    <a:gd name="connsiteY100" fmla="*/ 1066079 h 1609070"/>
                    <a:gd name="connsiteX101" fmla="*/ 3440918 w 7417362"/>
                    <a:gd name="connsiteY101" fmla="*/ 1066079 h 1609070"/>
                    <a:gd name="connsiteX102" fmla="*/ 3440918 w 7417362"/>
                    <a:gd name="connsiteY102" fmla="*/ 1040076 h 1609070"/>
                    <a:gd name="connsiteX103" fmla="*/ 3319575 w 7417362"/>
                    <a:gd name="connsiteY103" fmla="*/ 1040076 h 1609070"/>
                    <a:gd name="connsiteX104" fmla="*/ 3319575 w 7417362"/>
                    <a:gd name="connsiteY104" fmla="*/ 1027075 h 1609070"/>
                    <a:gd name="connsiteX105" fmla="*/ 3180899 w 7417362"/>
                    <a:gd name="connsiteY105" fmla="*/ 1027075 h 1609070"/>
                    <a:gd name="connsiteX106" fmla="*/ 3180899 w 7417362"/>
                    <a:gd name="connsiteY106" fmla="*/ 1020123 h 1609070"/>
                    <a:gd name="connsiteX107" fmla="*/ 3163564 w 7417362"/>
                    <a:gd name="connsiteY107" fmla="*/ 1018408 h 1609070"/>
                    <a:gd name="connsiteX108" fmla="*/ 3150563 w 7417362"/>
                    <a:gd name="connsiteY108" fmla="*/ 1005407 h 1609070"/>
                    <a:gd name="connsiteX109" fmla="*/ 2990218 w 7417362"/>
                    <a:gd name="connsiteY109" fmla="*/ 1005407 h 1609070"/>
                    <a:gd name="connsiteX110" fmla="*/ 2990218 w 7417362"/>
                    <a:gd name="connsiteY110" fmla="*/ 988072 h 1609070"/>
                    <a:gd name="connsiteX111" fmla="*/ 2907879 w 7417362"/>
                    <a:gd name="connsiteY111" fmla="*/ 988072 h 1609070"/>
                    <a:gd name="connsiteX112" fmla="*/ 2899211 w 7417362"/>
                    <a:gd name="connsiteY112" fmla="*/ 979404 h 1609070"/>
                    <a:gd name="connsiteX113" fmla="*/ 2868876 w 7417362"/>
                    <a:gd name="connsiteY113" fmla="*/ 979404 h 1609070"/>
                    <a:gd name="connsiteX114" fmla="*/ 2868876 w 7417362"/>
                    <a:gd name="connsiteY114" fmla="*/ 953403 h 1609070"/>
                    <a:gd name="connsiteX115" fmla="*/ 2842874 w 7417362"/>
                    <a:gd name="connsiteY115" fmla="*/ 953403 h 1609070"/>
                    <a:gd name="connsiteX116" fmla="*/ 2834207 w 7417362"/>
                    <a:gd name="connsiteY116" fmla="*/ 944736 h 1609070"/>
                    <a:gd name="connsiteX117" fmla="*/ 2756201 w 7417362"/>
                    <a:gd name="connsiteY117" fmla="*/ 944736 h 1609070"/>
                    <a:gd name="connsiteX118" fmla="*/ 2747534 w 7417362"/>
                    <a:gd name="connsiteY118" fmla="*/ 936069 h 1609070"/>
                    <a:gd name="connsiteX119" fmla="*/ 2699864 w 7417362"/>
                    <a:gd name="connsiteY119" fmla="*/ 936069 h 1609070"/>
                    <a:gd name="connsiteX120" fmla="*/ 2688815 w 7417362"/>
                    <a:gd name="connsiteY120" fmla="*/ 925019 h 1609070"/>
                    <a:gd name="connsiteX121" fmla="*/ 2643526 w 7417362"/>
                    <a:gd name="connsiteY121" fmla="*/ 927401 h 1609070"/>
                    <a:gd name="connsiteX122" fmla="*/ 2638099 w 7417362"/>
                    <a:gd name="connsiteY122" fmla="*/ 910067 h 1609070"/>
                    <a:gd name="connsiteX123" fmla="*/ 2616001 w 7417362"/>
                    <a:gd name="connsiteY123" fmla="*/ 899876 h 1609070"/>
                    <a:gd name="connsiteX124" fmla="*/ 2591522 w 7417362"/>
                    <a:gd name="connsiteY124" fmla="*/ 875397 h 1609070"/>
                    <a:gd name="connsiteX125" fmla="*/ 2561187 w 7417362"/>
                    <a:gd name="connsiteY125" fmla="*/ 875397 h 1609070"/>
                    <a:gd name="connsiteX126" fmla="*/ 2552519 w 7417362"/>
                    <a:gd name="connsiteY126" fmla="*/ 866729 h 1609070"/>
                    <a:gd name="connsiteX127" fmla="*/ 2500516 w 7417362"/>
                    <a:gd name="connsiteY127" fmla="*/ 866729 h 1609070"/>
                    <a:gd name="connsiteX128" fmla="*/ 2500516 w 7417362"/>
                    <a:gd name="connsiteY128" fmla="*/ 849396 h 1609070"/>
                    <a:gd name="connsiteX129" fmla="*/ 2444178 w 7417362"/>
                    <a:gd name="connsiteY129" fmla="*/ 849396 h 1609070"/>
                    <a:gd name="connsiteX130" fmla="*/ 2435510 w 7417362"/>
                    <a:gd name="connsiteY130" fmla="*/ 840728 h 1609070"/>
                    <a:gd name="connsiteX131" fmla="*/ 2413843 w 7417362"/>
                    <a:gd name="connsiteY131" fmla="*/ 840728 h 1609070"/>
                    <a:gd name="connsiteX132" fmla="*/ 2400842 w 7417362"/>
                    <a:gd name="connsiteY132" fmla="*/ 827727 h 1609070"/>
                    <a:gd name="connsiteX133" fmla="*/ 2348838 w 7417362"/>
                    <a:gd name="connsiteY133" fmla="*/ 827727 h 1609070"/>
                    <a:gd name="connsiteX134" fmla="*/ 2348838 w 7417362"/>
                    <a:gd name="connsiteY134" fmla="*/ 810393 h 1609070"/>
                    <a:gd name="connsiteX135" fmla="*/ 2309835 w 7417362"/>
                    <a:gd name="connsiteY135" fmla="*/ 810393 h 1609070"/>
                    <a:gd name="connsiteX136" fmla="*/ 2296834 w 7417362"/>
                    <a:gd name="connsiteY136" fmla="*/ 823394 h 1609070"/>
                    <a:gd name="connsiteX137" fmla="*/ 2266499 w 7417362"/>
                    <a:gd name="connsiteY137" fmla="*/ 823394 h 1609070"/>
                    <a:gd name="connsiteX138" fmla="*/ 2253498 w 7417362"/>
                    <a:gd name="connsiteY138" fmla="*/ 810393 h 1609070"/>
                    <a:gd name="connsiteX139" fmla="*/ 2244830 w 7417362"/>
                    <a:gd name="connsiteY139" fmla="*/ 801725 h 1609070"/>
                    <a:gd name="connsiteX140" fmla="*/ 2244830 w 7417362"/>
                    <a:gd name="connsiteY140" fmla="*/ 775724 h 1609070"/>
                    <a:gd name="connsiteX141" fmla="*/ 2123488 w 7417362"/>
                    <a:gd name="connsiteY141" fmla="*/ 775724 h 1609070"/>
                    <a:gd name="connsiteX142" fmla="*/ 2123488 w 7417362"/>
                    <a:gd name="connsiteY142" fmla="*/ 745388 h 1609070"/>
                    <a:gd name="connsiteX143" fmla="*/ 2071484 w 7417362"/>
                    <a:gd name="connsiteY143" fmla="*/ 745388 h 1609070"/>
                    <a:gd name="connsiteX144" fmla="*/ 2062817 w 7417362"/>
                    <a:gd name="connsiteY144" fmla="*/ 736721 h 1609070"/>
                    <a:gd name="connsiteX145" fmla="*/ 2006480 w 7417362"/>
                    <a:gd name="connsiteY145" fmla="*/ 736721 h 1609070"/>
                    <a:gd name="connsiteX146" fmla="*/ 2006480 w 7417362"/>
                    <a:gd name="connsiteY146" fmla="*/ 715052 h 1609070"/>
                    <a:gd name="connsiteX147" fmla="*/ 1906806 w 7417362"/>
                    <a:gd name="connsiteY147" fmla="*/ 715052 h 1609070"/>
                    <a:gd name="connsiteX148" fmla="*/ 1902473 w 7417362"/>
                    <a:gd name="connsiteY148" fmla="*/ 710719 h 1609070"/>
                    <a:gd name="connsiteX149" fmla="*/ 1863469 w 7417362"/>
                    <a:gd name="connsiteY149" fmla="*/ 710719 h 1609070"/>
                    <a:gd name="connsiteX150" fmla="*/ 1863469 w 7417362"/>
                    <a:gd name="connsiteY150" fmla="*/ 680383 h 1609070"/>
                    <a:gd name="connsiteX151" fmla="*/ 1807132 w 7417362"/>
                    <a:gd name="connsiteY151" fmla="*/ 680383 h 1609070"/>
                    <a:gd name="connsiteX152" fmla="*/ 1798465 w 7417362"/>
                    <a:gd name="connsiteY152" fmla="*/ 671716 h 1609070"/>
                    <a:gd name="connsiteX153" fmla="*/ 1785464 w 7417362"/>
                    <a:gd name="connsiteY153" fmla="*/ 671716 h 1609070"/>
                    <a:gd name="connsiteX154" fmla="*/ 1785464 w 7417362"/>
                    <a:gd name="connsiteY154" fmla="*/ 658715 h 1609070"/>
                    <a:gd name="connsiteX155" fmla="*/ 1750794 w 7417362"/>
                    <a:gd name="connsiteY155" fmla="*/ 658715 h 1609070"/>
                    <a:gd name="connsiteX156" fmla="*/ 1750794 w 7417362"/>
                    <a:gd name="connsiteY156" fmla="*/ 637047 h 1609070"/>
                    <a:gd name="connsiteX157" fmla="*/ 1698791 w 7417362"/>
                    <a:gd name="connsiteY157" fmla="*/ 637047 h 1609070"/>
                    <a:gd name="connsiteX158" fmla="*/ 1698791 w 7417362"/>
                    <a:gd name="connsiteY158" fmla="*/ 611045 h 1609070"/>
                    <a:gd name="connsiteX159" fmla="*/ 1616451 w 7417362"/>
                    <a:gd name="connsiteY159" fmla="*/ 611045 h 1609070"/>
                    <a:gd name="connsiteX160" fmla="*/ 1603450 w 7417362"/>
                    <a:gd name="connsiteY160" fmla="*/ 598044 h 1609070"/>
                    <a:gd name="connsiteX161" fmla="*/ 1590449 w 7417362"/>
                    <a:gd name="connsiteY161" fmla="*/ 598044 h 1609070"/>
                    <a:gd name="connsiteX162" fmla="*/ 1577448 w 7417362"/>
                    <a:gd name="connsiteY162" fmla="*/ 585043 h 1609070"/>
                    <a:gd name="connsiteX163" fmla="*/ 1529778 w 7417362"/>
                    <a:gd name="connsiteY163" fmla="*/ 585043 h 1609070"/>
                    <a:gd name="connsiteX164" fmla="*/ 1529778 w 7417362"/>
                    <a:gd name="connsiteY164" fmla="*/ 576376 h 1609070"/>
                    <a:gd name="connsiteX165" fmla="*/ 1477774 w 7417362"/>
                    <a:gd name="connsiteY165" fmla="*/ 576376 h 1609070"/>
                    <a:gd name="connsiteX166" fmla="*/ 1477774 w 7417362"/>
                    <a:gd name="connsiteY166" fmla="*/ 559041 h 1609070"/>
                    <a:gd name="connsiteX167" fmla="*/ 1408436 w 7417362"/>
                    <a:gd name="connsiteY167" fmla="*/ 559041 h 1609070"/>
                    <a:gd name="connsiteX168" fmla="*/ 1395435 w 7417362"/>
                    <a:gd name="connsiteY168" fmla="*/ 546040 h 1609070"/>
                    <a:gd name="connsiteX169" fmla="*/ 1330430 w 7417362"/>
                    <a:gd name="connsiteY169" fmla="*/ 546040 h 1609070"/>
                    <a:gd name="connsiteX170" fmla="*/ 1330430 w 7417362"/>
                    <a:gd name="connsiteY170" fmla="*/ 528706 h 1609070"/>
                    <a:gd name="connsiteX171" fmla="*/ 1274093 w 7417362"/>
                    <a:gd name="connsiteY171" fmla="*/ 528706 h 1609070"/>
                    <a:gd name="connsiteX172" fmla="*/ 1274093 w 7417362"/>
                    <a:gd name="connsiteY172" fmla="*/ 507037 h 1609070"/>
                    <a:gd name="connsiteX173" fmla="*/ 1191754 w 7417362"/>
                    <a:gd name="connsiteY173" fmla="*/ 507037 h 1609070"/>
                    <a:gd name="connsiteX174" fmla="*/ 1174419 w 7417362"/>
                    <a:gd name="connsiteY174" fmla="*/ 507037 h 1609070"/>
                    <a:gd name="connsiteX175" fmla="*/ 1148417 w 7417362"/>
                    <a:gd name="connsiteY175" fmla="*/ 507037 h 1609070"/>
                    <a:gd name="connsiteX176" fmla="*/ 1148417 w 7417362"/>
                    <a:gd name="connsiteY176" fmla="*/ 481035 h 1609070"/>
                    <a:gd name="connsiteX177" fmla="*/ 1092080 w 7417362"/>
                    <a:gd name="connsiteY177" fmla="*/ 481035 h 1609070"/>
                    <a:gd name="connsiteX178" fmla="*/ 1092080 w 7417362"/>
                    <a:gd name="connsiteY178" fmla="*/ 468034 h 1609070"/>
                    <a:gd name="connsiteX179" fmla="*/ 1044410 w 7417362"/>
                    <a:gd name="connsiteY179" fmla="*/ 468034 h 1609070"/>
                    <a:gd name="connsiteX180" fmla="*/ 1044410 w 7417362"/>
                    <a:gd name="connsiteY180" fmla="*/ 437699 h 1609070"/>
                    <a:gd name="connsiteX181" fmla="*/ 988072 w 7417362"/>
                    <a:gd name="connsiteY181" fmla="*/ 437699 h 1609070"/>
                    <a:gd name="connsiteX182" fmla="*/ 975071 w 7417362"/>
                    <a:gd name="connsiteY182" fmla="*/ 424698 h 1609070"/>
                    <a:gd name="connsiteX183" fmla="*/ 953403 w 7417362"/>
                    <a:gd name="connsiteY183" fmla="*/ 424698 h 1609070"/>
                    <a:gd name="connsiteX184" fmla="*/ 944736 w 7417362"/>
                    <a:gd name="connsiteY184" fmla="*/ 416031 h 1609070"/>
                    <a:gd name="connsiteX185" fmla="*/ 892732 w 7417362"/>
                    <a:gd name="connsiteY185" fmla="*/ 416031 h 1609070"/>
                    <a:gd name="connsiteX186" fmla="*/ 892732 w 7417362"/>
                    <a:gd name="connsiteY186" fmla="*/ 394362 h 1609070"/>
                    <a:gd name="connsiteX187" fmla="*/ 866730 w 7417362"/>
                    <a:gd name="connsiteY187" fmla="*/ 394362 h 1609070"/>
                    <a:gd name="connsiteX188" fmla="*/ 858063 w 7417362"/>
                    <a:gd name="connsiteY188" fmla="*/ 385695 h 1609070"/>
                    <a:gd name="connsiteX189" fmla="*/ 754055 w 7417362"/>
                    <a:gd name="connsiteY189" fmla="*/ 385695 h 1609070"/>
                    <a:gd name="connsiteX190" fmla="*/ 754055 w 7417362"/>
                    <a:gd name="connsiteY190" fmla="*/ 359693 h 1609070"/>
                    <a:gd name="connsiteX191" fmla="*/ 723719 w 7417362"/>
                    <a:gd name="connsiteY191" fmla="*/ 359693 h 1609070"/>
                    <a:gd name="connsiteX192" fmla="*/ 723719 w 7417362"/>
                    <a:gd name="connsiteY192" fmla="*/ 342359 h 1609070"/>
                    <a:gd name="connsiteX193" fmla="*/ 658715 w 7417362"/>
                    <a:gd name="connsiteY193" fmla="*/ 342359 h 1609070"/>
                    <a:gd name="connsiteX194" fmla="*/ 650047 w 7417362"/>
                    <a:gd name="connsiteY194" fmla="*/ 333691 h 1609070"/>
                    <a:gd name="connsiteX195" fmla="*/ 628379 w 7417362"/>
                    <a:gd name="connsiteY195" fmla="*/ 333691 h 1609070"/>
                    <a:gd name="connsiteX196" fmla="*/ 628379 w 7417362"/>
                    <a:gd name="connsiteY196" fmla="*/ 316357 h 1609070"/>
                    <a:gd name="connsiteX197" fmla="*/ 598044 w 7417362"/>
                    <a:gd name="connsiteY197" fmla="*/ 316357 h 1609070"/>
                    <a:gd name="connsiteX198" fmla="*/ 598044 w 7417362"/>
                    <a:gd name="connsiteY198" fmla="*/ 294688 h 1609070"/>
                    <a:gd name="connsiteX199" fmla="*/ 576375 w 7417362"/>
                    <a:gd name="connsiteY199" fmla="*/ 294688 h 1609070"/>
                    <a:gd name="connsiteX200" fmla="*/ 576375 w 7417362"/>
                    <a:gd name="connsiteY200" fmla="*/ 281687 h 1609070"/>
                    <a:gd name="connsiteX201" fmla="*/ 554707 w 7417362"/>
                    <a:gd name="connsiteY201" fmla="*/ 281687 h 1609070"/>
                    <a:gd name="connsiteX202" fmla="*/ 554707 w 7417362"/>
                    <a:gd name="connsiteY202" fmla="*/ 268687 h 1609070"/>
                    <a:gd name="connsiteX203" fmla="*/ 489702 w 7417362"/>
                    <a:gd name="connsiteY203" fmla="*/ 268687 h 1609070"/>
                    <a:gd name="connsiteX204" fmla="*/ 489702 w 7417362"/>
                    <a:gd name="connsiteY204" fmla="*/ 242685 h 1609070"/>
                    <a:gd name="connsiteX205" fmla="*/ 455033 w 7417362"/>
                    <a:gd name="connsiteY205" fmla="*/ 242685 h 1609070"/>
                    <a:gd name="connsiteX206" fmla="*/ 455033 w 7417362"/>
                    <a:gd name="connsiteY206" fmla="*/ 216683 h 1609070"/>
                    <a:gd name="connsiteX207" fmla="*/ 437699 w 7417362"/>
                    <a:gd name="connsiteY207" fmla="*/ 216683 h 1609070"/>
                    <a:gd name="connsiteX208" fmla="*/ 437699 w 7417362"/>
                    <a:gd name="connsiteY208" fmla="*/ 186347 h 1609070"/>
                    <a:gd name="connsiteX209" fmla="*/ 407363 w 7417362"/>
                    <a:gd name="connsiteY209" fmla="*/ 186347 h 1609070"/>
                    <a:gd name="connsiteX210" fmla="*/ 407363 w 7417362"/>
                    <a:gd name="connsiteY210" fmla="*/ 173346 h 1609070"/>
                    <a:gd name="connsiteX211" fmla="*/ 372694 w 7417362"/>
                    <a:gd name="connsiteY211" fmla="*/ 173346 h 1609070"/>
                    <a:gd name="connsiteX212" fmla="*/ 372694 w 7417362"/>
                    <a:gd name="connsiteY212" fmla="*/ 151678 h 1609070"/>
                    <a:gd name="connsiteX213" fmla="*/ 355359 w 7417362"/>
                    <a:gd name="connsiteY213" fmla="*/ 151678 h 1609070"/>
                    <a:gd name="connsiteX214" fmla="*/ 355359 w 7417362"/>
                    <a:gd name="connsiteY214" fmla="*/ 138677 h 1609070"/>
                    <a:gd name="connsiteX215" fmla="*/ 303356 w 7417362"/>
                    <a:gd name="connsiteY215" fmla="*/ 138677 h 1609070"/>
                    <a:gd name="connsiteX216" fmla="*/ 303356 w 7417362"/>
                    <a:gd name="connsiteY216" fmla="*/ 95341 h 1609070"/>
                    <a:gd name="connsiteX217" fmla="*/ 268686 w 7417362"/>
                    <a:gd name="connsiteY217" fmla="*/ 95341 h 1609070"/>
                    <a:gd name="connsiteX218" fmla="*/ 268686 w 7417362"/>
                    <a:gd name="connsiteY218" fmla="*/ 82340 h 1609070"/>
                    <a:gd name="connsiteX219" fmla="*/ 234017 w 7417362"/>
                    <a:gd name="connsiteY219" fmla="*/ 82340 h 1609070"/>
                    <a:gd name="connsiteX220" fmla="*/ 234017 w 7417362"/>
                    <a:gd name="connsiteY220" fmla="*/ 47670 h 1609070"/>
                    <a:gd name="connsiteX221" fmla="*/ 208015 w 7417362"/>
                    <a:gd name="connsiteY221" fmla="*/ 47670 h 1609070"/>
                    <a:gd name="connsiteX222" fmla="*/ 208015 w 7417362"/>
                    <a:gd name="connsiteY222" fmla="*/ 39003 h 1609070"/>
                    <a:gd name="connsiteX223" fmla="*/ 156011 w 7417362"/>
                    <a:gd name="connsiteY223" fmla="*/ 39003 h 1609070"/>
                    <a:gd name="connsiteX224" fmla="*/ 156011 w 7417362"/>
                    <a:gd name="connsiteY224" fmla="*/ 26002 h 1609070"/>
                    <a:gd name="connsiteX225" fmla="*/ 121342 w 7417362"/>
                    <a:gd name="connsiteY225" fmla="*/ 26002 h 1609070"/>
                    <a:gd name="connsiteX226" fmla="*/ 121342 w 7417362"/>
                    <a:gd name="connsiteY226" fmla="*/ 0 h 1609070"/>
                    <a:gd name="connsiteX227" fmla="*/ 82339 w 7417362"/>
                    <a:gd name="connsiteY227" fmla="*/ 0 h 1609070"/>
                    <a:gd name="connsiteX228" fmla="*/ 82339 w 7417362"/>
                    <a:gd name="connsiteY228" fmla="*/ 43337 h 1609070"/>
                    <a:gd name="connsiteX229" fmla="*/ 0 w 7417362"/>
                    <a:gd name="connsiteY229" fmla="*/ 43337 h 1609070"/>
                    <a:gd name="connsiteX230" fmla="*/ 8667 w 7417362"/>
                    <a:gd name="connsiteY230" fmla="*/ 34670 h 1609070"/>
                    <a:gd name="connsiteX231" fmla="*/ 8667 w 7417362"/>
                    <a:gd name="connsiteY231" fmla="*/ 52004 h 1609070"/>
                    <a:gd name="connsiteX232" fmla="*/ 21668 w 7417362"/>
                    <a:gd name="connsiteY232" fmla="*/ 52004 h 1609070"/>
                    <a:gd name="connsiteX233" fmla="*/ 21668 w 7417362"/>
                    <a:gd name="connsiteY233" fmla="*/ 65005 h 1609070"/>
                    <a:gd name="connsiteX234" fmla="*/ 52004 w 7417362"/>
                    <a:gd name="connsiteY234" fmla="*/ 65005 h 1609070"/>
                    <a:gd name="connsiteX235" fmla="*/ 52004 w 7417362"/>
                    <a:gd name="connsiteY235" fmla="*/ 86673 h 1609070"/>
                    <a:gd name="connsiteX236" fmla="*/ 78006 w 7417362"/>
                    <a:gd name="connsiteY236" fmla="*/ 86673 h 1609070"/>
                    <a:gd name="connsiteX237" fmla="*/ 78006 w 7417362"/>
                    <a:gd name="connsiteY237" fmla="*/ 125676 h 1609070"/>
                    <a:gd name="connsiteX238" fmla="*/ 138677 w 7417362"/>
                    <a:gd name="connsiteY238" fmla="*/ 125676 h 1609070"/>
                    <a:gd name="connsiteX239" fmla="*/ 147344 w 7417362"/>
                    <a:gd name="connsiteY239" fmla="*/ 134343 h 1609070"/>
                    <a:gd name="connsiteX240" fmla="*/ 164679 w 7417362"/>
                    <a:gd name="connsiteY240" fmla="*/ 134343 h 1609070"/>
                    <a:gd name="connsiteX241" fmla="*/ 164679 w 7417362"/>
                    <a:gd name="connsiteY241" fmla="*/ 156012 h 1609070"/>
                    <a:gd name="connsiteX242" fmla="*/ 182013 w 7417362"/>
                    <a:gd name="connsiteY242" fmla="*/ 156012 h 1609070"/>
                    <a:gd name="connsiteX243" fmla="*/ 195014 w 7417362"/>
                    <a:gd name="connsiteY243" fmla="*/ 169013 h 1609070"/>
                    <a:gd name="connsiteX244" fmla="*/ 225350 w 7417362"/>
                    <a:gd name="connsiteY244" fmla="*/ 169013 h 1609070"/>
                    <a:gd name="connsiteX245" fmla="*/ 225350 w 7417362"/>
                    <a:gd name="connsiteY245" fmla="*/ 208015 h 1609070"/>
                    <a:gd name="connsiteX246" fmla="*/ 251352 w 7417362"/>
                    <a:gd name="connsiteY246" fmla="*/ 208015 h 1609070"/>
                    <a:gd name="connsiteX247" fmla="*/ 260019 w 7417362"/>
                    <a:gd name="connsiteY247" fmla="*/ 216682 h 1609070"/>
                    <a:gd name="connsiteX248" fmla="*/ 273021 w 7417362"/>
                    <a:gd name="connsiteY248" fmla="*/ 229684 h 1609070"/>
                    <a:gd name="connsiteX249" fmla="*/ 273021 w 7417362"/>
                    <a:gd name="connsiteY249" fmla="*/ 251352 h 1609070"/>
                    <a:gd name="connsiteX250" fmla="*/ 303356 w 7417362"/>
                    <a:gd name="connsiteY250" fmla="*/ 251352 h 1609070"/>
                    <a:gd name="connsiteX251" fmla="*/ 303356 w 7417362"/>
                    <a:gd name="connsiteY251" fmla="*/ 268687 h 1609070"/>
                    <a:gd name="connsiteX252" fmla="*/ 342358 w 7417362"/>
                    <a:gd name="connsiteY252" fmla="*/ 268687 h 1609070"/>
                    <a:gd name="connsiteX253" fmla="*/ 342358 w 7417362"/>
                    <a:gd name="connsiteY253" fmla="*/ 286021 h 1609070"/>
                    <a:gd name="connsiteX254" fmla="*/ 385695 w 7417362"/>
                    <a:gd name="connsiteY254" fmla="*/ 286021 h 1609070"/>
                    <a:gd name="connsiteX255" fmla="*/ 385695 w 7417362"/>
                    <a:gd name="connsiteY255" fmla="*/ 286021 h 1609070"/>
                    <a:gd name="connsiteX256" fmla="*/ 407363 w 7417362"/>
                    <a:gd name="connsiteY256" fmla="*/ 307689 h 1609070"/>
                    <a:gd name="connsiteX257" fmla="*/ 424698 w 7417362"/>
                    <a:gd name="connsiteY257" fmla="*/ 325024 h 1609070"/>
                    <a:gd name="connsiteX258" fmla="*/ 472368 w 7417362"/>
                    <a:gd name="connsiteY258" fmla="*/ 325024 h 1609070"/>
                    <a:gd name="connsiteX259" fmla="*/ 472368 w 7417362"/>
                    <a:gd name="connsiteY259" fmla="*/ 355360 h 1609070"/>
                    <a:gd name="connsiteX260" fmla="*/ 511371 w 7417362"/>
                    <a:gd name="connsiteY260" fmla="*/ 355360 h 1609070"/>
                    <a:gd name="connsiteX261" fmla="*/ 511371 w 7417362"/>
                    <a:gd name="connsiteY261" fmla="*/ 377028 h 1609070"/>
                    <a:gd name="connsiteX262" fmla="*/ 559041 w 7417362"/>
                    <a:gd name="connsiteY262" fmla="*/ 377028 h 1609070"/>
                    <a:gd name="connsiteX263" fmla="*/ 559041 w 7417362"/>
                    <a:gd name="connsiteY263" fmla="*/ 398696 h 1609070"/>
                    <a:gd name="connsiteX264" fmla="*/ 589376 w 7417362"/>
                    <a:gd name="connsiteY264" fmla="*/ 398696 h 1609070"/>
                    <a:gd name="connsiteX265" fmla="*/ 602377 w 7417362"/>
                    <a:gd name="connsiteY265" fmla="*/ 411697 h 1609070"/>
                    <a:gd name="connsiteX266" fmla="*/ 650047 w 7417362"/>
                    <a:gd name="connsiteY266" fmla="*/ 411697 h 1609070"/>
                    <a:gd name="connsiteX267" fmla="*/ 650047 w 7417362"/>
                    <a:gd name="connsiteY267" fmla="*/ 450700 h 1609070"/>
                    <a:gd name="connsiteX268" fmla="*/ 758389 w 7417362"/>
                    <a:gd name="connsiteY268" fmla="*/ 450700 h 1609070"/>
                    <a:gd name="connsiteX269" fmla="*/ 758389 w 7417362"/>
                    <a:gd name="connsiteY269" fmla="*/ 481035 h 1609070"/>
                    <a:gd name="connsiteX270" fmla="*/ 875397 w 7417362"/>
                    <a:gd name="connsiteY270" fmla="*/ 481035 h 1609070"/>
                    <a:gd name="connsiteX271" fmla="*/ 875397 w 7417362"/>
                    <a:gd name="connsiteY271" fmla="*/ 507037 h 1609070"/>
                    <a:gd name="connsiteX272" fmla="*/ 927401 w 7417362"/>
                    <a:gd name="connsiteY272" fmla="*/ 507037 h 1609070"/>
                    <a:gd name="connsiteX273" fmla="*/ 927401 w 7417362"/>
                    <a:gd name="connsiteY273" fmla="*/ 524372 h 1609070"/>
                    <a:gd name="connsiteX274" fmla="*/ 979405 w 7417362"/>
                    <a:gd name="connsiteY274" fmla="*/ 524372 h 1609070"/>
                    <a:gd name="connsiteX275" fmla="*/ 992406 w 7417362"/>
                    <a:gd name="connsiteY275" fmla="*/ 524372 h 1609070"/>
                    <a:gd name="connsiteX276" fmla="*/ 1005407 w 7417362"/>
                    <a:gd name="connsiteY276" fmla="*/ 537373 h 1609070"/>
                    <a:gd name="connsiteX277" fmla="*/ 1027075 w 7417362"/>
                    <a:gd name="connsiteY277" fmla="*/ 537373 h 1609070"/>
                    <a:gd name="connsiteX278" fmla="*/ 1057410 w 7417362"/>
                    <a:gd name="connsiteY278" fmla="*/ 537373 h 1609070"/>
                    <a:gd name="connsiteX279" fmla="*/ 1057410 w 7417362"/>
                    <a:gd name="connsiteY279" fmla="*/ 563375 h 1609070"/>
                    <a:gd name="connsiteX280" fmla="*/ 1079079 w 7417362"/>
                    <a:gd name="connsiteY280" fmla="*/ 563375 h 1609070"/>
                    <a:gd name="connsiteX281" fmla="*/ 1079079 w 7417362"/>
                    <a:gd name="connsiteY281" fmla="*/ 576376 h 1609070"/>
                    <a:gd name="connsiteX282" fmla="*/ 1157084 w 7417362"/>
                    <a:gd name="connsiteY282" fmla="*/ 576376 h 1609070"/>
                    <a:gd name="connsiteX283" fmla="*/ 1157084 w 7417362"/>
                    <a:gd name="connsiteY283" fmla="*/ 589377 h 1609070"/>
                    <a:gd name="connsiteX284" fmla="*/ 1196087 w 7417362"/>
                    <a:gd name="connsiteY284" fmla="*/ 589377 h 1609070"/>
                    <a:gd name="connsiteX285" fmla="*/ 1196087 w 7417362"/>
                    <a:gd name="connsiteY285" fmla="*/ 598044 h 1609070"/>
                    <a:gd name="connsiteX286" fmla="*/ 1243757 w 7417362"/>
                    <a:gd name="connsiteY286" fmla="*/ 598044 h 1609070"/>
                    <a:gd name="connsiteX287" fmla="*/ 1256758 w 7417362"/>
                    <a:gd name="connsiteY287" fmla="*/ 611045 h 1609070"/>
                    <a:gd name="connsiteX288" fmla="*/ 1269759 w 7417362"/>
                    <a:gd name="connsiteY288" fmla="*/ 624046 h 1609070"/>
                    <a:gd name="connsiteX289" fmla="*/ 1334764 w 7417362"/>
                    <a:gd name="connsiteY289" fmla="*/ 624046 h 1609070"/>
                    <a:gd name="connsiteX290" fmla="*/ 1334764 w 7417362"/>
                    <a:gd name="connsiteY290" fmla="*/ 645714 h 1609070"/>
                    <a:gd name="connsiteX291" fmla="*/ 1425771 w 7417362"/>
                    <a:gd name="connsiteY291" fmla="*/ 645714 h 1609070"/>
                    <a:gd name="connsiteX292" fmla="*/ 1434438 w 7417362"/>
                    <a:gd name="connsiteY292" fmla="*/ 654381 h 1609070"/>
                    <a:gd name="connsiteX293" fmla="*/ 1456106 w 7417362"/>
                    <a:gd name="connsiteY293" fmla="*/ 654381 h 1609070"/>
                    <a:gd name="connsiteX294" fmla="*/ 1456106 w 7417362"/>
                    <a:gd name="connsiteY294" fmla="*/ 667382 h 1609070"/>
                    <a:gd name="connsiteX295" fmla="*/ 1508110 w 7417362"/>
                    <a:gd name="connsiteY295" fmla="*/ 667382 h 1609070"/>
                    <a:gd name="connsiteX296" fmla="*/ 1508110 w 7417362"/>
                    <a:gd name="connsiteY296" fmla="*/ 684717 h 1609070"/>
                    <a:gd name="connsiteX297" fmla="*/ 1564447 w 7417362"/>
                    <a:gd name="connsiteY297" fmla="*/ 684717 h 1609070"/>
                    <a:gd name="connsiteX298" fmla="*/ 1568781 w 7417362"/>
                    <a:gd name="connsiteY298" fmla="*/ 689051 h 1609070"/>
                    <a:gd name="connsiteX299" fmla="*/ 1612118 w 7417362"/>
                    <a:gd name="connsiteY299" fmla="*/ 689051 h 1609070"/>
                    <a:gd name="connsiteX300" fmla="*/ 1625119 w 7417362"/>
                    <a:gd name="connsiteY300" fmla="*/ 702052 h 1609070"/>
                    <a:gd name="connsiteX301" fmla="*/ 1677122 w 7417362"/>
                    <a:gd name="connsiteY301" fmla="*/ 702052 h 1609070"/>
                    <a:gd name="connsiteX302" fmla="*/ 1685790 w 7417362"/>
                    <a:gd name="connsiteY302" fmla="*/ 710720 h 1609070"/>
                    <a:gd name="connsiteX303" fmla="*/ 1703123 w 7417362"/>
                    <a:gd name="connsiteY303" fmla="*/ 728053 h 1609070"/>
                    <a:gd name="connsiteX304" fmla="*/ 1716124 w 7417362"/>
                    <a:gd name="connsiteY304" fmla="*/ 741054 h 1609070"/>
                    <a:gd name="connsiteX305" fmla="*/ 1750794 w 7417362"/>
                    <a:gd name="connsiteY305" fmla="*/ 741054 h 1609070"/>
                    <a:gd name="connsiteX306" fmla="*/ 1750794 w 7417362"/>
                    <a:gd name="connsiteY306" fmla="*/ 767056 h 1609070"/>
                    <a:gd name="connsiteX307" fmla="*/ 1798465 w 7417362"/>
                    <a:gd name="connsiteY307" fmla="*/ 767056 h 1609070"/>
                    <a:gd name="connsiteX308" fmla="*/ 1798465 w 7417362"/>
                    <a:gd name="connsiteY308" fmla="*/ 780057 h 1609070"/>
                    <a:gd name="connsiteX309" fmla="*/ 1841801 w 7417362"/>
                    <a:gd name="connsiteY309" fmla="*/ 780057 h 1609070"/>
                    <a:gd name="connsiteX310" fmla="*/ 1841801 w 7417362"/>
                    <a:gd name="connsiteY310" fmla="*/ 797392 h 1609070"/>
                    <a:gd name="connsiteX311" fmla="*/ 1876470 w 7417362"/>
                    <a:gd name="connsiteY311" fmla="*/ 797392 h 1609070"/>
                    <a:gd name="connsiteX312" fmla="*/ 1885138 w 7417362"/>
                    <a:gd name="connsiteY312" fmla="*/ 806060 h 1609070"/>
                    <a:gd name="connsiteX313" fmla="*/ 1963143 w 7417362"/>
                    <a:gd name="connsiteY313" fmla="*/ 806060 h 1609070"/>
                    <a:gd name="connsiteX314" fmla="*/ 2006480 w 7417362"/>
                    <a:gd name="connsiteY314" fmla="*/ 806060 h 1609070"/>
                    <a:gd name="connsiteX315" fmla="*/ 2036815 w 7417362"/>
                    <a:gd name="connsiteY315" fmla="*/ 836395 h 1609070"/>
                    <a:gd name="connsiteX316" fmla="*/ 2049816 w 7417362"/>
                    <a:gd name="connsiteY316" fmla="*/ 836395 h 1609070"/>
                    <a:gd name="connsiteX317" fmla="*/ 2106154 w 7417362"/>
                    <a:gd name="connsiteY317" fmla="*/ 836395 h 1609070"/>
                    <a:gd name="connsiteX318" fmla="*/ 2106154 w 7417362"/>
                    <a:gd name="connsiteY318" fmla="*/ 862396 h 1609070"/>
                    <a:gd name="connsiteX319" fmla="*/ 2119155 w 7417362"/>
                    <a:gd name="connsiteY319" fmla="*/ 862396 h 1609070"/>
                    <a:gd name="connsiteX320" fmla="*/ 2136489 w 7417362"/>
                    <a:gd name="connsiteY320" fmla="*/ 862396 h 1609070"/>
                    <a:gd name="connsiteX321" fmla="*/ 2184159 w 7417362"/>
                    <a:gd name="connsiteY321" fmla="*/ 862396 h 1609070"/>
                    <a:gd name="connsiteX322" fmla="*/ 2184159 w 7417362"/>
                    <a:gd name="connsiteY322" fmla="*/ 888398 h 1609070"/>
                    <a:gd name="connsiteX323" fmla="*/ 2200254 w 7417362"/>
                    <a:gd name="connsiteY323" fmla="*/ 883636 h 1609070"/>
                    <a:gd name="connsiteX324" fmla="*/ 2240733 w 7417362"/>
                    <a:gd name="connsiteY324" fmla="*/ 881254 h 1609070"/>
                    <a:gd name="connsiteX325" fmla="*/ 2240102 w 7417362"/>
                    <a:gd name="connsiteY325" fmla="*/ 914626 h 1609070"/>
                    <a:gd name="connsiteX326" fmla="*/ 2265640 w 7417362"/>
                    <a:gd name="connsiteY326" fmla="*/ 915879 h 1609070"/>
                    <a:gd name="connsiteX327" fmla="*/ 2266296 w 7417362"/>
                    <a:gd name="connsiteY327" fmla="*/ 886052 h 1609070"/>
                    <a:gd name="connsiteX328" fmla="*/ 2301168 w 7417362"/>
                    <a:gd name="connsiteY328" fmla="*/ 880160 h 1609070"/>
                    <a:gd name="connsiteX329" fmla="*/ 2301168 w 7417362"/>
                    <a:gd name="connsiteY329" fmla="*/ 914400 h 1609070"/>
                    <a:gd name="connsiteX330" fmla="*/ 2335837 w 7417362"/>
                    <a:gd name="connsiteY330" fmla="*/ 914400 h 1609070"/>
                    <a:gd name="connsiteX331" fmla="*/ 2335837 w 7417362"/>
                    <a:gd name="connsiteY331" fmla="*/ 923068 h 1609070"/>
                    <a:gd name="connsiteX332" fmla="*/ 2400842 w 7417362"/>
                    <a:gd name="connsiteY332" fmla="*/ 923068 h 1609070"/>
                    <a:gd name="connsiteX333" fmla="*/ 2400842 w 7417362"/>
                    <a:gd name="connsiteY333" fmla="*/ 936069 h 1609070"/>
                    <a:gd name="connsiteX334" fmla="*/ 2439845 w 7417362"/>
                    <a:gd name="connsiteY334" fmla="*/ 936069 h 1609070"/>
                    <a:gd name="connsiteX335" fmla="*/ 2452846 w 7417362"/>
                    <a:gd name="connsiteY335" fmla="*/ 949070 h 1609070"/>
                    <a:gd name="connsiteX336" fmla="*/ 2500516 w 7417362"/>
                    <a:gd name="connsiteY336" fmla="*/ 949070 h 1609070"/>
                    <a:gd name="connsiteX337" fmla="*/ 2513517 w 7417362"/>
                    <a:gd name="connsiteY337" fmla="*/ 962071 h 1609070"/>
                    <a:gd name="connsiteX338" fmla="*/ 2543852 w 7417362"/>
                    <a:gd name="connsiteY338" fmla="*/ 962071 h 1609070"/>
                    <a:gd name="connsiteX339" fmla="*/ 2543852 w 7417362"/>
                    <a:gd name="connsiteY339" fmla="*/ 979405 h 1609070"/>
                    <a:gd name="connsiteX340" fmla="*/ 2591522 w 7417362"/>
                    <a:gd name="connsiteY340" fmla="*/ 979405 h 1609070"/>
                    <a:gd name="connsiteX341" fmla="*/ 2591522 w 7417362"/>
                    <a:gd name="connsiteY341" fmla="*/ 1001073 h 1609070"/>
                    <a:gd name="connsiteX342" fmla="*/ 2639192 w 7417362"/>
                    <a:gd name="connsiteY342" fmla="*/ 1001073 h 1609070"/>
                    <a:gd name="connsiteX343" fmla="*/ 2639192 w 7417362"/>
                    <a:gd name="connsiteY343" fmla="*/ 1022742 h 1609070"/>
                    <a:gd name="connsiteX344" fmla="*/ 2699864 w 7417362"/>
                    <a:gd name="connsiteY344" fmla="*/ 1022742 h 1609070"/>
                    <a:gd name="connsiteX345" fmla="*/ 2699864 w 7417362"/>
                    <a:gd name="connsiteY345" fmla="*/ 1040076 h 1609070"/>
                    <a:gd name="connsiteX346" fmla="*/ 2808205 w 7417362"/>
                    <a:gd name="connsiteY346" fmla="*/ 1040076 h 1609070"/>
                    <a:gd name="connsiteX347" fmla="*/ 2816872 w 7417362"/>
                    <a:gd name="connsiteY347" fmla="*/ 1048743 h 1609070"/>
                    <a:gd name="connsiteX348" fmla="*/ 2825540 w 7417362"/>
                    <a:gd name="connsiteY348" fmla="*/ 1057411 h 1609070"/>
                    <a:gd name="connsiteX349" fmla="*/ 2864542 w 7417362"/>
                    <a:gd name="connsiteY349" fmla="*/ 1057411 h 1609070"/>
                    <a:gd name="connsiteX350" fmla="*/ 2886210 w 7417362"/>
                    <a:gd name="connsiteY350" fmla="*/ 1057411 h 1609070"/>
                    <a:gd name="connsiteX351" fmla="*/ 2899211 w 7417362"/>
                    <a:gd name="connsiteY351" fmla="*/ 1057411 h 1609070"/>
                    <a:gd name="connsiteX352" fmla="*/ 2916546 w 7417362"/>
                    <a:gd name="connsiteY352" fmla="*/ 1074746 h 1609070"/>
                    <a:gd name="connsiteX353" fmla="*/ 2968550 w 7417362"/>
                    <a:gd name="connsiteY353" fmla="*/ 1074746 h 1609070"/>
                    <a:gd name="connsiteX354" fmla="*/ 2968550 w 7417362"/>
                    <a:gd name="connsiteY354" fmla="*/ 1092080 h 1609070"/>
                    <a:gd name="connsiteX355" fmla="*/ 3141896 w 7417362"/>
                    <a:gd name="connsiteY355" fmla="*/ 1092080 h 1609070"/>
                    <a:gd name="connsiteX356" fmla="*/ 3141896 w 7417362"/>
                    <a:gd name="connsiteY356" fmla="*/ 1122415 h 1609070"/>
                    <a:gd name="connsiteX357" fmla="*/ 3211234 w 7417362"/>
                    <a:gd name="connsiteY357" fmla="*/ 1122415 h 1609070"/>
                    <a:gd name="connsiteX358" fmla="*/ 3215568 w 7417362"/>
                    <a:gd name="connsiteY358" fmla="*/ 1122415 h 1609070"/>
                    <a:gd name="connsiteX359" fmla="*/ 3302241 w 7417362"/>
                    <a:gd name="connsiteY359" fmla="*/ 1122415 h 1609070"/>
                    <a:gd name="connsiteX360" fmla="*/ 3302241 w 7417362"/>
                    <a:gd name="connsiteY360" fmla="*/ 1148417 h 1609070"/>
                    <a:gd name="connsiteX361" fmla="*/ 3388914 w 7417362"/>
                    <a:gd name="connsiteY361" fmla="*/ 1148417 h 1609070"/>
                    <a:gd name="connsiteX362" fmla="*/ 3388914 w 7417362"/>
                    <a:gd name="connsiteY362" fmla="*/ 1157085 h 1609070"/>
                    <a:gd name="connsiteX363" fmla="*/ 3445251 w 7417362"/>
                    <a:gd name="connsiteY363" fmla="*/ 1157085 h 1609070"/>
                    <a:gd name="connsiteX364" fmla="*/ 3453919 w 7417362"/>
                    <a:gd name="connsiteY364" fmla="*/ 1165753 h 1609070"/>
                    <a:gd name="connsiteX365" fmla="*/ 3596929 w 7417362"/>
                    <a:gd name="connsiteY365" fmla="*/ 1165753 h 1609070"/>
                    <a:gd name="connsiteX366" fmla="*/ 3596929 w 7417362"/>
                    <a:gd name="connsiteY366" fmla="*/ 1178753 h 1609070"/>
                    <a:gd name="connsiteX367" fmla="*/ 3705270 w 7417362"/>
                    <a:gd name="connsiteY367" fmla="*/ 1178753 h 1609070"/>
                    <a:gd name="connsiteX368" fmla="*/ 3709604 w 7417362"/>
                    <a:gd name="connsiteY368" fmla="*/ 1183087 h 1609070"/>
                    <a:gd name="connsiteX369" fmla="*/ 3960956 w 7417362"/>
                    <a:gd name="connsiteY369" fmla="*/ 1183087 h 1609070"/>
                    <a:gd name="connsiteX370" fmla="*/ 3960956 w 7417362"/>
                    <a:gd name="connsiteY370" fmla="*/ 1204755 h 1609070"/>
                    <a:gd name="connsiteX371" fmla="*/ 3991291 w 7417362"/>
                    <a:gd name="connsiteY371" fmla="*/ 1204755 h 1609070"/>
                    <a:gd name="connsiteX372" fmla="*/ 3991291 w 7417362"/>
                    <a:gd name="connsiteY372" fmla="*/ 1178753 h 1609070"/>
                    <a:gd name="connsiteX373" fmla="*/ 4030294 w 7417362"/>
                    <a:gd name="connsiteY373" fmla="*/ 1178753 h 1609070"/>
                    <a:gd name="connsiteX374" fmla="*/ 4030294 w 7417362"/>
                    <a:gd name="connsiteY374" fmla="*/ 1213422 h 1609070"/>
                    <a:gd name="connsiteX375" fmla="*/ 4043295 w 7417362"/>
                    <a:gd name="connsiteY375" fmla="*/ 1213422 h 1609070"/>
                    <a:gd name="connsiteX376" fmla="*/ 4043295 w 7417362"/>
                    <a:gd name="connsiteY376" fmla="*/ 1222089 h 1609070"/>
                    <a:gd name="connsiteX377" fmla="*/ 4164637 w 7417362"/>
                    <a:gd name="connsiteY377" fmla="*/ 1222089 h 1609070"/>
                    <a:gd name="connsiteX378" fmla="*/ 4164637 w 7417362"/>
                    <a:gd name="connsiteY378" fmla="*/ 1243758 h 1609070"/>
                    <a:gd name="connsiteX379" fmla="*/ 4320648 w 7417362"/>
                    <a:gd name="connsiteY379" fmla="*/ 1243758 h 1609070"/>
                    <a:gd name="connsiteX380" fmla="*/ 4320648 w 7417362"/>
                    <a:gd name="connsiteY380" fmla="*/ 1261092 h 1609070"/>
                    <a:gd name="connsiteX381" fmla="*/ 4398654 w 7417362"/>
                    <a:gd name="connsiteY381" fmla="*/ 1261092 h 1609070"/>
                    <a:gd name="connsiteX382" fmla="*/ 4398654 w 7417362"/>
                    <a:gd name="connsiteY382" fmla="*/ 1287094 h 1609070"/>
                    <a:gd name="connsiteX383" fmla="*/ 4450658 w 7417362"/>
                    <a:gd name="connsiteY383" fmla="*/ 1287094 h 1609070"/>
                    <a:gd name="connsiteX384" fmla="*/ 4476660 w 7417362"/>
                    <a:gd name="connsiteY384" fmla="*/ 1287094 h 1609070"/>
                    <a:gd name="connsiteX385" fmla="*/ 4498328 w 7417362"/>
                    <a:gd name="connsiteY385" fmla="*/ 1308762 h 1609070"/>
                    <a:gd name="connsiteX386" fmla="*/ 4593668 w 7417362"/>
                    <a:gd name="connsiteY386" fmla="*/ 1308762 h 1609070"/>
                    <a:gd name="connsiteX387" fmla="*/ 4602336 w 7417362"/>
                    <a:gd name="connsiteY387" fmla="*/ 1317430 h 1609070"/>
                    <a:gd name="connsiteX388" fmla="*/ 4663007 w 7417362"/>
                    <a:gd name="connsiteY388" fmla="*/ 1317430 h 1609070"/>
                    <a:gd name="connsiteX389" fmla="*/ 4663007 w 7417362"/>
                    <a:gd name="connsiteY389" fmla="*/ 1339098 h 1609070"/>
                    <a:gd name="connsiteX390" fmla="*/ 4706343 w 7417362"/>
                    <a:gd name="connsiteY390" fmla="*/ 1339098 h 1609070"/>
                    <a:gd name="connsiteX391" fmla="*/ 4710677 w 7417362"/>
                    <a:gd name="connsiteY391" fmla="*/ 1343432 h 1609070"/>
                    <a:gd name="connsiteX392" fmla="*/ 4767014 w 7417362"/>
                    <a:gd name="connsiteY392" fmla="*/ 1343432 h 1609070"/>
                    <a:gd name="connsiteX393" fmla="*/ 4780015 w 7417362"/>
                    <a:gd name="connsiteY393" fmla="*/ 1356433 h 1609070"/>
                    <a:gd name="connsiteX394" fmla="*/ 5005365 w 7417362"/>
                    <a:gd name="connsiteY394" fmla="*/ 1356433 h 1609070"/>
                    <a:gd name="connsiteX395" fmla="*/ 5018366 w 7417362"/>
                    <a:gd name="connsiteY395" fmla="*/ 1369434 h 1609070"/>
                    <a:gd name="connsiteX396" fmla="*/ 5152709 w 7417362"/>
                    <a:gd name="connsiteY396" fmla="*/ 1369434 h 1609070"/>
                    <a:gd name="connsiteX397" fmla="*/ 5152709 w 7417362"/>
                    <a:gd name="connsiteY397" fmla="*/ 1391102 h 1609070"/>
                    <a:gd name="connsiteX398" fmla="*/ 5282719 w 7417362"/>
                    <a:gd name="connsiteY398" fmla="*/ 1391102 h 1609070"/>
                    <a:gd name="connsiteX399" fmla="*/ 5291386 w 7417362"/>
                    <a:gd name="connsiteY399" fmla="*/ 1399769 h 1609070"/>
                    <a:gd name="connsiteX400" fmla="*/ 5356391 w 7417362"/>
                    <a:gd name="connsiteY400" fmla="*/ 1399769 h 1609070"/>
                    <a:gd name="connsiteX401" fmla="*/ 5369392 w 7417362"/>
                    <a:gd name="connsiteY401" fmla="*/ 1399769 h 1609070"/>
                    <a:gd name="connsiteX402" fmla="*/ 5369392 w 7417362"/>
                    <a:gd name="connsiteY402" fmla="*/ 1421437 h 1609070"/>
                    <a:gd name="connsiteX403" fmla="*/ 5473399 w 7417362"/>
                    <a:gd name="connsiteY403" fmla="*/ 1421437 h 1609070"/>
                    <a:gd name="connsiteX404" fmla="*/ 5473399 w 7417362"/>
                    <a:gd name="connsiteY404" fmla="*/ 1399769 h 1609070"/>
                    <a:gd name="connsiteX405" fmla="*/ 5512402 w 7417362"/>
                    <a:gd name="connsiteY405" fmla="*/ 1399769 h 1609070"/>
                    <a:gd name="connsiteX406" fmla="*/ 5512402 w 7417362"/>
                    <a:gd name="connsiteY406" fmla="*/ 1425771 h 1609070"/>
                    <a:gd name="connsiteX407" fmla="*/ 5607742 w 7417362"/>
                    <a:gd name="connsiteY407" fmla="*/ 1425771 h 1609070"/>
                    <a:gd name="connsiteX408" fmla="*/ 5607742 w 7417362"/>
                    <a:gd name="connsiteY408" fmla="*/ 1399769 h 1609070"/>
                    <a:gd name="connsiteX409" fmla="*/ 5664080 w 7417362"/>
                    <a:gd name="connsiteY409" fmla="*/ 1399769 h 1609070"/>
                    <a:gd name="connsiteX410" fmla="*/ 5664080 w 7417362"/>
                    <a:gd name="connsiteY410" fmla="*/ 1434438 h 1609070"/>
                    <a:gd name="connsiteX411" fmla="*/ 5685748 w 7417362"/>
                    <a:gd name="connsiteY411" fmla="*/ 1434438 h 1609070"/>
                    <a:gd name="connsiteX412" fmla="*/ 5685748 w 7417362"/>
                    <a:gd name="connsiteY412" fmla="*/ 1443106 h 1609070"/>
                    <a:gd name="connsiteX413" fmla="*/ 5716083 w 7417362"/>
                    <a:gd name="connsiteY413" fmla="*/ 1443106 h 1609070"/>
                    <a:gd name="connsiteX414" fmla="*/ 5716083 w 7417362"/>
                    <a:gd name="connsiteY414" fmla="*/ 1456106 h 1609070"/>
                    <a:gd name="connsiteX415" fmla="*/ 5794089 w 7417362"/>
                    <a:gd name="connsiteY415" fmla="*/ 1456106 h 1609070"/>
                    <a:gd name="connsiteX416" fmla="*/ 5794089 w 7417362"/>
                    <a:gd name="connsiteY416" fmla="*/ 1421437 h 1609070"/>
                    <a:gd name="connsiteX417" fmla="*/ 5837426 w 7417362"/>
                    <a:gd name="connsiteY417" fmla="*/ 1421437 h 1609070"/>
                    <a:gd name="connsiteX418" fmla="*/ 5837426 w 7417362"/>
                    <a:gd name="connsiteY418" fmla="*/ 1456106 h 1609070"/>
                    <a:gd name="connsiteX419" fmla="*/ 5902430 w 7417362"/>
                    <a:gd name="connsiteY419" fmla="*/ 1456106 h 1609070"/>
                    <a:gd name="connsiteX420" fmla="*/ 5928432 w 7417362"/>
                    <a:gd name="connsiteY420" fmla="*/ 1456106 h 1609070"/>
                    <a:gd name="connsiteX421" fmla="*/ 5928432 w 7417362"/>
                    <a:gd name="connsiteY421" fmla="*/ 1473441 h 1609070"/>
                    <a:gd name="connsiteX422" fmla="*/ 5945767 w 7417362"/>
                    <a:gd name="connsiteY422" fmla="*/ 1473441 h 1609070"/>
                    <a:gd name="connsiteX423" fmla="*/ 5950101 w 7417362"/>
                    <a:gd name="connsiteY423" fmla="*/ 1477775 h 1609070"/>
                    <a:gd name="connsiteX424" fmla="*/ 6019439 w 7417362"/>
                    <a:gd name="connsiteY424" fmla="*/ 1477775 h 1609070"/>
                    <a:gd name="connsiteX425" fmla="*/ 6019439 w 7417362"/>
                    <a:gd name="connsiteY425" fmla="*/ 1456106 h 1609070"/>
                    <a:gd name="connsiteX426" fmla="*/ 6058442 w 7417362"/>
                    <a:gd name="connsiteY426" fmla="*/ 1456106 h 1609070"/>
                    <a:gd name="connsiteX427" fmla="*/ 6058442 w 7417362"/>
                    <a:gd name="connsiteY427" fmla="*/ 1499443 h 1609070"/>
                    <a:gd name="connsiteX428" fmla="*/ 6110446 w 7417362"/>
                    <a:gd name="connsiteY428" fmla="*/ 1499443 h 1609070"/>
                    <a:gd name="connsiteX429" fmla="*/ 6110446 w 7417362"/>
                    <a:gd name="connsiteY429" fmla="*/ 1508110 h 1609070"/>
                    <a:gd name="connsiteX430" fmla="*/ 6188451 w 7417362"/>
                    <a:gd name="connsiteY430" fmla="*/ 1508110 h 1609070"/>
                    <a:gd name="connsiteX431" fmla="*/ 6188451 w 7417362"/>
                    <a:gd name="connsiteY431" fmla="*/ 1464774 h 1609070"/>
                    <a:gd name="connsiteX432" fmla="*/ 6227454 w 7417362"/>
                    <a:gd name="connsiteY432" fmla="*/ 1464774 h 1609070"/>
                    <a:gd name="connsiteX433" fmla="*/ 6227454 w 7417362"/>
                    <a:gd name="connsiteY433" fmla="*/ 1516778 h 1609070"/>
                    <a:gd name="connsiteX434" fmla="*/ 6353130 w 7417362"/>
                    <a:gd name="connsiteY434" fmla="*/ 1516778 h 1609070"/>
                    <a:gd name="connsiteX435" fmla="*/ 6353130 w 7417362"/>
                    <a:gd name="connsiteY435" fmla="*/ 1477775 h 1609070"/>
                    <a:gd name="connsiteX436" fmla="*/ 6409467 w 7417362"/>
                    <a:gd name="connsiteY436" fmla="*/ 1477775 h 1609070"/>
                    <a:gd name="connsiteX437" fmla="*/ 6409467 w 7417362"/>
                    <a:gd name="connsiteY437" fmla="*/ 1529778 h 1609070"/>
                    <a:gd name="connsiteX438" fmla="*/ 6457138 w 7417362"/>
                    <a:gd name="connsiteY438" fmla="*/ 1529778 h 1609070"/>
                    <a:gd name="connsiteX439" fmla="*/ 6457138 w 7417362"/>
                    <a:gd name="connsiteY439" fmla="*/ 1482108 h 1609070"/>
                    <a:gd name="connsiteX440" fmla="*/ 6487473 w 7417362"/>
                    <a:gd name="connsiteY440" fmla="*/ 1482108 h 1609070"/>
                    <a:gd name="connsiteX441" fmla="*/ 6487473 w 7417362"/>
                    <a:gd name="connsiteY441" fmla="*/ 1529778 h 1609070"/>
                    <a:gd name="connsiteX442" fmla="*/ 6561145 w 7417362"/>
                    <a:gd name="connsiteY442" fmla="*/ 1529778 h 1609070"/>
                    <a:gd name="connsiteX443" fmla="*/ 6565479 w 7417362"/>
                    <a:gd name="connsiteY443" fmla="*/ 1534112 h 1609070"/>
                    <a:gd name="connsiteX444" fmla="*/ 6669486 w 7417362"/>
                    <a:gd name="connsiteY444" fmla="*/ 1534112 h 1609070"/>
                    <a:gd name="connsiteX445" fmla="*/ 6669486 w 7417362"/>
                    <a:gd name="connsiteY445" fmla="*/ 1499443 h 1609070"/>
                    <a:gd name="connsiteX446" fmla="*/ 6738825 w 7417362"/>
                    <a:gd name="connsiteY446" fmla="*/ 1499443 h 1609070"/>
                    <a:gd name="connsiteX447" fmla="*/ 6738825 w 7417362"/>
                    <a:gd name="connsiteY447" fmla="*/ 1542779 h 1609070"/>
                    <a:gd name="connsiteX448" fmla="*/ 6795162 w 7417362"/>
                    <a:gd name="connsiteY448" fmla="*/ 1542779 h 1609070"/>
                    <a:gd name="connsiteX449" fmla="*/ 6795162 w 7417362"/>
                    <a:gd name="connsiteY449" fmla="*/ 1499443 h 1609070"/>
                    <a:gd name="connsiteX450" fmla="*/ 6829831 w 7417362"/>
                    <a:gd name="connsiteY450" fmla="*/ 1499443 h 1609070"/>
                    <a:gd name="connsiteX451" fmla="*/ 6829831 w 7417362"/>
                    <a:gd name="connsiteY451" fmla="*/ 1529778 h 1609070"/>
                    <a:gd name="connsiteX452" fmla="*/ 6847166 w 7417362"/>
                    <a:gd name="connsiteY452" fmla="*/ 1529778 h 1609070"/>
                    <a:gd name="connsiteX453" fmla="*/ 6847166 w 7417362"/>
                    <a:gd name="connsiteY453" fmla="*/ 1555780 h 1609070"/>
                    <a:gd name="connsiteX454" fmla="*/ 7050847 w 7417362"/>
                    <a:gd name="connsiteY454" fmla="*/ 1555780 h 1609070"/>
                    <a:gd name="connsiteX455" fmla="*/ 7063848 w 7417362"/>
                    <a:gd name="connsiteY455" fmla="*/ 1568781 h 1609070"/>
                    <a:gd name="connsiteX456" fmla="*/ 7133187 w 7417362"/>
                    <a:gd name="connsiteY456" fmla="*/ 1568781 h 1609070"/>
                    <a:gd name="connsiteX457" fmla="*/ 7133187 w 7417362"/>
                    <a:gd name="connsiteY457" fmla="*/ 1586116 h 1609070"/>
                    <a:gd name="connsiteX458" fmla="*/ 7284865 w 7417362"/>
                    <a:gd name="connsiteY458" fmla="*/ 1586116 h 1609070"/>
                    <a:gd name="connsiteX459" fmla="*/ 7284865 w 7417362"/>
                    <a:gd name="connsiteY459" fmla="*/ 1607784 h 1609070"/>
                    <a:gd name="connsiteX460" fmla="*/ 7417257 w 7417362"/>
                    <a:gd name="connsiteY460" fmla="*/ 1609070 h 1609070"/>
                    <a:gd name="connsiteX0" fmla="*/ 7410114 w 7414874"/>
                    <a:gd name="connsiteY0" fmla="*/ 1613833 h 1613833"/>
                    <a:gd name="connsiteX1" fmla="*/ 7414874 w 7414874"/>
                    <a:gd name="connsiteY1" fmla="*/ 1508110 h 1613833"/>
                    <a:gd name="connsiteX2" fmla="*/ 7271864 w 7414874"/>
                    <a:gd name="connsiteY2" fmla="*/ 1508110 h 1613833"/>
                    <a:gd name="connsiteX3" fmla="*/ 7258863 w 7414874"/>
                    <a:gd name="connsiteY3" fmla="*/ 1495109 h 1613833"/>
                    <a:gd name="connsiteX4" fmla="*/ 7159189 w 7414874"/>
                    <a:gd name="connsiteY4" fmla="*/ 1495109 h 1613833"/>
                    <a:gd name="connsiteX5" fmla="*/ 7141854 w 7414874"/>
                    <a:gd name="connsiteY5" fmla="*/ 1477774 h 1613833"/>
                    <a:gd name="connsiteX6" fmla="*/ 7037847 w 7414874"/>
                    <a:gd name="connsiteY6" fmla="*/ 1477774 h 1613833"/>
                    <a:gd name="connsiteX7" fmla="*/ 7037847 w 7414874"/>
                    <a:gd name="connsiteY7" fmla="*/ 1451773 h 1613833"/>
                    <a:gd name="connsiteX8" fmla="*/ 6873168 w 7414874"/>
                    <a:gd name="connsiteY8" fmla="*/ 1451773 h 1613833"/>
                    <a:gd name="connsiteX9" fmla="*/ 6868834 w 7414874"/>
                    <a:gd name="connsiteY9" fmla="*/ 1447439 h 1613833"/>
                    <a:gd name="connsiteX10" fmla="*/ 6825498 w 7414874"/>
                    <a:gd name="connsiteY10" fmla="*/ 1447439 h 1613833"/>
                    <a:gd name="connsiteX11" fmla="*/ 6825498 w 7414874"/>
                    <a:gd name="connsiteY11" fmla="*/ 1495109 h 1613833"/>
                    <a:gd name="connsiteX12" fmla="*/ 6786495 w 7414874"/>
                    <a:gd name="connsiteY12" fmla="*/ 1495109 h 1613833"/>
                    <a:gd name="connsiteX13" fmla="*/ 6786495 w 7414874"/>
                    <a:gd name="connsiteY13" fmla="*/ 1443106 h 1613833"/>
                    <a:gd name="connsiteX14" fmla="*/ 6738825 w 7414874"/>
                    <a:gd name="connsiteY14" fmla="*/ 1443106 h 1613833"/>
                    <a:gd name="connsiteX15" fmla="*/ 6738824 w 7414874"/>
                    <a:gd name="connsiteY15" fmla="*/ 1477775 h 1613833"/>
                    <a:gd name="connsiteX16" fmla="*/ 6678154 w 7414874"/>
                    <a:gd name="connsiteY16" fmla="*/ 1477775 h 1613833"/>
                    <a:gd name="connsiteX17" fmla="*/ 6678154 w 7414874"/>
                    <a:gd name="connsiteY17" fmla="*/ 1438772 h 1613833"/>
                    <a:gd name="connsiteX18" fmla="*/ 6561145 w 7414874"/>
                    <a:gd name="connsiteY18" fmla="*/ 1438772 h 1613833"/>
                    <a:gd name="connsiteX19" fmla="*/ 6548144 w 7414874"/>
                    <a:gd name="connsiteY19" fmla="*/ 1425771 h 1613833"/>
                    <a:gd name="connsiteX20" fmla="*/ 6483139 w 7414874"/>
                    <a:gd name="connsiteY20" fmla="*/ 1425771 h 1613833"/>
                    <a:gd name="connsiteX21" fmla="*/ 6483139 w 7414874"/>
                    <a:gd name="connsiteY21" fmla="*/ 1482108 h 1613833"/>
                    <a:gd name="connsiteX22" fmla="*/ 6444137 w 7414874"/>
                    <a:gd name="connsiteY22" fmla="*/ 1482108 h 1613833"/>
                    <a:gd name="connsiteX23" fmla="*/ 6444137 w 7414874"/>
                    <a:gd name="connsiteY23" fmla="*/ 1434438 h 1613833"/>
                    <a:gd name="connsiteX24" fmla="*/ 6405134 w 7414874"/>
                    <a:gd name="connsiteY24" fmla="*/ 1434438 h 1613833"/>
                    <a:gd name="connsiteX25" fmla="*/ 6405134 w 7414874"/>
                    <a:gd name="connsiteY25" fmla="*/ 1477775 h 1613833"/>
                    <a:gd name="connsiteX26" fmla="*/ 6357464 w 7414874"/>
                    <a:gd name="connsiteY26" fmla="*/ 1477775 h 1613833"/>
                    <a:gd name="connsiteX27" fmla="*/ 6357464 w 7414874"/>
                    <a:gd name="connsiteY27" fmla="*/ 1430105 h 1613833"/>
                    <a:gd name="connsiteX28" fmla="*/ 6223120 w 7414874"/>
                    <a:gd name="connsiteY28" fmla="*/ 1430105 h 1613833"/>
                    <a:gd name="connsiteX29" fmla="*/ 6223120 w 7414874"/>
                    <a:gd name="connsiteY29" fmla="*/ 1443106 h 1613833"/>
                    <a:gd name="connsiteX30" fmla="*/ 6192785 w 7414874"/>
                    <a:gd name="connsiteY30" fmla="*/ 1443106 h 1613833"/>
                    <a:gd name="connsiteX31" fmla="*/ 6192785 w 7414874"/>
                    <a:gd name="connsiteY31" fmla="*/ 1412770 h 1613833"/>
                    <a:gd name="connsiteX32" fmla="*/ 6119113 w 7414874"/>
                    <a:gd name="connsiteY32" fmla="*/ 1412770 h 1613833"/>
                    <a:gd name="connsiteX33" fmla="*/ 6119113 w 7414874"/>
                    <a:gd name="connsiteY33" fmla="*/ 1399769 h 1613833"/>
                    <a:gd name="connsiteX34" fmla="*/ 6071443 w 7414874"/>
                    <a:gd name="connsiteY34" fmla="*/ 1399769 h 1613833"/>
                    <a:gd name="connsiteX35" fmla="*/ 6071443 w 7414874"/>
                    <a:gd name="connsiteY35" fmla="*/ 1382434 h 1613833"/>
                    <a:gd name="connsiteX36" fmla="*/ 6049774 w 7414874"/>
                    <a:gd name="connsiteY36" fmla="*/ 1382434 h 1613833"/>
                    <a:gd name="connsiteX37" fmla="*/ 6049774 w 7414874"/>
                    <a:gd name="connsiteY37" fmla="*/ 1421437 h 1613833"/>
                    <a:gd name="connsiteX38" fmla="*/ 6019439 w 7414874"/>
                    <a:gd name="connsiteY38" fmla="*/ 1421437 h 1613833"/>
                    <a:gd name="connsiteX39" fmla="*/ 6019439 w 7414874"/>
                    <a:gd name="connsiteY39" fmla="*/ 1391102 h 1613833"/>
                    <a:gd name="connsiteX40" fmla="*/ 5958768 w 7414874"/>
                    <a:gd name="connsiteY40" fmla="*/ 1391102 h 1613833"/>
                    <a:gd name="connsiteX41" fmla="*/ 5958768 w 7414874"/>
                    <a:gd name="connsiteY41" fmla="*/ 1373767 h 1613833"/>
                    <a:gd name="connsiteX42" fmla="*/ 5919765 w 7414874"/>
                    <a:gd name="connsiteY42" fmla="*/ 1373767 h 1613833"/>
                    <a:gd name="connsiteX43" fmla="*/ 5919765 w 7414874"/>
                    <a:gd name="connsiteY43" fmla="*/ 1352099 h 1613833"/>
                    <a:gd name="connsiteX44" fmla="*/ 5824425 w 7414874"/>
                    <a:gd name="connsiteY44" fmla="*/ 1352099 h 1613833"/>
                    <a:gd name="connsiteX45" fmla="*/ 5824425 w 7414874"/>
                    <a:gd name="connsiteY45" fmla="*/ 1399769 h 1613833"/>
                    <a:gd name="connsiteX46" fmla="*/ 5789756 w 7414874"/>
                    <a:gd name="connsiteY46" fmla="*/ 1399769 h 1613833"/>
                    <a:gd name="connsiteX47" fmla="*/ 5789756 w 7414874"/>
                    <a:gd name="connsiteY47" fmla="*/ 1365100 h 1613833"/>
                    <a:gd name="connsiteX48" fmla="*/ 5698749 w 7414874"/>
                    <a:gd name="connsiteY48" fmla="*/ 1365100 h 1613833"/>
                    <a:gd name="connsiteX49" fmla="*/ 5698749 w 7414874"/>
                    <a:gd name="connsiteY49" fmla="*/ 1326097 h 1613833"/>
                    <a:gd name="connsiteX50" fmla="*/ 5655412 w 7414874"/>
                    <a:gd name="connsiteY50" fmla="*/ 1326097 h 1613833"/>
                    <a:gd name="connsiteX51" fmla="*/ 5655412 w 7414874"/>
                    <a:gd name="connsiteY51" fmla="*/ 1373767 h 1613833"/>
                    <a:gd name="connsiteX52" fmla="*/ 5612076 w 7414874"/>
                    <a:gd name="connsiteY52" fmla="*/ 1373767 h 1613833"/>
                    <a:gd name="connsiteX53" fmla="*/ 5612076 w 7414874"/>
                    <a:gd name="connsiteY53" fmla="*/ 1334764 h 1613833"/>
                    <a:gd name="connsiteX54" fmla="*/ 5512402 w 7414874"/>
                    <a:gd name="connsiteY54" fmla="*/ 1334764 h 1613833"/>
                    <a:gd name="connsiteX55" fmla="*/ 5512402 w 7414874"/>
                    <a:gd name="connsiteY55" fmla="*/ 1360766 h 1613833"/>
                    <a:gd name="connsiteX56" fmla="*/ 5469065 w 7414874"/>
                    <a:gd name="connsiteY56" fmla="*/ 1360766 h 1613833"/>
                    <a:gd name="connsiteX57" fmla="*/ 5469065 w 7414874"/>
                    <a:gd name="connsiteY57" fmla="*/ 1321763 h 1613833"/>
                    <a:gd name="connsiteX58" fmla="*/ 5360724 w 7414874"/>
                    <a:gd name="connsiteY58" fmla="*/ 1321763 h 1613833"/>
                    <a:gd name="connsiteX59" fmla="*/ 5360724 w 7414874"/>
                    <a:gd name="connsiteY59" fmla="*/ 1304429 h 1613833"/>
                    <a:gd name="connsiteX60" fmla="*/ 5300053 w 7414874"/>
                    <a:gd name="connsiteY60" fmla="*/ 1304429 h 1613833"/>
                    <a:gd name="connsiteX61" fmla="*/ 5291386 w 7414874"/>
                    <a:gd name="connsiteY61" fmla="*/ 1295762 h 1613833"/>
                    <a:gd name="connsiteX62" fmla="*/ 5187378 w 7414874"/>
                    <a:gd name="connsiteY62" fmla="*/ 1295762 h 1613833"/>
                    <a:gd name="connsiteX63" fmla="*/ 5187378 w 7414874"/>
                    <a:gd name="connsiteY63" fmla="*/ 1278427 h 1613833"/>
                    <a:gd name="connsiteX64" fmla="*/ 5057369 w 7414874"/>
                    <a:gd name="connsiteY64" fmla="*/ 1278427 h 1613833"/>
                    <a:gd name="connsiteX65" fmla="*/ 5048701 w 7414874"/>
                    <a:gd name="connsiteY65" fmla="*/ 1269759 h 1613833"/>
                    <a:gd name="connsiteX66" fmla="*/ 4923026 w 7414874"/>
                    <a:gd name="connsiteY66" fmla="*/ 1269759 h 1613833"/>
                    <a:gd name="connsiteX67" fmla="*/ 4910025 w 7414874"/>
                    <a:gd name="connsiteY67" fmla="*/ 1256758 h 1613833"/>
                    <a:gd name="connsiteX68" fmla="*/ 4697676 w 7414874"/>
                    <a:gd name="connsiteY68" fmla="*/ 1256758 h 1613833"/>
                    <a:gd name="connsiteX69" fmla="*/ 4684675 w 7414874"/>
                    <a:gd name="connsiteY69" fmla="*/ 1243757 h 1613833"/>
                    <a:gd name="connsiteX70" fmla="*/ 4663007 w 7414874"/>
                    <a:gd name="connsiteY70" fmla="*/ 1243757 h 1613833"/>
                    <a:gd name="connsiteX71" fmla="*/ 4645673 w 7414874"/>
                    <a:gd name="connsiteY71" fmla="*/ 1226423 h 1613833"/>
                    <a:gd name="connsiteX72" fmla="*/ 4632672 w 7414874"/>
                    <a:gd name="connsiteY72" fmla="*/ 1213422 h 1613833"/>
                    <a:gd name="connsiteX73" fmla="*/ 4489661 w 7414874"/>
                    <a:gd name="connsiteY73" fmla="*/ 1213422 h 1613833"/>
                    <a:gd name="connsiteX74" fmla="*/ 4489661 w 7414874"/>
                    <a:gd name="connsiteY74" fmla="*/ 1200421 h 1613833"/>
                    <a:gd name="connsiteX75" fmla="*/ 4446324 w 7414874"/>
                    <a:gd name="connsiteY75" fmla="*/ 1200421 h 1613833"/>
                    <a:gd name="connsiteX76" fmla="*/ 4446324 w 7414874"/>
                    <a:gd name="connsiteY76" fmla="*/ 1183087 h 1613833"/>
                    <a:gd name="connsiteX77" fmla="*/ 4411655 w 7414874"/>
                    <a:gd name="connsiteY77" fmla="*/ 1183087 h 1613833"/>
                    <a:gd name="connsiteX78" fmla="*/ 4398654 w 7414874"/>
                    <a:gd name="connsiteY78" fmla="*/ 1170086 h 1613833"/>
                    <a:gd name="connsiteX79" fmla="*/ 4394321 w 7414874"/>
                    <a:gd name="connsiteY79" fmla="*/ 1174419 h 1613833"/>
                    <a:gd name="connsiteX80" fmla="*/ 4394321 w 7414874"/>
                    <a:gd name="connsiteY80" fmla="*/ 1200421 h 1613833"/>
                    <a:gd name="connsiteX81" fmla="*/ 4359651 w 7414874"/>
                    <a:gd name="connsiteY81" fmla="*/ 1200421 h 1613833"/>
                    <a:gd name="connsiteX82" fmla="*/ 4359651 w 7414874"/>
                    <a:gd name="connsiteY82" fmla="*/ 1157085 h 1613833"/>
                    <a:gd name="connsiteX83" fmla="*/ 4329316 w 7414874"/>
                    <a:gd name="connsiteY83" fmla="*/ 1157085 h 1613833"/>
                    <a:gd name="connsiteX84" fmla="*/ 4320648 w 7414874"/>
                    <a:gd name="connsiteY84" fmla="*/ 1148417 h 1613833"/>
                    <a:gd name="connsiteX85" fmla="*/ 4155970 w 7414874"/>
                    <a:gd name="connsiteY85" fmla="*/ 1148417 h 1613833"/>
                    <a:gd name="connsiteX86" fmla="*/ 4147302 w 7414874"/>
                    <a:gd name="connsiteY86" fmla="*/ 1139749 h 1613833"/>
                    <a:gd name="connsiteX87" fmla="*/ 4064963 w 7414874"/>
                    <a:gd name="connsiteY87" fmla="*/ 1139749 h 1613833"/>
                    <a:gd name="connsiteX88" fmla="*/ 4064963 w 7414874"/>
                    <a:gd name="connsiteY88" fmla="*/ 1122415 h 1613833"/>
                    <a:gd name="connsiteX89" fmla="*/ 4047628 w 7414874"/>
                    <a:gd name="connsiteY89" fmla="*/ 1122415 h 1613833"/>
                    <a:gd name="connsiteX90" fmla="*/ 4047628 w 7414874"/>
                    <a:gd name="connsiteY90" fmla="*/ 1105081 h 1613833"/>
                    <a:gd name="connsiteX91" fmla="*/ 4025960 w 7414874"/>
                    <a:gd name="connsiteY91" fmla="*/ 1105081 h 1613833"/>
                    <a:gd name="connsiteX92" fmla="*/ 4025960 w 7414874"/>
                    <a:gd name="connsiteY92" fmla="*/ 1152751 h 1613833"/>
                    <a:gd name="connsiteX93" fmla="*/ 3991291 w 7414874"/>
                    <a:gd name="connsiteY93" fmla="*/ 1152751 h 1613833"/>
                    <a:gd name="connsiteX94" fmla="*/ 3991291 w 7414874"/>
                    <a:gd name="connsiteY94" fmla="*/ 1109415 h 1613833"/>
                    <a:gd name="connsiteX95" fmla="*/ 3960956 w 7414874"/>
                    <a:gd name="connsiteY95" fmla="*/ 1109415 h 1613833"/>
                    <a:gd name="connsiteX96" fmla="*/ 3952288 w 7414874"/>
                    <a:gd name="connsiteY96" fmla="*/ 1100747 h 1613833"/>
                    <a:gd name="connsiteX97" fmla="*/ 3735606 w 7414874"/>
                    <a:gd name="connsiteY97" fmla="*/ 1100747 h 1613833"/>
                    <a:gd name="connsiteX98" fmla="*/ 3718272 w 7414874"/>
                    <a:gd name="connsiteY98" fmla="*/ 1083413 h 1613833"/>
                    <a:gd name="connsiteX99" fmla="*/ 3592595 w 7414874"/>
                    <a:gd name="connsiteY99" fmla="*/ 1083413 h 1613833"/>
                    <a:gd name="connsiteX100" fmla="*/ 3575261 w 7414874"/>
                    <a:gd name="connsiteY100" fmla="*/ 1066079 h 1613833"/>
                    <a:gd name="connsiteX101" fmla="*/ 3440918 w 7414874"/>
                    <a:gd name="connsiteY101" fmla="*/ 1066079 h 1613833"/>
                    <a:gd name="connsiteX102" fmla="*/ 3440918 w 7414874"/>
                    <a:gd name="connsiteY102" fmla="*/ 1040076 h 1613833"/>
                    <a:gd name="connsiteX103" fmla="*/ 3319575 w 7414874"/>
                    <a:gd name="connsiteY103" fmla="*/ 1040076 h 1613833"/>
                    <a:gd name="connsiteX104" fmla="*/ 3319575 w 7414874"/>
                    <a:gd name="connsiteY104" fmla="*/ 1027075 h 1613833"/>
                    <a:gd name="connsiteX105" fmla="*/ 3180899 w 7414874"/>
                    <a:gd name="connsiteY105" fmla="*/ 1027075 h 1613833"/>
                    <a:gd name="connsiteX106" fmla="*/ 3180899 w 7414874"/>
                    <a:gd name="connsiteY106" fmla="*/ 1020123 h 1613833"/>
                    <a:gd name="connsiteX107" fmla="*/ 3163564 w 7414874"/>
                    <a:gd name="connsiteY107" fmla="*/ 1018408 h 1613833"/>
                    <a:gd name="connsiteX108" fmla="*/ 3150563 w 7414874"/>
                    <a:gd name="connsiteY108" fmla="*/ 1005407 h 1613833"/>
                    <a:gd name="connsiteX109" fmla="*/ 2990218 w 7414874"/>
                    <a:gd name="connsiteY109" fmla="*/ 1005407 h 1613833"/>
                    <a:gd name="connsiteX110" fmla="*/ 2990218 w 7414874"/>
                    <a:gd name="connsiteY110" fmla="*/ 988072 h 1613833"/>
                    <a:gd name="connsiteX111" fmla="*/ 2907879 w 7414874"/>
                    <a:gd name="connsiteY111" fmla="*/ 988072 h 1613833"/>
                    <a:gd name="connsiteX112" fmla="*/ 2899211 w 7414874"/>
                    <a:gd name="connsiteY112" fmla="*/ 979404 h 1613833"/>
                    <a:gd name="connsiteX113" fmla="*/ 2868876 w 7414874"/>
                    <a:gd name="connsiteY113" fmla="*/ 979404 h 1613833"/>
                    <a:gd name="connsiteX114" fmla="*/ 2868876 w 7414874"/>
                    <a:gd name="connsiteY114" fmla="*/ 953403 h 1613833"/>
                    <a:gd name="connsiteX115" fmla="*/ 2842874 w 7414874"/>
                    <a:gd name="connsiteY115" fmla="*/ 953403 h 1613833"/>
                    <a:gd name="connsiteX116" fmla="*/ 2834207 w 7414874"/>
                    <a:gd name="connsiteY116" fmla="*/ 944736 h 1613833"/>
                    <a:gd name="connsiteX117" fmla="*/ 2756201 w 7414874"/>
                    <a:gd name="connsiteY117" fmla="*/ 944736 h 1613833"/>
                    <a:gd name="connsiteX118" fmla="*/ 2747534 w 7414874"/>
                    <a:gd name="connsiteY118" fmla="*/ 936069 h 1613833"/>
                    <a:gd name="connsiteX119" fmla="*/ 2699864 w 7414874"/>
                    <a:gd name="connsiteY119" fmla="*/ 936069 h 1613833"/>
                    <a:gd name="connsiteX120" fmla="*/ 2688815 w 7414874"/>
                    <a:gd name="connsiteY120" fmla="*/ 925019 h 1613833"/>
                    <a:gd name="connsiteX121" fmla="*/ 2643526 w 7414874"/>
                    <a:gd name="connsiteY121" fmla="*/ 927401 h 1613833"/>
                    <a:gd name="connsiteX122" fmla="*/ 2638099 w 7414874"/>
                    <a:gd name="connsiteY122" fmla="*/ 910067 h 1613833"/>
                    <a:gd name="connsiteX123" fmla="*/ 2616001 w 7414874"/>
                    <a:gd name="connsiteY123" fmla="*/ 899876 h 1613833"/>
                    <a:gd name="connsiteX124" fmla="*/ 2591522 w 7414874"/>
                    <a:gd name="connsiteY124" fmla="*/ 875397 h 1613833"/>
                    <a:gd name="connsiteX125" fmla="*/ 2561187 w 7414874"/>
                    <a:gd name="connsiteY125" fmla="*/ 875397 h 1613833"/>
                    <a:gd name="connsiteX126" fmla="*/ 2552519 w 7414874"/>
                    <a:gd name="connsiteY126" fmla="*/ 866729 h 1613833"/>
                    <a:gd name="connsiteX127" fmla="*/ 2500516 w 7414874"/>
                    <a:gd name="connsiteY127" fmla="*/ 866729 h 1613833"/>
                    <a:gd name="connsiteX128" fmla="*/ 2500516 w 7414874"/>
                    <a:gd name="connsiteY128" fmla="*/ 849396 h 1613833"/>
                    <a:gd name="connsiteX129" fmla="*/ 2444178 w 7414874"/>
                    <a:gd name="connsiteY129" fmla="*/ 849396 h 1613833"/>
                    <a:gd name="connsiteX130" fmla="*/ 2435510 w 7414874"/>
                    <a:gd name="connsiteY130" fmla="*/ 840728 h 1613833"/>
                    <a:gd name="connsiteX131" fmla="*/ 2413843 w 7414874"/>
                    <a:gd name="connsiteY131" fmla="*/ 840728 h 1613833"/>
                    <a:gd name="connsiteX132" fmla="*/ 2400842 w 7414874"/>
                    <a:gd name="connsiteY132" fmla="*/ 827727 h 1613833"/>
                    <a:gd name="connsiteX133" fmla="*/ 2348838 w 7414874"/>
                    <a:gd name="connsiteY133" fmla="*/ 827727 h 1613833"/>
                    <a:gd name="connsiteX134" fmla="*/ 2348838 w 7414874"/>
                    <a:gd name="connsiteY134" fmla="*/ 810393 h 1613833"/>
                    <a:gd name="connsiteX135" fmla="*/ 2309835 w 7414874"/>
                    <a:gd name="connsiteY135" fmla="*/ 810393 h 1613833"/>
                    <a:gd name="connsiteX136" fmla="*/ 2296834 w 7414874"/>
                    <a:gd name="connsiteY136" fmla="*/ 823394 h 1613833"/>
                    <a:gd name="connsiteX137" fmla="*/ 2266499 w 7414874"/>
                    <a:gd name="connsiteY137" fmla="*/ 823394 h 1613833"/>
                    <a:gd name="connsiteX138" fmla="*/ 2253498 w 7414874"/>
                    <a:gd name="connsiteY138" fmla="*/ 810393 h 1613833"/>
                    <a:gd name="connsiteX139" fmla="*/ 2244830 w 7414874"/>
                    <a:gd name="connsiteY139" fmla="*/ 801725 h 1613833"/>
                    <a:gd name="connsiteX140" fmla="*/ 2244830 w 7414874"/>
                    <a:gd name="connsiteY140" fmla="*/ 775724 h 1613833"/>
                    <a:gd name="connsiteX141" fmla="*/ 2123488 w 7414874"/>
                    <a:gd name="connsiteY141" fmla="*/ 775724 h 1613833"/>
                    <a:gd name="connsiteX142" fmla="*/ 2123488 w 7414874"/>
                    <a:gd name="connsiteY142" fmla="*/ 745388 h 1613833"/>
                    <a:gd name="connsiteX143" fmla="*/ 2071484 w 7414874"/>
                    <a:gd name="connsiteY143" fmla="*/ 745388 h 1613833"/>
                    <a:gd name="connsiteX144" fmla="*/ 2062817 w 7414874"/>
                    <a:gd name="connsiteY144" fmla="*/ 736721 h 1613833"/>
                    <a:gd name="connsiteX145" fmla="*/ 2006480 w 7414874"/>
                    <a:gd name="connsiteY145" fmla="*/ 736721 h 1613833"/>
                    <a:gd name="connsiteX146" fmla="*/ 2006480 w 7414874"/>
                    <a:gd name="connsiteY146" fmla="*/ 715052 h 1613833"/>
                    <a:gd name="connsiteX147" fmla="*/ 1906806 w 7414874"/>
                    <a:gd name="connsiteY147" fmla="*/ 715052 h 1613833"/>
                    <a:gd name="connsiteX148" fmla="*/ 1902473 w 7414874"/>
                    <a:gd name="connsiteY148" fmla="*/ 710719 h 1613833"/>
                    <a:gd name="connsiteX149" fmla="*/ 1863469 w 7414874"/>
                    <a:gd name="connsiteY149" fmla="*/ 710719 h 1613833"/>
                    <a:gd name="connsiteX150" fmla="*/ 1863469 w 7414874"/>
                    <a:gd name="connsiteY150" fmla="*/ 680383 h 1613833"/>
                    <a:gd name="connsiteX151" fmla="*/ 1807132 w 7414874"/>
                    <a:gd name="connsiteY151" fmla="*/ 680383 h 1613833"/>
                    <a:gd name="connsiteX152" fmla="*/ 1798465 w 7414874"/>
                    <a:gd name="connsiteY152" fmla="*/ 671716 h 1613833"/>
                    <a:gd name="connsiteX153" fmla="*/ 1785464 w 7414874"/>
                    <a:gd name="connsiteY153" fmla="*/ 671716 h 1613833"/>
                    <a:gd name="connsiteX154" fmla="*/ 1785464 w 7414874"/>
                    <a:gd name="connsiteY154" fmla="*/ 658715 h 1613833"/>
                    <a:gd name="connsiteX155" fmla="*/ 1750794 w 7414874"/>
                    <a:gd name="connsiteY155" fmla="*/ 658715 h 1613833"/>
                    <a:gd name="connsiteX156" fmla="*/ 1750794 w 7414874"/>
                    <a:gd name="connsiteY156" fmla="*/ 637047 h 1613833"/>
                    <a:gd name="connsiteX157" fmla="*/ 1698791 w 7414874"/>
                    <a:gd name="connsiteY157" fmla="*/ 637047 h 1613833"/>
                    <a:gd name="connsiteX158" fmla="*/ 1698791 w 7414874"/>
                    <a:gd name="connsiteY158" fmla="*/ 611045 h 1613833"/>
                    <a:gd name="connsiteX159" fmla="*/ 1616451 w 7414874"/>
                    <a:gd name="connsiteY159" fmla="*/ 611045 h 1613833"/>
                    <a:gd name="connsiteX160" fmla="*/ 1603450 w 7414874"/>
                    <a:gd name="connsiteY160" fmla="*/ 598044 h 1613833"/>
                    <a:gd name="connsiteX161" fmla="*/ 1590449 w 7414874"/>
                    <a:gd name="connsiteY161" fmla="*/ 598044 h 1613833"/>
                    <a:gd name="connsiteX162" fmla="*/ 1577448 w 7414874"/>
                    <a:gd name="connsiteY162" fmla="*/ 585043 h 1613833"/>
                    <a:gd name="connsiteX163" fmla="*/ 1529778 w 7414874"/>
                    <a:gd name="connsiteY163" fmla="*/ 585043 h 1613833"/>
                    <a:gd name="connsiteX164" fmla="*/ 1529778 w 7414874"/>
                    <a:gd name="connsiteY164" fmla="*/ 576376 h 1613833"/>
                    <a:gd name="connsiteX165" fmla="*/ 1477774 w 7414874"/>
                    <a:gd name="connsiteY165" fmla="*/ 576376 h 1613833"/>
                    <a:gd name="connsiteX166" fmla="*/ 1477774 w 7414874"/>
                    <a:gd name="connsiteY166" fmla="*/ 559041 h 1613833"/>
                    <a:gd name="connsiteX167" fmla="*/ 1408436 w 7414874"/>
                    <a:gd name="connsiteY167" fmla="*/ 559041 h 1613833"/>
                    <a:gd name="connsiteX168" fmla="*/ 1395435 w 7414874"/>
                    <a:gd name="connsiteY168" fmla="*/ 546040 h 1613833"/>
                    <a:gd name="connsiteX169" fmla="*/ 1330430 w 7414874"/>
                    <a:gd name="connsiteY169" fmla="*/ 546040 h 1613833"/>
                    <a:gd name="connsiteX170" fmla="*/ 1330430 w 7414874"/>
                    <a:gd name="connsiteY170" fmla="*/ 528706 h 1613833"/>
                    <a:gd name="connsiteX171" fmla="*/ 1274093 w 7414874"/>
                    <a:gd name="connsiteY171" fmla="*/ 528706 h 1613833"/>
                    <a:gd name="connsiteX172" fmla="*/ 1274093 w 7414874"/>
                    <a:gd name="connsiteY172" fmla="*/ 507037 h 1613833"/>
                    <a:gd name="connsiteX173" fmla="*/ 1191754 w 7414874"/>
                    <a:gd name="connsiteY173" fmla="*/ 507037 h 1613833"/>
                    <a:gd name="connsiteX174" fmla="*/ 1174419 w 7414874"/>
                    <a:gd name="connsiteY174" fmla="*/ 507037 h 1613833"/>
                    <a:gd name="connsiteX175" fmla="*/ 1148417 w 7414874"/>
                    <a:gd name="connsiteY175" fmla="*/ 507037 h 1613833"/>
                    <a:gd name="connsiteX176" fmla="*/ 1148417 w 7414874"/>
                    <a:gd name="connsiteY176" fmla="*/ 481035 h 1613833"/>
                    <a:gd name="connsiteX177" fmla="*/ 1092080 w 7414874"/>
                    <a:gd name="connsiteY177" fmla="*/ 481035 h 1613833"/>
                    <a:gd name="connsiteX178" fmla="*/ 1092080 w 7414874"/>
                    <a:gd name="connsiteY178" fmla="*/ 468034 h 1613833"/>
                    <a:gd name="connsiteX179" fmla="*/ 1044410 w 7414874"/>
                    <a:gd name="connsiteY179" fmla="*/ 468034 h 1613833"/>
                    <a:gd name="connsiteX180" fmla="*/ 1044410 w 7414874"/>
                    <a:gd name="connsiteY180" fmla="*/ 437699 h 1613833"/>
                    <a:gd name="connsiteX181" fmla="*/ 988072 w 7414874"/>
                    <a:gd name="connsiteY181" fmla="*/ 437699 h 1613833"/>
                    <a:gd name="connsiteX182" fmla="*/ 975071 w 7414874"/>
                    <a:gd name="connsiteY182" fmla="*/ 424698 h 1613833"/>
                    <a:gd name="connsiteX183" fmla="*/ 953403 w 7414874"/>
                    <a:gd name="connsiteY183" fmla="*/ 424698 h 1613833"/>
                    <a:gd name="connsiteX184" fmla="*/ 944736 w 7414874"/>
                    <a:gd name="connsiteY184" fmla="*/ 416031 h 1613833"/>
                    <a:gd name="connsiteX185" fmla="*/ 892732 w 7414874"/>
                    <a:gd name="connsiteY185" fmla="*/ 416031 h 1613833"/>
                    <a:gd name="connsiteX186" fmla="*/ 892732 w 7414874"/>
                    <a:gd name="connsiteY186" fmla="*/ 394362 h 1613833"/>
                    <a:gd name="connsiteX187" fmla="*/ 866730 w 7414874"/>
                    <a:gd name="connsiteY187" fmla="*/ 394362 h 1613833"/>
                    <a:gd name="connsiteX188" fmla="*/ 858063 w 7414874"/>
                    <a:gd name="connsiteY188" fmla="*/ 385695 h 1613833"/>
                    <a:gd name="connsiteX189" fmla="*/ 754055 w 7414874"/>
                    <a:gd name="connsiteY189" fmla="*/ 385695 h 1613833"/>
                    <a:gd name="connsiteX190" fmla="*/ 754055 w 7414874"/>
                    <a:gd name="connsiteY190" fmla="*/ 359693 h 1613833"/>
                    <a:gd name="connsiteX191" fmla="*/ 723719 w 7414874"/>
                    <a:gd name="connsiteY191" fmla="*/ 359693 h 1613833"/>
                    <a:gd name="connsiteX192" fmla="*/ 723719 w 7414874"/>
                    <a:gd name="connsiteY192" fmla="*/ 342359 h 1613833"/>
                    <a:gd name="connsiteX193" fmla="*/ 658715 w 7414874"/>
                    <a:gd name="connsiteY193" fmla="*/ 342359 h 1613833"/>
                    <a:gd name="connsiteX194" fmla="*/ 650047 w 7414874"/>
                    <a:gd name="connsiteY194" fmla="*/ 333691 h 1613833"/>
                    <a:gd name="connsiteX195" fmla="*/ 628379 w 7414874"/>
                    <a:gd name="connsiteY195" fmla="*/ 333691 h 1613833"/>
                    <a:gd name="connsiteX196" fmla="*/ 628379 w 7414874"/>
                    <a:gd name="connsiteY196" fmla="*/ 316357 h 1613833"/>
                    <a:gd name="connsiteX197" fmla="*/ 598044 w 7414874"/>
                    <a:gd name="connsiteY197" fmla="*/ 316357 h 1613833"/>
                    <a:gd name="connsiteX198" fmla="*/ 598044 w 7414874"/>
                    <a:gd name="connsiteY198" fmla="*/ 294688 h 1613833"/>
                    <a:gd name="connsiteX199" fmla="*/ 576375 w 7414874"/>
                    <a:gd name="connsiteY199" fmla="*/ 294688 h 1613833"/>
                    <a:gd name="connsiteX200" fmla="*/ 576375 w 7414874"/>
                    <a:gd name="connsiteY200" fmla="*/ 281687 h 1613833"/>
                    <a:gd name="connsiteX201" fmla="*/ 554707 w 7414874"/>
                    <a:gd name="connsiteY201" fmla="*/ 281687 h 1613833"/>
                    <a:gd name="connsiteX202" fmla="*/ 554707 w 7414874"/>
                    <a:gd name="connsiteY202" fmla="*/ 268687 h 1613833"/>
                    <a:gd name="connsiteX203" fmla="*/ 489702 w 7414874"/>
                    <a:gd name="connsiteY203" fmla="*/ 268687 h 1613833"/>
                    <a:gd name="connsiteX204" fmla="*/ 489702 w 7414874"/>
                    <a:gd name="connsiteY204" fmla="*/ 242685 h 1613833"/>
                    <a:gd name="connsiteX205" fmla="*/ 455033 w 7414874"/>
                    <a:gd name="connsiteY205" fmla="*/ 242685 h 1613833"/>
                    <a:gd name="connsiteX206" fmla="*/ 455033 w 7414874"/>
                    <a:gd name="connsiteY206" fmla="*/ 216683 h 1613833"/>
                    <a:gd name="connsiteX207" fmla="*/ 437699 w 7414874"/>
                    <a:gd name="connsiteY207" fmla="*/ 216683 h 1613833"/>
                    <a:gd name="connsiteX208" fmla="*/ 437699 w 7414874"/>
                    <a:gd name="connsiteY208" fmla="*/ 186347 h 1613833"/>
                    <a:gd name="connsiteX209" fmla="*/ 407363 w 7414874"/>
                    <a:gd name="connsiteY209" fmla="*/ 186347 h 1613833"/>
                    <a:gd name="connsiteX210" fmla="*/ 407363 w 7414874"/>
                    <a:gd name="connsiteY210" fmla="*/ 173346 h 1613833"/>
                    <a:gd name="connsiteX211" fmla="*/ 372694 w 7414874"/>
                    <a:gd name="connsiteY211" fmla="*/ 173346 h 1613833"/>
                    <a:gd name="connsiteX212" fmla="*/ 372694 w 7414874"/>
                    <a:gd name="connsiteY212" fmla="*/ 151678 h 1613833"/>
                    <a:gd name="connsiteX213" fmla="*/ 355359 w 7414874"/>
                    <a:gd name="connsiteY213" fmla="*/ 151678 h 1613833"/>
                    <a:gd name="connsiteX214" fmla="*/ 355359 w 7414874"/>
                    <a:gd name="connsiteY214" fmla="*/ 138677 h 1613833"/>
                    <a:gd name="connsiteX215" fmla="*/ 303356 w 7414874"/>
                    <a:gd name="connsiteY215" fmla="*/ 138677 h 1613833"/>
                    <a:gd name="connsiteX216" fmla="*/ 303356 w 7414874"/>
                    <a:gd name="connsiteY216" fmla="*/ 95341 h 1613833"/>
                    <a:gd name="connsiteX217" fmla="*/ 268686 w 7414874"/>
                    <a:gd name="connsiteY217" fmla="*/ 95341 h 1613833"/>
                    <a:gd name="connsiteX218" fmla="*/ 268686 w 7414874"/>
                    <a:gd name="connsiteY218" fmla="*/ 82340 h 1613833"/>
                    <a:gd name="connsiteX219" fmla="*/ 234017 w 7414874"/>
                    <a:gd name="connsiteY219" fmla="*/ 82340 h 1613833"/>
                    <a:gd name="connsiteX220" fmla="*/ 234017 w 7414874"/>
                    <a:gd name="connsiteY220" fmla="*/ 47670 h 1613833"/>
                    <a:gd name="connsiteX221" fmla="*/ 208015 w 7414874"/>
                    <a:gd name="connsiteY221" fmla="*/ 47670 h 1613833"/>
                    <a:gd name="connsiteX222" fmla="*/ 208015 w 7414874"/>
                    <a:gd name="connsiteY222" fmla="*/ 39003 h 1613833"/>
                    <a:gd name="connsiteX223" fmla="*/ 156011 w 7414874"/>
                    <a:gd name="connsiteY223" fmla="*/ 39003 h 1613833"/>
                    <a:gd name="connsiteX224" fmla="*/ 156011 w 7414874"/>
                    <a:gd name="connsiteY224" fmla="*/ 26002 h 1613833"/>
                    <a:gd name="connsiteX225" fmla="*/ 121342 w 7414874"/>
                    <a:gd name="connsiteY225" fmla="*/ 26002 h 1613833"/>
                    <a:gd name="connsiteX226" fmla="*/ 121342 w 7414874"/>
                    <a:gd name="connsiteY226" fmla="*/ 0 h 1613833"/>
                    <a:gd name="connsiteX227" fmla="*/ 82339 w 7414874"/>
                    <a:gd name="connsiteY227" fmla="*/ 0 h 1613833"/>
                    <a:gd name="connsiteX228" fmla="*/ 82339 w 7414874"/>
                    <a:gd name="connsiteY228" fmla="*/ 43337 h 1613833"/>
                    <a:gd name="connsiteX229" fmla="*/ 0 w 7414874"/>
                    <a:gd name="connsiteY229" fmla="*/ 43337 h 1613833"/>
                    <a:gd name="connsiteX230" fmla="*/ 8667 w 7414874"/>
                    <a:gd name="connsiteY230" fmla="*/ 34670 h 1613833"/>
                    <a:gd name="connsiteX231" fmla="*/ 8667 w 7414874"/>
                    <a:gd name="connsiteY231" fmla="*/ 52004 h 1613833"/>
                    <a:gd name="connsiteX232" fmla="*/ 21668 w 7414874"/>
                    <a:gd name="connsiteY232" fmla="*/ 52004 h 1613833"/>
                    <a:gd name="connsiteX233" fmla="*/ 21668 w 7414874"/>
                    <a:gd name="connsiteY233" fmla="*/ 65005 h 1613833"/>
                    <a:gd name="connsiteX234" fmla="*/ 52004 w 7414874"/>
                    <a:gd name="connsiteY234" fmla="*/ 65005 h 1613833"/>
                    <a:gd name="connsiteX235" fmla="*/ 52004 w 7414874"/>
                    <a:gd name="connsiteY235" fmla="*/ 86673 h 1613833"/>
                    <a:gd name="connsiteX236" fmla="*/ 78006 w 7414874"/>
                    <a:gd name="connsiteY236" fmla="*/ 86673 h 1613833"/>
                    <a:gd name="connsiteX237" fmla="*/ 78006 w 7414874"/>
                    <a:gd name="connsiteY237" fmla="*/ 125676 h 1613833"/>
                    <a:gd name="connsiteX238" fmla="*/ 138677 w 7414874"/>
                    <a:gd name="connsiteY238" fmla="*/ 125676 h 1613833"/>
                    <a:gd name="connsiteX239" fmla="*/ 147344 w 7414874"/>
                    <a:gd name="connsiteY239" fmla="*/ 134343 h 1613833"/>
                    <a:gd name="connsiteX240" fmla="*/ 164679 w 7414874"/>
                    <a:gd name="connsiteY240" fmla="*/ 134343 h 1613833"/>
                    <a:gd name="connsiteX241" fmla="*/ 164679 w 7414874"/>
                    <a:gd name="connsiteY241" fmla="*/ 156012 h 1613833"/>
                    <a:gd name="connsiteX242" fmla="*/ 182013 w 7414874"/>
                    <a:gd name="connsiteY242" fmla="*/ 156012 h 1613833"/>
                    <a:gd name="connsiteX243" fmla="*/ 195014 w 7414874"/>
                    <a:gd name="connsiteY243" fmla="*/ 169013 h 1613833"/>
                    <a:gd name="connsiteX244" fmla="*/ 225350 w 7414874"/>
                    <a:gd name="connsiteY244" fmla="*/ 169013 h 1613833"/>
                    <a:gd name="connsiteX245" fmla="*/ 225350 w 7414874"/>
                    <a:gd name="connsiteY245" fmla="*/ 208015 h 1613833"/>
                    <a:gd name="connsiteX246" fmla="*/ 251352 w 7414874"/>
                    <a:gd name="connsiteY246" fmla="*/ 208015 h 1613833"/>
                    <a:gd name="connsiteX247" fmla="*/ 260019 w 7414874"/>
                    <a:gd name="connsiteY247" fmla="*/ 216682 h 1613833"/>
                    <a:gd name="connsiteX248" fmla="*/ 273021 w 7414874"/>
                    <a:gd name="connsiteY248" fmla="*/ 229684 h 1613833"/>
                    <a:gd name="connsiteX249" fmla="*/ 273021 w 7414874"/>
                    <a:gd name="connsiteY249" fmla="*/ 251352 h 1613833"/>
                    <a:gd name="connsiteX250" fmla="*/ 303356 w 7414874"/>
                    <a:gd name="connsiteY250" fmla="*/ 251352 h 1613833"/>
                    <a:gd name="connsiteX251" fmla="*/ 303356 w 7414874"/>
                    <a:gd name="connsiteY251" fmla="*/ 268687 h 1613833"/>
                    <a:gd name="connsiteX252" fmla="*/ 342358 w 7414874"/>
                    <a:gd name="connsiteY252" fmla="*/ 268687 h 1613833"/>
                    <a:gd name="connsiteX253" fmla="*/ 342358 w 7414874"/>
                    <a:gd name="connsiteY253" fmla="*/ 286021 h 1613833"/>
                    <a:gd name="connsiteX254" fmla="*/ 385695 w 7414874"/>
                    <a:gd name="connsiteY254" fmla="*/ 286021 h 1613833"/>
                    <a:gd name="connsiteX255" fmla="*/ 385695 w 7414874"/>
                    <a:gd name="connsiteY255" fmla="*/ 286021 h 1613833"/>
                    <a:gd name="connsiteX256" fmla="*/ 407363 w 7414874"/>
                    <a:gd name="connsiteY256" fmla="*/ 307689 h 1613833"/>
                    <a:gd name="connsiteX257" fmla="*/ 424698 w 7414874"/>
                    <a:gd name="connsiteY257" fmla="*/ 325024 h 1613833"/>
                    <a:gd name="connsiteX258" fmla="*/ 472368 w 7414874"/>
                    <a:gd name="connsiteY258" fmla="*/ 325024 h 1613833"/>
                    <a:gd name="connsiteX259" fmla="*/ 472368 w 7414874"/>
                    <a:gd name="connsiteY259" fmla="*/ 355360 h 1613833"/>
                    <a:gd name="connsiteX260" fmla="*/ 511371 w 7414874"/>
                    <a:gd name="connsiteY260" fmla="*/ 355360 h 1613833"/>
                    <a:gd name="connsiteX261" fmla="*/ 511371 w 7414874"/>
                    <a:gd name="connsiteY261" fmla="*/ 377028 h 1613833"/>
                    <a:gd name="connsiteX262" fmla="*/ 559041 w 7414874"/>
                    <a:gd name="connsiteY262" fmla="*/ 377028 h 1613833"/>
                    <a:gd name="connsiteX263" fmla="*/ 559041 w 7414874"/>
                    <a:gd name="connsiteY263" fmla="*/ 398696 h 1613833"/>
                    <a:gd name="connsiteX264" fmla="*/ 589376 w 7414874"/>
                    <a:gd name="connsiteY264" fmla="*/ 398696 h 1613833"/>
                    <a:gd name="connsiteX265" fmla="*/ 602377 w 7414874"/>
                    <a:gd name="connsiteY265" fmla="*/ 411697 h 1613833"/>
                    <a:gd name="connsiteX266" fmla="*/ 650047 w 7414874"/>
                    <a:gd name="connsiteY266" fmla="*/ 411697 h 1613833"/>
                    <a:gd name="connsiteX267" fmla="*/ 650047 w 7414874"/>
                    <a:gd name="connsiteY267" fmla="*/ 450700 h 1613833"/>
                    <a:gd name="connsiteX268" fmla="*/ 758389 w 7414874"/>
                    <a:gd name="connsiteY268" fmla="*/ 450700 h 1613833"/>
                    <a:gd name="connsiteX269" fmla="*/ 758389 w 7414874"/>
                    <a:gd name="connsiteY269" fmla="*/ 481035 h 1613833"/>
                    <a:gd name="connsiteX270" fmla="*/ 875397 w 7414874"/>
                    <a:gd name="connsiteY270" fmla="*/ 481035 h 1613833"/>
                    <a:gd name="connsiteX271" fmla="*/ 875397 w 7414874"/>
                    <a:gd name="connsiteY271" fmla="*/ 507037 h 1613833"/>
                    <a:gd name="connsiteX272" fmla="*/ 927401 w 7414874"/>
                    <a:gd name="connsiteY272" fmla="*/ 507037 h 1613833"/>
                    <a:gd name="connsiteX273" fmla="*/ 927401 w 7414874"/>
                    <a:gd name="connsiteY273" fmla="*/ 524372 h 1613833"/>
                    <a:gd name="connsiteX274" fmla="*/ 979405 w 7414874"/>
                    <a:gd name="connsiteY274" fmla="*/ 524372 h 1613833"/>
                    <a:gd name="connsiteX275" fmla="*/ 992406 w 7414874"/>
                    <a:gd name="connsiteY275" fmla="*/ 524372 h 1613833"/>
                    <a:gd name="connsiteX276" fmla="*/ 1005407 w 7414874"/>
                    <a:gd name="connsiteY276" fmla="*/ 537373 h 1613833"/>
                    <a:gd name="connsiteX277" fmla="*/ 1027075 w 7414874"/>
                    <a:gd name="connsiteY277" fmla="*/ 537373 h 1613833"/>
                    <a:gd name="connsiteX278" fmla="*/ 1057410 w 7414874"/>
                    <a:gd name="connsiteY278" fmla="*/ 537373 h 1613833"/>
                    <a:gd name="connsiteX279" fmla="*/ 1057410 w 7414874"/>
                    <a:gd name="connsiteY279" fmla="*/ 563375 h 1613833"/>
                    <a:gd name="connsiteX280" fmla="*/ 1079079 w 7414874"/>
                    <a:gd name="connsiteY280" fmla="*/ 563375 h 1613833"/>
                    <a:gd name="connsiteX281" fmla="*/ 1079079 w 7414874"/>
                    <a:gd name="connsiteY281" fmla="*/ 576376 h 1613833"/>
                    <a:gd name="connsiteX282" fmla="*/ 1157084 w 7414874"/>
                    <a:gd name="connsiteY282" fmla="*/ 576376 h 1613833"/>
                    <a:gd name="connsiteX283" fmla="*/ 1157084 w 7414874"/>
                    <a:gd name="connsiteY283" fmla="*/ 589377 h 1613833"/>
                    <a:gd name="connsiteX284" fmla="*/ 1196087 w 7414874"/>
                    <a:gd name="connsiteY284" fmla="*/ 589377 h 1613833"/>
                    <a:gd name="connsiteX285" fmla="*/ 1196087 w 7414874"/>
                    <a:gd name="connsiteY285" fmla="*/ 598044 h 1613833"/>
                    <a:gd name="connsiteX286" fmla="*/ 1243757 w 7414874"/>
                    <a:gd name="connsiteY286" fmla="*/ 598044 h 1613833"/>
                    <a:gd name="connsiteX287" fmla="*/ 1256758 w 7414874"/>
                    <a:gd name="connsiteY287" fmla="*/ 611045 h 1613833"/>
                    <a:gd name="connsiteX288" fmla="*/ 1269759 w 7414874"/>
                    <a:gd name="connsiteY288" fmla="*/ 624046 h 1613833"/>
                    <a:gd name="connsiteX289" fmla="*/ 1334764 w 7414874"/>
                    <a:gd name="connsiteY289" fmla="*/ 624046 h 1613833"/>
                    <a:gd name="connsiteX290" fmla="*/ 1334764 w 7414874"/>
                    <a:gd name="connsiteY290" fmla="*/ 645714 h 1613833"/>
                    <a:gd name="connsiteX291" fmla="*/ 1425771 w 7414874"/>
                    <a:gd name="connsiteY291" fmla="*/ 645714 h 1613833"/>
                    <a:gd name="connsiteX292" fmla="*/ 1434438 w 7414874"/>
                    <a:gd name="connsiteY292" fmla="*/ 654381 h 1613833"/>
                    <a:gd name="connsiteX293" fmla="*/ 1456106 w 7414874"/>
                    <a:gd name="connsiteY293" fmla="*/ 654381 h 1613833"/>
                    <a:gd name="connsiteX294" fmla="*/ 1456106 w 7414874"/>
                    <a:gd name="connsiteY294" fmla="*/ 667382 h 1613833"/>
                    <a:gd name="connsiteX295" fmla="*/ 1508110 w 7414874"/>
                    <a:gd name="connsiteY295" fmla="*/ 667382 h 1613833"/>
                    <a:gd name="connsiteX296" fmla="*/ 1508110 w 7414874"/>
                    <a:gd name="connsiteY296" fmla="*/ 684717 h 1613833"/>
                    <a:gd name="connsiteX297" fmla="*/ 1564447 w 7414874"/>
                    <a:gd name="connsiteY297" fmla="*/ 684717 h 1613833"/>
                    <a:gd name="connsiteX298" fmla="*/ 1568781 w 7414874"/>
                    <a:gd name="connsiteY298" fmla="*/ 689051 h 1613833"/>
                    <a:gd name="connsiteX299" fmla="*/ 1612118 w 7414874"/>
                    <a:gd name="connsiteY299" fmla="*/ 689051 h 1613833"/>
                    <a:gd name="connsiteX300" fmla="*/ 1625119 w 7414874"/>
                    <a:gd name="connsiteY300" fmla="*/ 702052 h 1613833"/>
                    <a:gd name="connsiteX301" fmla="*/ 1677122 w 7414874"/>
                    <a:gd name="connsiteY301" fmla="*/ 702052 h 1613833"/>
                    <a:gd name="connsiteX302" fmla="*/ 1685790 w 7414874"/>
                    <a:gd name="connsiteY302" fmla="*/ 710720 h 1613833"/>
                    <a:gd name="connsiteX303" fmla="*/ 1703123 w 7414874"/>
                    <a:gd name="connsiteY303" fmla="*/ 728053 h 1613833"/>
                    <a:gd name="connsiteX304" fmla="*/ 1716124 w 7414874"/>
                    <a:gd name="connsiteY304" fmla="*/ 741054 h 1613833"/>
                    <a:gd name="connsiteX305" fmla="*/ 1750794 w 7414874"/>
                    <a:gd name="connsiteY305" fmla="*/ 741054 h 1613833"/>
                    <a:gd name="connsiteX306" fmla="*/ 1750794 w 7414874"/>
                    <a:gd name="connsiteY306" fmla="*/ 767056 h 1613833"/>
                    <a:gd name="connsiteX307" fmla="*/ 1798465 w 7414874"/>
                    <a:gd name="connsiteY307" fmla="*/ 767056 h 1613833"/>
                    <a:gd name="connsiteX308" fmla="*/ 1798465 w 7414874"/>
                    <a:gd name="connsiteY308" fmla="*/ 780057 h 1613833"/>
                    <a:gd name="connsiteX309" fmla="*/ 1841801 w 7414874"/>
                    <a:gd name="connsiteY309" fmla="*/ 780057 h 1613833"/>
                    <a:gd name="connsiteX310" fmla="*/ 1841801 w 7414874"/>
                    <a:gd name="connsiteY310" fmla="*/ 797392 h 1613833"/>
                    <a:gd name="connsiteX311" fmla="*/ 1876470 w 7414874"/>
                    <a:gd name="connsiteY311" fmla="*/ 797392 h 1613833"/>
                    <a:gd name="connsiteX312" fmla="*/ 1885138 w 7414874"/>
                    <a:gd name="connsiteY312" fmla="*/ 806060 h 1613833"/>
                    <a:gd name="connsiteX313" fmla="*/ 1963143 w 7414874"/>
                    <a:gd name="connsiteY313" fmla="*/ 806060 h 1613833"/>
                    <a:gd name="connsiteX314" fmla="*/ 2006480 w 7414874"/>
                    <a:gd name="connsiteY314" fmla="*/ 806060 h 1613833"/>
                    <a:gd name="connsiteX315" fmla="*/ 2036815 w 7414874"/>
                    <a:gd name="connsiteY315" fmla="*/ 836395 h 1613833"/>
                    <a:gd name="connsiteX316" fmla="*/ 2049816 w 7414874"/>
                    <a:gd name="connsiteY316" fmla="*/ 836395 h 1613833"/>
                    <a:gd name="connsiteX317" fmla="*/ 2106154 w 7414874"/>
                    <a:gd name="connsiteY317" fmla="*/ 836395 h 1613833"/>
                    <a:gd name="connsiteX318" fmla="*/ 2106154 w 7414874"/>
                    <a:gd name="connsiteY318" fmla="*/ 862396 h 1613833"/>
                    <a:gd name="connsiteX319" fmla="*/ 2119155 w 7414874"/>
                    <a:gd name="connsiteY319" fmla="*/ 862396 h 1613833"/>
                    <a:gd name="connsiteX320" fmla="*/ 2136489 w 7414874"/>
                    <a:gd name="connsiteY320" fmla="*/ 862396 h 1613833"/>
                    <a:gd name="connsiteX321" fmla="*/ 2184159 w 7414874"/>
                    <a:gd name="connsiteY321" fmla="*/ 862396 h 1613833"/>
                    <a:gd name="connsiteX322" fmla="*/ 2184159 w 7414874"/>
                    <a:gd name="connsiteY322" fmla="*/ 888398 h 1613833"/>
                    <a:gd name="connsiteX323" fmla="*/ 2200254 w 7414874"/>
                    <a:gd name="connsiteY323" fmla="*/ 883636 h 1613833"/>
                    <a:gd name="connsiteX324" fmla="*/ 2240733 w 7414874"/>
                    <a:gd name="connsiteY324" fmla="*/ 881254 h 1613833"/>
                    <a:gd name="connsiteX325" fmla="*/ 2240102 w 7414874"/>
                    <a:gd name="connsiteY325" fmla="*/ 914626 h 1613833"/>
                    <a:gd name="connsiteX326" fmla="*/ 2265640 w 7414874"/>
                    <a:gd name="connsiteY326" fmla="*/ 915879 h 1613833"/>
                    <a:gd name="connsiteX327" fmla="*/ 2266296 w 7414874"/>
                    <a:gd name="connsiteY327" fmla="*/ 886052 h 1613833"/>
                    <a:gd name="connsiteX328" fmla="*/ 2301168 w 7414874"/>
                    <a:gd name="connsiteY328" fmla="*/ 880160 h 1613833"/>
                    <a:gd name="connsiteX329" fmla="*/ 2301168 w 7414874"/>
                    <a:gd name="connsiteY329" fmla="*/ 914400 h 1613833"/>
                    <a:gd name="connsiteX330" fmla="*/ 2335837 w 7414874"/>
                    <a:gd name="connsiteY330" fmla="*/ 914400 h 1613833"/>
                    <a:gd name="connsiteX331" fmla="*/ 2335837 w 7414874"/>
                    <a:gd name="connsiteY331" fmla="*/ 923068 h 1613833"/>
                    <a:gd name="connsiteX332" fmla="*/ 2400842 w 7414874"/>
                    <a:gd name="connsiteY332" fmla="*/ 923068 h 1613833"/>
                    <a:gd name="connsiteX333" fmla="*/ 2400842 w 7414874"/>
                    <a:gd name="connsiteY333" fmla="*/ 936069 h 1613833"/>
                    <a:gd name="connsiteX334" fmla="*/ 2439845 w 7414874"/>
                    <a:gd name="connsiteY334" fmla="*/ 936069 h 1613833"/>
                    <a:gd name="connsiteX335" fmla="*/ 2452846 w 7414874"/>
                    <a:gd name="connsiteY335" fmla="*/ 949070 h 1613833"/>
                    <a:gd name="connsiteX336" fmla="*/ 2500516 w 7414874"/>
                    <a:gd name="connsiteY336" fmla="*/ 949070 h 1613833"/>
                    <a:gd name="connsiteX337" fmla="*/ 2513517 w 7414874"/>
                    <a:gd name="connsiteY337" fmla="*/ 962071 h 1613833"/>
                    <a:gd name="connsiteX338" fmla="*/ 2543852 w 7414874"/>
                    <a:gd name="connsiteY338" fmla="*/ 962071 h 1613833"/>
                    <a:gd name="connsiteX339" fmla="*/ 2543852 w 7414874"/>
                    <a:gd name="connsiteY339" fmla="*/ 979405 h 1613833"/>
                    <a:gd name="connsiteX340" fmla="*/ 2591522 w 7414874"/>
                    <a:gd name="connsiteY340" fmla="*/ 979405 h 1613833"/>
                    <a:gd name="connsiteX341" fmla="*/ 2591522 w 7414874"/>
                    <a:gd name="connsiteY341" fmla="*/ 1001073 h 1613833"/>
                    <a:gd name="connsiteX342" fmla="*/ 2639192 w 7414874"/>
                    <a:gd name="connsiteY342" fmla="*/ 1001073 h 1613833"/>
                    <a:gd name="connsiteX343" fmla="*/ 2639192 w 7414874"/>
                    <a:gd name="connsiteY343" fmla="*/ 1022742 h 1613833"/>
                    <a:gd name="connsiteX344" fmla="*/ 2699864 w 7414874"/>
                    <a:gd name="connsiteY344" fmla="*/ 1022742 h 1613833"/>
                    <a:gd name="connsiteX345" fmla="*/ 2699864 w 7414874"/>
                    <a:gd name="connsiteY345" fmla="*/ 1040076 h 1613833"/>
                    <a:gd name="connsiteX346" fmla="*/ 2808205 w 7414874"/>
                    <a:gd name="connsiteY346" fmla="*/ 1040076 h 1613833"/>
                    <a:gd name="connsiteX347" fmla="*/ 2816872 w 7414874"/>
                    <a:gd name="connsiteY347" fmla="*/ 1048743 h 1613833"/>
                    <a:gd name="connsiteX348" fmla="*/ 2825540 w 7414874"/>
                    <a:gd name="connsiteY348" fmla="*/ 1057411 h 1613833"/>
                    <a:gd name="connsiteX349" fmla="*/ 2864542 w 7414874"/>
                    <a:gd name="connsiteY349" fmla="*/ 1057411 h 1613833"/>
                    <a:gd name="connsiteX350" fmla="*/ 2886210 w 7414874"/>
                    <a:gd name="connsiteY350" fmla="*/ 1057411 h 1613833"/>
                    <a:gd name="connsiteX351" fmla="*/ 2899211 w 7414874"/>
                    <a:gd name="connsiteY351" fmla="*/ 1057411 h 1613833"/>
                    <a:gd name="connsiteX352" fmla="*/ 2916546 w 7414874"/>
                    <a:gd name="connsiteY352" fmla="*/ 1074746 h 1613833"/>
                    <a:gd name="connsiteX353" fmla="*/ 2968550 w 7414874"/>
                    <a:gd name="connsiteY353" fmla="*/ 1074746 h 1613833"/>
                    <a:gd name="connsiteX354" fmla="*/ 2968550 w 7414874"/>
                    <a:gd name="connsiteY354" fmla="*/ 1092080 h 1613833"/>
                    <a:gd name="connsiteX355" fmla="*/ 3141896 w 7414874"/>
                    <a:gd name="connsiteY355" fmla="*/ 1092080 h 1613833"/>
                    <a:gd name="connsiteX356" fmla="*/ 3141896 w 7414874"/>
                    <a:gd name="connsiteY356" fmla="*/ 1122415 h 1613833"/>
                    <a:gd name="connsiteX357" fmla="*/ 3211234 w 7414874"/>
                    <a:gd name="connsiteY357" fmla="*/ 1122415 h 1613833"/>
                    <a:gd name="connsiteX358" fmla="*/ 3215568 w 7414874"/>
                    <a:gd name="connsiteY358" fmla="*/ 1122415 h 1613833"/>
                    <a:gd name="connsiteX359" fmla="*/ 3302241 w 7414874"/>
                    <a:gd name="connsiteY359" fmla="*/ 1122415 h 1613833"/>
                    <a:gd name="connsiteX360" fmla="*/ 3302241 w 7414874"/>
                    <a:gd name="connsiteY360" fmla="*/ 1148417 h 1613833"/>
                    <a:gd name="connsiteX361" fmla="*/ 3388914 w 7414874"/>
                    <a:gd name="connsiteY361" fmla="*/ 1148417 h 1613833"/>
                    <a:gd name="connsiteX362" fmla="*/ 3388914 w 7414874"/>
                    <a:gd name="connsiteY362" fmla="*/ 1157085 h 1613833"/>
                    <a:gd name="connsiteX363" fmla="*/ 3445251 w 7414874"/>
                    <a:gd name="connsiteY363" fmla="*/ 1157085 h 1613833"/>
                    <a:gd name="connsiteX364" fmla="*/ 3453919 w 7414874"/>
                    <a:gd name="connsiteY364" fmla="*/ 1165753 h 1613833"/>
                    <a:gd name="connsiteX365" fmla="*/ 3596929 w 7414874"/>
                    <a:gd name="connsiteY365" fmla="*/ 1165753 h 1613833"/>
                    <a:gd name="connsiteX366" fmla="*/ 3596929 w 7414874"/>
                    <a:gd name="connsiteY366" fmla="*/ 1178753 h 1613833"/>
                    <a:gd name="connsiteX367" fmla="*/ 3705270 w 7414874"/>
                    <a:gd name="connsiteY367" fmla="*/ 1178753 h 1613833"/>
                    <a:gd name="connsiteX368" fmla="*/ 3709604 w 7414874"/>
                    <a:gd name="connsiteY368" fmla="*/ 1183087 h 1613833"/>
                    <a:gd name="connsiteX369" fmla="*/ 3960956 w 7414874"/>
                    <a:gd name="connsiteY369" fmla="*/ 1183087 h 1613833"/>
                    <a:gd name="connsiteX370" fmla="*/ 3960956 w 7414874"/>
                    <a:gd name="connsiteY370" fmla="*/ 1204755 h 1613833"/>
                    <a:gd name="connsiteX371" fmla="*/ 3991291 w 7414874"/>
                    <a:gd name="connsiteY371" fmla="*/ 1204755 h 1613833"/>
                    <a:gd name="connsiteX372" fmla="*/ 3991291 w 7414874"/>
                    <a:gd name="connsiteY372" fmla="*/ 1178753 h 1613833"/>
                    <a:gd name="connsiteX373" fmla="*/ 4030294 w 7414874"/>
                    <a:gd name="connsiteY373" fmla="*/ 1178753 h 1613833"/>
                    <a:gd name="connsiteX374" fmla="*/ 4030294 w 7414874"/>
                    <a:gd name="connsiteY374" fmla="*/ 1213422 h 1613833"/>
                    <a:gd name="connsiteX375" fmla="*/ 4043295 w 7414874"/>
                    <a:gd name="connsiteY375" fmla="*/ 1213422 h 1613833"/>
                    <a:gd name="connsiteX376" fmla="*/ 4043295 w 7414874"/>
                    <a:gd name="connsiteY376" fmla="*/ 1222089 h 1613833"/>
                    <a:gd name="connsiteX377" fmla="*/ 4164637 w 7414874"/>
                    <a:gd name="connsiteY377" fmla="*/ 1222089 h 1613833"/>
                    <a:gd name="connsiteX378" fmla="*/ 4164637 w 7414874"/>
                    <a:gd name="connsiteY378" fmla="*/ 1243758 h 1613833"/>
                    <a:gd name="connsiteX379" fmla="*/ 4320648 w 7414874"/>
                    <a:gd name="connsiteY379" fmla="*/ 1243758 h 1613833"/>
                    <a:gd name="connsiteX380" fmla="*/ 4320648 w 7414874"/>
                    <a:gd name="connsiteY380" fmla="*/ 1261092 h 1613833"/>
                    <a:gd name="connsiteX381" fmla="*/ 4398654 w 7414874"/>
                    <a:gd name="connsiteY381" fmla="*/ 1261092 h 1613833"/>
                    <a:gd name="connsiteX382" fmla="*/ 4398654 w 7414874"/>
                    <a:gd name="connsiteY382" fmla="*/ 1287094 h 1613833"/>
                    <a:gd name="connsiteX383" fmla="*/ 4450658 w 7414874"/>
                    <a:gd name="connsiteY383" fmla="*/ 1287094 h 1613833"/>
                    <a:gd name="connsiteX384" fmla="*/ 4476660 w 7414874"/>
                    <a:gd name="connsiteY384" fmla="*/ 1287094 h 1613833"/>
                    <a:gd name="connsiteX385" fmla="*/ 4498328 w 7414874"/>
                    <a:gd name="connsiteY385" fmla="*/ 1308762 h 1613833"/>
                    <a:gd name="connsiteX386" fmla="*/ 4593668 w 7414874"/>
                    <a:gd name="connsiteY386" fmla="*/ 1308762 h 1613833"/>
                    <a:gd name="connsiteX387" fmla="*/ 4602336 w 7414874"/>
                    <a:gd name="connsiteY387" fmla="*/ 1317430 h 1613833"/>
                    <a:gd name="connsiteX388" fmla="*/ 4663007 w 7414874"/>
                    <a:gd name="connsiteY388" fmla="*/ 1317430 h 1613833"/>
                    <a:gd name="connsiteX389" fmla="*/ 4663007 w 7414874"/>
                    <a:gd name="connsiteY389" fmla="*/ 1339098 h 1613833"/>
                    <a:gd name="connsiteX390" fmla="*/ 4706343 w 7414874"/>
                    <a:gd name="connsiteY390" fmla="*/ 1339098 h 1613833"/>
                    <a:gd name="connsiteX391" fmla="*/ 4710677 w 7414874"/>
                    <a:gd name="connsiteY391" fmla="*/ 1343432 h 1613833"/>
                    <a:gd name="connsiteX392" fmla="*/ 4767014 w 7414874"/>
                    <a:gd name="connsiteY392" fmla="*/ 1343432 h 1613833"/>
                    <a:gd name="connsiteX393" fmla="*/ 4780015 w 7414874"/>
                    <a:gd name="connsiteY393" fmla="*/ 1356433 h 1613833"/>
                    <a:gd name="connsiteX394" fmla="*/ 5005365 w 7414874"/>
                    <a:gd name="connsiteY394" fmla="*/ 1356433 h 1613833"/>
                    <a:gd name="connsiteX395" fmla="*/ 5018366 w 7414874"/>
                    <a:gd name="connsiteY395" fmla="*/ 1369434 h 1613833"/>
                    <a:gd name="connsiteX396" fmla="*/ 5152709 w 7414874"/>
                    <a:gd name="connsiteY396" fmla="*/ 1369434 h 1613833"/>
                    <a:gd name="connsiteX397" fmla="*/ 5152709 w 7414874"/>
                    <a:gd name="connsiteY397" fmla="*/ 1391102 h 1613833"/>
                    <a:gd name="connsiteX398" fmla="*/ 5282719 w 7414874"/>
                    <a:gd name="connsiteY398" fmla="*/ 1391102 h 1613833"/>
                    <a:gd name="connsiteX399" fmla="*/ 5291386 w 7414874"/>
                    <a:gd name="connsiteY399" fmla="*/ 1399769 h 1613833"/>
                    <a:gd name="connsiteX400" fmla="*/ 5356391 w 7414874"/>
                    <a:gd name="connsiteY400" fmla="*/ 1399769 h 1613833"/>
                    <a:gd name="connsiteX401" fmla="*/ 5369392 w 7414874"/>
                    <a:gd name="connsiteY401" fmla="*/ 1399769 h 1613833"/>
                    <a:gd name="connsiteX402" fmla="*/ 5369392 w 7414874"/>
                    <a:gd name="connsiteY402" fmla="*/ 1421437 h 1613833"/>
                    <a:gd name="connsiteX403" fmla="*/ 5473399 w 7414874"/>
                    <a:gd name="connsiteY403" fmla="*/ 1421437 h 1613833"/>
                    <a:gd name="connsiteX404" fmla="*/ 5473399 w 7414874"/>
                    <a:gd name="connsiteY404" fmla="*/ 1399769 h 1613833"/>
                    <a:gd name="connsiteX405" fmla="*/ 5512402 w 7414874"/>
                    <a:gd name="connsiteY405" fmla="*/ 1399769 h 1613833"/>
                    <a:gd name="connsiteX406" fmla="*/ 5512402 w 7414874"/>
                    <a:gd name="connsiteY406" fmla="*/ 1425771 h 1613833"/>
                    <a:gd name="connsiteX407" fmla="*/ 5607742 w 7414874"/>
                    <a:gd name="connsiteY407" fmla="*/ 1425771 h 1613833"/>
                    <a:gd name="connsiteX408" fmla="*/ 5607742 w 7414874"/>
                    <a:gd name="connsiteY408" fmla="*/ 1399769 h 1613833"/>
                    <a:gd name="connsiteX409" fmla="*/ 5664080 w 7414874"/>
                    <a:gd name="connsiteY409" fmla="*/ 1399769 h 1613833"/>
                    <a:gd name="connsiteX410" fmla="*/ 5664080 w 7414874"/>
                    <a:gd name="connsiteY410" fmla="*/ 1434438 h 1613833"/>
                    <a:gd name="connsiteX411" fmla="*/ 5685748 w 7414874"/>
                    <a:gd name="connsiteY411" fmla="*/ 1434438 h 1613833"/>
                    <a:gd name="connsiteX412" fmla="*/ 5685748 w 7414874"/>
                    <a:gd name="connsiteY412" fmla="*/ 1443106 h 1613833"/>
                    <a:gd name="connsiteX413" fmla="*/ 5716083 w 7414874"/>
                    <a:gd name="connsiteY413" fmla="*/ 1443106 h 1613833"/>
                    <a:gd name="connsiteX414" fmla="*/ 5716083 w 7414874"/>
                    <a:gd name="connsiteY414" fmla="*/ 1456106 h 1613833"/>
                    <a:gd name="connsiteX415" fmla="*/ 5794089 w 7414874"/>
                    <a:gd name="connsiteY415" fmla="*/ 1456106 h 1613833"/>
                    <a:gd name="connsiteX416" fmla="*/ 5794089 w 7414874"/>
                    <a:gd name="connsiteY416" fmla="*/ 1421437 h 1613833"/>
                    <a:gd name="connsiteX417" fmla="*/ 5837426 w 7414874"/>
                    <a:gd name="connsiteY417" fmla="*/ 1421437 h 1613833"/>
                    <a:gd name="connsiteX418" fmla="*/ 5837426 w 7414874"/>
                    <a:gd name="connsiteY418" fmla="*/ 1456106 h 1613833"/>
                    <a:gd name="connsiteX419" fmla="*/ 5902430 w 7414874"/>
                    <a:gd name="connsiteY419" fmla="*/ 1456106 h 1613833"/>
                    <a:gd name="connsiteX420" fmla="*/ 5928432 w 7414874"/>
                    <a:gd name="connsiteY420" fmla="*/ 1456106 h 1613833"/>
                    <a:gd name="connsiteX421" fmla="*/ 5928432 w 7414874"/>
                    <a:gd name="connsiteY421" fmla="*/ 1473441 h 1613833"/>
                    <a:gd name="connsiteX422" fmla="*/ 5945767 w 7414874"/>
                    <a:gd name="connsiteY422" fmla="*/ 1473441 h 1613833"/>
                    <a:gd name="connsiteX423" fmla="*/ 5950101 w 7414874"/>
                    <a:gd name="connsiteY423" fmla="*/ 1477775 h 1613833"/>
                    <a:gd name="connsiteX424" fmla="*/ 6019439 w 7414874"/>
                    <a:gd name="connsiteY424" fmla="*/ 1477775 h 1613833"/>
                    <a:gd name="connsiteX425" fmla="*/ 6019439 w 7414874"/>
                    <a:gd name="connsiteY425" fmla="*/ 1456106 h 1613833"/>
                    <a:gd name="connsiteX426" fmla="*/ 6058442 w 7414874"/>
                    <a:gd name="connsiteY426" fmla="*/ 1456106 h 1613833"/>
                    <a:gd name="connsiteX427" fmla="*/ 6058442 w 7414874"/>
                    <a:gd name="connsiteY427" fmla="*/ 1499443 h 1613833"/>
                    <a:gd name="connsiteX428" fmla="*/ 6110446 w 7414874"/>
                    <a:gd name="connsiteY428" fmla="*/ 1499443 h 1613833"/>
                    <a:gd name="connsiteX429" fmla="*/ 6110446 w 7414874"/>
                    <a:gd name="connsiteY429" fmla="*/ 1508110 h 1613833"/>
                    <a:gd name="connsiteX430" fmla="*/ 6188451 w 7414874"/>
                    <a:gd name="connsiteY430" fmla="*/ 1508110 h 1613833"/>
                    <a:gd name="connsiteX431" fmla="*/ 6188451 w 7414874"/>
                    <a:gd name="connsiteY431" fmla="*/ 1464774 h 1613833"/>
                    <a:gd name="connsiteX432" fmla="*/ 6227454 w 7414874"/>
                    <a:gd name="connsiteY432" fmla="*/ 1464774 h 1613833"/>
                    <a:gd name="connsiteX433" fmla="*/ 6227454 w 7414874"/>
                    <a:gd name="connsiteY433" fmla="*/ 1516778 h 1613833"/>
                    <a:gd name="connsiteX434" fmla="*/ 6353130 w 7414874"/>
                    <a:gd name="connsiteY434" fmla="*/ 1516778 h 1613833"/>
                    <a:gd name="connsiteX435" fmla="*/ 6353130 w 7414874"/>
                    <a:gd name="connsiteY435" fmla="*/ 1477775 h 1613833"/>
                    <a:gd name="connsiteX436" fmla="*/ 6409467 w 7414874"/>
                    <a:gd name="connsiteY436" fmla="*/ 1477775 h 1613833"/>
                    <a:gd name="connsiteX437" fmla="*/ 6409467 w 7414874"/>
                    <a:gd name="connsiteY437" fmla="*/ 1529778 h 1613833"/>
                    <a:gd name="connsiteX438" fmla="*/ 6457138 w 7414874"/>
                    <a:gd name="connsiteY438" fmla="*/ 1529778 h 1613833"/>
                    <a:gd name="connsiteX439" fmla="*/ 6457138 w 7414874"/>
                    <a:gd name="connsiteY439" fmla="*/ 1482108 h 1613833"/>
                    <a:gd name="connsiteX440" fmla="*/ 6487473 w 7414874"/>
                    <a:gd name="connsiteY440" fmla="*/ 1482108 h 1613833"/>
                    <a:gd name="connsiteX441" fmla="*/ 6487473 w 7414874"/>
                    <a:gd name="connsiteY441" fmla="*/ 1529778 h 1613833"/>
                    <a:gd name="connsiteX442" fmla="*/ 6561145 w 7414874"/>
                    <a:gd name="connsiteY442" fmla="*/ 1529778 h 1613833"/>
                    <a:gd name="connsiteX443" fmla="*/ 6565479 w 7414874"/>
                    <a:gd name="connsiteY443" fmla="*/ 1534112 h 1613833"/>
                    <a:gd name="connsiteX444" fmla="*/ 6669486 w 7414874"/>
                    <a:gd name="connsiteY444" fmla="*/ 1534112 h 1613833"/>
                    <a:gd name="connsiteX445" fmla="*/ 6669486 w 7414874"/>
                    <a:gd name="connsiteY445" fmla="*/ 1499443 h 1613833"/>
                    <a:gd name="connsiteX446" fmla="*/ 6738825 w 7414874"/>
                    <a:gd name="connsiteY446" fmla="*/ 1499443 h 1613833"/>
                    <a:gd name="connsiteX447" fmla="*/ 6738825 w 7414874"/>
                    <a:gd name="connsiteY447" fmla="*/ 1542779 h 1613833"/>
                    <a:gd name="connsiteX448" fmla="*/ 6795162 w 7414874"/>
                    <a:gd name="connsiteY448" fmla="*/ 1542779 h 1613833"/>
                    <a:gd name="connsiteX449" fmla="*/ 6795162 w 7414874"/>
                    <a:gd name="connsiteY449" fmla="*/ 1499443 h 1613833"/>
                    <a:gd name="connsiteX450" fmla="*/ 6829831 w 7414874"/>
                    <a:gd name="connsiteY450" fmla="*/ 1499443 h 1613833"/>
                    <a:gd name="connsiteX451" fmla="*/ 6829831 w 7414874"/>
                    <a:gd name="connsiteY451" fmla="*/ 1529778 h 1613833"/>
                    <a:gd name="connsiteX452" fmla="*/ 6847166 w 7414874"/>
                    <a:gd name="connsiteY452" fmla="*/ 1529778 h 1613833"/>
                    <a:gd name="connsiteX453" fmla="*/ 6847166 w 7414874"/>
                    <a:gd name="connsiteY453" fmla="*/ 1555780 h 1613833"/>
                    <a:gd name="connsiteX454" fmla="*/ 7050847 w 7414874"/>
                    <a:gd name="connsiteY454" fmla="*/ 1555780 h 1613833"/>
                    <a:gd name="connsiteX455" fmla="*/ 7063848 w 7414874"/>
                    <a:gd name="connsiteY455" fmla="*/ 1568781 h 1613833"/>
                    <a:gd name="connsiteX456" fmla="*/ 7133187 w 7414874"/>
                    <a:gd name="connsiteY456" fmla="*/ 1568781 h 1613833"/>
                    <a:gd name="connsiteX457" fmla="*/ 7133187 w 7414874"/>
                    <a:gd name="connsiteY457" fmla="*/ 1586116 h 1613833"/>
                    <a:gd name="connsiteX458" fmla="*/ 7284865 w 7414874"/>
                    <a:gd name="connsiteY458" fmla="*/ 1586116 h 1613833"/>
                    <a:gd name="connsiteX459" fmla="*/ 7284865 w 7414874"/>
                    <a:gd name="connsiteY459" fmla="*/ 1607784 h 1613833"/>
                    <a:gd name="connsiteX460" fmla="*/ 7410114 w 7414874"/>
                    <a:gd name="connsiteY460" fmla="*/ 1613833 h 1613833"/>
                    <a:gd name="connsiteX0" fmla="*/ 7417257 w 7417362"/>
                    <a:gd name="connsiteY0" fmla="*/ 1613833 h 1613833"/>
                    <a:gd name="connsiteX1" fmla="*/ 7414874 w 7417362"/>
                    <a:gd name="connsiteY1" fmla="*/ 1508110 h 1613833"/>
                    <a:gd name="connsiteX2" fmla="*/ 7271864 w 7417362"/>
                    <a:gd name="connsiteY2" fmla="*/ 1508110 h 1613833"/>
                    <a:gd name="connsiteX3" fmla="*/ 7258863 w 7417362"/>
                    <a:gd name="connsiteY3" fmla="*/ 1495109 h 1613833"/>
                    <a:gd name="connsiteX4" fmla="*/ 7159189 w 7417362"/>
                    <a:gd name="connsiteY4" fmla="*/ 1495109 h 1613833"/>
                    <a:gd name="connsiteX5" fmla="*/ 7141854 w 7417362"/>
                    <a:gd name="connsiteY5" fmla="*/ 1477774 h 1613833"/>
                    <a:gd name="connsiteX6" fmla="*/ 7037847 w 7417362"/>
                    <a:gd name="connsiteY6" fmla="*/ 1477774 h 1613833"/>
                    <a:gd name="connsiteX7" fmla="*/ 7037847 w 7417362"/>
                    <a:gd name="connsiteY7" fmla="*/ 1451773 h 1613833"/>
                    <a:gd name="connsiteX8" fmla="*/ 6873168 w 7417362"/>
                    <a:gd name="connsiteY8" fmla="*/ 1451773 h 1613833"/>
                    <a:gd name="connsiteX9" fmla="*/ 6868834 w 7417362"/>
                    <a:gd name="connsiteY9" fmla="*/ 1447439 h 1613833"/>
                    <a:gd name="connsiteX10" fmla="*/ 6825498 w 7417362"/>
                    <a:gd name="connsiteY10" fmla="*/ 1447439 h 1613833"/>
                    <a:gd name="connsiteX11" fmla="*/ 6825498 w 7417362"/>
                    <a:gd name="connsiteY11" fmla="*/ 1495109 h 1613833"/>
                    <a:gd name="connsiteX12" fmla="*/ 6786495 w 7417362"/>
                    <a:gd name="connsiteY12" fmla="*/ 1495109 h 1613833"/>
                    <a:gd name="connsiteX13" fmla="*/ 6786495 w 7417362"/>
                    <a:gd name="connsiteY13" fmla="*/ 1443106 h 1613833"/>
                    <a:gd name="connsiteX14" fmla="*/ 6738825 w 7417362"/>
                    <a:gd name="connsiteY14" fmla="*/ 1443106 h 1613833"/>
                    <a:gd name="connsiteX15" fmla="*/ 6738824 w 7417362"/>
                    <a:gd name="connsiteY15" fmla="*/ 1477775 h 1613833"/>
                    <a:gd name="connsiteX16" fmla="*/ 6678154 w 7417362"/>
                    <a:gd name="connsiteY16" fmla="*/ 1477775 h 1613833"/>
                    <a:gd name="connsiteX17" fmla="*/ 6678154 w 7417362"/>
                    <a:gd name="connsiteY17" fmla="*/ 1438772 h 1613833"/>
                    <a:gd name="connsiteX18" fmla="*/ 6561145 w 7417362"/>
                    <a:gd name="connsiteY18" fmla="*/ 1438772 h 1613833"/>
                    <a:gd name="connsiteX19" fmla="*/ 6548144 w 7417362"/>
                    <a:gd name="connsiteY19" fmla="*/ 1425771 h 1613833"/>
                    <a:gd name="connsiteX20" fmla="*/ 6483139 w 7417362"/>
                    <a:gd name="connsiteY20" fmla="*/ 1425771 h 1613833"/>
                    <a:gd name="connsiteX21" fmla="*/ 6483139 w 7417362"/>
                    <a:gd name="connsiteY21" fmla="*/ 1482108 h 1613833"/>
                    <a:gd name="connsiteX22" fmla="*/ 6444137 w 7417362"/>
                    <a:gd name="connsiteY22" fmla="*/ 1482108 h 1613833"/>
                    <a:gd name="connsiteX23" fmla="*/ 6444137 w 7417362"/>
                    <a:gd name="connsiteY23" fmla="*/ 1434438 h 1613833"/>
                    <a:gd name="connsiteX24" fmla="*/ 6405134 w 7417362"/>
                    <a:gd name="connsiteY24" fmla="*/ 1434438 h 1613833"/>
                    <a:gd name="connsiteX25" fmla="*/ 6405134 w 7417362"/>
                    <a:gd name="connsiteY25" fmla="*/ 1477775 h 1613833"/>
                    <a:gd name="connsiteX26" fmla="*/ 6357464 w 7417362"/>
                    <a:gd name="connsiteY26" fmla="*/ 1477775 h 1613833"/>
                    <a:gd name="connsiteX27" fmla="*/ 6357464 w 7417362"/>
                    <a:gd name="connsiteY27" fmla="*/ 1430105 h 1613833"/>
                    <a:gd name="connsiteX28" fmla="*/ 6223120 w 7417362"/>
                    <a:gd name="connsiteY28" fmla="*/ 1430105 h 1613833"/>
                    <a:gd name="connsiteX29" fmla="*/ 6223120 w 7417362"/>
                    <a:gd name="connsiteY29" fmla="*/ 1443106 h 1613833"/>
                    <a:gd name="connsiteX30" fmla="*/ 6192785 w 7417362"/>
                    <a:gd name="connsiteY30" fmla="*/ 1443106 h 1613833"/>
                    <a:gd name="connsiteX31" fmla="*/ 6192785 w 7417362"/>
                    <a:gd name="connsiteY31" fmla="*/ 1412770 h 1613833"/>
                    <a:gd name="connsiteX32" fmla="*/ 6119113 w 7417362"/>
                    <a:gd name="connsiteY32" fmla="*/ 1412770 h 1613833"/>
                    <a:gd name="connsiteX33" fmla="*/ 6119113 w 7417362"/>
                    <a:gd name="connsiteY33" fmla="*/ 1399769 h 1613833"/>
                    <a:gd name="connsiteX34" fmla="*/ 6071443 w 7417362"/>
                    <a:gd name="connsiteY34" fmla="*/ 1399769 h 1613833"/>
                    <a:gd name="connsiteX35" fmla="*/ 6071443 w 7417362"/>
                    <a:gd name="connsiteY35" fmla="*/ 1382434 h 1613833"/>
                    <a:gd name="connsiteX36" fmla="*/ 6049774 w 7417362"/>
                    <a:gd name="connsiteY36" fmla="*/ 1382434 h 1613833"/>
                    <a:gd name="connsiteX37" fmla="*/ 6049774 w 7417362"/>
                    <a:gd name="connsiteY37" fmla="*/ 1421437 h 1613833"/>
                    <a:gd name="connsiteX38" fmla="*/ 6019439 w 7417362"/>
                    <a:gd name="connsiteY38" fmla="*/ 1421437 h 1613833"/>
                    <a:gd name="connsiteX39" fmla="*/ 6019439 w 7417362"/>
                    <a:gd name="connsiteY39" fmla="*/ 1391102 h 1613833"/>
                    <a:gd name="connsiteX40" fmla="*/ 5958768 w 7417362"/>
                    <a:gd name="connsiteY40" fmla="*/ 1391102 h 1613833"/>
                    <a:gd name="connsiteX41" fmla="*/ 5958768 w 7417362"/>
                    <a:gd name="connsiteY41" fmla="*/ 1373767 h 1613833"/>
                    <a:gd name="connsiteX42" fmla="*/ 5919765 w 7417362"/>
                    <a:gd name="connsiteY42" fmla="*/ 1373767 h 1613833"/>
                    <a:gd name="connsiteX43" fmla="*/ 5919765 w 7417362"/>
                    <a:gd name="connsiteY43" fmla="*/ 1352099 h 1613833"/>
                    <a:gd name="connsiteX44" fmla="*/ 5824425 w 7417362"/>
                    <a:gd name="connsiteY44" fmla="*/ 1352099 h 1613833"/>
                    <a:gd name="connsiteX45" fmla="*/ 5824425 w 7417362"/>
                    <a:gd name="connsiteY45" fmla="*/ 1399769 h 1613833"/>
                    <a:gd name="connsiteX46" fmla="*/ 5789756 w 7417362"/>
                    <a:gd name="connsiteY46" fmla="*/ 1399769 h 1613833"/>
                    <a:gd name="connsiteX47" fmla="*/ 5789756 w 7417362"/>
                    <a:gd name="connsiteY47" fmla="*/ 1365100 h 1613833"/>
                    <a:gd name="connsiteX48" fmla="*/ 5698749 w 7417362"/>
                    <a:gd name="connsiteY48" fmla="*/ 1365100 h 1613833"/>
                    <a:gd name="connsiteX49" fmla="*/ 5698749 w 7417362"/>
                    <a:gd name="connsiteY49" fmla="*/ 1326097 h 1613833"/>
                    <a:gd name="connsiteX50" fmla="*/ 5655412 w 7417362"/>
                    <a:gd name="connsiteY50" fmla="*/ 1326097 h 1613833"/>
                    <a:gd name="connsiteX51" fmla="*/ 5655412 w 7417362"/>
                    <a:gd name="connsiteY51" fmla="*/ 1373767 h 1613833"/>
                    <a:gd name="connsiteX52" fmla="*/ 5612076 w 7417362"/>
                    <a:gd name="connsiteY52" fmla="*/ 1373767 h 1613833"/>
                    <a:gd name="connsiteX53" fmla="*/ 5612076 w 7417362"/>
                    <a:gd name="connsiteY53" fmla="*/ 1334764 h 1613833"/>
                    <a:gd name="connsiteX54" fmla="*/ 5512402 w 7417362"/>
                    <a:gd name="connsiteY54" fmla="*/ 1334764 h 1613833"/>
                    <a:gd name="connsiteX55" fmla="*/ 5512402 w 7417362"/>
                    <a:gd name="connsiteY55" fmla="*/ 1360766 h 1613833"/>
                    <a:gd name="connsiteX56" fmla="*/ 5469065 w 7417362"/>
                    <a:gd name="connsiteY56" fmla="*/ 1360766 h 1613833"/>
                    <a:gd name="connsiteX57" fmla="*/ 5469065 w 7417362"/>
                    <a:gd name="connsiteY57" fmla="*/ 1321763 h 1613833"/>
                    <a:gd name="connsiteX58" fmla="*/ 5360724 w 7417362"/>
                    <a:gd name="connsiteY58" fmla="*/ 1321763 h 1613833"/>
                    <a:gd name="connsiteX59" fmla="*/ 5360724 w 7417362"/>
                    <a:gd name="connsiteY59" fmla="*/ 1304429 h 1613833"/>
                    <a:gd name="connsiteX60" fmla="*/ 5300053 w 7417362"/>
                    <a:gd name="connsiteY60" fmla="*/ 1304429 h 1613833"/>
                    <a:gd name="connsiteX61" fmla="*/ 5291386 w 7417362"/>
                    <a:gd name="connsiteY61" fmla="*/ 1295762 h 1613833"/>
                    <a:gd name="connsiteX62" fmla="*/ 5187378 w 7417362"/>
                    <a:gd name="connsiteY62" fmla="*/ 1295762 h 1613833"/>
                    <a:gd name="connsiteX63" fmla="*/ 5187378 w 7417362"/>
                    <a:gd name="connsiteY63" fmla="*/ 1278427 h 1613833"/>
                    <a:gd name="connsiteX64" fmla="*/ 5057369 w 7417362"/>
                    <a:gd name="connsiteY64" fmla="*/ 1278427 h 1613833"/>
                    <a:gd name="connsiteX65" fmla="*/ 5048701 w 7417362"/>
                    <a:gd name="connsiteY65" fmla="*/ 1269759 h 1613833"/>
                    <a:gd name="connsiteX66" fmla="*/ 4923026 w 7417362"/>
                    <a:gd name="connsiteY66" fmla="*/ 1269759 h 1613833"/>
                    <a:gd name="connsiteX67" fmla="*/ 4910025 w 7417362"/>
                    <a:gd name="connsiteY67" fmla="*/ 1256758 h 1613833"/>
                    <a:gd name="connsiteX68" fmla="*/ 4697676 w 7417362"/>
                    <a:gd name="connsiteY68" fmla="*/ 1256758 h 1613833"/>
                    <a:gd name="connsiteX69" fmla="*/ 4684675 w 7417362"/>
                    <a:gd name="connsiteY69" fmla="*/ 1243757 h 1613833"/>
                    <a:gd name="connsiteX70" fmla="*/ 4663007 w 7417362"/>
                    <a:gd name="connsiteY70" fmla="*/ 1243757 h 1613833"/>
                    <a:gd name="connsiteX71" fmla="*/ 4645673 w 7417362"/>
                    <a:gd name="connsiteY71" fmla="*/ 1226423 h 1613833"/>
                    <a:gd name="connsiteX72" fmla="*/ 4632672 w 7417362"/>
                    <a:gd name="connsiteY72" fmla="*/ 1213422 h 1613833"/>
                    <a:gd name="connsiteX73" fmla="*/ 4489661 w 7417362"/>
                    <a:gd name="connsiteY73" fmla="*/ 1213422 h 1613833"/>
                    <a:gd name="connsiteX74" fmla="*/ 4489661 w 7417362"/>
                    <a:gd name="connsiteY74" fmla="*/ 1200421 h 1613833"/>
                    <a:gd name="connsiteX75" fmla="*/ 4446324 w 7417362"/>
                    <a:gd name="connsiteY75" fmla="*/ 1200421 h 1613833"/>
                    <a:gd name="connsiteX76" fmla="*/ 4446324 w 7417362"/>
                    <a:gd name="connsiteY76" fmla="*/ 1183087 h 1613833"/>
                    <a:gd name="connsiteX77" fmla="*/ 4411655 w 7417362"/>
                    <a:gd name="connsiteY77" fmla="*/ 1183087 h 1613833"/>
                    <a:gd name="connsiteX78" fmla="*/ 4398654 w 7417362"/>
                    <a:gd name="connsiteY78" fmla="*/ 1170086 h 1613833"/>
                    <a:gd name="connsiteX79" fmla="*/ 4394321 w 7417362"/>
                    <a:gd name="connsiteY79" fmla="*/ 1174419 h 1613833"/>
                    <a:gd name="connsiteX80" fmla="*/ 4394321 w 7417362"/>
                    <a:gd name="connsiteY80" fmla="*/ 1200421 h 1613833"/>
                    <a:gd name="connsiteX81" fmla="*/ 4359651 w 7417362"/>
                    <a:gd name="connsiteY81" fmla="*/ 1200421 h 1613833"/>
                    <a:gd name="connsiteX82" fmla="*/ 4359651 w 7417362"/>
                    <a:gd name="connsiteY82" fmla="*/ 1157085 h 1613833"/>
                    <a:gd name="connsiteX83" fmla="*/ 4329316 w 7417362"/>
                    <a:gd name="connsiteY83" fmla="*/ 1157085 h 1613833"/>
                    <a:gd name="connsiteX84" fmla="*/ 4320648 w 7417362"/>
                    <a:gd name="connsiteY84" fmla="*/ 1148417 h 1613833"/>
                    <a:gd name="connsiteX85" fmla="*/ 4155970 w 7417362"/>
                    <a:gd name="connsiteY85" fmla="*/ 1148417 h 1613833"/>
                    <a:gd name="connsiteX86" fmla="*/ 4147302 w 7417362"/>
                    <a:gd name="connsiteY86" fmla="*/ 1139749 h 1613833"/>
                    <a:gd name="connsiteX87" fmla="*/ 4064963 w 7417362"/>
                    <a:gd name="connsiteY87" fmla="*/ 1139749 h 1613833"/>
                    <a:gd name="connsiteX88" fmla="*/ 4064963 w 7417362"/>
                    <a:gd name="connsiteY88" fmla="*/ 1122415 h 1613833"/>
                    <a:gd name="connsiteX89" fmla="*/ 4047628 w 7417362"/>
                    <a:gd name="connsiteY89" fmla="*/ 1122415 h 1613833"/>
                    <a:gd name="connsiteX90" fmla="*/ 4047628 w 7417362"/>
                    <a:gd name="connsiteY90" fmla="*/ 1105081 h 1613833"/>
                    <a:gd name="connsiteX91" fmla="*/ 4025960 w 7417362"/>
                    <a:gd name="connsiteY91" fmla="*/ 1105081 h 1613833"/>
                    <a:gd name="connsiteX92" fmla="*/ 4025960 w 7417362"/>
                    <a:gd name="connsiteY92" fmla="*/ 1152751 h 1613833"/>
                    <a:gd name="connsiteX93" fmla="*/ 3991291 w 7417362"/>
                    <a:gd name="connsiteY93" fmla="*/ 1152751 h 1613833"/>
                    <a:gd name="connsiteX94" fmla="*/ 3991291 w 7417362"/>
                    <a:gd name="connsiteY94" fmla="*/ 1109415 h 1613833"/>
                    <a:gd name="connsiteX95" fmla="*/ 3960956 w 7417362"/>
                    <a:gd name="connsiteY95" fmla="*/ 1109415 h 1613833"/>
                    <a:gd name="connsiteX96" fmla="*/ 3952288 w 7417362"/>
                    <a:gd name="connsiteY96" fmla="*/ 1100747 h 1613833"/>
                    <a:gd name="connsiteX97" fmla="*/ 3735606 w 7417362"/>
                    <a:gd name="connsiteY97" fmla="*/ 1100747 h 1613833"/>
                    <a:gd name="connsiteX98" fmla="*/ 3718272 w 7417362"/>
                    <a:gd name="connsiteY98" fmla="*/ 1083413 h 1613833"/>
                    <a:gd name="connsiteX99" fmla="*/ 3592595 w 7417362"/>
                    <a:gd name="connsiteY99" fmla="*/ 1083413 h 1613833"/>
                    <a:gd name="connsiteX100" fmla="*/ 3575261 w 7417362"/>
                    <a:gd name="connsiteY100" fmla="*/ 1066079 h 1613833"/>
                    <a:gd name="connsiteX101" fmla="*/ 3440918 w 7417362"/>
                    <a:gd name="connsiteY101" fmla="*/ 1066079 h 1613833"/>
                    <a:gd name="connsiteX102" fmla="*/ 3440918 w 7417362"/>
                    <a:gd name="connsiteY102" fmla="*/ 1040076 h 1613833"/>
                    <a:gd name="connsiteX103" fmla="*/ 3319575 w 7417362"/>
                    <a:gd name="connsiteY103" fmla="*/ 1040076 h 1613833"/>
                    <a:gd name="connsiteX104" fmla="*/ 3319575 w 7417362"/>
                    <a:gd name="connsiteY104" fmla="*/ 1027075 h 1613833"/>
                    <a:gd name="connsiteX105" fmla="*/ 3180899 w 7417362"/>
                    <a:gd name="connsiteY105" fmla="*/ 1027075 h 1613833"/>
                    <a:gd name="connsiteX106" fmla="*/ 3180899 w 7417362"/>
                    <a:gd name="connsiteY106" fmla="*/ 1020123 h 1613833"/>
                    <a:gd name="connsiteX107" fmla="*/ 3163564 w 7417362"/>
                    <a:gd name="connsiteY107" fmla="*/ 1018408 h 1613833"/>
                    <a:gd name="connsiteX108" fmla="*/ 3150563 w 7417362"/>
                    <a:gd name="connsiteY108" fmla="*/ 1005407 h 1613833"/>
                    <a:gd name="connsiteX109" fmla="*/ 2990218 w 7417362"/>
                    <a:gd name="connsiteY109" fmla="*/ 1005407 h 1613833"/>
                    <a:gd name="connsiteX110" fmla="*/ 2990218 w 7417362"/>
                    <a:gd name="connsiteY110" fmla="*/ 988072 h 1613833"/>
                    <a:gd name="connsiteX111" fmla="*/ 2907879 w 7417362"/>
                    <a:gd name="connsiteY111" fmla="*/ 988072 h 1613833"/>
                    <a:gd name="connsiteX112" fmla="*/ 2899211 w 7417362"/>
                    <a:gd name="connsiteY112" fmla="*/ 979404 h 1613833"/>
                    <a:gd name="connsiteX113" fmla="*/ 2868876 w 7417362"/>
                    <a:gd name="connsiteY113" fmla="*/ 979404 h 1613833"/>
                    <a:gd name="connsiteX114" fmla="*/ 2868876 w 7417362"/>
                    <a:gd name="connsiteY114" fmla="*/ 953403 h 1613833"/>
                    <a:gd name="connsiteX115" fmla="*/ 2842874 w 7417362"/>
                    <a:gd name="connsiteY115" fmla="*/ 953403 h 1613833"/>
                    <a:gd name="connsiteX116" fmla="*/ 2834207 w 7417362"/>
                    <a:gd name="connsiteY116" fmla="*/ 944736 h 1613833"/>
                    <a:gd name="connsiteX117" fmla="*/ 2756201 w 7417362"/>
                    <a:gd name="connsiteY117" fmla="*/ 944736 h 1613833"/>
                    <a:gd name="connsiteX118" fmla="*/ 2747534 w 7417362"/>
                    <a:gd name="connsiteY118" fmla="*/ 936069 h 1613833"/>
                    <a:gd name="connsiteX119" fmla="*/ 2699864 w 7417362"/>
                    <a:gd name="connsiteY119" fmla="*/ 936069 h 1613833"/>
                    <a:gd name="connsiteX120" fmla="*/ 2688815 w 7417362"/>
                    <a:gd name="connsiteY120" fmla="*/ 925019 h 1613833"/>
                    <a:gd name="connsiteX121" fmla="*/ 2643526 w 7417362"/>
                    <a:gd name="connsiteY121" fmla="*/ 927401 h 1613833"/>
                    <a:gd name="connsiteX122" fmla="*/ 2638099 w 7417362"/>
                    <a:gd name="connsiteY122" fmla="*/ 910067 h 1613833"/>
                    <a:gd name="connsiteX123" fmla="*/ 2616001 w 7417362"/>
                    <a:gd name="connsiteY123" fmla="*/ 899876 h 1613833"/>
                    <a:gd name="connsiteX124" fmla="*/ 2591522 w 7417362"/>
                    <a:gd name="connsiteY124" fmla="*/ 875397 h 1613833"/>
                    <a:gd name="connsiteX125" fmla="*/ 2561187 w 7417362"/>
                    <a:gd name="connsiteY125" fmla="*/ 875397 h 1613833"/>
                    <a:gd name="connsiteX126" fmla="*/ 2552519 w 7417362"/>
                    <a:gd name="connsiteY126" fmla="*/ 866729 h 1613833"/>
                    <a:gd name="connsiteX127" fmla="*/ 2500516 w 7417362"/>
                    <a:gd name="connsiteY127" fmla="*/ 866729 h 1613833"/>
                    <a:gd name="connsiteX128" fmla="*/ 2500516 w 7417362"/>
                    <a:gd name="connsiteY128" fmla="*/ 849396 h 1613833"/>
                    <a:gd name="connsiteX129" fmla="*/ 2444178 w 7417362"/>
                    <a:gd name="connsiteY129" fmla="*/ 849396 h 1613833"/>
                    <a:gd name="connsiteX130" fmla="*/ 2435510 w 7417362"/>
                    <a:gd name="connsiteY130" fmla="*/ 840728 h 1613833"/>
                    <a:gd name="connsiteX131" fmla="*/ 2413843 w 7417362"/>
                    <a:gd name="connsiteY131" fmla="*/ 840728 h 1613833"/>
                    <a:gd name="connsiteX132" fmla="*/ 2400842 w 7417362"/>
                    <a:gd name="connsiteY132" fmla="*/ 827727 h 1613833"/>
                    <a:gd name="connsiteX133" fmla="*/ 2348838 w 7417362"/>
                    <a:gd name="connsiteY133" fmla="*/ 827727 h 1613833"/>
                    <a:gd name="connsiteX134" fmla="*/ 2348838 w 7417362"/>
                    <a:gd name="connsiteY134" fmla="*/ 810393 h 1613833"/>
                    <a:gd name="connsiteX135" fmla="*/ 2309835 w 7417362"/>
                    <a:gd name="connsiteY135" fmla="*/ 810393 h 1613833"/>
                    <a:gd name="connsiteX136" fmla="*/ 2296834 w 7417362"/>
                    <a:gd name="connsiteY136" fmla="*/ 823394 h 1613833"/>
                    <a:gd name="connsiteX137" fmla="*/ 2266499 w 7417362"/>
                    <a:gd name="connsiteY137" fmla="*/ 823394 h 1613833"/>
                    <a:gd name="connsiteX138" fmla="*/ 2253498 w 7417362"/>
                    <a:gd name="connsiteY138" fmla="*/ 810393 h 1613833"/>
                    <a:gd name="connsiteX139" fmla="*/ 2244830 w 7417362"/>
                    <a:gd name="connsiteY139" fmla="*/ 801725 h 1613833"/>
                    <a:gd name="connsiteX140" fmla="*/ 2244830 w 7417362"/>
                    <a:gd name="connsiteY140" fmla="*/ 775724 h 1613833"/>
                    <a:gd name="connsiteX141" fmla="*/ 2123488 w 7417362"/>
                    <a:gd name="connsiteY141" fmla="*/ 775724 h 1613833"/>
                    <a:gd name="connsiteX142" fmla="*/ 2123488 w 7417362"/>
                    <a:gd name="connsiteY142" fmla="*/ 745388 h 1613833"/>
                    <a:gd name="connsiteX143" fmla="*/ 2071484 w 7417362"/>
                    <a:gd name="connsiteY143" fmla="*/ 745388 h 1613833"/>
                    <a:gd name="connsiteX144" fmla="*/ 2062817 w 7417362"/>
                    <a:gd name="connsiteY144" fmla="*/ 736721 h 1613833"/>
                    <a:gd name="connsiteX145" fmla="*/ 2006480 w 7417362"/>
                    <a:gd name="connsiteY145" fmla="*/ 736721 h 1613833"/>
                    <a:gd name="connsiteX146" fmla="*/ 2006480 w 7417362"/>
                    <a:gd name="connsiteY146" fmla="*/ 715052 h 1613833"/>
                    <a:gd name="connsiteX147" fmla="*/ 1906806 w 7417362"/>
                    <a:gd name="connsiteY147" fmla="*/ 715052 h 1613833"/>
                    <a:gd name="connsiteX148" fmla="*/ 1902473 w 7417362"/>
                    <a:gd name="connsiteY148" fmla="*/ 710719 h 1613833"/>
                    <a:gd name="connsiteX149" fmla="*/ 1863469 w 7417362"/>
                    <a:gd name="connsiteY149" fmla="*/ 710719 h 1613833"/>
                    <a:gd name="connsiteX150" fmla="*/ 1863469 w 7417362"/>
                    <a:gd name="connsiteY150" fmla="*/ 680383 h 1613833"/>
                    <a:gd name="connsiteX151" fmla="*/ 1807132 w 7417362"/>
                    <a:gd name="connsiteY151" fmla="*/ 680383 h 1613833"/>
                    <a:gd name="connsiteX152" fmla="*/ 1798465 w 7417362"/>
                    <a:gd name="connsiteY152" fmla="*/ 671716 h 1613833"/>
                    <a:gd name="connsiteX153" fmla="*/ 1785464 w 7417362"/>
                    <a:gd name="connsiteY153" fmla="*/ 671716 h 1613833"/>
                    <a:gd name="connsiteX154" fmla="*/ 1785464 w 7417362"/>
                    <a:gd name="connsiteY154" fmla="*/ 658715 h 1613833"/>
                    <a:gd name="connsiteX155" fmla="*/ 1750794 w 7417362"/>
                    <a:gd name="connsiteY155" fmla="*/ 658715 h 1613833"/>
                    <a:gd name="connsiteX156" fmla="*/ 1750794 w 7417362"/>
                    <a:gd name="connsiteY156" fmla="*/ 637047 h 1613833"/>
                    <a:gd name="connsiteX157" fmla="*/ 1698791 w 7417362"/>
                    <a:gd name="connsiteY157" fmla="*/ 637047 h 1613833"/>
                    <a:gd name="connsiteX158" fmla="*/ 1698791 w 7417362"/>
                    <a:gd name="connsiteY158" fmla="*/ 611045 h 1613833"/>
                    <a:gd name="connsiteX159" fmla="*/ 1616451 w 7417362"/>
                    <a:gd name="connsiteY159" fmla="*/ 611045 h 1613833"/>
                    <a:gd name="connsiteX160" fmla="*/ 1603450 w 7417362"/>
                    <a:gd name="connsiteY160" fmla="*/ 598044 h 1613833"/>
                    <a:gd name="connsiteX161" fmla="*/ 1590449 w 7417362"/>
                    <a:gd name="connsiteY161" fmla="*/ 598044 h 1613833"/>
                    <a:gd name="connsiteX162" fmla="*/ 1577448 w 7417362"/>
                    <a:gd name="connsiteY162" fmla="*/ 585043 h 1613833"/>
                    <a:gd name="connsiteX163" fmla="*/ 1529778 w 7417362"/>
                    <a:gd name="connsiteY163" fmla="*/ 585043 h 1613833"/>
                    <a:gd name="connsiteX164" fmla="*/ 1529778 w 7417362"/>
                    <a:gd name="connsiteY164" fmla="*/ 576376 h 1613833"/>
                    <a:gd name="connsiteX165" fmla="*/ 1477774 w 7417362"/>
                    <a:gd name="connsiteY165" fmla="*/ 576376 h 1613833"/>
                    <a:gd name="connsiteX166" fmla="*/ 1477774 w 7417362"/>
                    <a:gd name="connsiteY166" fmla="*/ 559041 h 1613833"/>
                    <a:gd name="connsiteX167" fmla="*/ 1408436 w 7417362"/>
                    <a:gd name="connsiteY167" fmla="*/ 559041 h 1613833"/>
                    <a:gd name="connsiteX168" fmla="*/ 1395435 w 7417362"/>
                    <a:gd name="connsiteY168" fmla="*/ 546040 h 1613833"/>
                    <a:gd name="connsiteX169" fmla="*/ 1330430 w 7417362"/>
                    <a:gd name="connsiteY169" fmla="*/ 546040 h 1613833"/>
                    <a:gd name="connsiteX170" fmla="*/ 1330430 w 7417362"/>
                    <a:gd name="connsiteY170" fmla="*/ 528706 h 1613833"/>
                    <a:gd name="connsiteX171" fmla="*/ 1274093 w 7417362"/>
                    <a:gd name="connsiteY171" fmla="*/ 528706 h 1613833"/>
                    <a:gd name="connsiteX172" fmla="*/ 1274093 w 7417362"/>
                    <a:gd name="connsiteY172" fmla="*/ 507037 h 1613833"/>
                    <a:gd name="connsiteX173" fmla="*/ 1191754 w 7417362"/>
                    <a:gd name="connsiteY173" fmla="*/ 507037 h 1613833"/>
                    <a:gd name="connsiteX174" fmla="*/ 1174419 w 7417362"/>
                    <a:gd name="connsiteY174" fmla="*/ 507037 h 1613833"/>
                    <a:gd name="connsiteX175" fmla="*/ 1148417 w 7417362"/>
                    <a:gd name="connsiteY175" fmla="*/ 507037 h 1613833"/>
                    <a:gd name="connsiteX176" fmla="*/ 1148417 w 7417362"/>
                    <a:gd name="connsiteY176" fmla="*/ 481035 h 1613833"/>
                    <a:gd name="connsiteX177" fmla="*/ 1092080 w 7417362"/>
                    <a:gd name="connsiteY177" fmla="*/ 481035 h 1613833"/>
                    <a:gd name="connsiteX178" fmla="*/ 1092080 w 7417362"/>
                    <a:gd name="connsiteY178" fmla="*/ 468034 h 1613833"/>
                    <a:gd name="connsiteX179" fmla="*/ 1044410 w 7417362"/>
                    <a:gd name="connsiteY179" fmla="*/ 468034 h 1613833"/>
                    <a:gd name="connsiteX180" fmla="*/ 1044410 w 7417362"/>
                    <a:gd name="connsiteY180" fmla="*/ 437699 h 1613833"/>
                    <a:gd name="connsiteX181" fmla="*/ 988072 w 7417362"/>
                    <a:gd name="connsiteY181" fmla="*/ 437699 h 1613833"/>
                    <a:gd name="connsiteX182" fmla="*/ 975071 w 7417362"/>
                    <a:gd name="connsiteY182" fmla="*/ 424698 h 1613833"/>
                    <a:gd name="connsiteX183" fmla="*/ 953403 w 7417362"/>
                    <a:gd name="connsiteY183" fmla="*/ 424698 h 1613833"/>
                    <a:gd name="connsiteX184" fmla="*/ 944736 w 7417362"/>
                    <a:gd name="connsiteY184" fmla="*/ 416031 h 1613833"/>
                    <a:gd name="connsiteX185" fmla="*/ 892732 w 7417362"/>
                    <a:gd name="connsiteY185" fmla="*/ 416031 h 1613833"/>
                    <a:gd name="connsiteX186" fmla="*/ 892732 w 7417362"/>
                    <a:gd name="connsiteY186" fmla="*/ 394362 h 1613833"/>
                    <a:gd name="connsiteX187" fmla="*/ 866730 w 7417362"/>
                    <a:gd name="connsiteY187" fmla="*/ 394362 h 1613833"/>
                    <a:gd name="connsiteX188" fmla="*/ 858063 w 7417362"/>
                    <a:gd name="connsiteY188" fmla="*/ 385695 h 1613833"/>
                    <a:gd name="connsiteX189" fmla="*/ 754055 w 7417362"/>
                    <a:gd name="connsiteY189" fmla="*/ 385695 h 1613833"/>
                    <a:gd name="connsiteX190" fmla="*/ 754055 w 7417362"/>
                    <a:gd name="connsiteY190" fmla="*/ 359693 h 1613833"/>
                    <a:gd name="connsiteX191" fmla="*/ 723719 w 7417362"/>
                    <a:gd name="connsiteY191" fmla="*/ 359693 h 1613833"/>
                    <a:gd name="connsiteX192" fmla="*/ 723719 w 7417362"/>
                    <a:gd name="connsiteY192" fmla="*/ 342359 h 1613833"/>
                    <a:gd name="connsiteX193" fmla="*/ 658715 w 7417362"/>
                    <a:gd name="connsiteY193" fmla="*/ 342359 h 1613833"/>
                    <a:gd name="connsiteX194" fmla="*/ 650047 w 7417362"/>
                    <a:gd name="connsiteY194" fmla="*/ 333691 h 1613833"/>
                    <a:gd name="connsiteX195" fmla="*/ 628379 w 7417362"/>
                    <a:gd name="connsiteY195" fmla="*/ 333691 h 1613833"/>
                    <a:gd name="connsiteX196" fmla="*/ 628379 w 7417362"/>
                    <a:gd name="connsiteY196" fmla="*/ 316357 h 1613833"/>
                    <a:gd name="connsiteX197" fmla="*/ 598044 w 7417362"/>
                    <a:gd name="connsiteY197" fmla="*/ 316357 h 1613833"/>
                    <a:gd name="connsiteX198" fmla="*/ 598044 w 7417362"/>
                    <a:gd name="connsiteY198" fmla="*/ 294688 h 1613833"/>
                    <a:gd name="connsiteX199" fmla="*/ 576375 w 7417362"/>
                    <a:gd name="connsiteY199" fmla="*/ 294688 h 1613833"/>
                    <a:gd name="connsiteX200" fmla="*/ 576375 w 7417362"/>
                    <a:gd name="connsiteY200" fmla="*/ 281687 h 1613833"/>
                    <a:gd name="connsiteX201" fmla="*/ 554707 w 7417362"/>
                    <a:gd name="connsiteY201" fmla="*/ 281687 h 1613833"/>
                    <a:gd name="connsiteX202" fmla="*/ 554707 w 7417362"/>
                    <a:gd name="connsiteY202" fmla="*/ 268687 h 1613833"/>
                    <a:gd name="connsiteX203" fmla="*/ 489702 w 7417362"/>
                    <a:gd name="connsiteY203" fmla="*/ 268687 h 1613833"/>
                    <a:gd name="connsiteX204" fmla="*/ 489702 w 7417362"/>
                    <a:gd name="connsiteY204" fmla="*/ 242685 h 1613833"/>
                    <a:gd name="connsiteX205" fmla="*/ 455033 w 7417362"/>
                    <a:gd name="connsiteY205" fmla="*/ 242685 h 1613833"/>
                    <a:gd name="connsiteX206" fmla="*/ 455033 w 7417362"/>
                    <a:gd name="connsiteY206" fmla="*/ 216683 h 1613833"/>
                    <a:gd name="connsiteX207" fmla="*/ 437699 w 7417362"/>
                    <a:gd name="connsiteY207" fmla="*/ 216683 h 1613833"/>
                    <a:gd name="connsiteX208" fmla="*/ 437699 w 7417362"/>
                    <a:gd name="connsiteY208" fmla="*/ 186347 h 1613833"/>
                    <a:gd name="connsiteX209" fmla="*/ 407363 w 7417362"/>
                    <a:gd name="connsiteY209" fmla="*/ 186347 h 1613833"/>
                    <a:gd name="connsiteX210" fmla="*/ 407363 w 7417362"/>
                    <a:gd name="connsiteY210" fmla="*/ 173346 h 1613833"/>
                    <a:gd name="connsiteX211" fmla="*/ 372694 w 7417362"/>
                    <a:gd name="connsiteY211" fmla="*/ 173346 h 1613833"/>
                    <a:gd name="connsiteX212" fmla="*/ 372694 w 7417362"/>
                    <a:gd name="connsiteY212" fmla="*/ 151678 h 1613833"/>
                    <a:gd name="connsiteX213" fmla="*/ 355359 w 7417362"/>
                    <a:gd name="connsiteY213" fmla="*/ 151678 h 1613833"/>
                    <a:gd name="connsiteX214" fmla="*/ 355359 w 7417362"/>
                    <a:gd name="connsiteY214" fmla="*/ 138677 h 1613833"/>
                    <a:gd name="connsiteX215" fmla="*/ 303356 w 7417362"/>
                    <a:gd name="connsiteY215" fmla="*/ 138677 h 1613833"/>
                    <a:gd name="connsiteX216" fmla="*/ 303356 w 7417362"/>
                    <a:gd name="connsiteY216" fmla="*/ 95341 h 1613833"/>
                    <a:gd name="connsiteX217" fmla="*/ 268686 w 7417362"/>
                    <a:gd name="connsiteY217" fmla="*/ 95341 h 1613833"/>
                    <a:gd name="connsiteX218" fmla="*/ 268686 w 7417362"/>
                    <a:gd name="connsiteY218" fmla="*/ 82340 h 1613833"/>
                    <a:gd name="connsiteX219" fmla="*/ 234017 w 7417362"/>
                    <a:gd name="connsiteY219" fmla="*/ 82340 h 1613833"/>
                    <a:gd name="connsiteX220" fmla="*/ 234017 w 7417362"/>
                    <a:gd name="connsiteY220" fmla="*/ 47670 h 1613833"/>
                    <a:gd name="connsiteX221" fmla="*/ 208015 w 7417362"/>
                    <a:gd name="connsiteY221" fmla="*/ 47670 h 1613833"/>
                    <a:gd name="connsiteX222" fmla="*/ 208015 w 7417362"/>
                    <a:gd name="connsiteY222" fmla="*/ 39003 h 1613833"/>
                    <a:gd name="connsiteX223" fmla="*/ 156011 w 7417362"/>
                    <a:gd name="connsiteY223" fmla="*/ 39003 h 1613833"/>
                    <a:gd name="connsiteX224" fmla="*/ 156011 w 7417362"/>
                    <a:gd name="connsiteY224" fmla="*/ 26002 h 1613833"/>
                    <a:gd name="connsiteX225" fmla="*/ 121342 w 7417362"/>
                    <a:gd name="connsiteY225" fmla="*/ 26002 h 1613833"/>
                    <a:gd name="connsiteX226" fmla="*/ 121342 w 7417362"/>
                    <a:gd name="connsiteY226" fmla="*/ 0 h 1613833"/>
                    <a:gd name="connsiteX227" fmla="*/ 82339 w 7417362"/>
                    <a:gd name="connsiteY227" fmla="*/ 0 h 1613833"/>
                    <a:gd name="connsiteX228" fmla="*/ 82339 w 7417362"/>
                    <a:gd name="connsiteY228" fmla="*/ 43337 h 1613833"/>
                    <a:gd name="connsiteX229" fmla="*/ 0 w 7417362"/>
                    <a:gd name="connsiteY229" fmla="*/ 43337 h 1613833"/>
                    <a:gd name="connsiteX230" fmla="*/ 8667 w 7417362"/>
                    <a:gd name="connsiteY230" fmla="*/ 34670 h 1613833"/>
                    <a:gd name="connsiteX231" fmla="*/ 8667 w 7417362"/>
                    <a:gd name="connsiteY231" fmla="*/ 52004 h 1613833"/>
                    <a:gd name="connsiteX232" fmla="*/ 21668 w 7417362"/>
                    <a:gd name="connsiteY232" fmla="*/ 52004 h 1613833"/>
                    <a:gd name="connsiteX233" fmla="*/ 21668 w 7417362"/>
                    <a:gd name="connsiteY233" fmla="*/ 65005 h 1613833"/>
                    <a:gd name="connsiteX234" fmla="*/ 52004 w 7417362"/>
                    <a:gd name="connsiteY234" fmla="*/ 65005 h 1613833"/>
                    <a:gd name="connsiteX235" fmla="*/ 52004 w 7417362"/>
                    <a:gd name="connsiteY235" fmla="*/ 86673 h 1613833"/>
                    <a:gd name="connsiteX236" fmla="*/ 78006 w 7417362"/>
                    <a:gd name="connsiteY236" fmla="*/ 86673 h 1613833"/>
                    <a:gd name="connsiteX237" fmla="*/ 78006 w 7417362"/>
                    <a:gd name="connsiteY237" fmla="*/ 125676 h 1613833"/>
                    <a:gd name="connsiteX238" fmla="*/ 138677 w 7417362"/>
                    <a:gd name="connsiteY238" fmla="*/ 125676 h 1613833"/>
                    <a:gd name="connsiteX239" fmla="*/ 147344 w 7417362"/>
                    <a:gd name="connsiteY239" fmla="*/ 134343 h 1613833"/>
                    <a:gd name="connsiteX240" fmla="*/ 164679 w 7417362"/>
                    <a:gd name="connsiteY240" fmla="*/ 134343 h 1613833"/>
                    <a:gd name="connsiteX241" fmla="*/ 164679 w 7417362"/>
                    <a:gd name="connsiteY241" fmla="*/ 156012 h 1613833"/>
                    <a:gd name="connsiteX242" fmla="*/ 182013 w 7417362"/>
                    <a:gd name="connsiteY242" fmla="*/ 156012 h 1613833"/>
                    <a:gd name="connsiteX243" fmla="*/ 195014 w 7417362"/>
                    <a:gd name="connsiteY243" fmla="*/ 169013 h 1613833"/>
                    <a:gd name="connsiteX244" fmla="*/ 225350 w 7417362"/>
                    <a:gd name="connsiteY244" fmla="*/ 169013 h 1613833"/>
                    <a:gd name="connsiteX245" fmla="*/ 225350 w 7417362"/>
                    <a:gd name="connsiteY245" fmla="*/ 208015 h 1613833"/>
                    <a:gd name="connsiteX246" fmla="*/ 251352 w 7417362"/>
                    <a:gd name="connsiteY246" fmla="*/ 208015 h 1613833"/>
                    <a:gd name="connsiteX247" fmla="*/ 260019 w 7417362"/>
                    <a:gd name="connsiteY247" fmla="*/ 216682 h 1613833"/>
                    <a:gd name="connsiteX248" fmla="*/ 273021 w 7417362"/>
                    <a:gd name="connsiteY248" fmla="*/ 229684 h 1613833"/>
                    <a:gd name="connsiteX249" fmla="*/ 273021 w 7417362"/>
                    <a:gd name="connsiteY249" fmla="*/ 251352 h 1613833"/>
                    <a:gd name="connsiteX250" fmla="*/ 303356 w 7417362"/>
                    <a:gd name="connsiteY250" fmla="*/ 251352 h 1613833"/>
                    <a:gd name="connsiteX251" fmla="*/ 303356 w 7417362"/>
                    <a:gd name="connsiteY251" fmla="*/ 268687 h 1613833"/>
                    <a:gd name="connsiteX252" fmla="*/ 342358 w 7417362"/>
                    <a:gd name="connsiteY252" fmla="*/ 268687 h 1613833"/>
                    <a:gd name="connsiteX253" fmla="*/ 342358 w 7417362"/>
                    <a:gd name="connsiteY253" fmla="*/ 286021 h 1613833"/>
                    <a:gd name="connsiteX254" fmla="*/ 385695 w 7417362"/>
                    <a:gd name="connsiteY254" fmla="*/ 286021 h 1613833"/>
                    <a:gd name="connsiteX255" fmla="*/ 385695 w 7417362"/>
                    <a:gd name="connsiteY255" fmla="*/ 286021 h 1613833"/>
                    <a:gd name="connsiteX256" fmla="*/ 407363 w 7417362"/>
                    <a:gd name="connsiteY256" fmla="*/ 307689 h 1613833"/>
                    <a:gd name="connsiteX257" fmla="*/ 424698 w 7417362"/>
                    <a:gd name="connsiteY257" fmla="*/ 325024 h 1613833"/>
                    <a:gd name="connsiteX258" fmla="*/ 472368 w 7417362"/>
                    <a:gd name="connsiteY258" fmla="*/ 325024 h 1613833"/>
                    <a:gd name="connsiteX259" fmla="*/ 472368 w 7417362"/>
                    <a:gd name="connsiteY259" fmla="*/ 355360 h 1613833"/>
                    <a:gd name="connsiteX260" fmla="*/ 511371 w 7417362"/>
                    <a:gd name="connsiteY260" fmla="*/ 355360 h 1613833"/>
                    <a:gd name="connsiteX261" fmla="*/ 511371 w 7417362"/>
                    <a:gd name="connsiteY261" fmla="*/ 377028 h 1613833"/>
                    <a:gd name="connsiteX262" fmla="*/ 559041 w 7417362"/>
                    <a:gd name="connsiteY262" fmla="*/ 377028 h 1613833"/>
                    <a:gd name="connsiteX263" fmla="*/ 559041 w 7417362"/>
                    <a:gd name="connsiteY263" fmla="*/ 398696 h 1613833"/>
                    <a:gd name="connsiteX264" fmla="*/ 589376 w 7417362"/>
                    <a:gd name="connsiteY264" fmla="*/ 398696 h 1613833"/>
                    <a:gd name="connsiteX265" fmla="*/ 602377 w 7417362"/>
                    <a:gd name="connsiteY265" fmla="*/ 411697 h 1613833"/>
                    <a:gd name="connsiteX266" fmla="*/ 650047 w 7417362"/>
                    <a:gd name="connsiteY266" fmla="*/ 411697 h 1613833"/>
                    <a:gd name="connsiteX267" fmla="*/ 650047 w 7417362"/>
                    <a:gd name="connsiteY267" fmla="*/ 450700 h 1613833"/>
                    <a:gd name="connsiteX268" fmla="*/ 758389 w 7417362"/>
                    <a:gd name="connsiteY268" fmla="*/ 450700 h 1613833"/>
                    <a:gd name="connsiteX269" fmla="*/ 758389 w 7417362"/>
                    <a:gd name="connsiteY269" fmla="*/ 481035 h 1613833"/>
                    <a:gd name="connsiteX270" fmla="*/ 875397 w 7417362"/>
                    <a:gd name="connsiteY270" fmla="*/ 481035 h 1613833"/>
                    <a:gd name="connsiteX271" fmla="*/ 875397 w 7417362"/>
                    <a:gd name="connsiteY271" fmla="*/ 507037 h 1613833"/>
                    <a:gd name="connsiteX272" fmla="*/ 927401 w 7417362"/>
                    <a:gd name="connsiteY272" fmla="*/ 507037 h 1613833"/>
                    <a:gd name="connsiteX273" fmla="*/ 927401 w 7417362"/>
                    <a:gd name="connsiteY273" fmla="*/ 524372 h 1613833"/>
                    <a:gd name="connsiteX274" fmla="*/ 979405 w 7417362"/>
                    <a:gd name="connsiteY274" fmla="*/ 524372 h 1613833"/>
                    <a:gd name="connsiteX275" fmla="*/ 992406 w 7417362"/>
                    <a:gd name="connsiteY275" fmla="*/ 524372 h 1613833"/>
                    <a:gd name="connsiteX276" fmla="*/ 1005407 w 7417362"/>
                    <a:gd name="connsiteY276" fmla="*/ 537373 h 1613833"/>
                    <a:gd name="connsiteX277" fmla="*/ 1027075 w 7417362"/>
                    <a:gd name="connsiteY277" fmla="*/ 537373 h 1613833"/>
                    <a:gd name="connsiteX278" fmla="*/ 1057410 w 7417362"/>
                    <a:gd name="connsiteY278" fmla="*/ 537373 h 1613833"/>
                    <a:gd name="connsiteX279" fmla="*/ 1057410 w 7417362"/>
                    <a:gd name="connsiteY279" fmla="*/ 563375 h 1613833"/>
                    <a:gd name="connsiteX280" fmla="*/ 1079079 w 7417362"/>
                    <a:gd name="connsiteY280" fmla="*/ 563375 h 1613833"/>
                    <a:gd name="connsiteX281" fmla="*/ 1079079 w 7417362"/>
                    <a:gd name="connsiteY281" fmla="*/ 576376 h 1613833"/>
                    <a:gd name="connsiteX282" fmla="*/ 1157084 w 7417362"/>
                    <a:gd name="connsiteY282" fmla="*/ 576376 h 1613833"/>
                    <a:gd name="connsiteX283" fmla="*/ 1157084 w 7417362"/>
                    <a:gd name="connsiteY283" fmla="*/ 589377 h 1613833"/>
                    <a:gd name="connsiteX284" fmla="*/ 1196087 w 7417362"/>
                    <a:gd name="connsiteY284" fmla="*/ 589377 h 1613833"/>
                    <a:gd name="connsiteX285" fmla="*/ 1196087 w 7417362"/>
                    <a:gd name="connsiteY285" fmla="*/ 598044 h 1613833"/>
                    <a:gd name="connsiteX286" fmla="*/ 1243757 w 7417362"/>
                    <a:gd name="connsiteY286" fmla="*/ 598044 h 1613833"/>
                    <a:gd name="connsiteX287" fmla="*/ 1256758 w 7417362"/>
                    <a:gd name="connsiteY287" fmla="*/ 611045 h 1613833"/>
                    <a:gd name="connsiteX288" fmla="*/ 1269759 w 7417362"/>
                    <a:gd name="connsiteY288" fmla="*/ 624046 h 1613833"/>
                    <a:gd name="connsiteX289" fmla="*/ 1334764 w 7417362"/>
                    <a:gd name="connsiteY289" fmla="*/ 624046 h 1613833"/>
                    <a:gd name="connsiteX290" fmla="*/ 1334764 w 7417362"/>
                    <a:gd name="connsiteY290" fmla="*/ 645714 h 1613833"/>
                    <a:gd name="connsiteX291" fmla="*/ 1425771 w 7417362"/>
                    <a:gd name="connsiteY291" fmla="*/ 645714 h 1613833"/>
                    <a:gd name="connsiteX292" fmla="*/ 1434438 w 7417362"/>
                    <a:gd name="connsiteY292" fmla="*/ 654381 h 1613833"/>
                    <a:gd name="connsiteX293" fmla="*/ 1456106 w 7417362"/>
                    <a:gd name="connsiteY293" fmla="*/ 654381 h 1613833"/>
                    <a:gd name="connsiteX294" fmla="*/ 1456106 w 7417362"/>
                    <a:gd name="connsiteY294" fmla="*/ 667382 h 1613833"/>
                    <a:gd name="connsiteX295" fmla="*/ 1508110 w 7417362"/>
                    <a:gd name="connsiteY295" fmla="*/ 667382 h 1613833"/>
                    <a:gd name="connsiteX296" fmla="*/ 1508110 w 7417362"/>
                    <a:gd name="connsiteY296" fmla="*/ 684717 h 1613833"/>
                    <a:gd name="connsiteX297" fmla="*/ 1564447 w 7417362"/>
                    <a:gd name="connsiteY297" fmla="*/ 684717 h 1613833"/>
                    <a:gd name="connsiteX298" fmla="*/ 1568781 w 7417362"/>
                    <a:gd name="connsiteY298" fmla="*/ 689051 h 1613833"/>
                    <a:gd name="connsiteX299" fmla="*/ 1612118 w 7417362"/>
                    <a:gd name="connsiteY299" fmla="*/ 689051 h 1613833"/>
                    <a:gd name="connsiteX300" fmla="*/ 1625119 w 7417362"/>
                    <a:gd name="connsiteY300" fmla="*/ 702052 h 1613833"/>
                    <a:gd name="connsiteX301" fmla="*/ 1677122 w 7417362"/>
                    <a:gd name="connsiteY301" fmla="*/ 702052 h 1613833"/>
                    <a:gd name="connsiteX302" fmla="*/ 1685790 w 7417362"/>
                    <a:gd name="connsiteY302" fmla="*/ 710720 h 1613833"/>
                    <a:gd name="connsiteX303" fmla="*/ 1703123 w 7417362"/>
                    <a:gd name="connsiteY303" fmla="*/ 728053 h 1613833"/>
                    <a:gd name="connsiteX304" fmla="*/ 1716124 w 7417362"/>
                    <a:gd name="connsiteY304" fmla="*/ 741054 h 1613833"/>
                    <a:gd name="connsiteX305" fmla="*/ 1750794 w 7417362"/>
                    <a:gd name="connsiteY305" fmla="*/ 741054 h 1613833"/>
                    <a:gd name="connsiteX306" fmla="*/ 1750794 w 7417362"/>
                    <a:gd name="connsiteY306" fmla="*/ 767056 h 1613833"/>
                    <a:gd name="connsiteX307" fmla="*/ 1798465 w 7417362"/>
                    <a:gd name="connsiteY307" fmla="*/ 767056 h 1613833"/>
                    <a:gd name="connsiteX308" fmla="*/ 1798465 w 7417362"/>
                    <a:gd name="connsiteY308" fmla="*/ 780057 h 1613833"/>
                    <a:gd name="connsiteX309" fmla="*/ 1841801 w 7417362"/>
                    <a:gd name="connsiteY309" fmla="*/ 780057 h 1613833"/>
                    <a:gd name="connsiteX310" fmla="*/ 1841801 w 7417362"/>
                    <a:gd name="connsiteY310" fmla="*/ 797392 h 1613833"/>
                    <a:gd name="connsiteX311" fmla="*/ 1876470 w 7417362"/>
                    <a:gd name="connsiteY311" fmla="*/ 797392 h 1613833"/>
                    <a:gd name="connsiteX312" fmla="*/ 1885138 w 7417362"/>
                    <a:gd name="connsiteY312" fmla="*/ 806060 h 1613833"/>
                    <a:gd name="connsiteX313" fmla="*/ 1963143 w 7417362"/>
                    <a:gd name="connsiteY313" fmla="*/ 806060 h 1613833"/>
                    <a:gd name="connsiteX314" fmla="*/ 2006480 w 7417362"/>
                    <a:gd name="connsiteY314" fmla="*/ 806060 h 1613833"/>
                    <a:gd name="connsiteX315" fmla="*/ 2036815 w 7417362"/>
                    <a:gd name="connsiteY315" fmla="*/ 836395 h 1613833"/>
                    <a:gd name="connsiteX316" fmla="*/ 2049816 w 7417362"/>
                    <a:gd name="connsiteY316" fmla="*/ 836395 h 1613833"/>
                    <a:gd name="connsiteX317" fmla="*/ 2106154 w 7417362"/>
                    <a:gd name="connsiteY317" fmla="*/ 836395 h 1613833"/>
                    <a:gd name="connsiteX318" fmla="*/ 2106154 w 7417362"/>
                    <a:gd name="connsiteY318" fmla="*/ 862396 h 1613833"/>
                    <a:gd name="connsiteX319" fmla="*/ 2119155 w 7417362"/>
                    <a:gd name="connsiteY319" fmla="*/ 862396 h 1613833"/>
                    <a:gd name="connsiteX320" fmla="*/ 2136489 w 7417362"/>
                    <a:gd name="connsiteY320" fmla="*/ 862396 h 1613833"/>
                    <a:gd name="connsiteX321" fmla="*/ 2184159 w 7417362"/>
                    <a:gd name="connsiteY321" fmla="*/ 862396 h 1613833"/>
                    <a:gd name="connsiteX322" fmla="*/ 2184159 w 7417362"/>
                    <a:gd name="connsiteY322" fmla="*/ 888398 h 1613833"/>
                    <a:gd name="connsiteX323" fmla="*/ 2200254 w 7417362"/>
                    <a:gd name="connsiteY323" fmla="*/ 883636 h 1613833"/>
                    <a:gd name="connsiteX324" fmla="*/ 2240733 w 7417362"/>
                    <a:gd name="connsiteY324" fmla="*/ 881254 h 1613833"/>
                    <a:gd name="connsiteX325" fmla="*/ 2240102 w 7417362"/>
                    <a:gd name="connsiteY325" fmla="*/ 914626 h 1613833"/>
                    <a:gd name="connsiteX326" fmla="*/ 2265640 w 7417362"/>
                    <a:gd name="connsiteY326" fmla="*/ 915879 h 1613833"/>
                    <a:gd name="connsiteX327" fmla="*/ 2266296 w 7417362"/>
                    <a:gd name="connsiteY327" fmla="*/ 886052 h 1613833"/>
                    <a:gd name="connsiteX328" fmla="*/ 2301168 w 7417362"/>
                    <a:gd name="connsiteY328" fmla="*/ 880160 h 1613833"/>
                    <a:gd name="connsiteX329" fmla="*/ 2301168 w 7417362"/>
                    <a:gd name="connsiteY329" fmla="*/ 914400 h 1613833"/>
                    <a:gd name="connsiteX330" fmla="*/ 2335837 w 7417362"/>
                    <a:gd name="connsiteY330" fmla="*/ 914400 h 1613833"/>
                    <a:gd name="connsiteX331" fmla="*/ 2335837 w 7417362"/>
                    <a:gd name="connsiteY331" fmla="*/ 923068 h 1613833"/>
                    <a:gd name="connsiteX332" fmla="*/ 2400842 w 7417362"/>
                    <a:gd name="connsiteY332" fmla="*/ 923068 h 1613833"/>
                    <a:gd name="connsiteX333" fmla="*/ 2400842 w 7417362"/>
                    <a:gd name="connsiteY333" fmla="*/ 936069 h 1613833"/>
                    <a:gd name="connsiteX334" fmla="*/ 2439845 w 7417362"/>
                    <a:gd name="connsiteY334" fmla="*/ 936069 h 1613833"/>
                    <a:gd name="connsiteX335" fmla="*/ 2452846 w 7417362"/>
                    <a:gd name="connsiteY335" fmla="*/ 949070 h 1613833"/>
                    <a:gd name="connsiteX336" fmla="*/ 2500516 w 7417362"/>
                    <a:gd name="connsiteY336" fmla="*/ 949070 h 1613833"/>
                    <a:gd name="connsiteX337" fmla="*/ 2513517 w 7417362"/>
                    <a:gd name="connsiteY337" fmla="*/ 962071 h 1613833"/>
                    <a:gd name="connsiteX338" fmla="*/ 2543852 w 7417362"/>
                    <a:gd name="connsiteY338" fmla="*/ 962071 h 1613833"/>
                    <a:gd name="connsiteX339" fmla="*/ 2543852 w 7417362"/>
                    <a:gd name="connsiteY339" fmla="*/ 979405 h 1613833"/>
                    <a:gd name="connsiteX340" fmla="*/ 2591522 w 7417362"/>
                    <a:gd name="connsiteY340" fmla="*/ 979405 h 1613833"/>
                    <a:gd name="connsiteX341" fmla="*/ 2591522 w 7417362"/>
                    <a:gd name="connsiteY341" fmla="*/ 1001073 h 1613833"/>
                    <a:gd name="connsiteX342" fmla="*/ 2639192 w 7417362"/>
                    <a:gd name="connsiteY342" fmla="*/ 1001073 h 1613833"/>
                    <a:gd name="connsiteX343" fmla="*/ 2639192 w 7417362"/>
                    <a:gd name="connsiteY343" fmla="*/ 1022742 h 1613833"/>
                    <a:gd name="connsiteX344" fmla="*/ 2699864 w 7417362"/>
                    <a:gd name="connsiteY344" fmla="*/ 1022742 h 1613833"/>
                    <a:gd name="connsiteX345" fmla="*/ 2699864 w 7417362"/>
                    <a:gd name="connsiteY345" fmla="*/ 1040076 h 1613833"/>
                    <a:gd name="connsiteX346" fmla="*/ 2808205 w 7417362"/>
                    <a:gd name="connsiteY346" fmla="*/ 1040076 h 1613833"/>
                    <a:gd name="connsiteX347" fmla="*/ 2816872 w 7417362"/>
                    <a:gd name="connsiteY347" fmla="*/ 1048743 h 1613833"/>
                    <a:gd name="connsiteX348" fmla="*/ 2825540 w 7417362"/>
                    <a:gd name="connsiteY348" fmla="*/ 1057411 h 1613833"/>
                    <a:gd name="connsiteX349" fmla="*/ 2864542 w 7417362"/>
                    <a:gd name="connsiteY349" fmla="*/ 1057411 h 1613833"/>
                    <a:gd name="connsiteX350" fmla="*/ 2886210 w 7417362"/>
                    <a:gd name="connsiteY350" fmla="*/ 1057411 h 1613833"/>
                    <a:gd name="connsiteX351" fmla="*/ 2899211 w 7417362"/>
                    <a:gd name="connsiteY351" fmla="*/ 1057411 h 1613833"/>
                    <a:gd name="connsiteX352" fmla="*/ 2916546 w 7417362"/>
                    <a:gd name="connsiteY352" fmla="*/ 1074746 h 1613833"/>
                    <a:gd name="connsiteX353" fmla="*/ 2968550 w 7417362"/>
                    <a:gd name="connsiteY353" fmla="*/ 1074746 h 1613833"/>
                    <a:gd name="connsiteX354" fmla="*/ 2968550 w 7417362"/>
                    <a:gd name="connsiteY354" fmla="*/ 1092080 h 1613833"/>
                    <a:gd name="connsiteX355" fmla="*/ 3141896 w 7417362"/>
                    <a:gd name="connsiteY355" fmla="*/ 1092080 h 1613833"/>
                    <a:gd name="connsiteX356" fmla="*/ 3141896 w 7417362"/>
                    <a:gd name="connsiteY356" fmla="*/ 1122415 h 1613833"/>
                    <a:gd name="connsiteX357" fmla="*/ 3211234 w 7417362"/>
                    <a:gd name="connsiteY357" fmla="*/ 1122415 h 1613833"/>
                    <a:gd name="connsiteX358" fmla="*/ 3215568 w 7417362"/>
                    <a:gd name="connsiteY358" fmla="*/ 1122415 h 1613833"/>
                    <a:gd name="connsiteX359" fmla="*/ 3302241 w 7417362"/>
                    <a:gd name="connsiteY359" fmla="*/ 1122415 h 1613833"/>
                    <a:gd name="connsiteX360" fmla="*/ 3302241 w 7417362"/>
                    <a:gd name="connsiteY360" fmla="*/ 1148417 h 1613833"/>
                    <a:gd name="connsiteX361" fmla="*/ 3388914 w 7417362"/>
                    <a:gd name="connsiteY361" fmla="*/ 1148417 h 1613833"/>
                    <a:gd name="connsiteX362" fmla="*/ 3388914 w 7417362"/>
                    <a:gd name="connsiteY362" fmla="*/ 1157085 h 1613833"/>
                    <a:gd name="connsiteX363" fmla="*/ 3445251 w 7417362"/>
                    <a:gd name="connsiteY363" fmla="*/ 1157085 h 1613833"/>
                    <a:gd name="connsiteX364" fmla="*/ 3453919 w 7417362"/>
                    <a:gd name="connsiteY364" fmla="*/ 1165753 h 1613833"/>
                    <a:gd name="connsiteX365" fmla="*/ 3596929 w 7417362"/>
                    <a:gd name="connsiteY365" fmla="*/ 1165753 h 1613833"/>
                    <a:gd name="connsiteX366" fmla="*/ 3596929 w 7417362"/>
                    <a:gd name="connsiteY366" fmla="*/ 1178753 h 1613833"/>
                    <a:gd name="connsiteX367" fmla="*/ 3705270 w 7417362"/>
                    <a:gd name="connsiteY367" fmla="*/ 1178753 h 1613833"/>
                    <a:gd name="connsiteX368" fmla="*/ 3709604 w 7417362"/>
                    <a:gd name="connsiteY368" fmla="*/ 1183087 h 1613833"/>
                    <a:gd name="connsiteX369" fmla="*/ 3960956 w 7417362"/>
                    <a:gd name="connsiteY369" fmla="*/ 1183087 h 1613833"/>
                    <a:gd name="connsiteX370" fmla="*/ 3960956 w 7417362"/>
                    <a:gd name="connsiteY370" fmla="*/ 1204755 h 1613833"/>
                    <a:gd name="connsiteX371" fmla="*/ 3991291 w 7417362"/>
                    <a:gd name="connsiteY371" fmla="*/ 1204755 h 1613833"/>
                    <a:gd name="connsiteX372" fmla="*/ 3991291 w 7417362"/>
                    <a:gd name="connsiteY372" fmla="*/ 1178753 h 1613833"/>
                    <a:gd name="connsiteX373" fmla="*/ 4030294 w 7417362"/>
                    <a:gd name="connsiteY373" fmla="*/ 1178753 h 1613833"/>
                    <a:gd name="connsiteX374" fmla="*/ 4030294 w 7417362"/>
                    <a:gd name="connsiteY374" fmla="*/ 1213422 h 1613833"/>
                    <a:gd name="connsiteX375" fmla="*/ 4043295 w 7417362"/>
                    <a:gd name="connsiteY375" fmla="*/ 1213422 h 1613833"/>
                    <a:gd name="connsiteX376" fmla="*/ 4043295 w 7417362"/>
                    <a:gd name="connsiteY376" fmla="*/ 1222089 h 1613833"/>
                    <a:gd name="connsiteX377" fmla="*/ 4164637 w 7417362"/>
                    <a:gd name="connsiteY377" fmla="*/ 1222089 h 1613833"/>
                    <a:gd name="connsiteX378" fmla="*/ 4164637 w 7417362"/>
                    <a:gd name="connsiteY378" fmla="*/ 1243758 h 1613833"/>
                    <a:gd name="connsiteX379" fmla="*/ 4320648 w 7417362"/>
                    <a:gd name="connsiteY379" fmla="*/ 1243758 h 1613833"/>
                    <a:gd name="connsiteX380" fmla="*/ 4320648 w 7417362"/>
                    <a:gd name="connsiteY380" fmla="*/ 1261092 h 1613833"/>
                    <a:gd name="connsiteX381" fmla="*/ 4398654 w 7417362"/>
                    <a:gd name="connsiteY381" fmla="*/ 1261092 h 1613833"/>
                    <a:gd name="connsiteX382" fmla="*/ 4398654 w 7417362"/>
                    <a:gd name="connsiteY382" fmla="*/ 1287094 h 1613833"/>
                    <a:gd name="connsiteX383" fmla="*/ 4450658 w 7417362"/>
                    <a:gd name="connsiteY383" fmla="*/ 1287094 h 1613833"/>
                    <a:gd name="connsiteX384" fmla="*/ 4476660 w 7417362"/>
                    <a:gd name="connsiteY384" fmla="*/ 1287094 h 1613833"/>
                    <a:gd name="connsiteX385" fmla="*/ 4498328 w 7417362"/>
                    <a:gd name="connsiteY385" fmla="*/ 1308762 h 1613833"/>
                    <a:gd name="connsiteX386" fmla="*/ 4593668 w 7417362"/>
                    <a:gd name="connsiteY386" fmla="*/ 1308762 h 1613833"/>
                    <a:gd name="connsiteX387" fmla="*/ 4602336 w 7417362"/>
                    <a:gd name="connsiteY387" fmla="*/ 1317430 h 1613833"/>
                    <a:gd name="connsiteX388" fmla="*/ 4663007 w 7417362"/>
                    <a:gd name="connsiteY388" fmla="*/ 1317430 h 1613833"/>
                    <a:gd name="connsiteX389" fmla="*/ 4663007 w 7417362"/>
                    <a:gd name="connsiteY389" fmla="*/ 1339098 h 1613833"/>
                    <a:gd name="connsiteX390" fmla="*/ 4706343 w 7417362"/>
                    <a:gd name="connsiteY390" fmla="*/ 1339098 h 1613833"/>
                    <a:gd name="connsiteX391" fmla="*/ 4710677 w 7417362"/>
                    <a:gd name="connsiteY391" fmla="*/ 1343432 h 1613833"/>
                    <a:gd name="connsiteX392" fmla="*/ 4767014 w 7417362"/>
                    <a:gd name="connsiteY392" fmla="*/ 1343432 h 1613833"/>
                    <a:gd name="connsiteX393" fmla="*/ 4780015 w 7417362"/>
                    <a:gd name="connsiteY393" fmla="*/ 1356433 h 1613833"/>
                    <a:gd name="connsiteX394" fmla="*/ 5005365 w 7417362"/>
                    <a:gd name="connsiteY394" fmla="*/ 1356433 h 1613833"/>
                    <a:gd name="connsiteX395" fmla="*/ 5018366 w 7417362"/>
                    <a:gd name="connsiteY395" fmla="*/ 1369434 h 1613833"/>
                    <a:gd name="connsiteX396" fmla="*/ 5152709 w 7417362"/>
                    <a:gd name="connsiteY396" fmla="*/ 1369434 h 1613833"/>
                    <a:gd name="connsiteX397" fmla="*/ 5152709 w 7417362"/>
                    <a:gd name="connsiteY397" fmla="*/ 1391102 h 1613833"/>
                    <a:gd name="connsiteX398" fmla="*/ 5282719 w 7417362"/>
                    <a:gd name="connsiteY398" fmla="*/ 1391102 h 1613833"/>
                    <a:gd name="connsiteX399" fmla="*/ 5291386 w 7417362"/>
                    <a:gd name="connsiteY399" fmla="*/ 1399769 h 1613833"/>
                    <a:gd name="connsiteX400" fmla="*/ 5356391 w 7417362"/>
                    <a:gd name="connsiteY400" fmla="*/ 1399769 h 1613833"/>
                    <a:gd name="connsiteX401" fmla="*/ 5369392 w 7417362"/>
                    <a:gd name="connsiteY401" fmla="*/ 1399769 h 1613833"/>
                    <a:gd name="connsiteX402" fmla="*/ 5369392 w 7417362"/>
                    <a:gd name="connsiteY402" fmla="*/ 1421437 h 1613833"/>
                    <a:gd name="connsiteX403" fmla="*/ 5473399 w 7417362"/>
                    <a:gd name="connsiteY403" fmla="*/ 1421437 h 1613833"/>
                    <a:gd name="connsiteX404" fmla="*/ 5473399 w 7417362"/>
                    <a:gd name="connsiteY404" fmla="*/ 1399769 h 1613833"/>
                    <a:gd name="connsiteX405" fmla="*/ 5512402 w 7417362"/>
                    <a:gd name="connsiteY405" fmla="*/ 1399769 h 1613833"/>
                    <a:gd name="connsiteX406" fmla="*/ 5512402 w 7417362"/>
                    <a:gd name="connsiteY406" fmla="*/ 1425771 h 1613833"/>
                    <a:gd name="connsiteX407" fmla="*/ 5607742 w 7417362"/>
                    <a:gd name="connsiteY407" fmla="*/ 1425771 h 1613833"/>
                    <a:gd name="connsiteX408" fmla="*/ 5607742 w 7417362"/>
                    <a:gd name="connsiteY408" fmla="*/ 1399769 h 1613833"/>
                    <a:gd name="connsiteX409" fmla="*/ 5664080 w 7417362"/>
                    <a:gd name="connsiteY409" fmla="*/ 1399769 h 1613833"/>
                    <a:gd name="connsiteX410" fmla="*/ 5664080 w 7417362"/>
                    <a:gd name="connsiteY410" fmla="*/ 1434438 h 1613833"/>
                    <a:gd name="connsiteX411" fmla="*/ 5685748 w 7417362"/>
                    <a:gd name="connsiteY411" fmla="*/ 1434438 h 1613833"/>
                    <a:gd name="connsiteX412" fmla="*/ 5685748 w 7417362"/>
                    <a:gd name="connsiteY412" fmla="*/ 1443106 h 1613833"/>
                    <a:gd name="connsiteX413" fmla="*/ 5716083 w 7417362"/>
                    <a:gd name="connsiteY413" fmla="*/ 1443106 h 1613833"/>
                    <a:gd name="connsiteX414" fmla="*/ 5716083 w 7417362"/>
                    <a:gd name="connsiteY414" fmla="*/ 1456106 h 1613833"/>
                    <a:gd name="connsiteX415" fmla="*/ 5794089 w 7417362"/>
                    <a:gd name="connsiteY415" fmla="*/ 1456106 h 1613833"/>
                    <a:gd name="connsiteX416" fmla="*/ 5794089 w 7417362"/>
                    <a:gd name="connsiteY416" fmla="*/ 1421437 h 1613833"/>
                    <a:gd name="connsiteX417" fmla="*/ 5837426 w 7417362"/>
                    <a:gd name="connsiteY417" fmla="*/ 1421437 h 1613833"/>
                    <a:gd name="connsiteX418" fmla="*/ 5837426 w 7417362"/>
                    <a:gd name="connsiteY418" fmla="*/ 1456106 h 1613833"/>
                    <a:gd name="connsiteX419" fmla="*/ 5902430 w 7417362"/>
                    <a:gd name="connsiteY419" fmla="*/ 1456106 h 1613833"/>
                    <a:gd name="connsiteX420" fmla="*/ 5928432 w 7417362"/>
                    <a:gd name="connsiteY420" fmla="*/ 1456106 h 1613833"/>
                    <a:gd name="connsiteX421" fmla="*/ 5928432 w 7417362"/>
                    <a:gd name="connsiteY421" fmla="*/ 1473441 h 1613833"/>
                    <a:gd name="connsiteX422" fmla="*/ 5945767 w 7417362"/>
                    <a:gd name="connsiteY422" fmla="*/ 1473441 h 1613833"/>
                    <a:gd name="connsiteX423" fmla="*/ 5950101 w 7417362"/>
                    <a:gd name="connsiteY423" fmla="*/ 1477775 h 1613833"/>
                    <a:gd name="connsiteX424" fmla="*/ 6019439 w 7417362"/>
                    <a:gd name="connsiteY424" fmla="*/ 1477775 h 1613833"/>
                    <a:gd name="connsiteX425" fmla="*/ 6019439 w 7417362"/>
                    <a:gd name="connsiteY425" fmla="*/ 1456106 h 1613833"/>
                    <a:gd name="connsiteX426" fmla="*/ 6058442 w 7417362"/>
                    <a:gd name="connsiteY426" fmla="*/ 1456106 h 1613833"/>
                    <a:gd name="connsiteX427" fmla="*/ 6058442 w 7417362"/>
                    <a:gd name="connsiteY427" fmla="*/ 1499443 h 1613833"/>
                    <a:gd name="connsiteX428" fmla="*/ 6110446 w 7417362"/>
                    <a:gd name="connsiteY428" fmla="*/ 1499443 h 1613833"/>
                    <a:gd name="connsiteX429" fmla="*/ 6110446 w 7417362"/>
                    <a:gd name="connsiteY429" fmla="*/ 1508110 h 1613833"/>
                    <a:gd name="connsiteX430" fmla="*/ 6188451 w 7417362"/>
                    <a:gd name="connsiteY430" fmla="*/ 1508110 h 1613833"/>
                    <a:gd name="connsiteX431" fmla="*/ 6188451 w 7417362"/>
                    <a:gd name="connsiteY431" fmla="*/ 1464774 h 1613833"/>
                    <a:gd name="connsiteX432" fmla="*/ 6227454 w 7417362"/>
                    <a:gd name="connsiteY432" fmla="*/ 1464774 h 1613833"/>
                    <a:gd name="connsiteX433" fmla="*/ 6227454 w 7417362"/>
                    <a:gd name="connsiteY433" fmla="*/ 1516778 h 1613833"/>
                    <a:gd name="connsiteX434" fmla="*/ 6353130 w 7417362"/>
                    <a:gd name="connsiteY434" fmla="*/ 1516778 h 1613833"/>
                    <a:gd name="connsiteX435" fmla="*/ 6353130 w 7417362"/>
                    <a:gd name="connsiteY435" fmla="*/ 1477775 h 1613833"/>
                    <a:gd name="connsiteX436" fmla="*/ 6409467 w 7417362"/>
                    <a:gd name="connsiteY436" fmla="*/ 1477775 h 1613833"/>
                    <a:gd name="connsiteX437" fmla="*/ 6409467 w 7417362"/>
                    <a:gd name="connsiteY437" fmla="*/ 1529778 h 1613833"/>
                    <a:gd name="connsiteX438" fmla="*/ 6457138 w 7417362"/>
                    <a:gd name="connsiteY438" fmla="*/ 1529778 h 1613833"/>
                    <a:gd name="connsiteX439" fmla="*/ 6457138 w 7417362"/>
                    <a:gd name="connsiteY439" fmla="*/ 1482108 h 1613833"/>
                    <a:gd name="connsiteX440" fmla="*/ 6487473 w 7417362"/>
                    <a:gd name="connsiteY440" fmla="*/ 1482108 h 1613833"/>
                    <a:gd name="connsiteX441" fmla="*/ 6487473 w 7417362"/>
                    <a:gd name="connsiteY441" fmla="*/ 1529778 h 1613833"/>
                    <a:gd name="connsiteX442" fmla="*/ 6561145 w 7417362"/>
                    <a:gd name="connsiteY442" fmla="*/ 1529778 h 1613833"/>
                    <a:gd name="connsiteX443" fmla="*/ 6565479 w 7417362"/>
                    <a:gd name="connsiteY443" fmla="*/ 1534112 h 1613833"/>
                    <a:gd name="connsiteX444" fmla="*/ 6669486 w 7417362"/>
                    <a:gd name="connsiteY444" fmla="*/ 1534112 h 1613833"/>
                    <a:gd name="connsiteX445" fmla="*/ 6669486 w 7417362"/>
                    <a:gd name="connsiteY445" fmla="*/ 1499443 h 1613833"/>
                    <a:gd name="connsiteX446" fmla="*/ 6738825 w 7417362"/>
                    <a:gd name="connsiteY446" fmla="*/ 1499443 h 1613833"/>
                    <a:gd name="connsiteX447" fmla="*/ 6738825 w 7417362"/>
                    <a:gd name="connsiteY447" fmla="*/ 1542779 h 1613833"/>
                    <a:gd name="connsiteX448" fmla="*/ 6795162 w 7417362"/>
                    <a:gd name="connsiteY448" fmla="*/ 1542779 h 1613833"/>
                    <a:gd name="connsiteX449" fmla="*/ 6795162 w 7417362"/>
                    <a:gd name="connsiteY449" fmla="*/ 1499443 h 1613833"/>
                    <a:gd name="connsiteX450" fmla="*/ 6829831 w 7417362"/>
                    <a:gd name="connsiteY450" fmla="*/ 1499443 h 1613833"/>
                    <a:gd name="connsiteX451" fmla="*/ 6829831 w 7417362"/>
                    <a:gd name="connsiteY451" fmla="*/ 1529778 h 1613833"/>
                    <a:gd name="connsiteX452" fmla="*/ 6847166 w 7417362"/>
                    <a:gd name="connsiteY452" fmla="*/ 1529778 h 1613833"/>
                    <a:gd name="connsiteX453" fmla="*/ 6847166 w 7417362"/>
                    <a:gd name="connsiteY453" fmla="*/ 1555780 h 1613833"/>
                    <a:gd name="connsiteX454" fmla="*/ 7050847 w 7417362"/>
                    <a:gd name="connsiteY454" fmla="*/ 1555780 h 1613833"/>
                    <a:gd name="connsiteX455" fmla="*/ 7063848 w 7417362"/>
                    <a:gd name="connsiteY455" fmla="*/ 1568781 h 1613833"/>
                    <a:gd name="connsiteX456" fmla="*/ 7133187 w 7417362"/>
                    <a:gd name="connsiteY456" fmla="*/ 1568781 h 1613833"/>
                    <a:gd name="connsiteX457" fmla="*/ 7133187 w 7417362"/>
                    <a:gd name="connsiteY457" fmla="*/ 1586116 h 1613833"/>
                    <a:gd name="connsiteX458" fmla="*/ 7284865 w 7417362"/>
                    <a:gd name="connsiteY458" fmla="*/ 1586116 h 1613833"/>
                    <a:gd name="connsiteX459" fmla="*/ 7284865 w 7417362"/>
                    <a:gd name="connsiteY459" fmla="*/ 1607784 h 1613833"/>
                    <a:gd name="connsiteX460" fmla="*/ 7417257 w 7417362"/>
                    <a:gd name="connsiteY460" fmla="*/ 1613833 h 1613833"/>
                    <a:gd name="connsiteX0" fmla="*/ 7412495 w 7414874"/>
                    <a:gd name="connsiteY0" fmla="*/ 1611452 h 1611452"/>
                    <a:gd name="connsiteX1" fmla="*/ 7414874 w 7414874"/>
                    <a:gd name="connsiteY1" fmla="*/ 1508110 h 1611452"/>
                    <a:gd name="connsiteX2" fmla="*/ 7271864 w 7414874"/>
                    <a:gd name="connsiteY2" fmla="*/ 1508110 h 1611452"/>
                    <a:gd name="connsiteX3" fmla="*/ 7258863 w 7414874"/>
                    <a:gd name="connsiteY3" fmla="*/ 1495109 h 1611452"/>
                    <a:gd name="connsiteX4" fmla="*/ 7159189 w 7414874"/>
                    <a:gd name="connsiteY4" fmla="*/ 1495109 h 1611452"/>
                    <a:gd name="connsiteX5" fmla="*/ 7141854 w 7414874"/>
                    <a:gd name="connsiteY5" fmla="*/ 1477774 h 1611452"/>
                    <a:gd name="connsiteX6" fmla="*/ 7037847 w 7414874"/>
                    <a:gd name="connsiteY6" fmla="*/ 1477774 h 1611452"/>
                    <a:gd name="connsiteX7" fmla="*/ 7037847 w 7414874"/>
                    <a:gd name="connsiteY7" fmla="*/ 1451773 h 1611452"/>
                    <a:gd name="connsiteX8" fmla="*/ 6873168 w 7414874"/>
                    <a:gd name="connsiteY8" fmla="*/ 1451773 h 1611452"/>
                    <a:gd name="connsiteX9" fmla="*/ 6868834 w 7414874"/>
                    <a:gd name="connsiteY9" fmla="*/ 1447439 h 1611452"/>
                    <a:gd name="connsiteX10" fmla="*/ 6825498 w 7414874"/>
                    <a:gd name="connsiteY10" fmla="*/ 1447439 h 1611452"/>
                    <a:gd name="connsiteX11" fmla="*/ 6825498 w 7414874"/>
                    <a:gd name="connsiteY11" fmla="*/ 1495109 h 1611452"/>
                    <a:gd name="connsiteX12" fmla="*/ 6786495 w 7414874"/>
                    <a:gd name="connsiteY12" fmla="*/ 1495109 h 1611452"/>
                    <a:gd name="connsiteX13" fmla="*/ 6786495 w 7414874"/>
                    <a:gd name="connsiteY13" fmla="*/ 1443106 h 1611452"/>
                    <a:gd name="connsiteX14" fmla="*/ 6738825 w 7414874"/>
                    <a:gd name="connsiteY14" fmla="*/ 1443106 h 1611452"/>
                    <a:gd name="connsiteX15" fmla="*/ 6738824 w 7414874"/>
                    <a:gd name="connsiteY15" fmla="*/ 1477775 h 1611452"/>
                    <a:gd name="connsiteX16" fmla="*/ 6678154 w 7414874"/>
                    <a:gd name="connsiteY16" fmla="*/ 1477775 h 1611452"/>
                    <a:gd name="connsiteX17" fmla="*/ 6678154 w 7414874"/>
                    <a:gd name="connsiteY17" fmla="*/ 1438772 h 1611452"/>
                    <a:gd name="connsiteX18" fmla="*/ 6561145 w 7414874"/>
                    <a:gd name="connsiteY18" fmla="*/ 1438772 h 1611452"/>
                    <a:gd name="connsiteX19" fmla="*/ 6548144 w 7414874"/>
                    <a:gd name="connsiteY19" fmla="*/ 1425771 h 1611452"/>
                    <a:gd name="connsiteX20" fmla="*/ 6483139 w 7414874"/>
                    <a:gd name="connsiteY20" fmla="*/ 1425771 h 1611452"/>
                    <a:gd name="connsiteX21" fmla="*/ 6483139 w 7414874"/>
                    <a:gd name="connsiteY21" fmla="*/ 1482108 h 1611452"/>
                    <a:gd name="connsiteX22" fmla="*/ 6444137 w 7414874"/>
                    <a:gd name="connsiteY22" fmla="*/ 1482108 h 1611452"/>
                    <a:gd name="connsiteX23" fmla="*/ 6444137 w 7414874"/>
                    <a:gd name="connsiteY23" fmla="*/ 1434438 h 1611452"/>
                    <a:gd name="connsiteX24" fmla="*/ 6405134 w 7414874"/>
                    <a:gd name="connsiteY24" fmla="*/ 1434438 h 1611452"/>
                    <a:gd name="connsiteX25" fmla="*/ 6405134 w 7414874"/>
                    <a:gd name="connsiteY25" fmla="*/ 1477775 h 1611452"/>
                    <a:gd name="connsiteX26" fmla="*/ 6357464 w 7414874"/>
                    <a:gd name="connsiteY26" fmla="*/ 1477775 h 1611452"/>
                    <a:gd name="connsiteX27" fmla="*/ 6357464 w 7414874"/>
                    <a:gd name="connsiteY27" fmla="*/ 1430105 h 1611452"/>
                    <a:gd name="connsiteX28" fmla="*/ 6223120 w 7414874"/>
                    <a:gd name="connsiteY28" fmla="*/ 1430105 h 1611452"/>
                    <a:gd name="connsiteX29" fmla="*/ 6223120 w 7414874"/>
                    <a:gd name="connsiteY29" fmla="*/ 1443106 h 1611452"/>
                    <a:gd name="connsiteX30" fmla="*/ 6192785 w 7414874"/>
                    <a:gd name="connsiteY30" fmla="*/ 1443106 h 1611452"/>
                    <a:gd name="connsiteX31" fmla="*/ 6192785 w 7414874"/>
                    <a:gd name="connsiteY31" fmla="*/ 1412770 h 1611452"/>
                    <a:gd name="connsiteX32" fmla="*/ 6119113 w 7414874"/>
                    <a:gd name="connsiteY32" fmla="*/ 1412770 h 1611452"/>
                    <a:gd name="connsiteX33" fmla="*/ 6119113 w 7414874"/>
                    <a:gd name="connsiteY33" fmla="*/ 1399769 h 1611452"/>
                    <a:gd name="connsiteX34" fmla="*/ 6071443 w 7414874"/>
                    <a:gd name="connsiteY34" fmla="*/ 1399769 h 1611452"/>
                    <a:gd name="connsiteX35" fmla="*/ 6071443 w 7414874"/>
                    <a:gd name="connsiteY35" fmla="*/ 1382434 h 1611452"/>
                    <a:gd name="connsiteX36" fmla="*/ 6049774 w 7414874"/>
                    <a:gd name="connsiteY36" fmla="*/ 1382434 h 1611452"/>
                    <a:gd name="connsiteX37" fmla="*/ 6049774 w 7414874"/>
                    <a:gd name="connsiteY37" fmla="*/ 1421437 h 1611452"/>
                    <a:gd name="connsiteX38" fmla="*/ 6019439 w 7414874"/>
                    <a:gd name="connsiteY38" fmla="*/ 1421437 h 1611452"/>
                    <a:gd name="connsiteX39" fmla="*/ 6019439 w 7414874"/>
                    <a:gd name="connsiteY39" fmla="*/ 1391102 h 1611452"/>
                    <a:gd name="connsiteX40" fmla="*/ 5958768 w 7414874"/>
                    <a:gd name="connsiteY40" fmla="*/ 1391102 h 1611452"/>
                    <a:gd name="connsiteX41" fmla="*/ 5958768 w 7414874"/>
                    <a:gd name="connsiteY41" fmla="*/ 1373767 h 1611452"/>
                    <a:gd name="connsiteX42" fmla="*/ 5919765 w 7414874"/>
                    <a:gd name="connsiteY42" fmla="*/ 1373767 h 1611452"/>
                    <a:gd name="connsiteX43" fmla="*/ 5919765 w 7414874"/>
                    <a:gd name="connsiteY43" fmla="*/ 1352099 h 1611452"/>
                    <a:gd name="connsiteX44" fmla="*/ 5824425 w 7414874"/>
                    <a:gd name="connsiteY44" fmla="*/ 1352099 h 1611452"/>
                    <a:gd name="connsiteX45" fmla="*/ 5824425 w 7414874"/>
                    <a:gd name="connsiteY45" fmla="*/ 1399769 h 1611452"/>
                    <a:gd name="connsiteX46" fmla="*/ 5789756 w 7414874"/>
                    <a:gd name="connsiteY46" fmla="*/ 1399769 h 1611452"/>
                    <a:gd name="connsiteX47" fmla="*/ 5789756 w 7414874"/>
                    <a:gd name="connsiteY47" fmla="*/ 1365100 h 1611452"/>
                    <a:gd name="connsiteX48" fmla="*/ 5698749 w 7414874"/>
                    <a:gd name="connsiteY48" fmla="*/ 1365100 h 1611452"/>
                    <a:gd name="connsiteX49" fmla="*/ 5698749 w 7414874"/>
                    <a:gd name="connsiteY49" fmla="*/ 1326097 h 1611452"/>
                    <a:gd name="connsiteX50" fmla="*/ 5655412 w 7414874"/>
                    <a:gd name="connsiteY50" fmla="*/ 1326097 h 1611452"/>
                    <a:gd name="connsiteX51" fmla="*/ 5655412 w 7414874"/>
                    <a:gd name="connsiteY51" fmla="*/ 1373767 h 1611452"/>
                    <a:gd name="connsiteX52" fmla="*/ 5612076 w 7414874"/>
                    <a:gd name="connsiteY52" fmla="*/ 1373767 h 1611452"/>
                    <a:gd name="connsiteX53" fmla="*/ 5612076 w 7414874"/>
                    <a:gd name="connsiteY53" fmla="*/ 1334764 h 1611452"/>
                    <a:gd name="connsiteX54" fmla="*/ 5512402 w 7414874"/>
                    <a:gd name="connsiteY54" fmla="*/ 1334764 h 1611452"/>
                    <a:gd name="connsiteX55" fmla="*/ 5512402 w 7414874"/>
                    <a:gd name="connsiteY55" fmla="*/ 1360766 h 1611452"/>
                    <a:gd name="connsiteX56" fmla="*/ 5469065 w 7414874"/>
                    <a:gd name="connsiteY56" fmla="*/ 1360766 h 1611452"/>
                    <a:gd name="connsiteX57" fmla="*/ 5469065 w 7414874"/>
                    <a:gd name="connsiteY57" fmla="*/ 1321763 h 1611452"/>
                    <a:gd name="connsiteX58" fmla="*/ 5360724 w 7414874"/>
                    <a:gd name="connsiteY58" fmla="*/ 1321763 h 1611452"/>
                    <a:gd name="connsiteX59" fmla="*/ 5360724 w 7414874"/>
                    <a:gd name="connsiteY59" fmla="*/ 1304429 h 1611452"/>
                    <a:gd name="connsiteX60" fmla="*/ 5300053 w 7414874"/>
                    <a:gd name="connsiteY60" fmla="*/ 1304429 h 1611452"/>
                    <a:gd name="connsiteX61" fmla="*/ 5291386 w 7414874"/>
                    <a:gd name="connsiteY61" fmla="*/ 1295762 h 1611452"/>
                    <a:gd name="connsiteX62" fmla="*/ 5187378 w 7414874"/>
                    <a:gd name="connsiteY62" fmla="*/ 1295762 h 1611452"/>
                    <a:gd name="connsiteX63" fmla="*/ 5187378 w 7414874"/>
                    <a:gd name="connsiteY63" fmla="*/ 1278427 h 1611452"/>
                    <a:gd name="connsiteX64" fmla="*/ 5057369 w 7414874"/>
                    <a:gd name="connsiteY64" fmla="*/ 1278427 h 1611452"/>
                    <a:gd name="connsiteX65" fmla="*/ 5048701 w 7414874"/>
                    <a:gd name="connsiteY65" fmla="*/ 1269759 h 1611452"/>
                    <a:gd name="connsiteX66" fmla="*/ 4923026 w 7414874"/>
                    <a:gd name="connsiteY66" fmla="*/ 1269759 h 1611452"/>
                    <a:gd name="connsiteX67" fmla="*/ 4910025 w 7414874"/>
                    <a:gd name="connsiteY67" fmla="*/ 1256758 h 1611452"/>
                    <a:gd name="connsiteX68" fmla="*/ 4697676 w 7414874"/>
                    <a:gd name="connsiteY68" fmla="*/ 1256758 h 1611452"/>
                    <a:gd name="connsiteX69" fmla="*/ 4684675 w 7414874"/>
                    <a:gd name="connsiteY69" fmla="*/ 1243757 h 1611452"/>
                    <a:gd name="connsiteX70" fmla="*/ 4663007 w 7414874"/>
                    <a:gd name="connsiteY70" fmla="*/ 1243757 h 1611452"/>
                    <a:gd name="connsiteX71" fmla="*/ 4645673 w 7414874"/>
                    <a:gd name="connsiteY71" fmla="*/ 1226423 h 1611452"/>
                    <a:gd name="connsiteX72" fmla="*/ 4632672 w 7414874"/>
                    <a:gd name="connsiteY72" fmla="*/ 1213422 h 1611452"/>
                    <a:gd name="connsiteX73" fmla="*/ 4489661 w 7414874"/>
                    <a:gd name="connsiteY73" fmla="*/ 1213422 h 1611452"/>
                    <a:gd name="connsiteX74" fmla="*/ 4489661 w 7414874"/>
                    <a:gd name="connsiteY74" fmla="*/ 1200421 h 1611452"/>
                    <a:gd name="connsiteX75" fmla="*/ 4446324 w 7414874"/>
                    <a:gd name="connsiteY75" fmla="*/ 1200421 h 1611452"/>
                    <a:gd name="connsiteX76" fmla="*/ 4446324 w 7414874"/>
                    <a:gd name="connsiteY76" fmla="*/ 1183087 h 1611452"/>
                    <a:gd name="connsiteX77" fmla="*/ 4411655 w 7414874"/>
                    <a:gd name="connsiteY77" fmla="*/ 1183087 h 1611452"/>
                    <a:gd name="connsiteX78" fmla="*/ 4398654 w 7414874"/>
                    <a:gd name="connsiteY78" fmla="*/ 1170086 h 1611452"/>
                    <a:gd name="connsiteX79" fmla="*/ 4394321 w 7414874"/>
                    <a:gd name="connsiteY79" fmla="*/ 1174419 h 1611452"/>
                    <a:gd name="connsiteX80" fmla="*/ 4394321 w 7414874"/>
                    <a:gd name="connsiteY80" fmla="*/ 1200421 h 1611452"/>
                    <a:gd name="connsiteX81" fmla="*/ 4359651 w 7414874"/>
                    <a:gd name="connsiteY81" fmla="*/ 1200421 h 1611452"/>
                    <a:gd name="connsiteX82" fmla="*/ 4359651 w 7414874"/>
                    <a:gd name="connsiteY82" fmla="*/ 1157085 h 1611452"/>
                    <a:gd name="connsiteX83" fmla="*/ 4329316 w 7414874"/>
                    <a:gd name="connsiteY83" fmla="*/ 1157085 h 1611452"/>
                    <a:gd name="connsiteX84" fmla="*/ 4320648 w 7414874"/>
                    <a:gd name="connsiteY84" fmla="*/ 1148417 h 1611452"/>
                    <a:gd name="connsiteX85" fmla="*/ 4155970 w 7414874"/>
                    <a:gd name="connsiteY85" fmla="*/ 1148417 h 1611452"/>
                    <a:gd name="connsiteX86" fmla="*/ 4147302 w 7414874"/>
                    <a:gd name="connsiteY86" fmla="*/ 1139749 h 1611452"/>
                    <a:gd name="connsiteX87" fmla="*/ 4064963 w 7414874"/>
                    <a:gd name="connsiteY87" fmla="*/ 1139749 h 1611452"/>
                    <a:gd name="connsiteX88" fmla="*/ 4064963 w 7414874"/>
                    <a:gd name="connsiteY88" fmla="*/ 1122415 h 1611452"/>
                    <a:gd name="connsiteX89" fmla="*/ 4047628 w 7414874"/>
                    <a:gd name="connsiteY89" fmla="*/ 1122415 h 1611452"/>
                    <a:gd name="connsiteX90" fmla="*/ 4047628 w 7414874"/>
                    <a:gd name="connsiteY90" fmla="*/ 1105081 h 1611452"/>
                    <a:gd name="connsiteX91" fmla="*/ 4025960 w 7414874"/>
                    <a:gd name="connsiteY91" fmla="*/ 1105081 h 1611452"/>
                    <a:gd name="connsiteX92" fmla="*/ 4025960 w 7414874"/>
                    <a:gd name="connsiteY92" fmla="*/ 1152751 h 1611452"/>
                    <a:gd name="connsiteX93" fmla="*/ 3991291 w 7414874"/>
                    <a:gd name="connsiteY93" fmla="*/ 1152751 h 1611452"/>
                    <a:gd name="connsiteX94" fmla="*/ 3991291 w 7414874"/>
                    <a:gd name="connsiteY94" fmla="*/ 1109415 h 1611452"/>
                    <a:gd name="connsiteX95" fmla="*/ 3960956 w 7414874"/>
                    <a:gd name="connsiteY95" fmla="*/ 1109415 h 1611452"/>
                    <a:gd name="connsiteX96" fmla="*/ 3952288 w 7414874"/>
                    <a:gd name="connsiteY96" fmla="*/ 1100747 h 1611452"/>
                    <a:gd name="connsiteX97" fmla="*/ 3735606 w 7414874"/>
                    <a:gd name="connsiteY97" fmla="*/ 1100747 h 1611452"/>
                    <a:gd name="connsiteX98" fmla="*/ 3718272 w 7414874"/>
                    <a:gd name="connsiteY98" fmla="*/ 1083413 h 1611452"/>
                    <a:gd name="connsiteX99" fmla="*/ 3592595 w 7414874"/>
                    <a:gd name="connsiteY99" fmla="*/ 1083413 h 1611452"/>
                    <a:gd name="connsiteX100" fmla="*/ 3575261 w 7414874"/>
                    <a:gd name="connsiteY100" fmla="*/ 1066079 h 1611452"/>
                    <a:gd name="connsiteX101" fmla="*/ 3440918 w 7414874"/>
                    <a:gd name="connsiteY101" fmla="*/ 1066079 h 1611452"/>
                    <a:gd name="connsiteX102" fmla="*/ 3440918 w 7414874"/>
                    <a:gd name="connsiteY102" fmla="*/ 1040076 h 1611452"/>
                    <a:gd name="connsiteX103" fmla="*/ 3319575 w 7414874"/>
                    <a:gd name="connsiteY103" fmla="*/ 1040076 h 1611452"/>
                    <a:gd name="connsiteX104" fmla="*/ 3319575 w 7414874"/>
                    <a:gd name="connsiteY104" fmla="*/ 1027075 h 1611452"/>
                    <a:gd name="connsiteX105" fmla="*/ 3180899 w 7414874"/>
                    <a:gd name="connsiteY105" fmla="*/ 1027075 h 1611452"/>
                    <a:gd name="connsiteX106" fmla="*/ 3180899 w 7414874"/>
                    <a:gd name="connsiteY106" fmla="*/ 1020123 h 1611452"/>
                    <a:gd name="connsiteX107" fmla="*/ 3163564 w 7414874"/>
                    <a:gd name="connsiteY107" fmla="*/ 1018408 h 1611452"/>
                    <a:gd name="connsiteX108" fmla="*/ 3150563 w 7414874"/>
                    <a:gd name="connsiteY108" fmla="*/ 1005407 h 1611452"/>
                    <a:gd name="connsiteX109" fmla="*/ 2990218 w 7414874"/>
                    <a:gd name="connsiteY109" fmla="*/ 1005407 h 1611452"/>
                    <a:gd name="connsiteX110" fmla="*/ 2990218 w 7414874"/>
                    <a:gd name="connsiteY110" fmla="*/ 988072 h 1611452"/>
                    <a:gd name="connsiteX111" fmla="*/ 2907879 w 7414874"/>
                    <a:gd name="connsiteY111" fmla="*/ 988072 h 1611452"/>
                    <a:gd name="connsiteX112" fmla="*/ 2899211 w 7414874"/>
                    <a:gd name="connsiteY112" fmla="*/ 979404 h 1611452"/>
                    <a:gd name="connsiteX113" fmla="*/ 2868876 w 7414874"/>
                    <a:gd name="connsiteY113" fmla="*/ 979404 h 1611452"/>
                    <a:gd name="connsiteX114" fmla="*/ 2868876 w 7414874"/>
                    <a:gd name="connsiteY114" fmla="*/ 953403 h 1611452"/>
                    <a:gd name="connsiteX115" fmla="*/ 2842874 w 7414874"/>
                    <a:gd name="connsiteY115" fmla="*/ 953403 h 1611452"/>
                    <a:gd name="connsiteX116" fmla="*/ 2834207 w 7414874"/>
                    <a:gd name="connsiteY116" fmla="*/ 944736 h 1611452"/>
                    <a:gd name="connsiteX117" fmla="*/ 2756201 w 7414874"/>
                    <a:gd name="connsiteY117" fmla="*/ 944736 h 1611452"/>
                    <a:gd name="connsiteX118" fmla="*/ 2747534 w 7414874"/>
                    <a:gd name="connsiteY118" fmla="*/ 936069 h 1611452"/>
                    <a:gd name="connsiteX119" fmla="*/ 2699864 w 7414874"/>
                    <a:gd name="connsiteY119" fmla="*/ 936069 h 1611452"/>
                    <a:gd name="connsiteX120" fmla="*/ 2688815 w 7414874"/>
                    <a:gd name="connsiteY120" fmla="*/ 925019 h 1611452"/>
                    <a:gd name="connsiteX121" fmla="*/ 2643526 w 7414874"/>
                    <a:gd name="connsiteY121" fmla="*/ 927401 h 1611452"/>
                    <a:gd name="connsiteX122" fmla="*/ 2638099 w 7414874"/>
                    <a:gd name="connsiteY122" fmla="*/ 910067 h 1611452"/>
                    <a:gd name="connsiteX123" fmla="*/ 2616001 w 7414874"/>
                    <a:gd name="connsiteY123" fmla="*/ 899876 h 1611452"/>
                    <a:gd name="connsiteX124" fmla="*/ 2591522 w 7414874"/>
                    <a:gd name="connsiteY124" fmla="*/ 875397 h 1611452"/>
                    <a:gd name="connsiteX125" fmla="*/ 2561187 w 7414874"/>
                    <a:gd name="connsiteY125" fmla="*/ 875397 h 1611452"/>
                    <a:gd name="connsiteX126" fmla="*/ 2552519 w 7414874"/>
                    <a:gd name="connsiteY126" fmla="*/ 866729 h 1611452"/>
                    <a:gd name="connsiteX127" fmla="*/ 2500516 w 7414874"/>
                    <a:gd name="connsiteY127" fmla="*/ 866729 h 1611452"/>
                    <a:gd name="connsiteX128" fmla="*/ 2500516 w 7414874"/>
                    <a:gd name="connsiteY128" fmla="*/ 849396 h 1611452"/>
                    <a:gd name="connsiteX129" fmla="*/ 2444178 w 7414874"/>
                    <a:gd name="connsiteY129" fmla="*/ 849396 h 1611452"/>
                    <a:gd name="connsiteX130" fmla="*/ 2435510 w 7414874"/>
                    <a:gd name="connsiteY130" fmla="*/ 840728 h 1611452"/>
                    <a:gd name="connsiteX131" fmla="*/ 2413843 w 7414874"/>
                    <a:gd name="connsiteY131" fmla="*/ 840728 h 1611452"/>
                    <a:gd name="connsiteX132" fmla="*/ 2400842 w 7414874"/>
                    <a:gd name="connsiteY132" fmla="*/ 827727 h 1611452"/>
                    <a:gd name="connsiteX133" fmla="*/ 2348838 w 7414874"/>
                    <a:gd name="connsiteY133" fmla="*/ 827727 h 1611452"/>
                    <a:gd name="connsiteX134" fmla="*/ 2348838 w 7414874"/>
                    <a:gd name="connsiteY134" fmla="*/ 810393 h 1611452"/>
                    <a:gd name="connsiteX135" fmla="*/ 2309835 w 7414874"/>
                    <a:gd name="connsiteY135" fmla="*/ 810393 h 1611452"/>
                    <a:gd name="connsiteX136" fmla="*/ 2296834 w 7414874"/>
                    <a:gd name="connsiteY136" fmla="*/ 823394 h 1611452"/>
                    <a:gd name="connsiteX137" fmla="*/ 2266499 w 7414874"/>
                    <a:gd name="connsiteY137" fmla="*/ 823394 h 1611452"/>
                    <a:gd name="connsiteX138" fmla="*/ 2253498 w 7414874"/>
                    <a:gd name="connsiteY138" fmla="*/ 810393 h 1611452"/>
                    <a:gd name="connsiteX139" fmla="*/ 2244830 w 7414874"/>
                    <a:gd name="connsiteY139" fmla="*/ 801725 h 1611452"/>
                    <a:gd name="connsiteX140" fmla="*/ 2244830 w 7414874"/>
                    <a:gd name="connsiteY140" fmla="*/ 775724 h 1611452"/>
                    <a:gd name="connsiteX141" fmla="*/ 2123488 w 7414874"/>
                    <a:gd name="connsiteY141" fmla="*/ 775724 h 1611452"/>
                    <a:gd name="connsiteX142" fmla="*/ 2123488 w 7414874"/>
                    <a:gd name="connsiteY142" fmla="*/ 745388 h 1611452"/>
                    <a:gd name="connsiteX143" fmla="*/ 2071484 w 7414874"/>
                    <a:gd name="connsiteY143" fmla="*/ 745388 h 1611452"/>
                    <a:gd name="connsiteX144" fmla="*/ 2062817 w 7414874"/>
                    <a:gd name="connsiteY144" fmla="*/ 736721 h 1611452"/>
                    <a:gd name="connsiteX145" fmla="*/ 2006480 w 7414874"/>
                    <a:gd name="connsiteY145" fmla="*/ 736721 h 1611452"/>
                    <a:gd name="connsiteX146" fmla="*/ 2006480 w 7414874"/>
                    <a:gd name="connsiteY146" fmla="*/ 715052 h 1611452"/>
                    <a:gd name="connsiteX147" fmla="*/ 1906806 w 7414874"/>
                    <a:gd name="connsiteY147" fmla="*/ 715052 h 1611452"/>
                    <a:gd name="connsiteX148" fmla="*/ 1902473 w 7414874"/>
                    <a:gd name="connsiteY148" fmla="*/ 710719 h 1611452"/>
                    <a:gd name="connsiteX149" fmla="*/ 1863469 w 7414874"/>
                    <a:gd name="connsiteY149" fmla="*/ 710719 h 1611452"/>
                    <a:gd name="connsiteX150" fmla="*/ 1863469 w 7414874"/>
                    <a:gd name="connsiteY150" fmla="*/ 680383 h 1611452"/>
                    <a:gd name="connsiteX151" fmla="*/ 1807132 w 7414874"/>
                    <a:gd name="connsiteY151" fmla="*/ 680383 h 1611452"/>
                    <a:gd name="connsiteX152" fmla="*/ 1798465 w 7414874"/>
                    <a:gd name="connsiteY152" fmla="*/ 671716 h 1611452"/>
                    <a:gd name="connsiteX153" fmla="*/ 1785464 w 7414874"/>
                    <a:gd name="connsiteY153" fmla="*/ 671716 h 1611452"/>
                    <a:gd name="connsiteX154" fmla="*/ 1785464 w 7414874"/>
                    <a:gd name="connsiteY154" fmla="*/ 658715 h 1611452"/>
                    <a:gd name="connsiteX155" fmla="*/ 1750794 w 7414874"/>
                    <a:gd name="connsiteY155" fmla="*/ 658715 h 1611452"/>
                    <a:gd name="connsiteX156" fmla="*/ 1750794 w 7414874"/>
                    <a:gd name="connsiteY156" fmla="*/ 637047 h 1611452"/>
                    <a:gd name="connsiteX157" fmla="*/ 1698791 w 7414874"/>
                    <a:gd name="connsiteY157" fmla="*/ 637047 h 1611452"/>
                    <a:gd name="connsiteX158" fmla="*/ 1698791 w 7414874"/>
                    <a:gd name="connsiteY158" fmla="*/ 611045 h 1611452"/>
                    <a:gd name="connsiteX159" fmla="*/ 1616451 w 7414874"/>
                    <a:gd name="connsiteY159" fmla="*/ 611045 h 1611452"/>
                    <a:gd name="connsiteX160" fmla="*/ 1603450 w 7414874"/>
                    <a:gd name="connsiteY160" fmla="*/ 598044 h 1611452"/>
                    <a:gd name="connsiteX161" fmla="*/ 1590449 w 7414874"/>
                    <a:gd name="connsiteY161" fmla="*/ 598044 h 1611452"/>
                    <a:gd name="connsiteX162" fmla="*/ 1577448 w 7414874"/>
                    <a:gd name="connsiteY162" fmla="*/ 585043 h 1611452"/>
                    <a:gd name="connsiteX163" fmla="*/ 1529778 w 7414874"/>
                    <a:gd name="connsiteY163" fmla="*/ 585043 h 1611452"/>
                    <a:gd name="connsiteX164" fmla="*/ 1529778 w 7414874"/>
                    <a:gd name="connsiteY164" fmla="*/ 576376 h 1611452"/>
                    <a:gd name="connsiteX165" fmla="*/ 1477774 w 7414874"/>
                    <a:gd name="connsiteY165" fmla="*/ 576376 h 1611452"/>
                    <a:gd name="connsiteX166" fmla="*/ 1477774 w 7414874"/>
                    <a:gd name="connsiteY166" fmla="*/ 559041 h 1611452"/>
                    <a:gd name="connsiteX167" fmla="*/ 1408436 w 7414874"/>
                    <a:gd name="connsiteY167" fmla="*/ 559041 h 1611452"/>
                    <a:gd name="connsiteX168" fmla="*/ 1395435 w 7414874"/>
                    <a:gd name="connsiteY168" fmla="*/ 546040 h 1611452"/>
                    <a:gd name="connsiteX169" fmla="*/ 1330430 w 7414874"/>
                    <a:gd name="connsiteY169" fmla="*/ 546040 h 1611452"/>
                    <a:gd name="connsiteX170" fmla="*/ 1330430 w 7414874"/>
                    <a:gd name="connsiteY170" fmla="*/ 528706 h 1611452"/>
                    <a:gd name="connsiteX171" fmla="*/ 1274093 w 7414874"/>
                    <a:gd name="connsiteY171" fmla="*/ 528706 h 1611452"/>
                    <a:gd name="connsiteX172" fmla="*/ 1274093 w 7414874"/>
                    <a:gd name="connsiteY172" fmla="*/ 507037 h 1611452"/>
                    <a:gd name="connsiteX173" fmla="*/ 1191754 w 7414874"/>
                    <a:gd name="connsiteY173" fmla="*/ 507037 h 1611452"/>
                    <a:gd name="connsiteX174" fmla="*/ 1174419 w 7414874"/>
                    <a:gd name="connsiteY174" fmla="*/ 507037 h 1611452"/>
                    <a:gd name="connsiteX175" fmla="*/ 1148417 w 7414874"/>
                    <a:gd name="connsiteY175" fmla="*/ 507037 h 1611452"/>
                    <a:gd name="connsiteX176" fmla="*/ 1148417 w 7414874"/>
                    <a:gd name="connsiteY176" fmla="*/ 481035 h 1611452"/>
                    <a:gd name="connsiteX177" fmla="*/ 1092080 w 7414874"/>
                    <a:gd name="connsiteY177" fmla="*/ 481035 h 1611452"/>
                    <a:gd name="connsiteX178" fmla="*/ 1092080 w 7414874"/>
                    <a:gd name="connsiteY178" fmla="*/ 468034 h 1611452"/>
                    <a:gd name="connsiteX179" fmla="*/ 1044410 w 7414874"/>
                    <a:gd name="connsiteY179" fmla="*/ 468034 h 1611452"/>
                    <a:gd name="connsiteX180" fmla="*/ 1044410 w 7414874"/>
                    <a:gd name="connsiteY180" fmla="*/ 437699 h 1611452"/>
                    <a:gd name="connsiteX181" fmla="*/ 988072 w 7414874"/>
                    <a:gd name="connsiteY181" fmla="*/ 437699 h 1611452"/>
                    <a:gd name="connsiteX182" fmla="*/ 975071 w 7414874"/>
                    <a:gd name="connsiteY182" fmla="*/ 424698 h 1611452"/>
                    <a:gd name="connsiteX183" fmla="*/ 953403 w 7414874"/>
                    <a:gd name="connsiteY183" fmla="*/ 424698 h 1611452"/>
                    <a:gd name="connsiteX184" fmla="*/ 944736 w 7414874"/>
                    <a:gd name="connsiteY184" fmla="*/ 416031 h 1611452"/>
                    <a:gd name="connsiteX185" fmla="*/ 892732 w 7414874"/>
                    <a:gd name="connsiteY185" fmla="*/ 416031 h 1611452"/>
                    <a:gd name="connsiteX186" fmla="*/ 892732 w 7414874"/>
                    <a:gd name="connsiteY186" fmla="*/ 394362 h 1611452"/>
                    <a:gd name="connsiteX187" fmla="*/ 866730 w 7414874"/>
                    <a:gd name="connsiteY187" fmla="*/ 394362 h 1611452"/>
                    <a:gd name="connsiteX188" fmla="*/ 858063 w 7414874"/>
                    <a:gd name="connsiteY188" fmla="*/ 385695 h 1611452"/>
                    <a:gd name="connsiteX189" fmla="*/ 754055 w 7414874"/>
                    <a:gd name="connsiteY189" fmla="*/ 385695 h 1611452"/>
                    <a:gd name="connsiteX190" fmla="*/ 754055 w 7414874"/>
                    <a:gd name="connsiteY190" fmla="*/ 359693 h 1611452"/>
                    <a:gd name="connsiteX191" fmla="*/ 723719 w 7414874"/>
                    <a:gd name="connsiteY191" fmla="*/ 359693 h 1611452"/>
                    <a:gd name="connsiteX192" fmla="*/ 723719 w 7414874"/>
                    <a:gd name="connsiteY192" fmla="*/ 342359 h 1611452"/>
                    <a:gd name="connsiteX193" fmla="*/ 658715 w 7414874"/>
                    <a:gd name="connsiteY193" fmla="*/ 342359 h 1611452"/>
                    <a:gd name="connsiteX194" fmla="*/ 650047 w 7414874"/>
                    <a:gd name="connsiteY194" fmla="*/ 333691 h 1611452"/>
                    <a:gd name="connsiteX195" fmla="*/ 628379 w 7414874"/>
                    <a:gd name="connsiteY195" fmla="*/ 333691 h 1611452"/>
                    <a:gd name="connsiteX196" fmla="*/ 628379 w 7414874"/>
                    <a:gd name="connsiteY196" fmla="*/ 316357 h 1611452"/>
                    <a:gd name="connsiteX197" fmla="*/ 598044 w 7414874"/>
                    <a:gd name="connsiteY197" fmla="*/ 316357 h 1611452"/>
                    <a:gd name="connsiteX198" fmla="*/ 598044 w 7414874"/>
                    <a:gd name="connsiteY198" fmla="*/ 294688 h 1611452"/>
                    <a:gd name="connsiteX199" fmla="*/ 576375 w 7414874"/>
                    <a:gd name="connsiteY199" fmla="*/ 294688 h 1611452"/>
                    <a:gd name="connsiteX200" fmla="*/ 576375 w 7414874"/>
                    <a:gd name="connsiteY200" fmla="*/ 281687 h 1611452"/>
                    <a:gd name="connsiteX201" fmla="*/ 554707 w 7414874"/>
                    <a:gd name="connsiteY201" fmla="*/ 281687 h 1611452"/>
                    <a:gd name="connsiteX202" fmla="*/ 554707 w 7414874"/>
                    <a:gd name="connsiteY202" fmla="*/ 268687 h 1611452"/>
                    <a:gd name="connsiteX203" fmla="*/ 489702 w 7414874"/>
                    <a:gd name="connsiteY203" fmla="*/ 268687 h 1611452"/>
                    <a:gd name="connsiteX204" fmla="*/ 489702 w 7414874"/>
                    <a:gd name="connsiteY204" fmla="*/ 242685 h 1611452"/>
                    <a:gd name="connsiteX205" fmla="*/ 455033 w 7414874"/>
                    <a:gd name="connsiteY205" fmla="*/ 242685 h 1611452"/>
                    <a:gd name="connsiteX206" fmla="*/ 455033 w 7414874"/>
                    <a:gd name="connsiteY206" fmla="*/ 216683 h 1611452"/>
                    <a:gd name="connsiteX207" fmla="*/ 437699 w 7414874"/>
                    <a:gd name="connsiteY207" fmla="*/ 216683 h 1611452"/>
                    <a:gd name="connsiteX208" fmla="*/ 437699 w 7414874"/>
                    <a:gd name="connsiteY208" fmla="*/ 186347 h 1611452"/>
                    <a:gd name="connsiteX209" fmla="*/ 407363 w 7414874"/>
                    <a:gd name="connsiteY209" fmla="*/ 186347 h 1611452"/>
                    <a:gd name="connsiteX210" fmla="*/ 407363 w 7414874"/>
                    <a:gd name="connsiteY210" fmla="*/ 173346 h 1611452"/>
                    <a:gd name="connsiteX211" fmla="*/ 372694 w 7414874"/>
                    <a:gd name="connsiteY211" fmla="*/ 173346 h 1611452"/>
                    <a:gd name="connsiteX212" fmla="*/ 372694 w 7414874"/>
                    <a:gd name="connsiteY212" fmla="*/ 151678 h 1611452"/>
                    <a:gd name="connsiteX213" fmla="*/ 355359 w 7414874"/>
                    <a:gd name="connsiteY213" fmla="*/ 151678 h 1611452"/>
                    <a:gd name="connsiteX214" fmla="*/ 355359 w 7414874"/>
                    <a:gd name="connsiteY214" fmla="*/ 138677 h 1611452"/>
                    <a:gd name="connsiteX215" fmla="*/ 303356 w 7414874"/>
                    <a:gd name="connsiteY215" fmla="*/ 138677 h 1611452"/>
                    <a:gd name="connsiteX216" fmla="*/ 303356 w 7414874"/>
                    <a:gd name="connsiteY216" fmla="*/ 95341 h 1611452"/>
                    <a:gd name="connsiteX217" fmla="*/ 268686 w 7414874"/>
                    <a:gd name="connsiteY217" fmla="*/ 95341 h 1611452"/>
                    <a:gd name="connsiteX218" fmla="*/ 268686 w 7414874"/>
                    <a:gd name="connsiteY218" fmla="*/ 82340 h 1611452"/>
                    <a:gd name="connsiteX219" fmla="*/ 234017 w 7414874"/>
                    <a:gd name="connsiteY219" fmla="*/ 82340 h 1611452"/>
                    <a:gd name="connsiteX220" fmla="*/ 234017 w 7414874"/>
                    <a:gd name="connsiteY220" fmla="*/ 47670 h 1611452"/>
                    <a:gd name="connsiteX221" fmla="*/ 208015 w 7414874"/>
                    <a:gd name="connsiteY221" fmla="*/ 47670 h 1611452"/>
                    <a:gd name="connsiteX222" fmla="*/ 208015 w 7414874"/>
                    <a:gd name="connsiteY222" fmla="*/ 39003 h 1611452"/>
                    <a:gd name="connsiteX223" fmla="*/ 156011 w 7414874"/>
                    <a:gd name="connsiteY223" fmla="*/ 39003 h 1611452"/>
                    <a:gd name="connsiteX224" fmla="*/ 156011 w 7414874"/>
                    <a:gd name="connsiteY224" fmla="*/ 26002 h 1611452"/>
                    <a:gd name="connsiteX225" fmla="*/ 121342 w 7414874"/>
                    <a:gd name="connsiteY225" fmla="*/ 26002 h 1611452"/>
                    <a:gd name="connsiteX226" fmla="*/ 121342 w 7414874"/>
                    <a:gd name="connsiteY226" fmla="*/ 0 h 1611452"/>
                    <a:gd name="connsiteX227" fmla="*/ 82339 w 7414874"/>
                    <a:gd name="connsiteY227" fmla="*/ 0 h 1611452"/>
                    <a:gd name="connsiteX228" fmla="*/ 82339 w 7414874"/>
                    <a:gd name="connsiteY228" fmla="*/ 43337 h 1611452"/>
                    <a:gd name="connsiteX229" fmla="*/ 0 w 7414874"/>
                    <a:gd name="connsiteY229" fmla="*/ 43337 h 1611452"/>
                    <a:gd name="connsiteX230" fmla="*/ 8667 w 7414874"/>
                    <a:gd name="connsiteY230" fmla="*/ 34670 h 1611452"/>
                    <a:gd name="connsiteX231" fmla="*/ 8667 w 7414874"/>
                    <a:gd name="connsiteY231" fmla="*/ 52004 h 1611452"/>
                    <a:gd name="connsiteX232" fmla="*/ 21668 w 7414874"/>
                    <a:gd name="connsiteY232" fmla="*/ 52004 h 1611452"/>
                    <a:gd name="connsiteX233" fmla="*/ 21668 w 7414874"/>
                    <a:gd name="connsiteY233" fmla="*/ 65005 h 1611452"/>
                    <a:gd name="connsiteX234" fmla="*/ 52004 w 7414874"/>
                    <a:gd name="connsiteY234" fmla="*/ 65005 h 1611452"/>
                    <a:gd name="connsiteX235" fmla="*/ 52004 w 7414874"/>
                    <a:gd name="connsiteY235" fmla="*/ 86673 h 1611452"/>
                    <a:gd name="connsiteX236" fmla="*/ 78006 w 7414874"/>
                    <a:gd name="connsiteY236" fmla="*/ 86673 h 1611452"/>
                    <a:gd name="connsiteX237" fmla="*/ 78006 w 7414874"/>
                    <a:gd name="connsiteY237" fmla="*/ 125676 h 1611452"/>
                    <a:gd name="connsiteX238" fmla="*/ 138677 w 7414874"/>
                    <a:gd name="connsiteY238" fmla="*/ 125676 h 1611452"/>
                    <a:gd name="connsiteX239" fmla="*/ 147344 w 7414874"/>
                    <a:gd name="connsiteY239" fmla="*/ 134343 h 1611452"/>
                    <a:gd name="connsiteX240" fmla="*/ 164679 w 7414874"/>
                    <a:gd name="connsiteY240" fmla="*/ 134343 h 1611452"/>
                    <a:gd name="connsiteX241" fmla="*/ 164679 w 7414874"/>
                    <a:gd name="connsiteY241" fmla="*/ 156012 h 1611452"/>
                    <a:gd name="connsiteX242" fmla="*/ 182013 w 7414874"/>
                    <a:gd name="connsiteY242" fmla="*/ 156012 h 1611452"/>
                    <a:gd name="connsiteX243" fmla="*/ 195014 w 7414874"/>
                    <a:gd name="connsiteY243" fmla="*/ 169013 h 1611452"/>
                    <a:gd name="connsiteX244" fmla="*/ 225350 w 7414874"/>
                    <a:gd name="connsiteY244" fmla="*/ 169013 h 1611452"/>
                    <a:gd name="connsiteX245" fmla="*/ 225350 w 7414874"/>
                    <a:gd name="connsiteY245" fmla="*/ 208015 h 1611452"/>
                    <a:gd name="connsiteX246" fmla="*/ 251352 w 7414874"/>
                    <a:gd name="connsiteY246" fmla="*/ 208015 h 1611452"/>
                    <a:gd name="connsiteX247" fmla="*/ 260019 w 7414874"/>
                    <a:gd name="connsiteY247" fmla="*/ 216682 h 1611452"/>
                    <a:gd name="connsiteX248" fmla="*/ 273021 w 7414874"/>
                    <a:gd name="connsiteY248" fmla="*/ 229684 h 1611452"/>
                    <a:gd name="connsiteX249" fmla="*/ 273021 w 7414874"/>
                    <a:gd name="connsiteY249" fmla="*/ 251352 h 1611452"/>
                    <a:gd name="connsiteX250" fmla="*/ 303356 w 7414874"/>
                    <a:gd name="connsiteY250" fmla="*/ 251352 h 1611452"/>
                    <a:gd name="connsiteX251" fmla="*/ 303356 w 7414874"/>
                    <a:gd name="connsiteY251" fmla="*/ 268687 h 1611452"/>
                    <a:gd name="connsiteX252" fmla="*/ 342358 w 7414874"/>
                    <a:gd name="connsiteY252" fmla="*/ 268687 h 1611452"/>
                    <a:gd name="connsiteX253" fmla="*/ 342358 w 7414874"/>
                    <a:gd name="connsiteY253" fmla="*/ 286021 h 1611452"/>
                    <a:gd name="connsiteX254" fmla="*/ 385695 w 7414874"/>
                    <a:gd name="connsiteY254" fmla="*/ 286021 h 1611452"/>
                    <a:gd name="connsiteX255" fmla="*/ 385695 w 7414874"/>
                    <a:gd name="connsiteY255" fmla="*/ 286021 h 1611452"/>
                    <a:gd name="connsiteX256" fmla="*/ 407363 w 7414874"/>
                    <a:gd name="connsiteY256" fmla="*/ 307689 h 1611452"/>
                    <a:gd name="connsiteX257" fmla="*/ 424698 w 7414874"/>
                    <a:gd name="connsiteY257" fmla="*/ 325024 h 1611452"/>
                    <a:gd name="connsiteX258" fmla="*/ 472368 w 7414874"/>
                    <a:gd name="connsiteY258" fmla="*/ 325024 h 1611452"/>
                    <a:gd name="connsiteX259" fmla="*/ 472368 w 7414874"/>
                    <a:gd name="connsiteY259" fmla="*/ 355360 h 1611452"/>
                    <a:gd name="connsiteX260" fmla="*/ 511371 w 7414874"/>
                    <a:gd name="connsiteY260" fmla="*/ 355360 h 1611452"/>
                    <a:gd name="connsiteX261" fmla="*/ 511371 w 7414874"/>
                    <a:gd name="connsiteY261" fmla="*/ 377028 h 1611452"/>
                    <a:gd name="connsiteX262" fmla="*/ 559041 w 7414874"/>
                    <a:gd name="connsiteY262" fmla="*/ 377028 h 1611452"/>
                    <a:gd name="connsiteX263" fmla="*/ 559041 w 7414874"/>
                    <a:gd name="connsiteY263" fmla="*/ 398696 h 1611452"/>
                    <a:gd name="connsiteX264" fmla="*/ 589376 w 7414874"/>
                    <a:gd name="connsiteY264" fmla="*/ 398696 h 1611452"/>
                    <a:gd name="connsiteX265" fmla="*/ 602377 w 7414874"/>
                    <a:gd name="connsiteY265" fmla="*/ 411697 h 1611452"/>
                    <a:gd name="connsiteX266" fmla="*/ 650047 w 7414874"/>
                    <a:gd name="connsiteY266" fmla="*/ 411697 h 1611452"/>
                    <a:gd name="connsiteX267" fmla="*/ 650047 w 7414874"/>
                    <a:gd name="connsiteY267" fmla="*/ 450700 h 1611452"/>
                    <a:gd name="connsiteX268" fmla="*/ 758389 w 7414874"/>
                    <a:gd name="connsiteY268" fmla="*/ 450700 h 1611452"/>
                    <a:gd name="connsiteX269" fmla="*/ 758389 w 7414874"/>
                    <a:gd name="connsiteY269" fmla="*/ 481035 h 1611452"/>
                    <a:gd name="connsiteX270" fmla="*/ 875397 w 7414874"/>
                    <a:gd name="connsiteY270" fmla="*/ 481035 h 1611452"/>
                    <a:gd name="connsiteX271" fmla="*/ 875397 w 7414874"/>
                    <a:gd name="connsiteY271" fmla="*/ 507037 h 1611452"/>
                    <a:gd name="connsiteX272" fmla="*/ 927401 w 7414874"/>
                    <a:gd name="connsiteY272" fmla="*/ 507037 h 1611452"/>
                    <a:gd name="connsiteX273" fmla="*/ 927401 w 7414874"/>
                    <a:gd name="connsiteY273" fmla="*/ 524372 h 1611452"/>
                    <a:gd name="connsiteX274" fmla="*/ 979405 w 7414874"/>
                    <a:gd name="connsiteY274" fmla="*/ 524372 h 1611452"/>
                    <a:gd name="connsiteX275" fmla="*/ 992406 w 7414874"/>
                    <a:gd name="connsiteY275" fmla="*/ 524372 h 1611452"/>
                    <a:gd name="connsiteX276" fmla="*/ 1005407 w 7414874"/>
                    <a:gd name="connsiteY276" fmla="*/ 537373 h 1611452"/>
                    <a:gd name="connsiteX277" fmla="*/ 1027075 w 7414874"/>
                    <a:gd name="connsiteY277" fmla="*/ 537373 h 1611452"/>
                    <a:gd name="connsiteX278" fmla="*/ 1057410 w 7414874"/>
                    <a:gd name="connsiteY278" fmla="*/ 537373 h 1611452"/>
                    <a:gd name="connsiteX279" fmla="*/ 1057410 w 7414874"/>
                    <a:gd name="connsiteY279" fmla="*/ 563375 h 1611452"/>
                    <a:gd name="connsiteX280" fmla="*/ 1079079 w 7414874"/>
                    <a:gd name="connsiteY280" fmla="*/ 563375 h 1611452"/>
                    <a:gd name="connsiteX281" fmla="*/ 1079079 w 7414874"/>
                    <a:gd name="connsiteY281" fmla="*/ 576376 h 1611452"/>
                    <a:gd name="connsiteX282" fmla="*/ 1157084 w 7414874"/>
                    <a:gd name="connsiteY282" fmla="*/ 576376 h 1611452"/>
                    <a:gd name="connsiteX283" fmla="*/ 1157084 w 7414874"/>
                    <a:gd name="connsiteY283" fmla="*/ 589377 h 1611452"/>
                    <a:gd name="connsiteX284" fmla="*/ 1196087 w 7414874"/>
                    <a:gd name="connsiteY284" fmla="*/ 589377 h 1611452"/>
                    <a:gd name="connsiteX285" fmla="*/ 1196087 w 7414874"/>
                    <a:gd name="connsiteY285" fmla="*/ 598044 h 1611452"/>
                    <a:gd name="connsiteX286" fmla="*/ 1243757 w 7414874"/>
                    <a:gd name="connsiteY286" fmla="*/ 598044 h 1611452"/>
                    <a:gd name="connsiteX287" fmla="*/ 1256758 w 7414874"/>
                    <a:gd name="connsiteY287" fmla="*/ 611045 h 1611452"/>
                    <a:gd name="connsiteX288" fmla="*/ 1269759 w 7414874"/>
                    <a:gd name="connsiteY288" fmla="*/ 624046 h 1611452"/>
                    <a:gd name="connsiteX289" fmla="*/ 1334764 w 7414874"/>
                    <a:gd name="connsiteY289" fmla="*/ 624046 h 1611452"/>
                    <a:gd name="connsiteX290" fmla="*/ 1334764 w 7414874"/>
                    <a:gd name="connsiteY290" fmla="*/ 645714 h 1611452"/>
                    <a:gd name="connsiteX291" fmla="*/ 1425771 w 7414874"/>
                    <a:gd name="connsiteY291" fmla="*/ 645714 h 1611452"/>
                    <a:gd name="connsiteX292" fmla="*/ 1434438 w 7414874"/>
                    <a:gd name="connsiteY292" fmla="*/ 654381 h 1611452"/>
                    <a:gd name="connsiteX293" fmla="*/ 1456106 w 7414874"/>
                    <a:gd name="connsiteY293" fmla="*/ 654381 h 1611452"/>
                    <a:gd name="connsiteX294" fmla="*/ 1456106 w 7414874"/>
                    <a:gd name="connsiteY294" fmla="*/ 667382 h 1611452"/>
                    <a:gd name="connsiteX295" fmla="*/ 1508110 w 7414874"/>
                    <a:gd name="connsiteY295" fmla="*/ 667382 h 1611452"/>
                    <a:gd name="connsiteX296" fmla="*/ 1508110 w 7414874"/>
                    <a:gd name="connsiteY296" fmla="*/ 684717 h 1611452"/>
                    <a:gd name="connsiteX297" fmla="*/ 1564447 w 7414874"/>
                    <a:gd name="connsiteY297" fmla="*/ 684717 h 1611452"/>
                    <a:gd name="connsiteX298" fmla="*/ 1568781 w 7414874"/>
                    <a:gd name="connsiteY298" fmla="*/ 689051 h 1611452"/>
                    <a:gd name="connsiteX299" fmla="*/ 1612118 w 7414874"/>
                    <a:gd name="connsiteY299" fmla="*/ 689051 h 1611452"/>
                    <a:gd name="connsiteX300" fmla="*/ 1625119 w 7414874"/>
                    <a:gd name="connsiteY300" fmla="*/ 702052 h 1611452"/>
                    <a:gd name="connsiteX301" fmla="*/ 1677122 w 7414874"/>
                    <a:gd name="connsiteY301" fmla="*/ 702052 h 1611452"/>
                    <a:gd name="connsiteX302" fmla="*/ 1685790 w 7414874"/>
                    <a:gd name="connsiteY302" fmla="*/ 710720 h 1611452"/>
                    <a:gd name="connsiteX303" fmla="*/ 1703123 w 7414874"/>
                    <a:gd name="connsiteY303" fmla="*/ 728053 h 1611452"/>
                    <a:gd name="connsiteX304" fmla="*/ 1716124 w 7414874"/>
                    <a:gd name="connsiteY304" fmla="*/ 741054 h 1611452"/>
                    <a:gd name="connsiteX305" fmla="*/ 1750794 w 7414874"/>
                    <a:gd name="connsiteY305" fmla="*/ 741054 h 1611452"/>
                    <a:gd name="connsiteX306" fmla="*/ 1750794 w 7414874"/>
                    <a:gd name="connsiteY306" fmla="*/ 767056 h 1611452"/>
                    <a:gd name="connsiteX307" fmla="*/ 1798465 w 7414874"/>
                    <a:gd name="connsiteY307" fmla="*/ 767056 h 1611452"/>
                    <a:gd name="connsiteX308" fmla="*/ 1798465 w 7414874"/>
                    <a:gd name="connsiteY308" fmla="*/ 780057 h 1611452"/>
                    <a:gd name="connsiteX309" fmla="*/ 1841801 w 7414874"/>
                    <a:gd name="connsiteY309" fmla="*/ 780057 h 1611452"/>
                    <a:gd name="connsiteX310" fmla="*/ 1841801 w 7414874"/>
                    <a:gd name="connsiteY310" fmla="*/ 797392 h 1611452"/>
                    <a:gd name="connsiteX311" fmla="*/ 1876470 w 7414874"/>
                    <a:gd name="connsiteY311" fmla="*/ 797392 h 1611452"/>
                    <a:gd name="connsiteX312" fmla="*/ 1885138 w 7414874"/>
                    <a:gd name="connsiteY312" fmla="*/ 806060 h 1611452"/>
                    <a:gd name="connsiteX313" fmla="*/ 1963143 w 7414874"/>
                    <a:gd name="connsiteY313" fmla="*/ 806060 h 1611452"/>
                    <a:gd name="connsiteX314" fmla="*/ 2006480 w 7414874"/>
                    <a:gd name="connsiteY314" fmla="*/ 806060 h 1611452"/>
                    <a:gd name="connsiteX315" fmla="*/ 2036815 w 7414874"/>
                    <a:gd name="connsiteY315" fmla="*/ 836395 h 1611452"/>
                    <a:gd name="connsiteX316" fmla="*/ 2049816 w 7414874"/>
                    <a:gd name="connsiteY316" fmla="*/ 836395 h 1611452"/>
                    <a:gd name="connsiteX317" fmla="*/ 2106154 w 7414874"/>
                    <a:gd name="connsiteY317" fmla="*/ 836395 h 1611452"/>
                    <a:gd name="connsiteX318" fmla="*/ 2106154 w 7414874"/>
                    <a:gd name="connsiteY318" fmla="*/ 862396 h 1611452"/>
                    <a:gd name="connsiteX319" fmla="*/ 2119155 w 7414874"/>
                    <a:gd name="connsiteY319" fmla="*/ 862396 h 1611452"/>
                    <a:gd name="connsiteX320" fmla="*/ 2136489 w 7414874"/>
                    <a:gd name="connsiteY320" fmla="*/ 862396 h 1611452"/>
                    <a:gd name="connsiteX321" fmla="*/ 2184159 w 7414874"/>
                    <a:gd name="connsiteY321" fmla="*/ 862396 h 1611452"/>
                    <a:gd name="connsiteX322" fmla="*/ 2184159 w 7414874"/>
                    <a:gd name="connsiteY322" fmla="*/ 888398 h 1611452"/>
                    <a:gd name="connsiteX323" fmla="*/ 2200254 w 7414874"/>
                    <a:gd name="connsiteY323" fmla="*/ 883636 h 1611452"/>
                    <a:gd name="connsiteX324" fmla="*/ 2240733 w 7414874"/>
                    <a:gd name="connsiteY324" fmla="*/ 881254 h 1611452"/>
                    <a:gd name="connsiteX325" fmla="*/ 2240102 w 7414874"/>
                    <a:gd name="connsiteY325" fmla="*/ 914626 h 1611452"/>
                    <a:gd name="connsiteX326" fmla="*/ 2265640 w 7414874"/>
                    <a:gd name="connsiteY326" fmla="*/ 915879 h 1611452"/>
                    <a:gd name="connsiteX327" fmla="*/ 2266296 w 7414874"/>
                    <a:gd name="connsiteY327" fmla="*/ 886052 h 1611452"/>
                    <a:gd name="connsiteX328" fmla="*/ 2301168 w 7414874"/>
                    <a:gd name="connsiteY328" fmla="*/ 880160 h 1611452"/>
                    <a:gd name="connsiteX329" fmla="*/ 2301168 w 7414874"/>
                    <a:gd name="connsiteY329" fmla="*/ 914400 h 1611452"/>
                    <a:gd name="connsiteX330" fmla="*/ 2335837 w 7414874"/>
                    <a:gd name="connsiteY330" fmla="*/ 914400 h 1611452"/>
                    <a:gd name="connsiteX331" fmla="*/ 2335837 w 7414874"/>
                    <a:gd name="connsiteY331" fmla="*/ 923068 h 1611452"/>
                    <a:gd name="connsiteX332" fmla="*/ 2400842 w 7414874"/>
                    <a:gd name="connsiteY332" fmla="*/ 923068 h 1611452"/>
                    <a:gd name="connsiteX333" fmla="*/ 2400842 w 7414874"/>
                    <a:gd name="connsiteY333" fmla="*/ 936069 h 1611452"/>
                    <a:gd name="connsiteX334" fmla="*/ 2439845 w 7414874"/>
                    <a:gd name="connsiteY334" fmla="*/ 936069 h 1611452"/>
                    <a:gd name="connsiteX335" fmla="*/ 2452846 w 7414874"/>
                    <a:gd name="connsiteY335" fmla="*/ 949070 h 1611452"/>
                    <a:gd name="connsiteX336" fmla="*/ 2500516 w 7414874"/>
                    <a:gd name="connsiteY336" fmla="*/ 949070 h 1611452"/>
                    <a:gd name="connsiteX337" fmla="*/ 2513517 w 7414874"/>
                    <a:gd name="connsiteY337" fmla="*/ 962071 h 1611452"/>
                    <a:gd name="connsiteX338" fmla="*/ 2543852 w 7414874"/>
                    <a:gd name="connsiteY338" fmla="*/ 962071 h 1611452"/>
                    <a:gd name="connsiteX339" fmla="*/ 2543852 w 7414874"/>
                    <a:gd name="connsiteY339" fmla="*/ 979405 h 1611452"/>
                    <a:gd name="connsiteX340" fmla="*/ 2591522 w 7414874"/>
                    <a:gd name="connsiteY340" fmla="*/ 979405 h 1611452"/>
                    <a:gd name="connsiteX341" fmla="*/ 2591522 w 7414874"/>
                    <a:gd name="connsiteY341" fmla="*/ 1001073 h 1611452"/>
                    <a:gd name="connsiteX342" fmla="*/ 2639192 w 7414874"/>
                    <a:gd name="connsiteY342" fmla="*/ 1001073 h 1611452"/>
                    <a:gd name="connsiteX343" fmla="*/ 2639192 w 7414874"/>
                    <a:gd name="connsiteY343" fmla="*/ 1022742 h 1611452"/>
                    <a:gd name="connsiteX344" fmla="*/ 2699864 w 7414874"/>
                    <a:gd name="connsiteY344" fmla="*/ 1022742 h 1611452"/>
                    <a:gd name="connsiteX345" fmla="*/ 2699864 w 7414874"/>
                    <a:gd name="connsiteY345" fmla="*/ 1040076 h 1611452"/>
                    <a:gd name="connsiteX346" fmla="*/ 2808205 w 7414874"/>
                    <a:gd name="connsiteY346" fmla="*/ 1040076 h 1611452"/>
                    <a:gd name="connsiteX347" fmla="*/ 2816872 w 7414874"/>
                    <a:gd name="connsiteY347" fmla="*/ 1048743 h 1611452"/>
                    <a:gd name="connsiteX348" fmla="*/ 2825540 w 7414874"/>
                    <a:gd name="connsiteY348" fmla="*/ 1057411 h 1611452"/>
                    <a:gd name="connsiteX349" fmla="*/ 2864542 w 7414874"/>
                    <a:gd name="connsiteY349" fmla="*/ 1057411 h 1611452"/>
                    <a:gd name="connsiteX350" fmla="*/ 2886210 w 7414874"/>
                    <a:gd name="connsiteY350" fmla="*/ 1057411 h 1611452"/>
                    <a:gd name="connsiteX351" fmla="*/ 2899211 w 7414874"/>
                    <a:gd name="connsiteY351" fmla="*/ 1057411 h 1611452"/>
                    <a:gd name="connsiteX352" fmla="*/ 2916546 w 7414874"/>
                    <a:gd name="connsiteY352" fmla="*/ 1074746 h 1611452"/>
                    <a:gd name="connsiteX353" fmla="*/ 2968550 w 7414874"/>
                    <a:gd name="connsiteY353" fmla="*/ 1074746 h 1611452"/>
                    <a:gd name="connsiteX354" fmla="*/ 2968550 w 7414874"/>
                    <a:gd name="connsiteY354" fmla="*/ 1092080 h 1611452"/>
                    <a:gd name="connsiteX355" fmla="*/ 3141896 w 7414874"/>
                    <a:gd name="connsiteY355" fmla="*/ 1092080 h 1611452"/>
                    <a:gd name="connsiteX356" fmla="*/ 3141896 w 7414874"/>
                    <a:gd name="connsiteY356" fmla="*/ 1122415 h 1611452"/>
                    <a:gd name="connsiteX357" fmla="*/ 3211234 w 7414874"/>
                    <a:gd name="connsiteY357" fmla="*/ 1122415 h 1611452"/>
                    <a:gd name="connsiteX358" fmla="*/ 3215568 w 7414874"/>
                    <a:gd name="connsiteY358" fmla="*/ 1122415 h 1611452"/>
                    <a:gd name="connsiteX359" fmla="*/ 3302241 w 7414874"/>
                    <a:gd name="connsiteY359" fmla="*/ 1122415 h 1611452"/>
                    <a:gd name="connsiteX360" fmla="*/ 3302241 w 7414874"/>
                    <a:gd name="connsiteY360" fmla="*/ 1148417 h 1611452"/>
                    <a:gd name="connsiteX361" fmla="*/ 3388914 w 7414874"/>
                    <a:gd name="connsiteY361" fmla="*/ 1148417 h 1611452"/>
                    <a:gd name="connsiteX362" fmla="*/ 3388914 w 7414874"/>
                    <a:gd name="connsiteY362" fmla="*/ 1157085 h 1611452"/>
                    <a:gd name="connsiteX363" fmla="*/ 3445251 w 7414874"/>
                    <a:gd name="connsiteY363" fmla="*/ 1157085 h 1611452"/>
                    <a:gd name="connsiteX364" fmla="*/ 3453919 w 7414874"/>
                    <a:gd name="connsiteY364" fmla="*/ 1165753 h 1611452"/>
                    <a:gd name="connsiteX365" fmla="*/ 3596929 w 7414874"/>
                    <a:gd name="connsiteY365" fmla="*/ 1165753 h 1611452"/>
                    <a:gd name="connsiteX366" fmla="*/ 3596929 w 7414874"/>
                    <a:gd name="connsiteY366" fmla="*/ 1178753 h 1611452"/>
                    <a:gd name="connsiteX367" fmla="*/ 3705270 w 7414874"/>
                    <a:gd name="connsiteY367" fmla="*/ 1178753 h 1611452"/>
                    <a:gd name="connsiteX368" fmla="*/ 3709604 w 7414874"/>
                    <a:gd name="connsiteY368" fmla="*/ 1183087 h 1611452"/>
                    <a:gd name="connsiteX369" fmla="*/ 3960956 w 7414874"/>
                    <a:gd name="connsiteY369" fmla="*/ 1183087 h 1611452"/>
                    <a:gd name="connsiteX370" fmla="*/ 3960956 w 7414874"/>
                    <a:gd name="connsiteY370" fmla="*/ 1204755 h 1611452"/>
                    <a:gd name="connsiteX371" fmla="*/ 3991291 w 7414874"/>
                    <a:gd name="connsiteY371" fmla="*/ 1204755 h 1611452"/>
                    <a:gd name="connsiteX372" fmla="*/ 3991291 w 7414874"/>
                    <a:gd name="connsiteY372" fmla="*/ 1178753 h 1611452"/>
                    <a:gd name="connsiteX373" fmla="*/ 4030294 w 7414874"/>
                    <a:gd name="connsiteY373" fmla="*/ 1178753 h 1611452"/>
                    <a:gd name="connsiteX374" fmla="*/ 4030294 w 7414874"/>
                    <a:gd name="connsiteY374" fmla="*/ 1213422 h 1611452"/>
                    <a:gd name="connsiteX375" fmla="*/ 4043295 w 7414874"/>
                    <a:gd name="connsiteY375" fmla="*/ 1213422 h 1611452"/>
                    <a:gd name="connsiteX376" fmla="*/ 4043295 w 7414874"/>
                    <a:gd name="connsiteY376" fmla="*/ 1222089 h 1611452"/>
                    <a:gd name="connsiteX377" fmla="*/ 4164637 w 7414874"/>
                    <a:gd name="connsiteY377" fmla="*/ 1222089 h 1611452"/>
                    <a:gd name="connsiteX378" fmla="*/ 4164637 w 7414874"/>
                    <a:gd name="connsiteY378" fmla="*/ 1243758 h 1611452"/>
                    <a:gd name="connsiteX379" fmla="*/ 4320648 w 7414874"/>
                    <a:gd name="connsiteY379" fmla="*/ 1243758 h 1611452"/>
                    <a:gd name="connsiteX380" fmla="*/ 4320648 w 7414874"/>
                    <a:gd name="connsiteY380" fmla="*/ 1261092 h 1611452"/>
                    <a:gd name="connsiteX381" fmla="*/ 4398654 w 7414874"/>
                    <a:gd name="connsiteY381" fmla="*/ 1261092 h 1611452"/>
                    <a:gd name="connsiteX382" fmla="*/ 4398654 w 7414874"/>
                    <a:gd name="connsiteY382" fmla="*/ 1287094 h 1611452"/>
                    <a:gd name="connsiteX383" fmla="*/ 4450658 w 7414874"/>
                    <a:gd name="connsiteY383" fmla="*/ 1287094 h 1611452"/>
                    <a:gd name="connsiteX384" fmla="*/ 4476660 w 7414874"/>
                    <a:gd name="connsiteY384" fmla="*/ 1287094 h 1611452"/>
                    <a:gd name="connsiteX385" fmla="*/ 4498328 w 7414874"/>
                    <a:gd name="connsiteY385" fmla="*/ 1308762 h 1611452"/>
                    <a:gd name="connsiteX386" fmla="*/ 4593668 w 7414874"/>
                    <a:gd name="connsiteY386" fmla="*/ 1308762 h 1611452"/>
                    <a:gd name="connsiteX387" fmla="*/ 4602336 w 7414874"/>
                    <a:gd name="connsiteY387" fmla="*/ 1317430 h 1611452"/>
                    <a:gd name="connsiteX388" fmla="*/ 4663007 w 7414874"/>
                    <a:gd name="connsiteY388" fmla="*/ 1317430 h 1611452"/>
                    <a:gd name="connsiteX389" fmla="*/ 4663007 w 7414874"/>
                    <a:gd name="connsiteY389" fmla="*/ 1339098 h 1611452"/>
                    <a:gd name="connsiteX390" fmla="*/ 4706343 w 7414874"/>
                    <a:gd name="connsiteY390" fmla="*/ 1339098 h 1611452"/>
                    <a:gd name="connsiteX391" fmla="*/ 4710677 w 7414874"/>
                    <a:gd name="connsiteY391" fmla="*/ 1343432 h 1611452"/>
                    <a:gd name="connsiteX392" fmla="*/ 4767014 w 7414874"/>
                    <a:gd name="connsiteY392" fmla="*/ 1343432 h 1611452"/>
                    <a:gd name="connsiteX393" fmla="*/ 4780015 w 7414874"/>
                    <a:gd name="connsiteY393" fmla="*/ 1356433 h 1611452"/>
                    <a:gd name="connsiteX394" fmla="*/ 5005365 w 7414874"/>
                    <a:gd name="connsiteY394" fmla="*/ 1356433 h 1611452"/>
                    <a:gd name="connsiteX395" fmla="*/ 5018366 w 7414874"/>
                    <a:gd name="connsiteY395" fmla="*/ 1369434 h 1611452"/>
                    <a:gd name="connsiteX396" fmla="*/ 5152709 w 7414874"/>
                    <a:gd name="connsiteY396" fmla="*/ 1369434 h 1611452"/>
                    <a:gd name="connsiteX397" fmla="*/ 5152709 w 7414874"/>
                    <a:gd name="connsiteY397" fmla="*/ 1391102 h 1611452"/>
                    <a:gd name="connsiteX398" fmla="*/ 5282719 w 7414874"/>
                    <a:gd name="connsiteY398" fmla="*/ 1391102 h 1611452"/>
                    <a:gd name="connsiteX399" fmla="*/ 5291386 w 7414874"/>
                    <a:gd name="connsiteY399" fmla="*/ 1399769 h 1611452"/>
                    <a:gd name="connsiteX400" fmla="*/ 5356391 w 7414874"/>
                    <a:gd name="connsiteY400" fmla="*/ 1399769 h 1611452"/>
                    <a:gd name="connsiteX401" fmla="*/ 5369392 w 7414874"/>
                    <a:gd name="connsiteY401" fmla="*/ 1399769 h 1611452"/>
                    <a:gd name="connsiteX402" fmla="*/ 5369392 w 7414874"/>
                    <a:gd name="connsiteY402" fmla="*/ 1421437 h 1611452"/>
                    <a:gd name="connsiteX403" fmla="*/ 5473399 w 7414874"/>
                    <a:gd name="connsiteY403" fmla="*/ 1421437 h 1611452"/>
                    <a:gd name="connsiteX404" fmla="*/ 5473399 w 7414874"/>
                    <a:gd name="connsiteY404" fmla="*/ 1399769 h 1611452"/>
                    <a:gd name="connsiteX405" fmla="*/ 5512402 w 7414874"/>
                    <a:gd name="connsiteY405" fmla="*/ 1399769 h 1611452"/>
                    <a:gd name="connsiteX406" fmla="*/ 5512402 w 7414874"/>
                    <a:gd name="connsiteY406" fmla="*/ 1425771 h 1611452"/>
                    <a:gd name="connsiteX407" fmla="*/ 5607742 w 7414874"/>
                    <a:gd name="connsiteY407" fmla="*/ 1425771 h 1611452"/>
                    <a:gd name="connsiteX408" fmla="*/ 5607742 w 7414874"/>
                    <a:gd name="connsiteY408" fmla="*/ 1399769 h 1611452"/>
                    <a:gd name="connsiteX409" fmla="*/ 5664080 w 7414874"/>
                    <a:gd name="connsiteY409" fmla="*/ 1399769 h 1611452"/>
                    <a:gd name="connsiteX410" fmla="*/ 5664080 w 7414874"/>
                    <a:gd name="connsiteY410" fmla="*/ 1434438 h 1611452"/>
                    <a:gd name="connsiteX411" fmla="*/ 5685748 w 7414874"/>
                    <a:gd name="connsiteY411" fmla="*/ 1434438 h 1611452"/>
                    <a:gd name="connsiteX412" fmla="*/ 5685748 w 7414874"/>
                    <a:gd name="connsiteY412" fmla="*/ 1443106 h 1611452"/>
                    <a:gd name="connsiteX413" fmla="*/ 5716083 w 7414874"/>
                    <a:gd name="connsiteY413" fmla="*/ 1443106 h 1611452"/>
                    <a:gd name="connsiteX414" fmla="*/ 5716083 w 7414874"/>
                    <a:gd name="connsiteY414" fmla="*/ 1456106 h 1611452"/>
                    <a:gd name="connsiteX415" fmla="*/ 5794089 w 7414874"/>
                    <a:gd name="connsiteY415" fmla="*/ 1456106 h 1611452"/>
                    <a:gd name="connsiteX416" fmla="*/ 5794089 w 7414874"/>
                    <a:gd name="connsiteY416" fmla="*/ 1421437 h 1611452"/>
                    <a:gd name="connsiteX417" fmla="*/ 5837426 w 7414874"/>
                    <a:gd name="connsiteY417" fmla="*/ 1421437 h 1611452"/>
                    <a:gd name="connsiteX418" fmla="*/ 5837426 w 7414874"/>
                    <a:gd name="connsiteY418" fmla="*/ 1456106 h 1611452"/>
                    <a:gd name="connsiteX419" fmla="*/ 5902430 w 7414874"/>
                    <a:gd name="connsiteY419" fmla="*/ 1456106 h 1611452"/>
                    <a:gd name="connsiteX420" fmla="*/ 5928432 w 7414874"/>
                    <a:gd name="connsiteY420" fmla="*/ 1456106 h 1611452"/>
                    <a:gd name="connsiteX421" fmla="*/ 5928432 w 7414874"/>
                    <a:gd name="connsiteY421" fmla="*/ 1473441 h 1611452"/>
                    <a:gd name="connsiteX422" fmla="*/ 5945767 w 7414874"/>
                    <a:gd name="connsiteY422" fmla="*/ 1473441 h 1611452"/>
                    <a:gd name="connsiteX423" fmla="*/ 5950101 w 7414874"/>
                    <a:gd name="connsiteY423" fmla="*/ 1477775 h 1611452"/>
                    <a:gd name="connsiteX424" fmla="*/ 6019439 w 7414874"/>
                    <a:gd name="connsiteY424" fmla="*/ 1477775 h 1611452"/>
                    <a:gd name="connsiteX425" fmla="*/ 6019439 w 7414874"/>
                    <a:gd name="connsiteY425" fmla="*/ 1456106 h 1611452"/>
                    <a:gd name="connsiteX426" fmla="*/ 6058442 w 7414874"/>
                    <a:gd name="connsiteY426" fmla="*/ 1456106 h 1611452"/>
                    <a:gd name="connsiteX427" fmla="*/ 6058442 w 7414874"/>
                    <a:gd name="connsiteY427" fmla="*/ 1499443 h 1611452"/>
                    <a:gd name="connsiteX428" fmla="*/ 6110446 w 7414874"/>
                    <a:gd name="connsiteY428" fmla="*/ 1499443 h 1611452"/>
                    <a:gd name="connsiteX429" fmla="*/ 6110446 w 7414874"/>
                    <a:gd name="connsiteY429" fmla="*/ 1508110 h 1611452"/>
                    <a:gd name="connsiteX430" fmla="*/ 6188451 w 7414874"/>
                    <a:gd name="connsiteY430" fmla="*/ 1508110 h 1611452"/>
                    <a:gd name="connsiteX431" fmla="*/ 6188451 w 7414874"/>
                    <a:gd name="connsiteY431" fmla="*/ 1464774 h 1611452"/>
                    <a:gd name="connsiteX432" fmla="*/ 6227454 w 7414874"/>
                    <a:gd name="connsiteY432" fmla="*/ 1464774 h 1611452"/>
                    <a:gd name="connsiteX433" fmla="*/ 6227454 w 7414874"/>
                    <a:gd name="connsiteY433" fmla="*/ 1516778 h 1611452"/>
                    <a:gd name="connsiteX434" fmla="*/ 6353130 w 7414874"/>
                    <a:gd name="connsiteY434" fmla="*/ 1516778 h 1611452"/>
                    <a:gd name="connsiteX435" fmla="*/ 6353130 w 7414874"/>
                    <a:gd name="connsiteY435" fmla="*/ 1477775 h 1611452"/>
                    <a:gd name="connsiteX436" fmla="*/ 6409467 w 7414874"/>
                    <a:gd name="connsiteY436" fmla="*/ 1477775 h 1611452"/>
                    <a:gd name="connsiteX437" fmla="*/ 6409467 w 7414874"/>
                    <a:gd name="connsiteY437" fmla="*/ 1529778 h 1611452"/>
                    <a:gd name="connsiteX438" fmla="*/ 6457138 w 7414874"/>
                    <a:gd name="connsiteY438" fmla="*/ 1529778 h 1611452"/>
                    <a:gd name="connsiteX439" fmla="*/ 6457138 w 7414874"/>
                    <a:gd name="connsiteY439" fmla="*/ 1482108 h 1611452"/>
                    <a:gd name="connsiteX440" fmla="*/ 6487473 w 7414874"/>
                    <a:gd name="connsiteY440" fmla="*/ 1482108 h 1611452"/>
                    <a:gd name="connsiteX441" fmla="*/ 6487473 w 7414874"/>
                    <a:gd name="connsiteY441" fmla="*/ 1529778 h 1611452"/>
                    <a:gd name="connsiteX442" fmla="*/ 6561145 w 7414874"/>
                    <a:gd name="connsiteY442" fmla="*/ 1529778 h 1611452"/>
                    <a:gd name="connsiteX443" fmla="*/ 6565479 w 7414874"/>
                    <a:gd name="connsiteY443" fmla="*/ 1534112 h 1611452"/>
                    <a:gd name="connsiteX444" fmla="*/ 6669486 w 7414874"/>
                    <a:gd name="connsiteY444" fmla="*/ 1534112 h 1611452"/>
                    <a:gd name="connsiteX445" fmla="*/ 6669486 w 7414874"/>
                    <a:gd name="connsiteY445" fmla="*/ 1499443 h 1611452"/>
                    <a:gd name="connsiteX446" fmla="*/ 6738825 w 7414874"/>
                    <a:gd name="connsiteY446" fmla="*/ 1499443 h 1611452"/>
                    <a:gd name="connsiteX447" fmla="*/ 6738825 w 7414874"/>
                    <a:gd name="connsiteY447" fmla="*/ 1542779 h 1611452"/>
                    <a:gd name="connsiteX448" fmla="*/ 6795162 w 7414874"/>
                    <a:gd name="connsiteY448" fmla="*/ 1542779 h 1611452"/>
                    <a:gd name="connsiteX449" fmla="*/ 6795162 w 7414874"/>
                    <a:gd name="connsiteY449" fmla="*/ 1499443 h 1611452"/>
                    <a:gd name="connsiteX450" fmla="*/ 6829831 w 7414874"/>
                    <a:gd name="connsiteY450" fmla="*/ 1499443 h 1611452"/>
                    <a:gd name="connsiteX451" fmla="*/ 6829831 w 7414874"/>
                    <a:gd name="connsiteY451" fmla="*/ 1529778 h 1611452"/>
                    <a:gd name="connsiteX452" fmla="*/ 6847166 w 7414874"/>
                    <a:gd name="connsiteY452" fmla="*/ 1529778 h 1611452"/>
                    <a:gd name="connsiteX453" fmla="*/ 6847166 w 7414874"/>
                    <a:gd name="connsiteY453" fmla="*/ 1555780 h 1611452"/>
                    <a:gd name="connsiteX454" fmla="*/ 7050847 w 7414874"/>
                    <a:gd name="connsiteY454" fmla="*/ 1555780 h 1611452"/>
                    <a:gd name="connsiteX455" fmla="*/ 7063848 w 7414874"/>
                    <a:gd name="connsiteY455" fmla="*/ 1568781 h 1611452"/>
                    <a:gd name="connsiteX456" fmla="*/ 7133187 w 7414874"/>
                    <a:gd name="connsiteY456" fmla="*/ 1568781 h 1611452"/>
                    <a:gd name="connsiteX457" fmla="*/ 7133187 w 7414874"/>
                    <a:gd name="connsiteY457" fmla="*/ 1586116 h 1611452"/>
                    <a:gd name="connsiteX458" fmla="*/ 7284865 w 7414874"/>
                    <a:gd name="connsiteY458" fmla="*/ 1586116 h 1611452"/>
                    <a:gd name="connsiteX459" fmla="*/ 7284865 w 7414874"/>
                    <a:gd name="connsiteY459" fmla="*/ 1607784 h 1611452"/>
                    <a:gd name="connsiteX460" fmla="*/ 7412495 w 7414874"/>
                    <a:gd name="connsiteY460" fmla="*/ 1611452 h 1611452"/>
                    <a:gd name="connsiteX0" fmla="*/ 7417257 w 7417362"/>
                    <a:gd name="connsiteY0" fmla="*/ 1613833 h 1613833"/>
                    <a:gd name="connsiteX1" fmla="*/ 7414874 w 7417362"/>
                    <a:gd name="connsiteY1" fmla="*/ 1508110 h 1613833"/>
                    <a:gd name="connsiteX2" fmla="*/ 7271864 w 7417362"/>
                    <a:gd name="connsiteY2" fmla="*/ 1508110 h 1613833"/>
                    <a:gd name="connsiteX3" fmla="*/ 7258863 w 7417362"/>
                    <a:gd name="connsiteY3" fmla="*/ 1495109 h 1613833"/>
                    <a:gd name="connsiteX4" fmla="*/ 7159189 w 7417362"/>
                    <a:gd name="connsiteY4" fmla="*/ 1495109 h 1613833"/>
                    <a:gd name="connsiteX5" fmla="*/ 7141854 w 7417362"/>
                    <a:gd name="connsiteY5" fmla="*/ 1477774 h 1613833"/>
                    <a:gd name="connsiteX6" fmla="*/ 7037847 w 7417362"/>
                    <a:gd name="connsiteY6" fmla="*/ 1477774 h 1613833"/>
                    <a:gd name="connsiteX7" fmla="*/ 7037847 w 7417362"/>
                    <a:gd name="connsiteY7" fmla="*/ 1451773 h 1613833"/>
                    <a:gd name="connsiteX8" fmla="*/ 6873168 w 7417362"/>
                    <a:gd name="connsiteY8" fmla="*/ 1451773 h 1613833"/>
                    <a:gd name="connsiteX9" fmla="*/ 6868834 w 7417362"/>
                    <a:gd name="connsiteY9" fmla="*/ 1447439 h 1613833"/>
                    <a:gd name="connsiteX10" fmla="*/ 6825498 w 7417362"/>
                    <a:gd name="connsiteY10" fmla="*/ 1447439 h 1613833"/>
                    <a:gd name="connsiteX11" fmla="*/ 6825498 w 7417362"/>
                    <a:gd name="connsiteY11" fmla="*/ 1495109 h 1613833"/>
                    <a:gd name="connsiteX12" fmla="*/ 6786495 w 7417362"/>
                    <a:gd name="connsiteY12" fmla="*/ 1495109 h 1613833"/>
                    <a:gd name="connsiteX13" fmla="*/ 6786495 w 7417362"/>
                    <a:gd name="connsiteY13" fmla="*/ 1443106 h 1613833"/>
                    <a:gd name="connsiteX14" fmla="*/ 6738825 w 7417362"/>
                    <a:gd name="connsiteY14" fmla="*/ 1443106 h 1613833"/>
                    <a:gd name="connsiteX15" fmla="*/ 6738824 w 7417362"/>
                    <a:gd name="connsiteY15" fmla="*/ 1477775 h 1613833"/>
                    <a:gd name="connsiteX16" fmla="*/ 6678154 w 7417362"/>
                    <a:gd name="connsiteY16" fmla="*/ 1477775 h 1613833"/>
                    <a:gd name="connsiteX17" fmla="*/ 6678154 w 7417362"/>
                    <a:gd name="connsiteY17" fmla="*/ 1438772 h 1613833"/>
                    <a:gd name="connsiteX18" fmla="*/ 6561145 w 7417362"/>
                    <a:gd name="connsiteY18" fmla="*/ 1438772 h 1613833"/>
                    <a:gd name="connsiteX19" fmla="*/ 6548144 w 7417362"/>
                    <a:gd name="connsiteY19" fmla="*/ 1425771 h 1613833"/>
                    <a:gd name="connsiteX20" fmla="*/ 6483139 w 7417362"/>
                    <a:gd name="connsiteY20" fmla="*/ 1425771 h 1613833"/>
                    <a:gd name="connsiteX21" fmla="*/ 6483139 w 7417362"/>
                    <a:gd name="connsiteY21" fmla="*/ 1482108 h 1613833"/>
                    <a:gd name="connsiteX22" fmla="*/ 6444137 w 7417362"/>
                    <a:gd name="connsiteY22" fmla="*/ 1482108 h 1613833"/>
                    <a:gd name="connsiteX23" fmla="*/ 6444137 w 7417362"/>
                    <a:gd name="connsiteY23" fmla="*/ 1434438 h 1613833"/>
                    <a:gd name="connsiteX24" fmla="*/ 6405134 w 7417362"/>
                    <a:gd name="connsiteY24" fmla="*/ 1434438 h 1613833"/>
                    <a:gd name="connsiteX25" fmla="*/ 6405134 w 7417362"/>
                    <a:gd name="connsiteY25" fmla="*/ 1477775 h 1613833"/>
                    <a:gd name="connsiteX26" fmla="*/ 6357464 w 7417362"/>
                    <a:gd name="connsiteY26" fmla="*/ 1477775 h 1613833"/>
                    <a:gd name="connsiteX27" fmla="*/ 6357464 w 7417362"/>
                    <a:gd name="connsiteY27" fmla="*/ 1430105 h 1613833"/>
                    <a:gd name="connsiteX28" fmla="*/ 6223120 w 7417362"/>
                    <a:gd name="connsiteY28" fmla="*/ 1430105 h 1613833"/>
                    <a:gd name="connsiteX29" fmla="*/ 6223120 w 7417362"/>
                    <a:gd name="connsiteY29" fmla="*/ 1443106 h 1613833"/>
                    <a:gd name="connsiteX30" fmla="*/ 6192785 w 7417362"/>
                    <a:gd name="connsiteY30" fmla="*/ 1443106 h 1613833"/>
                    <a:gd name="connsiteX31" fmla="*/ 6192785 w 7417362"/>
                    <a:gd name="connsiteY31" fmla="*/ 1412770 h 1613833"/>
                    <a:gd name="connsiteX32" fmla="*/ 6119113 w 7417362"/>
                    <a:gd name="connsiteY32" fmla="*/ 1412770 h 1613833"/>
                    <a:gd name="connsiteX33" fmla="*/ 6119113 w 7417362"/>
                    <a:gd name="connsiteY33" fmla="*/ 1399769 h 1613833"/>
                    <a:gd name="connsiteX34" fmla="*/ 6071443 w 7417362"/>
                    <a:gd name="connsiteY34" fmla="*/ 1399769 h 1613833"/>
                    <a:gd name="connsiteX35" fmla="*/ 6071443 w 7417362"/>
                    <a:gd name="connsiteY35" fmla="*/ 1382434 h 1613833"/>
                    <a:gd name="connsiteX36" fmla="*/ 6049774 w 7417362"/>
                    <a:gd name="connsiteY36" fmla="*/ 1382434 h 1613833"/>
                    <a:gd name="connsiteX37" fmla="*/ 6049774 w 7417362"/>
                    <a:gd name="connsiteY37" fmla="*/ 1421437 h 1613833"/>
                    <a:gd name="connsiteX38" fmla="*/ 6019439 w 7417362"/>
                    <a:gd name="connsiteY38" fmla="*/ 1421437 h 1613833"/>
                    <a:gd name="connsiteX39" fmla="*/ 6019439 w 7417362"/>
                    <a:gd name="connsiteY39" fmla="*/ 1391102 h 1613833"/>
                    <a:gd name="connsiteX40" fmla="*/ 5958768 w 7417362"/>
                    <a:gd name="connsiteY40" fmla="*/ 1391102 h 1613833"/>
                    <a:gd name="connsiteX41" fmla="*/ 5958768 w 7417362"/>
                    <a:gd name="connsiteY41" fmla="*/ 1373767 h 1613833"/>
                    <a:gd name="connsiteX42" fmla="*/ 5919765 w 7417362"/>
                    <a:gd name="connsiteY42" fmla="*/ 1373767 h 1613833"/>
                    <a:gd name="connsiteX43" fmla="*/ 5919765 w 7417362"/>
                    <a:gd name="connsiteY43" fmla="*/ 1352099 h 1613833"/>
                    <a:gd name="connsiteX44" fmla="*/ 5824425 w 7417362"/>
                    <a:gd name="connsiteY44" fmla="*/ 1352099 h 1613833"/>
                    <a:gd name="connsiteX45" fmla="*/ 5824425 w 7417362"/>
                    <a:gd name="connsiteY45" fmla="*/ 1399769 h 1613833"/>
                    <a:gd name="connsiteX46" fmla="*/ 5789756 w 7417362"/>
                    <a:gd name="connsiteY46" fmla="*/ 1399769 h 1613833"/>
                    <a:gd name="connsiteX47" fmla="*/ 5789756 w 7417362"/>
                    <a:gd name="connsiteY47" fmla="*/ 1365100 h 1613833"/>
                    <a:gd name="connsiteX48" fmla="*/ 5698749 w 7417362"/>
                    <a:gd name="connsiteY48" fmla="*/ 1365100 h 1613833"/>
                    <a:gd name="connsiteX49" fmla="*/ 5698749 w 7417362"/>
                    <a:gd name="connsiteY49" fmla="*/ 1326097 h 1613833"/>
                    <a:gd name="connsiteX50" fmla="*/ 5655412 w 7417362"/>
                    <a:gd name="connsiteY50" fmla="*/ 1326097 h 1613833"/>
                    <a:gd name="connsiteX51" fmla="*/ 5655412 w 7417362"/>
                    <a:gd name="connsiteY51" fmla="*/ 1373767 h 1613833"/>
                    <a:gd name="connsiteX52" fmla="*/ 5612076 w 7417362"/>
                    <a:gd name="connsiteY52" fmla="*/ 1373767 h 1613833"/>
                    <a:gd name="connsiteX53" fmla="*/ 5612076 w 7417362"/>
                    <a:gd name="connsiteY53" fmla="*/ 1334764 h 1613833"/>
                    <a:gd name="connsiteX54" fmla="*/ 5512402 w 7417362"/>
                    <a:gd name="connsiteY54" fmla="*/ 1334764 h 1613833"/>
                    <a:gd name="connsiteX55" fmla="*/ 5512402 w 7417362"/>
                    <a:gd name="connsiteY55" fmla="*/ 1360766 h 1613833"/>
                    <a:gd name="connsiteX56" fmla="*/ 5469065 w 7417362"/>
                    <a:gd name="connsiteY56" fmla="*/ 1360766 h 1613833"/>
                    <a:gd name="connsiteX57" fmla="*/ 5469065 w 7417362"/>
                    <a:gd name="connsiteY57" fmla="*/ 1321763 h 1613833"/>
                    <a:gd name="connsiteX58" fmla="*/ 5360724 w 7417362"/>
                    <a:gd name="connsiteY58" fmla="*/ 1321763 h 1613833"/>
                    <a:gd name="connsiteX59" fmla="*/ 5360724 w 7417362"/>
                    <a:gd name="connsiteY59" fmla="*/ 1304429 h 1613833"/>
                    <a:gd name="connsiteX60" fmla="*/ 5300053 w 7417362"/>
                    <a:gd name="connsiteY60" fmla="*/ 1304429 h 1613833"/>
                    <a:gd name="connsiteX61" fmla="*/ 5291386 w 7417362"/>
                    <a:gd name="connsiteY61" fmla="*/ 1295762 h 1613833"/>
                    <a:gd name="connsiteX62" fmla="*/ 5187378 w 7417362"/>
                    <a:gd name="connsiteY62" fmla="*/ 1295762 h 1613833"/>
                    <a:gd name="connsiteX63" fmla="*/ 5187378 w 7417362"/>
                    <a:gd name="connsiteY63" fmla="*/ 1278427 h 1613833"/>
                    <a:gd name="connsiteX64" fmla="*/ 5057369 w 7417362"/>
                    <a:gd name="connsiteY64" fmla="*/ 1278427 h 1613833"/>
                    <a:gd name="connsiteX65" fmla="*/ 5048701 w 7417362"/>
                    <a:gd name="connsiteY65" fmla="*/ 1269759 h 1613833"/>
                    <a:gd name="connsiteX66" fmla="*/ 4923026 w 7417362"/>
                    <a:gd name="connsiteY66" fmla="*/ 1269759 h 1613833"/>
                    <a:gd name="connsiteX67" fmla="*/ 4910025 w 7417362"/>
                    <a:gd name="connsiteY67" fmla="*/ 1256758 h 1613833"/>
                    <a:gd name="connsiteX68" fmla="*/ 4697676 w 7417362"/>
                    <a:gd name="connsiteY68" fmla="*/ 1256758 h 1613833"/>
                    <a:gd name="connsiteX69" fmla="*/ 4684675 w 7417362"/>
                    <a:gd name="connsiteY69" fmla="*/ 1243757 h 1613833"/>
                    <a:gd name="connsiteX70" fmla="*/ 4663007 w 7417362"/>
                    <a:gd name="connsiteY70" fmla="*/ 1243757 h 1613833"/>
                    <a:gd name="connsiteX71" fmla="*/ 4645673 w 7417362"/>
                    <a:gd name="connsiteY71" fmla="*/ 1226423 h 1613833"/>
                    <a:gd name="connsiteX72" fmla="*/ 4632672 w 7417362"/>
                    <a:gd name="connsiteY72" fmla="*/ 1213422 h 1613833"/>
                    <a:gd name="connsiteX73" fmla="*/ 4489661 w 7417362"/>
                    <a:gd name="connsiteY73" fmla="*/ 1213422 h 1613833"/>
                    <a:gd name="connsiteX74" fmla="*/ 4489661 w 7417362"/>
                    <a:gd name="connsiteY74" fmla="*/ 1200421 h 1613833"/>
                    <a:gd name="connsiteX75" fmla="*/ 4446324 w 7417362"/>
                    <a:gd name="connsiteY75" fmla="*/ 1200421 h 1613833"/>
                    <a:gd name="connsiteX76" fmla="*/ 4446324 w 7417362"/>
                    <a:gd name="connsiteY76" fmla="*/ 1183087 h 1613833"/>
                    <a:gd name="connsiteX77" fmla="*/ 4411655 w 7417362"/>
                    <a:gd name="connsiteY77" fmla="*/ 1183087 h 1613833"/>
                    <a:gd name="connsiteX78" fmla="*/ 4398654 w 7417362"/>
                    <a:gd name="connsiteY78" fmla="*/ 1170086 h 1613833"/>
                    <a:gd name="connsiteX79" fmla="*/ 4394321 w 7417362"/>
                    <a:gd name="connsiteY79" fmla="*/ 1174419 h 1613833"/>
                    <a:gd name="connsiteX80" fmla="*/ 4394321 w 7417362"/>
                    <a:gd name="connsiteY80" fmla="*/ 1200421 h 1613833"/>
                    <a:gd name="connsiteX81" fmla="*/ 4359651 w 7417362"/>
                    <a:gd name="connsiteY81" fmla="*/ 1200421 h 1613833"/>
                    <a:gd name="connsiteX82" fmla="*/ 4359651 w 7417362"/>
                    <a:gd name="connsiteY82" fmla="*/ 1157085 h 1613833"/>
                    <a:gd name="connsiteX83" fmla="*/ 4329316 w 7417362"/>
                    <a:gd name="connsiteY83" fmla="*/ 1157085 h 1613833"/>
                    <a:gd name="connsiteX84" fmla="*/ 4320648 w 7417362"/>
                    <a:gd name="connsiteY84" fmla="*/ 1148417 h 1613833"/>
                    <a:gd name="connsiteX85" fmla="*/ 4155970 w 7417362"/>
                    <a:gd name="connsiteY85" fmla="*/ 1148417 h 1613833"/>
                    <a:gd name="connsiteX86" fmla="*/ 4147302 w 7417362"/>
                    <a:gd name="connsiteY86" fmla="*/ 1139749 h 1613833"/>
                    <a:gd name="connsiteX87" fmla="*/ 4064963 w 7417362"/>
                    <a:gd name="connsiteY87" fmla="*/ 1139749 h 1613833"/>
                    <a:gd name="connsiteX88" fmla="*/ 4064963 w 7417362"/>
                    <a:gd name="connsiteY88" fmla="*/ 1122415 h 1613833"/>
                    <a:gd name="connsiteX89" fmla="*/ 4047628 w 7417362"/>
                    <a:gd name="connsiteY89" fmla="*/ 1122415 h 1613833"/>
                    <a:gd name="connsiteX90" fmla="*/ 4047628 w 7417362"/>
                    <a:gd name="connsiteY90" fmla="*/ 1105081 h 1613833"/>
                    <a:gd name="connsiteX91" fmla="*/ 4025960 w 7417362"/>
                    <a:gd name="connsiteY91" fmla="*/ 1105081 h 1613833"/>
                    <a:gd name="connsiteX92" fmla="*/ 4025960 w 7417362"/>
                    <a:gd name="connsiteY92" fmla="*/ 1152751 h 1613833"/>
                    <a:gd name="connsiteX93" fmla="*/ 3991291 w 7417362"/>
                    <a:gd name="connsiteY93" fmla="*/ 1152751 h 1613833"/>
                    <a:gd name="connsiteX94" fmla="*/ 3991291 w 7417362"/>
                    <a:gd name="connsiteY94" fmla="*/ 1109415 h 1613833"/>
                    <a:gd name="connsiteX95" fmla="*/ 3960956 w 7417362"/>
                    <a:gd name="connsiteY95" fmla="*/ 1109415 h 1613833"/>
                    <a:gd name="connsiteX96" fmla="*/ 3952288 w 7417362"/>
                    <a:gd name="connsiteY96" fmla="*/ 1100747 h 1613833"/>
                    <a:gd name="connsiteX97" fmla="*/ 3735606 w 7417362"/>
                    <a:gd name="connsiteY97" fmla="*/ 1100747 h 1613833"/>
                    <a:gd name="connsiteX98" fmla="*/ 3718272 w 7417362"/>
                    <a:gd name="connsiteY98" fmla="*/ 1083413 h 1613833"/>
                    <a:gd name="connsiteX99" fmla="*/ 3592595 w 7417362"/>
                    <a:gd name="connsiteY99" fmla="*/ 1083413 h 1613833"/>
                    <a:gd name="connsiteX100" fmla="*/ 3575261 w 7417362"/>
                    <a:gd name="connsiteY100" fmla="*/ 1066079 h 1613833"/>
                    <a:gd name="connsiteX101" fmla="*/ 3440918 w 7417362"/>
                    <a:gd name="connsiteY101" fmla="*/ 1066079 h 1613833"/>
                    <a:gd name="connsiteX102" fmla="*/ 3440918 w 7417362"/>
                    <a:gd name="connsiteY102" fmla="*/ 1040076 h 1613833"/>
                    <a:gd name="connsiteX103" fmla="*/ 3319575 w 7417362"/>
                    <a:gd name="connsiteY103" fmla="*/ 1040076 h 1613833"/>
                    <a:gd name="connsiteX104" fmla="*/ 3319575 w 7417362"/>
                    <a:gd name="connsiteY104" fmla="*/ 1027075 h 1613833"/>
                    <a:gd name="connsiteX105" fmla="*/ 3180899 w 7417362"/>
                    <a:gd name="connsiteY105" fmla="*/ 1027075 h 1613833"/>
                    <a:gd name="connsiteX106" fmla="*/ 3180899 w 7417362"/>
                    <a:gd name="connsiteY106" fmla="*/ 1020123 h 1613833"/>
                    <a:gd name="connsiteX107" fmla="*/ 3163564 w 7417362"/>
                    <a:gd name="connsiteY107" fmla="*/ 1018408 h 1613833"/>
                    <a:gd name="connsiteX108" fmla="*/ 3150563 w 7417362"/>
                    <a:gd name="connsiteY108" fmla="*/ 1005407 h 1613833"/>
                    <a:gd name="connsiteX109" fmla="*/ 2990218 w 7417362"/>
                    <a:gd name="connsiteY109" fmla="*/ 1005407 h 1613833"/>
                    <a:gd name="connsiteX110" fmla="*/ 2990218 w 7417362"/>
                    <a:gd name="connsiteY110" fmla="*/ 988072 h 1613833"/>
                    <a:gd name="connsiteX111" fmla="*/ 2907879 w 7417362"/>
                    <a:gd name="connsiteY111" fmla="*/ 988072 h 1613833"/>
                    <a:gd name="connsiteX112" fmla="*/ 2899211 w 7417362"/>
                    <a:gd name="connsiteY112" fmla="*/ 979404 h 1613833"/>
                    <a:gd name="connsiteX113" fmla="*/ 2868876 w 7417362"/>
                    <a:gd name="connsiteY113" fmla="*/ 979404 h 1613833"/>
                    <a:gd name="connsiteX114" fmla="*/ 2868876 w 7417362"/>
                    <a:gd name="connsiteY114" fmla="*/ 953403 h 1613833"/>
                    <a:gd name="connsiteX115" fmla="*/ 2842874 w 7417362"/>
                    <a:gd name="connsiteY115" fmla="*/ 953403 h 1613833"/>
                    <a:gd name="connsiteX116" fmla="*/ 2834207 w 7417362"/>
                    <a:gd name="connsiteY116" fmla="*/ 944736 h 1613833"/>
                    <a:gd name="connsiteX117" fmla="*/ 2756201 w 7417362"/>
                    <a:gd name="connsiteY117" fmla="*/ 944736 h 1613833"/>
                    <a:gd name="connsiteX118" fmla="*/ 2747534 w 7417362"/>
                    <a:gd name="connsiteY118" fmla="*/ 936069 h 1613833"/>
                    <a:gd name="connsiteX119" fmla="*/ 2699864 w 7417362"/>
                    <a:gd name="connsiteY119" fmla="*/ 936069 h 1613833"/>
                    <a:gd name="connsiteX120" fmla="*/ 2688815 w 7417362"/>
                    <a:gd name="connsiteY120" fmla="*/ 925019 h 1613833"/>
                    <a:gd name="connsiteX121" fmla="*/ 2643526 w 7417362"/>
                    <a:gd name="connsiteY121" fmla="*/ 927401 h 1613833"/>
                    <a:gd name="connsiteX122" fmla="*/ 2638099 w 7417362"/>
                    <a:gd name="connsiteY122" fmla="*/ 910067 h 1613833"/>
                    <a:gd name="connsiteX123" fmla="*/ 2616001 w 7417362"/>
                    <a:gd name="connsiteY123" fmla="*/ 899876 h 1613833"/>
                    <a:gd name="connsiteX124" fmla="*/ 2591522 w 7417362"/>
                    <a:gd name="connsiteY124" fmla="*/ 875397 h 1613833"/>
                    <a:gd name="connsiteX125" fmla="*/ 2561187 w 7417362"/>
                    <a:gd name="connsiteY125" fmla="*/ 875397 h 1613833"/>
                    <a:gd name="connsiteX126" fmla="*/ 2552519 w 7417362"/>
                    <a:gd name="connsiteY126" fmla="*/ 866729 h 1613833"/>
                    <a:gd name="connsiteX127" fmla="*/ 2500516 w 7417362"/>
                    <a:gd name="connsiteY127" fmla="*/ 866729 h 1613833"/>
                    <a:gd name="connsiteX128" fmla="*/ 2500516 w 7417362"/>
                    <a:gd name="connsiteY128" fmla="*/ 849396 h 1613833"/>
                    <a:gd name="connsiteX129" fmla="*/ 2444178 w 7417362"/>
                    <a:gd name="connsiteY129" fmla="*/ 849396 h 1613833"/>
                    <a:gd name="connsiteX130" fmla="*/ 2435510 w 7417362"/>
                    <a:gd name="connsiteY130" fmla="*/ 840728 h 1613833"/>
                    <a:gd name="connsiteX131" fmla="*/ 2413843 w 7417362"/>
                    <a:gd name="connsiteY131" fmla="*/ 840728 h 1613833"/>
                    <a:gd name="connsiteX132" fmla="*/ 2400842 w 7417362"/>
                    <a:gd name="connsiteY132" fmla="*/ 827727 h 1613833"/>
                    <a:gd name="connsiteX133" fmla="*/ 2348838 w 7417362"/>
                    <a:gd name="connsiteY133" fmla="*/ 827727 h 1613833"/>
                    <a:gd name="connsiteX134" fmla="*/ 2348838 w 7417362"/>
                    <a:gd name="connsiteY134" fmla="*/ 810393 h 1613833"/>
                    <a:gd name="connsiteX135" fmla="*/ 2309835 w 7417362"/>
                    <a:gd name="connsiteY135" fmla="*/ 810393 h 1613833"/>
                    <a:gd name="connsiteX136" fmla="*/ 2296834 w 7417362"/>
                    <a:gd name="connsiteY136" fmla="*/ 823394 h 1613833"/>
                    <a:gd name="connsiteX137" fmla="*/ 2266499 w 7417362"/>
                    <a:gd name="connsiteY137" fmla="*/ 823394 h 1613833"/>
                    <a:gd name="connsiteX138" fmla="*/ 2253498 w 7417362"/>
                    <a:gd name="connsiteY138" fmla="*/ 810393 h 1613833"/>
                    <a:gd name="connsiteX139" fmla="*/ 2244830 w 7417362"/>
                    <a:gd name="connsiteY139" fmla="*/ 801725 h 1613833"/>
                    <a:gd name="connsiteX140" fmla="*/ 2244830 w 7417362"/>
                    <a:gd name="connsiteY140" fmla="*/ 775724 h 1613833"/>
                    <a:gd name="connsiteX141" fmla="*/ 2123488 w 7417362"/>
                    <a:gd name="connsiteY141" fmla="*/ 775724 h 1613833"/>
                    <a:gd name="connsiteX142" fmla="*/ 2123488 w 7417362"/>
                    <a:gd name="connsiteY142" fmla="*/ 745388 h 1613833"/>
                    <a:gd name="connsiteX143" fmla="*/ 2071484 w 7417362"/>
                    <a:gd name="connsiteY143" fmla="*/ 745388 h 1613833"/>
                    <a:gd name="connsiteX144" fmla="*/ 2062817 w 7417362"/>
                    <a:gd name="connsiteY144" fmla="*/ 736721 h 1613833"/>
                    <a:gd name="connsiteX145" fmla="*/ 2006480 w 7417362"/>
                    <a:gd name="connsiteY145" fmla="*/ 736721 h 1613833"/>
                    <a:gd name="connsiteX146" fmla="*/ 2006480 w 7417362"/>
                    <a:gd name="connsiteY146" fmla="*/ 715052 h 1613833"/>
                    <a:gd name="connsiteX147" fmla="*/ 1906806 w 7417362"/>
                    <a:gd name="connsiteY147" fmla="*/ 715052 h 1613833"/>
                    <a:gd name="connsiteX148" fmla="*/ 1902473 w 7417362"/>
                    <a:gd name="connsiteY148" fmla="*/ 710719 h 1613833"/>
                    <a:gd name="connsiteX149" fmla="*/ 1863469 w 7417362"/>
                    <a:gd name="connsiteY149" fmla="*/ 710719 h 1613833"/>
                    <a:gd name="connsiteX150" fmla="*/ 1863469 w 7417362"/>
                    <a:gd name="connsiteY150" fmla="*/ 680383 h 1613833"/>
                    <a:gd name="connsiteX151" fmla="*/ 1807132 w 7417362"/>
                    <a:gd name="connsiteY151" fmla="*/ 680383 h 1613833"/>
                    <a:gd name="connsiteX152" fmla="*/ 1798465 w 7417362"/>
                    <a:gd name="connsiteY152" fmla="*/ 671716 h 1613833"/>
                    <a:gd name="connsiteX153" fmla="*/ 1785464 w 7417362"/>
                    <a:gd name="connsiteY153" fmla="*/ 671716 h 1613833"/>
                    <a:gd name="connsiteX154" fmla="*/ 1785464 w 7417362"/>
                    <a:gd name="connsiteY154" fmla="*/ 658715 h 1613833"/>
                    <a:gd name="connsiteX155" fmla="*/ 1750794 w 7417362"/>
                    <a:gd name="connsiteY155" fmla="*/ 658715 h 1613833"/>
                    <a:gd name="connsiteX156" fmla="*/ 1750794 w 7417362"/>
                    <a:gd name="connsiteY156" fmla="*/ 637047 h 1613833"/>
                    <a:gd name="connsiteX157" fmla="*/ 1698791 w 7417362"/>
                    <a:gd name="connsiteY157" fmla="*/ 637047 h 1613833"/>
                    <a:gd name="connsiteX158" fmla="*/ 1698791 w 7417362"/>
                    <a:gd name="connsiteY158" fmla="*/ 611045 h 1613833"/>
                    <a:gd name="connsiteX159" fmla="*/ 1616451 w 7417362"/>
                    <a:gd name="connsiteY159" fmla="*/ 611045 h 1613833"/>
                    <a:gd name="connsiteX160" fmla="*/ 1603450 w 7417362"/>
                    <a:gd name="connsiteY160" fmla="*/ 598044 h 1613833"/>
                    <a:gd name="connsiteX161" fmla="*/ 1590449 w 7417362"/>
                    <a:gd name="connsiteY161" fmla="*/ 598044 h 1613833"/>
                    <a:gd name="connsiteX162" fmla="*/ 1577448 w 7417362"/>
                    <a:gd name="connsiteY162" fmla="*/ 585043 h 1613833"/>
                    <a:gd name="connsiteX163" fmla="*/ 1529778 w 7417362"/>
                    <a:gd name="connsiteY163" fmla="*/ 585043 h 1613833"/>
                    <a:gd name="connsiteX164" fmla="*/ 1529778 w 7417362"/>
                    <a:gd name="connsiteY164" fmla="*/ 576376 h 1613833"/>
                    <a:gd name="connsiteX165" fmla="*/ 1477774 w 7417362"/>
                    <a:gd name="connsiteY165" fmla="*/ 576376 h 1613833"/>
                    <a:gd name="connsiteX166" fmla="*/ 1477774 w 7417362"/>
                    <a:gd name="connsiteY166" fmla="*/ 559041 h 1613833"/>
                    <a:gd name="connsiteX167" fmla="*/ 1408436 w 7417362"/>
                    <a:gd name="connsiteY167" fmla="*/ 559041 h 1613833"/>
                    <a:gd name="connsiteX168" fmla="*/ 1395435 w 7417362"/>
                    <a:gd name="connsiteY168" fmla="*/ 546040 h 1613833"/>
                    <a:gd name="connsiteX169" fmla="*/ 1330430 w 7417362"/>
                    <a:gd name="connsiteY169" fmla="*/ 546040 h 1613833"/>
                    <a:gd name="connsiteX170" fmla="*/ 1330430 w 7417362"/>
                    <a:gd name="connsiteY170" fmla="*/ 528706 h 1613833"/>
                    <a:gd name="connsiteX171" fmla="*/ 1274093 w 7417362"/>
                    <a:gd name="connsiteY171" fmla="*/ 528706 h 1613833"/>
                    <a:gd name="connsiteX172" fmla="*/ 1274093 w 7417362"/>
                    <a:gd name="connsiteY172" fmla="*/ 507037 h 1613833"/>
                    <a:gd name="connsiteX173" fmla="*/ 1191754 w 7417362"/>
                    <a:gd name="connsiteY173" fmla="*/ 507037 h 1613833"/>
                    <a:gd name="connsiteX174" fmla="*/ 1174419 w 7417362"/>
                    <a:gd name="connsiteY174" fmla="*/ 507037 h 1613833"/>
                    <a:gd name="connsiteX175" fmla="*/ 1148417 w 7417362"/>
                    <a:gd name="connsiteY175" fmla="*/ 507037 h 1613833"/>
                    <a:gd name="connsiteX176" fmla="*/ 1148417 w 7417362"/>
                    <a:gd name="connsiteY176" fmla="*/ 481035 h 1613833"/>
                    <a:gd name="connsiteX177" fmla="*/ 1092080 w 7417362"/>
                    <a:gd name="connsiteY177" fmla="*/ 481035 h 1613833"/>
                    <a:gd name="connsiteX178" fmla="*/ 1092080 w 7417362"/>
                    <a:gd name="connsiteY178" fmla="*/ 468034 h 1613833"/>
                    <a:gd name="connsiteX179" fmla="*/ 1044410 w 7417362"/>
                    <a:gd name="connsiteY179" fmla="*/ 468034 h 1613833"/>
                    <a:gd name="connsiteX180" fmla="*/ 1044410 w 7417362"/>
                    <a:gd name="connsiteY180" fmla="*/ 437699 h 1613833"/>
                    <a:gd name="connsiteX181" fmla="*/ 988072 w 7417362"/>
                    <a:gd name="connsiteY181" fmla="*/ 437699 h 1613833"/>
                    <a:gd name="connsiteX182" fmla="*/ 975071 w 7417362"/>
                    <a:gd name="connsiteY182" fmla="*/ 424698 h 1613833"/>
                    <a:gd name="connsiteX183" fmla="*/ 953403 w 7417362"/>
                    <a:gd name="connsiteY183" fmla="*/ 424698 h 1613833"/>
                    <a:gd name="connsiteX184" fmla="*/ 944736 w 7417362"/>
                    <a:gd name="connsiteY184" fmla="*/ 416031 h 1613833"/>
                    <a:gd name="connsiteX185" fmla="*/ 892732 w 7417362"/>
                    <a:gd name="connsiteY185" fmla="*/ 416031 h 1613833"/>
                    <a:gd name="connsiteX186" fmla="*/ 892732 w 7417362"/>
                    <a:gd name="connsiteY186" fmla="*/ 394362 h 1613833"/>
                    <a:gd name="connsiteX187" fmla="*/ 866730 w 7417362"/>
                    <a:gd name="connsiteY187" fmla="*/ 394362 h 1613833"/>
                    <a:gd name="connsiteX188" fmla="*/ 858063 w 7417362"/>
                    <a:gd name="connsiteY188" fmla="*/ 385695 h 1613833"/>
                    <a:gd name="connsiteX189" fmla="*/ 754055 w 7417362"/>
                    <a:gd name="connsiteY189" fmla="*/ 385695 h 1613833"/>
                    <a:gd name="connsiteX190" fmla="*/ 754055 w 7417362"/>
                    <a:gd name="connsiteY190" fmla="*/ 359693 h 1613833"/>
                    <a:gd name="connsiteX191" fmla="*/ 723719 w 7417362"/>
                    <a:gd name="connsiteY191" fmla="*/ 359693 h 1613833"/>
                    <a:gd name="connsiteX192" fmla="*/ 723719 w 7417362"/>
                    <a:gd name="connsiteY192" fmla="*/ 342359 h 1613833"/>
                    <a:gd name="connsiteX193" fmla="*/ 658715 w 7417362"/>
                    <a:gd name="connsiteY193" fmla="*/ 342359 h 1613833"/>
                    <a:gd name="connsiteX194" fmla="*/ 650047 w 7417362"/>
                    <a:gd name="connsiteY194" fmla="*/ 333691 h 1613833"/>
                    <a:gd name="connsiteX195" fmla="*/ 628379 w 7417362"/>
                    <a:gd name="connsiteY195" fmla="*/ 333691 h 1613833"/>
                    <a:gd name="connsiteX196" fmla="*/ 628379 w 7417362"/>
                    <a:gd name="connsiteY196" fmla="*/ 316357 h 1613833"/>
                    <a:gd name="connsiteX197" fmla="*/ 598044 w 7417362"/>
                    <a:gd name="connsiteY197" fmla="*/ 316357 h 1613833"/>
                    <a:gd name="connsiteX198" fmla="*/ 598044 w 7417362"/>
                    <a:gd name="connsiteY198" fmla="*/ 294688 h 1613833"/>
                    <a:gd name="connsiteX199" fmla="*/ 576375 w 7417362"/>
                    <a:gd name="connsiteY199" fmla="*/ 294688 h 1613833"/>
                    <a:gd name="connsiteX200" fmla="*/ 576375 w 7417362"/>
                    <a:gd name="connsiteY200" fmla="*/ 281687 h 1613833"/>
                    <a:gd name="connsiteX201" fmla="*/ 554707 w 7417362"/>
                    <a:gd name="connsiteY201" fmla="*/ 281687 h 1613833"/>
                    <a:gd name="connsiteX202" fmla="*/ 554707 w 7417362"/>
                    <a:gd name="connsiteY202" fmla="*/ 268687 h 1613833"/>
                    <a:gd name="connsiteX203" fmla="*/ 489702 w 7417362"/>
                    <a:gd name="connsiteY203" fmla="*/ 268687 h 1613833"/>
                    <a:gd name="connsiteX204" fmla="*/ 489702 w 7417362"/>
                    <a:gd name="connsiteY204" fmla="*/ 242685 h 1613833"/>
                    <a:gd name="connsiteX205" fmla="*/ 455033 w 7417362"/>
                    <a:gd name="connsiteY205" fmla="*/ 242685 h 1613833"/>
                    <a:gd name="connsiteX206" fmla="*/ 455033 w 7417362"/>
                    <a:gd name="connsiteY206" fmla="*/ 216683 h 1613833"/>
                    <a:gd name="connsiteX207" fmla="*/ 437699 w 7417362"/>
                    <a:gd name="connsiteY207" fmla="*/ 216683 h 1613833"/>
                    <a:gd name="connsiteX208" fmla="*/ 437699 w 7417362"/>
                    <a:gd name="connsiteY208" fmla="*/ 186347 h 1613833"/>
                    <a:gd name="connsiteX209" fmla="*/ 407363 w 7417362"/>
                    <a:gd name="connsiteY209" fmla="*/ 186347 h 1613833"/>
                    <a:gd name="connsiteX210" fmla="*/ 407363 w 7417362"/>
                    <a:gd name="connsiteY210" fmla="*/ 173346 h 1613833"/>
                    <a:gd name="connsiteX211" fmla="*/ 372694 w 7417362"/>
                    <a:gd name="connsiteY211" fmla="*/ 173346 h 1613833"/>
                    <a:gd name="connsiteX212" fmla="*/ 372694 w 7417362"/>
                    <a:gd name="connsiteY212" fmla="*/ 151678 h 1613833"/>
                    <a:gd name="connsiteX213" fmla="*/ 355359 w 7417362"/>
                    <a:gd name="connsiteY213" fmla="*/ 151678 h 1613833"/>
                    <a:gd name="connsiteX214" fmla="*/ 355359 w 7417362"/>
                    <a:gd name="connsiteY214" fmla="*/ 138677 h 1613833"/>
                    <a:gd name="connsiteX215" fmla="*/ 303356 w 7417362"/>
                    <a:gd name="connsiteY215" fmla="*/ 138677 h 1613833"/>
                    <a:gd name="connsiteX216" fmla="*/ 303356 w 7417362"/>
                    <a:gd name="connsiteY216" fmla="*/ 95341 h 1613833"/>
                    <a:gd name="connsiteX217" fmla="*/ 268686 w 7417362"/>
                    <a:gd name="connsiteY217" fmla="*/ 95341 h 1613833"/>
                    <a:gd name="connsiteX218" fmla="*/ 268686 w 7417362"/>
                    <a:gd name="connsiteY218" fmla="*/ 82340 h 1613833"/>
                    <a:gd name="connsiteX219" fmla="*/ 234017 w 7417362"/>
                    <a:gd name="connsiteY219" fmla="*/ 82340 h 1613833"/>
                    <a:gd name="connsiteX220" fmla="*/ 234017 w 7417362"/>
                    <a:gd name="connsiteY220" fmla="*/ 47670 h 1613833"/>
                    <a:gd name="connsiteX221" fmla="*/ 208015 w 7417362"/>
                    <a:gd name="connsiteY221" fmla="*/ 47670 h 1613833"/>
                    <a:gd name="connsiteX222" fmla="*/ 208015 w 7417362"/>
                    <a:gd name="connsiteY222" fmla="*/ 39003 h 1613833"/>
                    <a:gd name="connsiteX223" fmla="*/ 156011 w 7417362"/>
                    <a:gd name="connsiteY223" fmla="*/ 39003 h 1613833"/>
                    <a:gd name="connsiteX224" fmla="*/ 156011 w 7417362"/>
                    <a:gd name="connsiteY224" fmla="*/ 26002 h 1613833"/>
                    <a:gd name="connsiteX225" fmla="*/ 121342 w 7417362"/>
                    <a:gd name="connsiteY225" fmla="*/ 26002 h 1613833"/>
                    <a:gd name="connsiteX226" fmla="*/ 121342 w 7417362"/>
                    <a:gd name="connsiteY226" fmla="*/ 0 h 1613833"/>
                    <a:gd name="connsiteX227" fmla="*/ 82339 w 7417362"/>
                    <a:gd name="connsiteY227" fmla="*/ 0 h 1613833"/>
                    <a:gd name="connsiteX228" fmla="*/ 82339 w 7417362"/>
                    <a:gd name="connsiteY228" fmla="*/ 43337 h 1613833"/>
                    <a:gd name="connsiteX229" fmla="*/ 0 w 7417362"/>
                    <a:gd name="connsiteY229" fmla="*/ 43337 h 1613833"/>
                    <a:gd name="connsiteX230" fmla="*/ 8667 w 7417362"/>
                    <a:gd name="connsiteY230" fmla="*/ 34670 h 1613833"/>
                    <a:gd name="connsiteX231" fmla="*/ 8667 w 7417362"/>
                    <a:gd name="connsiteY231" fmla="*/ 52004 h 1613833"/>
                    <a:gd name="connsiteX232" fmla="*/ 21668 w 7417362"/>
                    <a:gd name="connsiteY232" fmla="*/ 52004 h 1613833"/>
                    <a:gd name="connsiteX233" fmla="*/ 21668 w 7417362"/>
                    <a:gd name="connsiteY233" fmla="*/ 65005 h 1613833"/>
                    <a:gd name="connsiteX234" fmla="*/ 52004 w 7417362"/>
                    <a:gd name="connsiteY234" fmla="*/ 65005 h 1613833"/>
                    <a:gd name="connsiteX235" fmla="*/ 52004 w 7417362"/>
                    <a:gd name="connsiteY235" fmla="*/ 86673 h 1613833"/>
                    <a:gd name="connsiteX236" fmla="*/ 78006 w 7417362"/>
                    <a:gd name="connsiteY236" fmla="*/ 86673 h 1613833"/>
                    <a:gd name="connsiteX237" fmla="*/ 78006 w 7417362"/>
                    <a:gd name="connsiteY237" fmla="*/ 125676 h 1613833"/>
                    <a:gd name="connsiteX238" fmla="*/ 138677 w 7417362"/>
                    <a:gd name="connsiteY238" fmla="*/ 125676 h 1613833"/>
                    <a:gd name="connsiteX239" fmla="*/ 147344 w 7417362"/>
                    <a:gd name="connsiteY239" fmla="*/ 134343 h 1613833"/>
                    <a:gd name="connsiteX240" fmla="*/ 164679 w 7417362"/>
                    <a:gd name="connsiteY240" fmla="*/ 134343 h 1613833"/>
                    <a:gd name="connsiteX241" fmla="*/ 164679 w 7417362"/>
                    <a:gd name="connsiteY241" fmla="*/ 156012 h 1613833"/>
                    <a:gd name="connsiteX242" fmla="*/ 182013 w 7417362"/>
                    <a:gd name="connsiteY242" fmla="*/ 156012 h 1613833"/>
                    <a:gd name="connsiteX243" fmla="*/ 195014 w 7417362"/>
                    <a:gd name="connsiteY243" fmla="*/ 169013 h 1613833"/>
                    <a:gd name="connsiteX244" fmla="*/ 225350 w 7417362"/>
                    <a:gd name="connsiteY244" fmla="*/ 169013 h 1613833"/>
                    <a:gd name="connsiteX245" fmla="*/ 225350 w 7417362"/>
                    <a:gd name="connsiteY245" fmla="*/ 208015 h 1613833"/>
                    <a:gd name="connsiteX246" fmla="*/ 251352 w 7417362"/>
                    <a:gd name="connsiteY246" fmla="*/ 208015 h 1613833"/>
                    <a:gd name="connsiteX247" fmla="*/ 260019 w 7417362"/>
                    <a:gd name="connsiteY247" fmla="*/ 216682 h 1613833"/>
                    <a:gd name="connsiteX248" fmla="*/ 273021 w 7417362"/>
                    <a:gd name="connsiteY248" fmla="*/ 229684 h 1613833"/>
                    <a:gd name="connsiteX249" fmla="*/ 273021 w 7417362"/>
                    <a:gd name="connsiteY249" fmla="*/ 251352 h 1613833"/>
                    <a:gd name="connsiteX250" fmla="*/ 303356 w 7417362"/>
                    <a:gd name="connsiteY250" fmla="*/ 251352 h 1613833"/>
                    <a:gd name="connsiteX251" fmla="*/ 303356 w 7417362"/>
                    <a:gd name="connsiteY251" fmla="*/ 268687 h 1613833"/>
                    <a:gd name="connsiteX252" fmla="*/ 342358 w 7417362"/>
                    <a:gd name="connsiteY252" fmla="*/ 268687 h 1613833"/>
                    <a:gd name="connsiteX253" fmla="*/ 342358 w 7417362"/>
                    <a:gd name="connsiteY253" fmla="*/ 286021 h 1613833"/>
                    <a:gd name="connsiteX254" fmla="*/ 385695 w 7417362"/>
                    <a:gd name="connsiteY254" fmla="*/ 286021 h 1613833"/>
                    <a:gd name="connsiteX255" fmla="*/ 385695 w 7417362"/>
                    <a:gd name="connsiteY255" fmla="*/ 286021 h 1613833"/>
                    <a:gd name="connsiteX256" fmla="*/ 407363 w 7417362"/>
                    <a:gd name="connsiteY256" fmla="*/ 307689 h 1613833"/>
                    <a:gd name="connsiteX257" fmla="*/ 424698 w 7417362"/>
                    <a:gd name="connsiteY257" fmla="*/ 325024 h 1613833"/>
                    <a:gd name="connsiteX258" fmla="*/ 472368 w 7417362"/>
                    <a:gd name="connsiteY258" fmla="*/ 325024 h 1613833"/>
                    <a:gd name="connsiteX259" fmla="*/ 472368 w 7417362"/>
                    <a:gd name="connsiteY259" fmla="*/ 355360 h 1613833"/>
                    <a:gd name="connsiteX260" fmla="*/ 511371 w 7417362"/>
                    <a:gd name="connsiteY260" fmla="*/ 355360 h 1613833"/>
                    <a:gd name="connsiteX261" fmla="*/ 511371 w 7417362"/>
                    <a:gd name="connsiteY261" fmla="*/ 377028 h 1613833"/>
                    <a:gd name="connsiteX262" fmla="*/ 559041 w 7417362"/>
                    <a:gd name="connsiteY262" fmla="*/ 377028 h 1613833"/>
                    <a:gd name="connsiteX263" fmla="*/ 559041 w 7417362"/>
                    <a:gd name="connsiteY263" fmla="*/ 398696 h 1613833"/>
                    <a:gd name="connsiteX264" fmla="*/ 589376 w 7417362"/>
                    <a:gd name="connsiteY264" fmla="*/ 398696 h 1613833"/>
                    <a:gd name="connsiteX265" fmla="*/ 602377 w 7417362"/>
                    <a:gd name="connsiteY265" fmla="*/ 411697 h 1613833"/>
                    <a:gd name="connsiteX266" fmla="*/ 650047 w 7417362"/>
                    <a:gd name="connsiteY266" fmla="*/ 411697 h 1613833"/>
                    <a:gd name="connsiteX267" fmla="*/ 650047 w 7417362"/>
                    <a:gd name="connsiteY267" fmla="*/ 450700 h 1613833"/>
                    <a:gd name="connsiteX268" fmla="*/ 758389 w 7417362"/>
                    <a:gd name="connsiteY268" fmla="*/ 450700 h 1613833"/>
                    <a:gd name="connsiteX269" fmla="*/ 758389 w 7417362"/>
                    <a:gd name="connsiteY269" fmla="*/ 481035 h 1613833"/>
                    <a:gd name="connsiteX270" fmla="*/ 875397 w 7417362"/>
                    <a:gd name="connsiteY270" fmla="*/ 481035 h 1613833"/>
                    <a:gd name="connsiteX271" fmla="*/ 875397 w 7417362"/>
                    <a:gd name="connsiteY271" fmla="*/ 507037 h 1613833"/>
                    <a:gd name="connsiteX272" fmla="*/ 927401 w 7417362"/>
                    <a:gd name="connsiteY272" fmla="*/ 507037 h 1613833"/>
                    <a:gd name="connsiteX273" fmla="*/ 927401 w 7417362"/>
                    <a:gd name="connsiteY273" fmla="*/ 524372 h 1613833"/>
                    <a:gd name="connsiteX274" fmla="*/ 979405 w 7417362"/>
                    <a:gd name="connsiteY274" fmla="*/ 524372 h 1613833"/>
                    <a:gd name="connsiteX275" fmla="*/ 992406 w 7417362"/>
                    <a:gd name="connsiteY275" fmla="*/ 524372 h 1613833"/>
                    <a:gd name="connsiteX276" fmla="*/ 1005407 w 7417362"/>
                    <a:gd name="connsiteY276" fmla="*/ 537373 h 1613833"/>
                    <a:gd name="connsiteX277" fmla="*/ 1027075 w 7417362"/>
                    <a:gd name="connsiteY277" fmla="*/ 537373 h 1613833"/>
                    <a:gd name="connsiteX278" fmla="*/ 1057410 w 7417362"/>
                    <a:gd name="connsiteY278" fmla="*/ 537373 h 1613833"/>
                    <a:gd name="connsiteX279" fmla="*/ 1057410 w 7417362"/>
                    <a:gd name="connsiteY279" fmla="*/ 563375 h 1613833"/>
                    <a:gd name="connsiteX280" fmla="*/ 1079079 w 7417362"/>
                    <a:gd name="connsiteY280" fmla="*/ 563375 h 1613833"/>
                    <a:gd name="connsiteX281" fmla="*/ 1079079 w 7417362"/>
                    <a:gd name="connsiteY281" fmla="*/ 576376 h 1613833"/>
                    <a:gd name="connsiteX282" fmla="*/ 1157084 w 7417362"/>
                    <a:gd name="connsiteY282" fmla="*/ 576376 h 1613833"/>
                    <a:gd name="connsiteX283" fmla="*/ 1157084 w 7417362"/>
                    <a:gd name="connsiteY283" fmla="*/ 589377 h 1613833"/>
                    <a:gd name="connsiteX284" fmla="*/ 1196087 w 7417362"/>
                    <a:gd name="connsiteY284" fmla="*/ 589377 h 1613833"/>
                    <a:gd name="connsiteX285" fmla="*/ 1196087 w 7417362"/>
                    <a:gd name="connsiteY285" fmla="*/ 598044 h 1613833"/>
                    <a:gd name="connsiteX286" fmla="*/ 1243757 w 7417362"/>
                    <a:gd name="connsiteY286" fmla="*/ 598044 h 1613833"/>
                    <a:gd name="connsiteX287" fmla="*/ 1256758 w 7417362"/>
                    <a:gd name="connsiteY287" fmla="*/ 611045 h 1613833"/>
                    <a:gd name="connsiteX288" fmla="*/ 1269759 w 7417362"/>
                    <a:gd name="connsiteY288" fmla="*/ 624046 h 1613833"/>
                    <a:gd name="connsiteX289" fmla="*/ 1334764 w 7417362"/>
                    <a:gd name="connsiteY289" fmla="*/ 624046 h 1613833"/>
                    <a:gd name="connsiteX290" fmla="*/ 1334764 w 7417362"/>
                    <a:gd name="connsiteY290" fmla="*/ 645714 h 1613833"/>
                    <a:gd name="connsiteX291" fmla="*/ 1425771 w 7417362"/>
                    <a:gd name="connsiteY291" fmla="*/ 645714 h 1613833"/>
                    <a:gd name="connsiteX292" fmla="*/ 1434438 w 7417362"/>
                    <a:gd name="connsiteY292" fmla="*/ 654381 h 1613833"/>
                    <a:gd name="connsiteX293" fmla="*/ 1456106 w 7417362"/>
                    <a:gd name="connsiteY293" fmla="*/ 654381 h 1613833"/>
                    <a:gd name="connsiteX294" fmla="*/ 1456106 w 7417362"/>
                    <a:gd name="connsiteY294" fmla="*/ 667382 h 1613833"/>
                    <a:gd name="connsiteX295" fmla="*/ 1508110 w 7417362"/>
                    <a:gd name="connsiteY295" fmla="*/ 667382 h 1613833"/>
                    <a:gd name="connsiteX296" fmla="*/ 1508110 w 7417362"/>
                    <a:gd name="connsiteY296" fmla="*/ 684717 h 1613833"/>
                    <a:gd name="connsiteX297" fmla="*/ 1564447 w 7417362"/>
                    <a:gd name="connsiteY297" fmla="*/ 684717 h 1613833"/>
                    <a:gd name="connsiteX298" fmla="*/ 1568781 w 7417362"/>
                    <a:gd name="connsiteY298" fmla="*/ 689051 h 1613833"/>
                    <a:gd name="connsiteX299" fmla="*/ 1612118 w 7417362"/>
                    <a:gd name="connsiteY299" fmla="*/ 689051 h 1613833"/>
                    <a:gd name="connsiteX300" fmla="*/ 1625119 w 7417362"/>
                    <a:gd name="connsiteY300" fmla="*/ 702052 h 1613833"/>
                    <a:gd name="connsiteX301" fmla="*/ 1677122 w 7417362"/>
                    <a:gd name="connsiteY301" fmla="*/ 702052 h 1613833"/>
                    <a:gd name="connsiteX302" fmla="*/ 1685790 w 7417362"/>
                    <a:gd name="connsiteY302" fmla="*/ 710720 h 1613833"/>
                    <a:gd name="connsiteX303" fmla="*/ 1703123 w 7417362"/>
                    <a:gd name="connsiteY303" fmla="*/ 728053 h 1613833"/>
                    <a:gd name="connsiteX304" fmla="*/ 1716124 w 7417362"/>
                    <a:gd name="connsiteY304" fmla="*/ 741054 h 1613833"/>
                    <a:gd name="connsiteX305" fmla="*/ 1750794 w 7417362"/>
                    <a:gd name="connsiteY305" fmla="*/ 741054 h 1613833"/>
                    <a:gd name="connsiteX306" fmla="*/ 1750794 w 7417362"/>
                    <a:gd name="connsiteY306" fmla="*/ 767056 h 1613833"/>
                    <a:gd name="connsiteX307" fmla="*/ 1798465 w 7417362"/>
                    <a:gd name="connsiteY307" fmla="*/ 767056 h 1613833"/>
                    <a:gd name="connsiteX308" fmla="*/ 1798465 w 7417362"/>
                    <a:gd name="connsiteY308" fmla="*/ 780057 h 1613833"/>
                    <a:gd name="connsiteX309" fmla="*/ 1841801 w 7417362"/>
                    <a:gd name="connsiteY309" fmla="*/ 780057 h 1613833"/>
                    <a:gd name="connsiteX310" fmla="*/ 1841801 w 7417362"/>
                    <a:gd name="connsiteY310" fmla="*/ 797392 h 1613833"/>
                    <a:gd name="connsiteX311" fmla="*/ 1876470 w 7417362"/>
                    <a:gd name="connsiteY311" fmla="*/ 797392 h 1613833"/>
                    <a:gd name="connsiteX312" fmla="*/ 1885138 w 7417362"/>
                    <a:gd name="connsiteY312" fmla="*/ 806060 h 1613833"/>
                    <a:gd name="connsiteX313" fmla="*/ 1963143 w 7417362"/>
                    <a:gd name="connsiteY313" fmla="*/ 806060 h 1613833"/>
                    <a:gd name="connsiteX314" fmla="*/ 2006480 w 7417362"/>
                    <a:gd name="connsiteY314" fmla="*/ 806060 h 1613833"/>
                    <a:gd name="connsiteX315" fmla="*/ 2036815 w 7417362"/>
                    <a:gd name="connsiteY315" fmla="*/ 836395 h 1613833"/>
                    <a:gd name="connsiteX316" fmla="*/ 2049816 w 7417362"/>
                    <a:gd name="connsiteY316" fmla="*/ 836395 h 1613833"/>
                    <a:gd name="connsiteX317" fmla="*/ 2106154 w 7417362"/>
                    <a:gd name="connsiteY317" fmla="*/ 836395 h 1613833"/>
                    <a:gd name="connsiteX318" fmla="*/ 2106154 w 7417362"/>
                    <a:gd name="connsiteY318" fmla="*/ 862396 h 1613833"/>
                    <a:gd name="connsiteX319" fmla="*/ 2119155 w 7417362"/>
                    <a:gd name="connsiteY319" fmla="*/ 862396 h 1613833"/>
                    <a:gd name="connsiteX320" fmla="*/ 2136489 w 7417362"/>
                    <a:gd name="connsiteY320" fmla="*/ 862396 h 1613833"/>
                    <a:gd name="connsiteX321" fmla="*/ 2184159 w 7417362"/>
                    <a:gd name="connsiteY321" fmla="*/ 862396 h 1613833"/>
                    <a:gd name="connsiteX322" fmla="*/ 2184159 w 7417362"/>
                    <a:gd name="connsiteY322" fmla="*/ 888398 h 1613833"/>
                    <a:gd name="connsiteX323" fmla="*/ 2200254 w 7417362"/>
                    <a:gd name="connsiteY323" fmla="*/ 883636 h 1613833"/>
                    <a:gd name="connsiteX324" fmla="*/ 2240733 w 7417362"/>
                    <a:gd name="connsiteY324" fmla="*/ 881254 h 1613833"/>
                    <a:gd name="connsiteX325" fmla="*/ 2240102 w 7417362"/>
                    <a:gd name="connsiteY325" fmla="*/ 914626 h 1613833"/>
                    <a:gd name="connsiteX326" fmla="*/ 2265640 w 7417362"/>
                    <a:gd name="connsiteY326" fmla="*/ 915879 h 1613833"/>
                    <a:gd name="connsiteX327" fmla="*/ 2266296 w 7417362"/>
                    <a:gd name="connsiteY327" fmla="*/ 886052 h 1613833"/>
                    <a:gd name="connsiteX328" fmla="*/ 2301168 w 7417362"/>
                    <a:gd name="connsiteY328" fmla="*/ 880160 h 1613833"/>
                    <a:gd name="connsiteX329" fmla="*/ 2301168 w 7417362"/>
                    <a:gd name="connsiteY329" fmla="*/ 914400 h 1613833"/>
                    <a:gd name="connsiteX330" fmla="*/ 2335837 w 7417362"/>
                    <a:gd name="connsiteY330" fmla="*/ 914400 h 1613833"/>
                    <a:gd name="connsiteX331" fmla="*/ 2335837 w 7417362"/>
                    <a:gd name="connsiteY331" fmla="*/ 923068 h 1613833"/>
                    <a:gd name="connsiteX332" fmla="*/ 2400842 w 7417362"/>
                    <a:gd name="connsiteY332" fmla="*/ 923068 h 1613833"/>
                    <a:gd name="connsiteX333" fmla="*/ 2400842 w 7417362"/>
                    <a:gd name="connsiteY333" fmla="*/ 936069 h 1613833"/>
                    <a:gd name="connsiteX334" fmla="*/ 2439845 w 7417362"/>
                    <a:gd name="connsiteY334" fmla="*/ 936069 h 1613833"/>
                    <a:gd name="connsiteX335" fmla="*/ 2452846 w 7417362"/>
                    <a:gd name="connsiteY335" fmla="*/ 949070 h 1613833"/>
                    <a:gd name="connsiteX336" fmla="*/ 2500516 w 7417362"/>
                    <a:gd name="connsiteY336" fmla="*/ 949070 h 1613833"/>
                    <a:gd name="connsiteX337" fmla="*/ 2513517 w 7417362"/>
                    <a:gd name="connsiteY337" fmla="*/ 962071 h 1613833"/>
                    <a:gd name="connsiteX338" fmla="*/ 2543852 w 7417362"/>
                    <a:gd name="connsiteY338" fmla="*/ 962071 h 1613833"/>
                    <a:gd name="connsiteX339" fmla="*/ 2543852 w 7417362"/>
                    <a:gd name="connsiteY339" fmla="*/ 979405 h 1613833"/>
                    <a:gd name="connsiteX340" fmla="*/ 2591522 w 7417362"/>
                    <a:gd name="connsiteY340" fmla="*/ 979405 h 1613833"/>
                    <a:gd name="connsiteX341" fmla="*/ 2591522 w 7417362"/>
                    <a:gd name="connsiteY341" fmla="*/ 1001073 h 1613833"/>
                    <a:gd name="connsiteX342" fmla="*/ 2639192 w 7417362"/>
                    <a:gd name="connsiteY342" fmla="*/ 1001073 h 1613833"/>
                    <a:gd name="connsiteX343" fmla="*/ 2639192 w 7417362"/>
                    <a:gd name="connsiteY343" fmla="*/ 1022742 h 1613833"/>
                    <a:gd name="connsiteX344" fmla="*/ 2699864 w 7417362"/>
                    <a:gd name="connsiteY344" fmla="*/ 1022742 h 1613833"/>
                    <a:gd name="connsiteX345" fmla="*/ 2699864 w 7417362"/>
                    <a:gd name="connsiteY345" fmla="*/ 1040076 h 1613833"/>
                    <a:gd name="connsiteX346" fmla="*/ 2808205 w 7417362"/>
                    <a:gd name="connsiteY346" fmla="*/ 1040076 h 1613833"/>
                    <a:gd name="connsiteX347" fmla="*/ 2816872 w 7417362"/>
                    <a:gd name="connsiteY347" fmla="*/ 1048743 h 1613833"/>
                    <a:gd name="connsiteX348" fmla="*/ 2825540 w 7417362"/>
                    <a:gd name="connsiteY348" fmla="*/ 1057411 h 1613833"/>
                    <a:gd name="connsiteX349" fmla="*/ 2864542 w 7417362"/>
                    <a:gd name="connsiteY349" fmla="*/ 1057411 h 1613833"/>
                    <a:gd name="connsiteX350" fmla="*/ 2886210 w 7417362"/>
                    <a:gd name="connsiteY350" fmla="*/ 1057411 h 1613833"/>
                    <a:gd name="connsiteX351" fmla="*/ 2899211 w 7417362"/>
                    <a:gd name="connsiteY351" fmla="*/ 1057411 h 1613833"/>
                    <a:gd name="connsiteX352" fmla="*/ 2916546 w 7417362"/>
                    <a:gd name="connsiteY352" fmla="*/ 1074746 h 1613833"/>
                    <a:gd name="connsiteX353" fmla="*/ 2968550 w 7417362"/>
                    <a:gd name="connsiteY353" fmla="*/ 1074746 h 1613833"/>
                    <a:gd name="connsiteX354" fmla="*/ 2968550 w 7417362"/>
                    <a:gd name="connsiteY354" fmla="*/ 1092080 h 1613833"/>
                    <a:gd name="connsiteX355" fmla="*/ 3141896 w 7417362"/>
                    <a:gd name="connsiteY355" fmla="*/ 1092080 h 1613833"/>
                    <a:gd name="connsiteX356" fmla="*/ 3141896 w 7417362"/>
                    <a:gd name="connsiteY356" fmla="*/ 1122415 h 1613833"/>
                    <a:gd name="connsiteX357" fmla="*/ 3211234 w 7417362"/>
                    <a:gd name="connsiteY357" fmla="*/ 1122415 h 1613833"/>
                    <a:gd name="connsiteX358" fmla="*/ 3215568 w 7417362"/>
                    <a:gd name="connsiteY358" fmla="*/ 1122415 h 1613833"/>
                    <a:gd name="connsiteX359" fmla="*/ 3302241 w 7417362"/>
                    <a:gd name="connsiteY359" fmla="*/ 1122415 h 1613833"/>
                    <a:gd name="connsiteX360" fmla="*/ 3302241 w 7417362"/>
                    <a:gd name="connsiteY360" fmla="*/ 1148417 h 1613833"/>
                    <a:gd name="connsiteX361" fmla="*/ 3388914 w 7417362"/>
                    <a:gd name="connsiteY361" fmla="*/ 1148417 h 1613833"/>
                    <a:gd name="connsiteX362" fmla="*/ 3388914 w 7417362"/>
                    <a:gd name="connsiteY362" fmla="*/ 1157085 h 1613833"/>
                    <a:gd name="connsiteX363" fmla="*/ 3445251 w 7417362"/>
                    <a:gd name="connsiteY363" fmla="*/ 1157085 h 1613833"/>
                    <a:gd name="connsiteX364" fmla="*/ 3453919 w 7417362"/>
                    <a:gd name="connsiteY364" fmla="*/ 1165753 h 1613833"/>
                    <a:gd name="connsiteX365" fmla="*/ 3596929 w 7417362"/>
                    <a:gd name="connsiteY365" fmla="*/ 1165753 h 1613833"/>
                    <a:gd name="connsiteX366" fmla="*/ 3596929 w 7417362"/>
                    <a:gd name="connsiteY366" fmla="*/ 1178753 h 1613833"/>
                    <a:gd name="connsiteX367" fmla="*/ 3705270 w 7417362"/>
                    <a:gd name="connsiteY367" fmla="*/ 1178753 h 1613833"/>
                    <a:gd name="connsiteX368" fmla="*/ 3709604 w 7417362"/>
                    <a:gd name="connsiteY368" fmla="*/ 1183087 h 1613833"/>
                    <a:gd name="connsiteX369" fmla="*/ 3960956 w 7417362"/>
                    <a:gd name="connsiteY369" fmla="*/ 1183087 h 1613833"/>
                    <a:gd name="connsiteX370" fmla="*/ 3960956 w 7417362"/>
                    <a:gd name="connsiteY370" fmla="*/ 1204755 h 1613833"/>
                    <a:gd name="connsiteX371" fmla="*/ 3991291 w 7417362"/>
                    <a:gd name="connsiteY371" fmla="*/ 1204755 h 1613833"/>
                    <a:gd name="connsiteX372" fmla="*/ 3991291 w 7417362"/>
                    <a:gd name="connsiteY372" fmla="*/ 1178753 h 1613833"/>
                    <a:gd name="connsiteX373" fmla="*/ 4030294 w 7417362"/>
                    <a:gd name="connsiteY373" fmla="*/ 1178753 h 1613833"/>
                    <a:gd name="connsiteX374" fmla="*/ 4030294 w 7417362"/>
                    <a:gd name="connsiteY374" fmla="*/ 1213422 h 1613833"/>
                    <a:gd name="connsiteX375" fmla="*/ 4043295 w 7417362"/>
                    <a:gd name="connsiteY375" fmla="*/ 1213422 h 1613833"/>
                    <a:gd name="connsiteX376" fmla="*/ 4043295 w 7417362"/>
                    <a:gd name="connsiteY376" fmla="*/ 1222089 h 1613833"/>
                    <a:gd name="connsiteX377" fmla="*/ 4164637 w 7417362"/>
                    <a:gd name="connsiteY377" fmla="*/ 1222089 h 1613833"/>
                    <a:gd name="connsiteX378" fmla="*/ 4164637 w 7417362"/>
                    <a:gd name="connsiteY378" fmla="*/ 1243758 h 1613833"/>
                    <a:gd name="connsiteX379" fmla="*/ 4320648 w 7417362"/>
                    <a:gd name="connsiteY379" fmla="*/ 1243758 h 1613833"/>
                    <a:gd name="connsiteX380" fmla="*/ 4320648 w 7417362"/>
                    <a:gd name="connsiteY380" fmla="*/ 1261092 h 1613833"/>
                    <a:gd name="connsiteX381" fmla="*/ 4398654 w 7417362"/>
                    <a:gd name="connsiteY381" fmla="*/ 1261092 h 1613833"/>
                    <a:gd name="connsiteX382" fmla="*/ 4398654 w 7417362"/>
                    <a:gd name="connsiteY382" fmla="*/ 1287094 h 1613833"/>
                    <a:gd name="connsiteX383" fmla="*/ 4450658 w 7417362"/>
                    <a:gd name="connsiteY383" fmla="*/ 1287094 h 1613833"/>
                    <a:gd name="connsiteX384" fmla="*/ 4476660 w 7417362"/>
                    <a:gd name="connsiteY384" fmla="*/ 1287094 h 1613833"/>
                    <a:gd name="connsiteX385" fmla="*/ 4498328 w 7417362"/>
                    <a:gd name="connsiteY385" fmla="*/ 1308762 h 1613833"/>
                    <a:gd name="connsiteX386" fmla="*/ 4593668 w 7417362"/>
                    <a:gd name="connsiteY386" fmla="*/ 1308762 h 1613833"/>
                    <a:gd name="connsiteX387" fmla="*/ 4602336 w 7417362"/>
                    <a:gd name="connsiteY387" fmla="*/ 1317430 h 1613833"/>
                    <a:gd name="connsiteX388" fmla="*/ 4663007 w 7417362"/>
                    <a:gd name="connsiteY388" fmla="*/ 1317430 h 1613833"/>
                    <a:gd name="connsiteX389" fmla="*/ 4663007 w 7417362"/>
                    <a:gd name="connsiteY389" fmla="*/ 1339098 h 1613833"/>
                    <a:gd name="connsiteX390" fmla="*/ 4706343 w 7417362"/>
                    <a:gd name="connsiteY390" fmla="*/ 1339098 h 1613833"/>
                    <a:gd name="connsiteX391" fmla="*/ 4710677 w 7417362"/>
                    <a:gd name="connsiteY391" fmla="*/ 1343432 h 1613833"/>
                    <a:gd name="connsiteX392" fmla="*/ 4767014 w 7417362"/>
                    <a:gd name="connsiteY392" fmla="*/ 1343432 h 1613833"/>
                    <a:gd name="connsiteX393" fmla="*/ 4780015 w 7417362"/>
                    <a:gd name="connsiteY393" fmla="*/ 1356433 h 1613833"/>
                    <a:gd name="connsiteX394" fmla="*/ 5005365 w 7417362"/>
                    <a:gd name="connsiteY394" fmla="*/ 1356433 h 1613833"/>
                    <a:gd name="connsiteX395" fmla="*/ 5018366 w 7417362"/>
                    <a:gd name="connsiteY395" fmla="*/ 1369434 h 1613833"/>
                    <a:gd name="connsiteX396" fmla="*/ 5152709 w 7417362"/>
                    <a:gd name="connsiteY396" fmla="*/ 1369434 h 1613833"/>
                    <a:gd name="connsiteX397" fmla="*/ 5152709 w 7417362"/>
                    <a:gd name="connsiteY397" fmla="*/ 1391102 h 1613833"/>
                    <a:gd name="connsiteX398" fmla="*/ 5282719 w 7417362"/>
                    <a:gd name="connsiteY398" fmla="*/ 1391102 h 1613833"/>
                    <a:gd name="connsiteX399" fmla="*/ 5291386 w 7417362"/>
                    <a:gd name="connsiteY399" fmla="*/ 1399769 h 1613833"/>
                    <a:gd name="connsiteX400" fmla="*/ 5356391 w 7417362"/>
                    <a:gd name="connsiteY400" fmla="*/ 1399769 h 1613833"/>
                    <a:gd name="connsiteX401" fmla="*/ 5369392 w 7417362"/>
                    <a:gd name="connsiteY401" fmla="*/ 1399769 h 1613833"/>
                    <a:gd name="connsiteX402" fmla="*/ 5369392 w 7417362"/>
                    <a:gd name="connsiteY402" fmla="*/ 1421437 h 1613833"/>
                    <a:gd name="connsiteX403" fmla="*/ 5473399 w 7417362"/>
                    <a:gd name="connsiteY403" fmla="*/ 1421437 h 1613833"/>
                    <a:gd name="connsiteX404" fmla="*/ 5473399 w 7417362"/>
                    <a:gd name="connsiteY404" fmla="*/ 1399769 h 1613833"/>
                    <a:gd name="connsiteX405" fmla="*/ 5512402 w 7417362"/>
                    <a:gd name="connsiteY405" fmla="*/ 1399769 h 1613833"/>
                    <a:gd name="connsiteX406" fmla="*/ 5512402 w 7417362"/>
                    <a:gd name="connsiteY406" fmla="*/ 1425771 h 1613833"/>
                    <a:gd name="connsiteX407" fmla="*/ 5607742 w 7417362"/>
                    <a:gd name="connsiteY407" fmla="*/ 1425771 h 1613833"/>
                    <a:gd name="connsiteX408" fmla="*/ 5607742 w 7417362"/>
                    <a:gd name="connsiteY408" fmla="*/ 1399769 h 1613833"/>
                    <a:gd name="connsiteX409" fmla="*/ 5664080 w 7417362"/>
                    <a:gd name="connsiteY409" fmla="*/ 1399769 h 1613833"/>
                    <a:gd name="connsiteX410" fmla="*/ 5664080 w 7417362"/>
                    <a:gd name="connsiteY410" fmla="*/ 1434438 h 1613833"/>
                    <a:gd name="connsiteX411" fmla="*/ 5685748 w 7417362"/>
                    <a:gd name="connsiteY411" fmla="*/ 1434438 h 1613833"/>
                    <a:gd name="connsiteX412" fmla="*/ 5685748 w 7417362"/>
                    <a:gd name="connsiteY412" fmla="*/ 1443106 h 1613833"/>
                    <a:gd name="connsiteX413" fmla="*/ 5716083 w 7417362"/>
                    <a:gd name="connsiteY413" fmla="*/ 1443106 h 1613833"/>
                    <a:gd name="connsiteX414" fmla="*/ 5716083 w 7417362"/>
                    <a:gd name="connsiteY414" fmla="*/ 1456106 h 1613833"/>
                    <a:gd name="connsiteX415" fmla="*/ 5794089 w 7417362"/>
                    <a:gd name="connsiteY415" fmla="*/ 1456106 h 1613833"/>
                    <a:gd name="connsiteX416" fmla="*/ 5794089 w 7417362"/>
                    <a:gd name="connsiteY416" fmla="*/ 1421437 h 1613833"/>
                    <a:gd name="connsiteX417" fmla="*/ 5837426 w 7417362"/>
                    <a:gd name="connsiteY417" fmla="*/ 1421437 h 1613833"/>
                    <a:gd name="connsiteX418" fmla="*/ 5837426 w 7417362"/>
                    <a:gd name="connsiteY418" fmla="*/ 1456106 h 1613833"/>
                    <a:gd name="connsiteX419" fmla="*/ 5902430 w 7417362"/>
                    <a:gd name="connsiteY419" fmla="*/ 1456106 h 1613833"/>
                    <a:gd name="connsiteX420" fmla="*/ 5928432 w 7417362"/>
                    <a:gd name="connsiteY420" fmla="*/ 1456106 h 1613833"/>
                    <a:gd name="connsiteX421" fmla="*/ 5928432 w 7417362"/>
                    <a:gd name="connsiteY421" fmla="*/ 1473441 h 1613833"/>
                    <a:gd name="connsiteX422" fmla="*/ 5945767 w 7417362"/>
                    <a:gd name="connsiteY422" fmla="*/ 1473441 h 1613833"/>
                    <a:gd name="connsiteX423" fmla="*/ 5950101 w 7417362"/>
                    <a:gd name="connsiteY423" fmla="*/ 1477775 h 1613833"/>
                    <a:gd name="connsiteX424" fmla="*/ 6019439 w 7417362"/>
                    <a:gd name="connsiteY424" fmla="*/ 1477775 h 1613833"/>
                    <a:gd name="connsiteX425" fmla="*/ 6019439 w 7417362"/>
                    <a:gd name="connsiteY425" fmla="*/ 1456106 h 1613833"/>
                    <a:gd name="connsiteX426" fmla="*/ 6058442 w 7417362"/>
                    <a:gd name="connsiteY426" fmla="*/ 1456106 h 1613833"/>
                    <a:gd name="connsiteX427" fmla="*/ 6058442 w 7417362"/>
                    <a:gd name="connsiteY427" fmla="*/ 1499443 h 1613833"/>
                    <a:gd name="connsiteX428" fmla="*/ 6110446 w 7417362"/>
                    <a:gd name="connsiteY428" fmla="*/ 1499443 h 1613833"/>
                    <a:gd name="connsiteX429" fmla="*/ 6110446 w 7417362"/>
                    <a:gd name="connsiteY429" fmla="*/ 1508110 h 1613833"/>
                    <a:gd name="connsiteX430" fmla="*/ 6188451 w 7417362"/>
                    <a:gd name="connsiteY430" fmla="*/ 1508110 h 1613833"/>
                    <a:gd name="connsiteX431" fmla="*/ 6188451 w 7417362"/>
                    <a:gd name="connsiteY431" fmla="*/ 1464774 h 1613833"/>
                    <a:gd name="connsiteX432" fmla="*/ 6227454 w 7417362"/>
                    <a:gd name="connsiteY432" fmla="*/ 1464774 h 1613833"/>
                    <a:gd name="connsiteX433" fmla="*/ 6227454 w 7417362"/>
                    <a:gd name="connsiteY433" fmla="*/ 1516778 h 1613833"/>
                    <a:gd name="connsiteX434" fmla="*/ 6353130 w 7417362"/>
                    <a:gd name="connsiteY434" fmla="*/ 1516778 h 1613833"/>
                    <a:gd name="connsiteX435" fmla="*/ 6353130 w 7417362"/>
                    <a:gd name="connsiteY435" fmla="*/ 1477775 h 1613833"/>
                    <a:gd name="connsiteX436" fmla="*/ 6409467 w 7417362"/>
                    <a:gd name="connsiteY436" fmla="*/ 1477775 h 1613833"/>
                    <a:gd name="connsiteX437" fmla="*/ 6409467 w 7417362"/>
                    <a:gd name="connsiteY437" fmla="*/ 1529778 h 1613833"/>
                    <a:gd name="connsiteX438" fmla="*/ 6457138 w 7417362"/>
                    <a:gd name="connsiteY438" fmla="*/ 1529778 h 1613833"/>
                    <a:gd name="connsiteX439" fmla="*/ 6457138 w 7417362"/>
                    <a:gd name="connsiteY439" fmla="*/ 1482108 h 1613833"/>
                    <a:gd name="connsiteX440" fmla="*/ 6487473 w 7417362"/>
                    <a:gd name="connsiteY440" fmla="*/ 1482108 h 1613833"/>
                    <a:gd name="connsiteX441" fmla="*/ 6487473 w 7417362"/>
                    <a:gd name="connsiteY441" fmla="*/ 1529778 h 1613833"/>
                    <a:gd name="connsiteX442" fmla="*/ 6561145 w 7417362"/>
                    <a:gd name="connsiteY442" fmla="*/ 1529778 h 1613833"/>
                    <a:gd name="connsiteX443" fmla="*/ 6565479 w 7417362"/>
                    <a:gd name="connsiteY443" fmla="*/ 1534112 h 1613833"/>
                    <a:gd name="connsiteX444" fmla="*/ 6669486 w 7417362"/>
                    <a:gd name="connsiteY444" fmla="*/ 1534112 h 1613833"/>
                    <a:gd name="connsiteX445" fmla="*/ 6669486 w 7417362"/>
                    <a:gd name="connsiteY445" fmla="*/ 1499443 h 1613833"/>
                    <a:gd name="connsiteX446" fmla="*/ 6738825 w 7417362"/>
                    <a:gd name="connsiteY446" fmla="*/ 1499443 h 1613833"/>
                    <a:gd name="connsiteX447" fmla="*/ 6738825 w 7417362"/>
                    <a:gd name="connsiteY447" fmla="*/ 1542779 h 1613833"/>
                    <a:gd name="connsiteX448" fmla="*/ 6795162 w 7417362"/>
                    <a:gd name="connsiteY448" fmla="*/ 1542779 h 1613833"/>
                    <a:gd name="connsiteX449" fmla="*/ 6795162 w 7417362"/>
                    <a:gd name="connsiteY449" fmla="*/ 1499443 h 1613833"/>
                    <a:gd name="connsiteX450" fmla="*/ 6829831 w 7417362"/>
                    <a:gd name="connsiteY450" fmla="*/ 1499443 h 1613833"/>
                    <a:gd name="connsiteX451" fmla="*/ 6829831 w 7417362"/>
                    <a:gd name="connsiteY451" fmla="*/ 1529778 h 1613833"/>
                    <a:gd name="connsiteX452" fmla="*/ 6847166 w 7417362"/>
                    <a:gd name="connsiteY452" fmla="*/ 1529778 h 1613833"/>
                    <a:gd name="connsiteX453" fmla="*/ 6847166 w 7417362"/>
                    <a:gd name="connsiteY453" fmla="*/ 1555780 h 1613833"/>
                    <a:gd name="connsiteX454" fmla="*/ 7050847 w 7417362"/>
                    <a:gd name="connsiteY454" fmla="*/ 1555780 h 1613833"/>
                    <a:gd name="connsiteX455" fmla="*/ 7063848 w 7417362"/>
                    <a:gd name="connsiteY455" fmla="*/ 1568781 h 1613833"/>
                    <a:gd name="connsiteX456" fmla="*/ 7133187 w 7417362"/>
                    <a:gd name="connsiteY456" fmla="*/ 1568781 h 1613833"/>
                    <a:gd name="connsiteX457" fmla="*/ 7133187 w 7417362"/>
                    <a:gd name="connsiteY457" fmla="*/ 1586116 h 1613833"/>
                    <a:gd name="connsiteX458" fmla="*/ 7284865 w 7417362"/>
                    <a:gd name="connsiteY458" fmla="*/ 1586116 h 1613833"/>
                    <a:gd name="connsiteX459" fmla="*/ 7284865 w 7417362"/>
                    <a:gd name="connsiteY459" fmla="*/ 1607784 h 1613833"/>
                    <a:gd name="connsiteX460" fmla="*/ 7417257 w 7417362"/>
                    <a:gd name="connsiteY460" fmla="*/ 1613833 h 1613833"/>
                    <a:gd name="connsiteX0" fmla="*/ 7419638 w 7419706"/>
                    <a:gd name="connsiteY0" fmla="*/ 1611452 h 1611452"/>
                    <a:gd name="connsiteX1" fmla="*/ 7414874 w 7419706"/>
                    <a:gd name="connsiteY1" fmla="*/ 1508110 h 1611452"/>
                    <a:gd name="connsiteX2" fmla="*/ 7271864 w 7419706"/>
                    <a:gd name="connsiteY2" fmla="*/ 1508110 h 1611452"/>
                    <a:gd name="connsiteX3" fmla="*/ 7258863 w 7419706"/>
                    <a:gd name="connsiteY3" fmla="*/ 1495109 h 1611452"/>
                    <a:gd name="connsiteX4" fmla="*/ 7159189 w 7419706"/>
                    <a:gd name="connsiteY4" fmla="*/ 1495109 h 1611452"/>
                    <a:gd name="connsiteX5" fmla="*/ 7141854 w 7419706"/>
                    <a:gd name="connsiteY5" fmla="*/ 1477774 h 1611452"/>
                    <a:gd name="connsiteX6" fmla="*/ 7037847 w 7419706"/>
                    <a:gd name="connsiteY6" fmla="*/ 1477774 h 1611452"/>
                    <a:gd name="connsiteX7" fmla="*/ 7037847 w 7419706"/>
                    <a:gd name="connsiteY7" fmla="*/ 1451773 h 1611452"/>
                    <a:gd name="connsiteX8" fmla="*/ 6873168 w 7419706"/>
                    <a:gd name="connsiteY8" fmla="*/ 1451773 h 1611452"/>
                    <a:gd name="connsiteX9" fmla="*/ 6868834 w 7419706"/>
                    <a:gd name="connsiteY9" fmla="*/ 1447439 h 1611452"/>
                    <a:gd name="connsiteX10" fmla="*/ 6825498 w 7419706"/>
                    <a:gd name="connsiteY10" fmla="*/ 1447439 h 1611452"/>
                    <a:gd name="connsiteX11" fmla="*/ 6825498 w 7419706"/>
                    <a:gd name="connsiteY11" fmla="*/ 1495109 h 1611452"/>
                    <a:gd name="connsiteX12" fmla="*/ 6786495 w 7419706"/>
                    <a:gd name="connsiteY12" fmla="*/ 1495109 h 1611452"/>
                    <a:gd name="connsiteX13" fmla="*/ 6786495 w 7419706"/>
                    <a:gd name="connsiteY13" fmla="*/ 1443106 h 1611452"/>
                    <a:gd name="connsiteX14" fmla="*/ 6738825 w 7419706"/>
                    <a:gd name="connsiteY14" fmla="*/ 1443106 h 1611452"/>
                    <a:gd name="connsiteX15" fmla="*/ 6738824 w 7419706"/>
                    <a:gd name="connsiteY15" fmla="*/ 1477775 h 1611452"/>
                    <a:gd name="connsiteX16" fmla="*/ 6678154 w 7419706"/>
                    <a:gd name="connsiteY16" fmla="*/ 1477775 h 1611452"/>
                    <a:gd name="connsiteX17" fmla="*/ 6678154 w 7419706"/>
                    <a:gd name="connsiteY17" fmla="*/ 1438772 h 1611452"/>
                    <a:gd name="connsiteX18" fmla="*/ 6561145 w 7419706"/>
                    <a:gd name="connsiteY18" fmla="*/ 1438772 h 1611452"/>
                    <a:gd name="connsiteX19" fmla="*/ 6548144 w 7419706"/>
                    <a:gd name="connsiteY19" fmla="*/ 1425771 h 1611452"/>
                    <a:gd name="connsiteX20" fmla="*/ 6483139 w 7419706"/>
                    <a:gd name="connsiteY20" fmla="*/ 1425771 h 1611452"/>
                    <a:gd name="connsiteX21" fmla="*/ 6483139 w 7419706"/>
                    <a:gd name="connsiteY21" fmla="*/ 1482108 h 1611452"/>
                    <a:gd name="connsiteX22" fmla="*/ 6444137 w 7419706"/>
                    <a:gd name="connsiteY22" fmla="*/ 1482108 h 1611452"/>
                    <a:gd name="connsiteX23" fmla="*/ 6444137 w 7419706"/>
                    <a:gd name="connsiteY23" fmla="*/ 1434438 h 1611452"/>
                    <a:gd name="connsiteX24" fmla="*/ 6405134 w 7419706"/>
                    <a:gd name="connsiteY24" fmla="*/ 1434438 h 1611452"/>
                    <a:gd name="connsiteX25" fmla="*/ 6405134 w 7419706"/>
                    <a:gd name="connsiteY25" fmla="*/ 1477775 h 1611452"/>
                    <a:gd name="connsiteX26" fmla="*/ 6357464 w 7419706"/>
                    <a:gd name="connsiteY26" fmla="*/ 1477775 h 1611452"/>
                    <a:gd name="connsiteX27" fmla="*/ 6357464 w 7419706"/>
                    <a:gd name="connsiteY27" fmla="*/ 1430105 h 1611452"/>
                    <a:gd name="connsiteX28" fmla="*/ 6223120 w 7419706"/>
                    <a:gd name="connsiteY28" fmla="*/ 1430105 h 1611452"/>
                    <a:gd name="connsiteX29" fmla="*/ 6223120 w 7419706"/>
                    <a:gd name="connsiteY29" fmla="*/ 1443106 h 1611452"/>
                    <a:gd name="connsiteX30" fmla="*/ 6192785 w 7419706"/>
                    <a:gd name="connsiteY30" fmla="*/ 1443106 h 1611452"/>
                    <a:gd name="connsiteX31" fmla="*/ 6192785 w 7419706"/>
                    <a:gd name="connsiteY31" fmla="*/ 1412770 h 1611452"/>
                    <a:gd name="connsiteX32" fmla="*/ 6119113 w 7419706"/>
                    <a:gd name="connsiteY32" fmla="*/ 1412770 h 1611452"/>
                    <a:gd name="connsiteX33" fmla="*/ 6119113 w 7419706"/>
                    <a:gd name="connsiteY33" fmla="*/ 1399769 h 1611452"/>
                    <a:gd name="connsiteX34" fmla="*/ 6071443 w 7419706"/>
                    <a:gd name="connsiteY34" fmla="*/ 1399769 h 1611452"/>
                    <a:gd name="connsiteX35" fmla="*/ 6071443 w 7419706"/>
                    <a:gd name="connsiteY35" fmla="*/ 1382434 h 1611452"/>
                    <a:gd name="connsiteX36" fmla="*/ 6049774 w 7419706"/>
                    <a:gd name="connsiteY36" fmla="*/ 1382434 h 1611452"/>
                    <a:gd name="connsiteX37" fmla="*/ 6049774 w 7419706"/>
                    <a:gd name="connsiteY37" fmla="*/ 1421437 h 1611452"/>
                    <a:gd name="connsiteX38" fmla="*/ 6019439 w 7419706"/>
                    <a:gd name="connsiteY38" fmla="*/ 1421437 h 1611452"/>
                    <a:gd name="connsiteX39" fmla="*/ 6019439 w 7419706"/>
                    <a:gd name="connsiteY39" fmla="*/ 1391102 h 1611452"/>
                    <a:gd name="connsiteX40" fmla="*/ 5958768 w 7419706"/>
                    <a:gd name="connsiteY40" fmla="*/ 1391102 h 1611452"/>
                    <a:gd name="connsiteX41" fmla="*/ 5958768 w 7419706"/>
                    <a:gd name="connsiteY41" fmla="*/ 1373767 h 1611452"/>
                    <a:gd name="connsiteX42" fmla="*/ 5919765 w 7419706"/>
                    <a:gd name="connsiteY42" fmla="*/ 1373767 h 1611452"/>
                    <a:gd name="connsiteX43" fmla="*/ 5919765 w 7419706"/>
                    <a:gd name="connsiteY43" fmla="*/ 1352099 h 1611452"/>
                    <a:gd name="connsiteX44" fmla="*/ 5824425 w 7419706"/>
                    <a:gd name="connsiteY44" fmla="*/ 1352099 h 1611452"/>
                    <a:gd name="connsiteX45" fmla="*/ 5824425 w 7419706"/>
                    <a:gd name="connsiteY45" fmla="*/ 1399769 h 1611452"/>
                    <a:gd name="connsiteX46" fmla="*/ 5789756 w 7419706"/>
                    <a:gd name="connsiteY46" fmla="*/ 1399769 h 1611452"/>
                    <a:gd name="connsiteX47" fmla="*/ 5789756 w 7419706"/>
                    <a:gd name="connsiteY47" fmla="*/ 1365100 h 1611452"/>
                    <a:gd name="connsiteX48" fmla="*/ 5698749 w 7419706"/>
                    <a:gd name="connsiteY48" fmla="*/ 1365100 h 1611452"/>
                    <a:gd name="connsiteX49" fmla="*/ 5698749 w 7419706"/>
                    <a:gd name="connsiteY49" fmla="*/ 1326097 h 1611452"/>
                    <a:gd name="connsiteX50" fmla="*/ 5655412 w 7419706"/>
                    <a:gd name="connsiteY50" fmla="*/ 1326097 h 1611452"/>
                    <a:gd name="connsiteX51" fmla="*/ 5655412 w 7419706"/>
                    <a:gd name="connsiteY51" fmla="*/ 1373767 h 1611452"/>
                    <a:gd name="connsiteX52" fmla="*/ 5612076 w 7419706"/>
                    <a:gd name="connsiteY52" fmla="*/ 1373767 h 1611452"/>
                    <a:gd name="connsiteX53" fmla="*/ 5612076 w 7419706"/>
                    <a:gd name="connsiteY53" fmla="*/ 1334764 h 1611452"/>
                    <a:gd name="connsiteX54" fmla="*/ 5512402 w 7419706"/>
                    <a:gd name="connsiteY54" fmla="*/ 1334764 h 1611452"/>
                    <a:gd name="connsiteX55" fmla="*/ 5512402 w 7419706"/>
                    <a:gd name="connsiteY55" fmla="*/ 1360766 h 1611452"/>
                    <a:gd name="connsiteX56" fmla="*/ 5469065 w 7419706"/>
                    <a:gd name="connsiteY56" fmla="*/ 1360766 h 1611452"/>
                    <a:gd name="connsiteX57" fmla="*/ 5469065 w 7419706"/>
                    <a:gd name="connsiteY57" fmla="*/ 1321763 h 1611452"/>
                    <a:gd name="connsiteX58" fmla="*/ 5360724 w 7419706"/>
                    <a:gd name="connsiteY58" fmla="*/ 1321763 h 1611452"/>
                    <a:gd name="connsiteX59" fmla="*/ 5360724 w 7419706"/>
                    <a:gd name="connsiteY59" fmla="*/ 1304429 h 1611452"/>
                    <a:gd name="connsiteX60" fmla="*/ 5300053 w 7419706"/>
                    <a:gd name="connsiteY60" fmla="*/ 1304429 h 1611452"/>
                    <a:gd name="connsiteX61" fmla="*/ 5291386 w 7419706"/>
                    <a:gd name="connsiteY61" fmla="*/ 1295762 h 1611452"/>
                    <a:gd name="connsiteX62" fmla="*/ 5187378 w 7419706"/>
                    <a:gd name="connsiteY62" fmla="*/ 1295762 h 1611452"/>
                    <a:gd name="connsiteX63" fmla="*/ 5187378 w 7419706"/>
                    <a:gd name="connsiteY63" fmla="*/ 1278427 h 1611452"/>
                    <a:gd name="connsiteX64" fmla="*/ 5057369 w 7419706"/>
                    <a:gd name="connsiteY64" fmla="*/ 1278427 h 1611452"/>
                    <a:gd name="connsiteX65" fmla="*/ 5048701 w 7419706"/>
                    <a:gd name="connsiteY65" fmla="*/ 1269759 h 1611452"/>
                    <a:gd name="connsiteX66" fmla="*/ 4923026 w 7419706"/>
                    <a:gd name="connsiteY66" fmla="*/ 1269759 h 1611452"/>
                    <a:gd name="connsiteX67" fmla="*/ 4910025 w 7419706"/>
                    <a:gd name="connsiteY67" fmla="*/ 1256758 h 1611452"/>
                    <a:gd name="connsiteX68" fmla="*/ 4697676 w 7419706"/>
                    <a:gd name="connsiteY68" fmla="*/ 1256758 h 1611452"/>
                    <a:gd name="connsiteX69" fmla="*/ 4684675 w 7419706"/>
                    <a:gd name="connsiteY69" fmla="*/ 1243757 h 1611452"/>
                    <a:gd name="connsiteX70" fmla="*/ 4663007 w 7419706"/>
                    <a:gd name="connsiteY70" fmla="*/ 1243757 h 1611452"/>
                    <a:gd name="connsiteX71" fmla="*/ 4645673 w 7419706"/>
                    <a:gd name="connsiteY71" fmla="*/ 1226423 h 1611452"/>
                    <a:gd name="connsiteX72" fmla="*/ 4632672 w 7419706"/>
                    <a:gd name="connsiteY72" fmla="*/ 1213422 h 1611452"/>
                    <a:gd name="connsiteX73" fmla="*/ 4489661 w 7419706"/>
                    <a:gd name="connsiteY73" fmla="*/ 1213422 h 1611452"/>
                    <a:gd name="connsiteX74" fmla="*/ 4489661 w 7419706"/>
                    <a:gd name="connsiteY74" fmla="*/ 1200421 h 1611452"/>
                    <a:gd name="connsiteX75" fmla="*/ 4446324 w 7419706"/>
                    <a:gd name="connsiteY75" fmla="*/ 1200421 h 1611452"/>
                    <a:gd name="connsiteX76" fmla="*/ 4446324 w 7419706"/>
                    <a:gd name="connsiteY76" fmla="*/ 1183087 h 1611452"/>
                    <a:gd name="connsiteX77" fmla="*/ 4411655 w 7419706"/>
                    <a:gd name="connsiteY77" fmla="*/ 1183087 h 1611452"/>
                    <a:gd name="connsiteX78" fmla="*/ 4398654 w 7419706"/>
                    <a:gd name="connsiteY78" fmla="*/ 1170086 h 1611452"/>
                    <a:gd name="connsiteX79" fmla="*/ 4394321 w 7419706"/>
                    <a:gd name="connsiteY79" fmla="*/ 1174419 h 1611452"/>
                    <a:gd name="connsiteX80" fmla="*/ 4394321 w 7419706"/>
                    <a:gd name="connsiteY80" fmla="*/ 1200421 h 1611452"/>
                    <a:gd name="connsiteX81" fmla="*/ 4359651 w 7419706"/>
                    <a:gd name="connsiteY81" fmla="*/ 1200421 h 1611452"/>
                    <a:gd name="connsiteX82" fmla="*/ 4359651 w 7419706"/>
                    <a:gd name="connsiteY82" fmla="*/ 1157085 h 1611452"/>
                    <a:gd name="connsiteX83" fmla="*/ 4329316 w 7419706"/>
                    <a:gd name="connsiteY83" fmla="*/ 1157085 h 1611452"/>
                    <a:gd name="connsiteX84" fmla="*/ 4320648 w 7419706"/>
                    <a:gd name="connsiteY84" fmla="*/ 1148417 h 1611452"/>
                    <a:gd name="connsiteX85" fmla="*/ 4155970 w 7419706"/>
                    <a:gd name="connsiteY85" fmla="*/ 1148417 h 1611452"/>
                    <a:gd name="connsiteX86" fmla="*/ 4147302 w 7419706"/>
                    <a:gd name="connsiteY86" fmla="*/ 1139749 h 1611452"/>
                    <a:gd name="connsiteX87" fmla="*/ 4064963 w 7419706"/>
                    <a:gd name="connsiteY87" fmla="*/ 1139749 h 1611452"/>
                    <a:gd name="connsiteX88" fmla="*/ 4064963 w 7419706"/>
                    <a:gd name="connsiteY88" fmla="*/ 1122415 h 1611452"/>
                    <a:gd name="connsiteX89" fmla="*/ 4047628 w 7419706"/>
                    <a:gd name="connsiteY89" fmla="*/ 1122415 h 1611452"/>
                    <a:gd name="connsiteX90" fmla="*/ 4047628 w 7419706"/>
                    <a:gd name="connsiteY90" fmla="*/ 1105081 h 1611452"/>
                    <a:gd name="connsiteX91" fmla="*/ 4025960 w 7419706"/>
                    <a:gd name="connsiteY91" fmla="*/ 1105081 h 1611452"/>
                    <a:gd name="connsiteX92" fmla="*/ 4025960 w 7419706"/>
                    <a:gd name="connsiteY92" fmla="*/ 1152751 h 1611452"/>
                    <a:gd name="connsiteX93" fmla="*/ 3991291 w 7419706"/>
                    <a:gd name="connsiteY93" fmla="*/ 1152751 h 1611452"/>
                    <a:gd name="connsiteX94" fmla="*/ 3991291 w 7419706"/>
                    <a:gd name="connsiteY94" fmla="*/ 1109415 h 1611452"/>
                    <a:gd name="connsiteX95" fmla="*/ 3960956 w 7419706"/>
                    <a:gd name="connsiteY95" fmla="*/ 1109415 h 1611452"/>
                    <a:gd name="connsiteX96" fmla="*/ 3952288 w 7419706"/>
                    <a:gd name="connsiteY96" fmla="*/ 1100747 h 1611452"/>
                    <a:gd name="connsiteX97" fmla="*/ 3735606 w 7419706"/>
                    <a:gd name="connsiteY97" fmla="*/ 1100747 h 1611452"/>
                    <a:gd name="connsiteX98" fmla="*/ 3718272 w 7419706"/>
                    <a:gd name="connsiteY98" fmla="*/ 1083413 h 1611452"/>
                    <a:gd name="connsiteX99" fmla="*/ 3592595 w 7419706"/>
                    <a:gd name="connsiteY99" fmla="*/ 1083413 h 1611452"/>
                    <a:gd name="connsiteX100" fmla="*/ 3575261 w 7419706"/>
                    <a:gd name="connsiteY100" fmla="*/ 1066079 h 1611452"/>
                    <a:gd name="connsiteX101" fmla="*/ 3440918 w 7419706"/>
                    <a:gd name="connsiteY101" fmla="*/ 1066079 h 1611452"/>
                    <a:gd name="connsiteX102" fmla="*/ 3440918 w 7419706"/>
                    <a:gd name="connsiteY102" fmla="*/ 1040076 h 1611452"/>
                    <a:gd name="connsiteX103" fmla="*/ 3319575 w 7419706"/>
                    <a:gd name="connsiteY103" fmla="*/ 1040076 h 1611452"/>
                    <a:gd name="connsiteX104" fmla="*/ 3319575 w 7419706"/>
                    <a:gd name="connsiteY104" fmla="*/ 1027075 h 1611452"/>
                    <a:gd name="connsiteX105" fmla="*/ 3180899 w 7419706"/>
                    <a:gd name="connsiteY105" fmla="*/ 1027075 h 1611452"/>
                    <a:gd name="connsiteX106" fmla="*/ 3180899 w 7419706"/>
                    <a:gd name="connsiteY106" fmla="*/ 1020123 h 1611452"/>
                    <a:gd name="connsiteX107" fmla="*/ 3163564 w 7419706"/>
                    <a:gd name="connsiteY107" fmla="*/ 1018408 h 1611452"/>
                    <a:gd name="connsiteX108" fmla="*/ 3150563 w 7419706"/>
                    <a:gd name="connsiteY108" fmla="*/ 1005407 h 1611452"/>
                    <a:gd name="connsiteX109" fmla="*/ 2990218 w 7419706"/>
                    <a:gd name="connsiteY109" fmla="*/ 1005407 h 1611452"/>
                    <a:gd name="connsiteX110" fmla="*/ 2990218 w 7419706"/>
                    <a:gd name="connsiteY110" fmla="*/ 988072 h 1611452"/>
                    <a:gd name="connsiteX111" fmla="*/ 2907879 w 7419706"/>
                    <a:gd name="connsiteY111" fmla="*/ 988072 h 1611452"/>
                    <a:gd name="connsiteX112" fmla="*/ 2899211 w 7419706"/>
                    <a:gd name="connsiteY112" fmla="*/ 979404 h 1611452"/>
                    <a:gd name="connsiteX113" fmla="*/ 2868876 w 7419706"/>
                    <a:gd name="connsiteY113" fmla="*/ 979404 h 1611452"/>
                    <a:gd name="connsiteX114" fmla="*/ 2868876 w 7419706"/>
                    <a:gd name="connsiteY114" fmla="*/ 953403 h 1611452"/>
                    <a:gd name="connsiteX115" fmla="*/ 2842874 w 7419706"/>
                    <a:gd name="connsiteY115" fmla="*/ 953403 h 1611452"/>
                    <a:gd name="connsiteX116" fmla="*/ 2834207 w 7419706"/>
                    <a:gd name="connsiteY116" fmla="*/ 944736 h 1611452"/>
                    <a:gd name="connsiteX117" fmla="*/ 2756201 w 7419706"/>
                    <a:gd name="connsiteY117" fmla="*/ 944736 h 1611452"/>
                    <a:gd name="connsiteX118" fmla="*/ 2747534 w 7419706"/>
                    <a:gd name="connsiteY118" fmla="*/ 936069 h 1611452"/>
                    <a:gd name="connsiteX119" fmla="*/ 2699864 w 7419706"/>
                    <a:gd name="connsiteY119" fmla="*/ 936069 h 1611452"/>
                    <a:gd name="connsiteX120" fmla="*/ 2688815 w 7419706"/>
                    <a:gd name="connsiteY120" fmla="*/ 925019 h 1611452"/>
                    <a:gd name="connsiteX121" fmla="*/ 2643526 w 7419706"/>
                    <a:gd name="connsiteY121" fmla="*/ 927401 h 1611452"/>
                    <a:gd name="connsiteX122" fmla="*/ 2638099 w 7419706"/>
                    <a:gd name="connsiteY122" fmla="*/ 910067 h 1611452"/>
                    <a:gd name="connsiteX123" fmla="*/ 2616001 w 7419706"/>
                    <a:gd name="connsiteY123" fmla="*/ 899876 h 1611452"/>
                    <a:gd name="connsiteX124" fmla="*/ 2591522 w 7419706"/>
                    <a:gd name="connsiteY124" fmla="*/ 875397 h 1611452"/>
                    <a:gd name="connsiteX125" fmla="*/ 2561187 w 7419706"/>
                    <a:gd name="connsiteY125" fmla="*/ 875397 h 1611452"/>
                    <a:gd name="connsiteX126" fmla="*/ 2552519 w 7419706"/>
                    <a:gd name="connsiteY126" fmla="*/ 866729 h 1611452"/>
                    <a:gd name="connsiteX127" fmla="*/ 2500516 w 7419706"/>
                    <a:gd name="connsiteY127" fmla="*/ 866729 h 1611452"/>
                    <a:gd name="connsiteX128" fmla="*/ 2500516 w 7419706"/>
                    <a:gd name="connsiteY128" fmla="*/ 849396 h 1611452"/>
                    <a:gd name="connsiteX129" fmla="*/ 2444178 w 7419706"/>
                    <a:gd name="connsiteY129" fmla="*/ 849396 h 1611452"/>
                    <a:gd name="connsiteX130" fmla="*/ 2435510 w 7419706"/>
                    <a:gd name="connsiteY130" fmla="*/ 840728 h 1611452"/>
                    <a:gd name="connsiteX131" fmla="*/ 2413843 w 7419706"/>
                    <a:gd name="connsiteY131" fmla="*/ 840728 h 1611452"/>
                    <a:gd name="connsiteX132" fmla="*/ 2400842 w 7419706"/>
                    <a:gd name="connsiteY132" fmla="*/ 827727 h 1611452"/>
                    <a:gd name="connsiteX133" fmla="*/ 2348838 w 7419706"/>
                    <a:gd name="connsiteY133" fmla="*/ 827727 h 1611452"/>
                    <a:gd name="connsiteX134" fmla="*/ 2348838 w 7419706"/>
                    <a:gd name="connsiteY134" fmla="*/ 810393 h 1611452"/>
                    <a:gd name="connsiteX135" fmla="*/ 2309835 w 7419706"/>
                    <a:gd name="connsiteY135" fmla="*/ 810393 h 1611452"/>
                    <a:gd name="connsiteX136" fmla="*/ 2296834 w 7419706"/>
                    <a:gd name="connsiteY136" fmla="*/ 823394 h 1611452"/>
                    <a:gd name="connsiteX137" fmla="*/ 2266499 w 7419706"/>
                    <a:gd name="connsiteY137" fmla="*/ 823394 h 1611452"/>
                    <a:gd name="connsiteX138" fmla="*/ 2253498 w 7419706"/>
                    <a:gd name="connsiteY138" fmla="*/ 810393 h 1611452"/>
                    <a:gd name="connsiteX139" fmla="*/ 2244830 w 7419706"/>
                    <a:gd name="connsiteY139" fmla="*/ 801725 h 1611452"/>
                    <a:gd name="connsiteX140" fmla="*/ 2244830 w 7419706"/>
                    <a:gd name="connsiteY140" fmla="*/ 775724 h 1611452"/>
                    <a:gd name="connsiteX141" fmla="*/ 2123488 w 7419706"/>
                    <a:gd name="connsiteY141" fmla="*/ 775724 h 1611452"/>
                    <a:gd name="connsiteX142" fmla="*/ 2123488 w 7419706"/>
                    <a:gd name="connsiteY142" fmla="*/ 745388 h 1611452"/>
                    <a:gd name="connsiteX143" fmla="*/ 2071484 w 7419706"/>
                    <a:gd name="connsiteY143" fmla="*/ 745388 h 1611452"/>
                    <a:gd name="connsiteX144" fmla="*/ 2062817 w 7419706"/>
                    <a:gd name="connsiteY144" fmla="*/ 736721 h 1611452"/>
                    <a:gd name="connsiteX145" fmla="*/ 2006480 w 7419706"/>
                    <a:gd name="connsiteY145" fmla="*/ 736721 h 1611452"/>
                    <a:gd name="connsiteX146" fmla="*/ 2006480 w 7419706"/>
                    <a:gd name="connsiteY146" fmla="*/ 715052 h 1611452"/>
                    <a:gd name="connsiteX147" fmla="*/ 1906806 w 7419706"/>
                    <a:gd name="connsiteY147" fmla="*/ 715052 h 1611452"/>
                    <a:gd name="connsiteX148" fmla="*/ 1902473 w 7419706"/>
                    <a:gd name="connsiteY148" fmla="*/ 710719 h 1611452"/>
                    <a:gd name="connsiteX149" fmla="*/ 1863469 w 7419706"/>
                    <a:gd name="connsiteY149" fmla="*/ 710719 h 1611452"/>
                    <a:gd name="connsiteX150" fmla="*/ 1863469 w 7419706"/>
                    <a:gd name="connsiteY150" fmla="*/ 680383 h 1611452"/>
                    <a:gd name="connsiteX151" fmla="*/ 1807132 w 7419706"/>
                    <a:gd name="connsiteY151" fmla="*/ 680383 h 1611452"/>
                    <a:gd name="connsiteX152" fmla="*/ 1798465 w 7419706"/>
                    <a:gd name="connsiteY152" fmla="*/ 671716 h 1611452"/>
                    <a:gd name="connsiteX153" fmla="*/ 1785464 w 7419706"/>
                    <a:gd name="connsiteY153" fmla="*/ 671716 h 1611452"/>
                    <a:gd name="connsiteX154" fmla="*/ 1785464 w 7419706"/>
                    <a:gd name="connsiteY154" fmla="*/ 658715 h 1611452"/>
                    <a:gd name="connsiteX155" fmla="*/ 1750794 w 7419706"/>
                    <a:gd name="connsiteY155" fmla="*/ 658715 h 1611452"/>
                    <a:gd name="connsiteX156" fmla="*/ 1750794 w 7419706"/>
                    <a:gd name="connsiteY156" fmla="*/ 637047 h 1611452"/>
                    <a:gd name="connsiteX157" fmla="*/ 1698791 w 7419706"/>
                    <a:gd name="connsiteY157" fmla="*/ 637047 h 1611452"/>
                    <a:gd name="connsiteX158" fmla="*/ 1698791 w 7419706"/>
                    <a:gd name="connsiteY158" fmla="*/ 611045 h 1611452"/>
                    <a:gd name="connsiteX159" fmla="*/ 1616451 w 7419706"/>
                    <a:gd name="connsiteY159" fmla="*/ 611045 h 1611452"/>
                    <a:gd name="connsiteX160" fmla="*/ 1603450 w 7419706"/>
                    <a:gd name="connsiteY160" fmla="*/ 598044 h 1611452"/>
                    <a:gd name="connsiteX161" fmla="*/ 1590449 w 7419706"/>
                    <a:gd name="connsiteY161" fmla="*/ 598044 h 1611452"/>
                    <a:gd name="connsiteX162" fmla="*/ 1577448 w 7419706"/>
                    <a:gd name="connsiteY162" fmla="*/ 585043 h 1611452"/>
                    <a:gd name="connsiteX163" fmla="*/ 1529778 w 7419706"/>
                    <a:gd name="connsiteY163" fmla="*/ 585043 h 1611452"/>
                    <a:gd name="connsiteX164" fmla="*/ 1529778 w 7419706"/>
                    <a:gd name="connsiteY164" fmla="*/ 576376 h 1611452"/>
                    <a:gd name="connsiteX165" fmla="*/ 1477774 w 7419706"/>
                    <a:gd name="connsiteY165" fmla="*/ 576376 h 1611452"/>
                    <a:gd name="connsiteX166" fmla="*/ 1477774 w 7419706"/>
                    <a:gd name="connsiteY166" fmla="*/ 559041 h 1611452"/>
                    <a:gd name="connsiteX167" fmla="*/ 1408436 w 7419706"/>
                    <a:gd name="connsiteY167" fmla="*/ 559041 h 1611452"/>
                    <a:gd name="connsiteX168" fmla="*/ 1395435 w 7419706"/>
                    <a:gd name="connsiteY168" fmla="*/ 546040 h 1611452"/>
                    <a:gd name="connsiteX169" fmla="*/ 1330430 w 7419706"/>
                    <a:gd name="connsiteY169" fmla="*/ 546040 h 1611452"/>
                    <a:gd name="connsiteX170" fmla="*/ 1330430 w 7419706"/>
                    <a:gd name="connsiteY170" fmla="*/ 528706 h 1611452"/>
                    <a:gd name="connsiteX171" fmla="*/ 1274093 w 7419706"/>
                    <a:gd name="connsiteY171" fmla="*/ 528706 h 1611452"/>
                    <a:gd name="connsiteX172" fmla="*/ 1274093 w 7419706"/>
                    <a:gd name="connsiteY172" fmla="*/ 507037 h 1611452"/>
                    <a:gd name="connsiteX173" fmla="*/ 1191754 w 7419706"/>
                    <a:gd name="connsiteY173" fmla="*/ 507037 h 1611452"/>
                    <a:gd name="connsiteX174" fmla="*/ 1174419 w 7419706"/>
                    <a:gd name="connsiteY174" fmla="*/ 507037 h 1611452"/>
                    <a:gd name="connsiteX175" fmla="*/ 1148417 w 7419706"/>
                    <a:gd name="connsiteY175" fmla="*/ 507037 h 1611452"/>
                    <a:gd name="connsiteX176" fmla="*/ 1148417 w 7419706"/>
                    <a:gd name="connsiteY176" fmla="*/ 481035 h 1611452"/>
                    <a:gd name="connsiteX177" fmla="*/ 1092080 w 7419706"/>
                    <a:gd name="connsiteY177" fmla="*/ 481035 h 1611452"/>
                    <a:gd name="connsiteX178" fmla="*/ 1092080 w 7419706"/>
                    <a:gd name="connsiteY178" fmla="*/ 468034 h 1611452"/>
                    <a:gd name="connsiteX179" fmla="*/ 1044410 w 7419706"/>
                    <a:gd name="connsiteY179" fmla="*/ 468034 h 1611452"/>
                    <a:gd name="connsiteX180" fmla="*/ 1044410 w 7419706"/>
                    <a:gd name="connsiteY180" fmla="*/ 437699 h 1611452"/>
                    <a:gd name="connsiteX181" fmla="*/ 988072 w 7419706"/>
                    <a:gd name="connsiteY181" fmla="*/ 437699 h 1611452"/>
                    <a:gd name="connsiteX182" fmla="*/ 975071 w 7419706"/>
                    <a:gd name="connsiteY182" fmla="*/ 424698 h 1611452"/>
                    <a:gd name="connsiteX183" fmla="*/ 953403 w 7419706"/>
                    <a:gd name="connsiteY183" fmla="*/ 424698 h 1611452"/>
                    <a:gd name="connsiteX184" fmla="*/ 944736 w 7419706"/>
                    <a:gd name="connsiteY184" fmla="*/ 416031 h 1611452"/>
                    <a:gd name="connsiteX185" fmla="*/ 892732 w 7419706"/>
                    <a:gd name="connsiteY185" fmla="*/ 416031 h 1611452"/>
                    <a:gd name="connsiteX186" fmla="*/ 892732 w 7419706"/>
                    <a:gd name="connsiteY186" fmla="*/ 394362 h 1611452"/>
                    <a:gd name="connsiteX187" fmla="*/ 866730 w 7419706"/>
                    <a:gd name="connsiteY187" fmla="*/ 394362 h 1611452"/>
                    <a:gd name="connsiteX188" fmla="*/ 858063 w 7419706"/>
                    <a:gd name="connsiteY188" fmla="*/ 385695 h 1611452"/>
                    <a:gd name="connsiteX189" fmla="*/ 754055 w 7419706"/>
                    <a:gd name="connsiteY189" fmla="*/ 385695 h 1611452"/>
                    <a:gd name="connsiteX190" fmla="*/ 754055 w 7419706"/>
                    <a:gd name="connsiteY190" fmla="*/ 359693 h 1611452"/>
                    <a:gd name="connsiteX191" fmla="*/ 723719 w 7419706"/>
                    <a:gd name="connsiteY191" fmla="*/ 359693 h 1611452"/>
                    <a:gd name="connsiteX192" fmla="*/ 723719 w 7419706"/>
                    <a:gd name="connsiteY192" fmla="*/ 342359 h 1611452"/>
                    <a:gd name="connsiteX193" fmla="*/ 658715 w 7419706"/>
                    <a:gd name="connsiteY193" fmla="*/ 342359 h 1611452"/>
                    <a:gd name="connsiteX194" fmla="*/ 650047 w 7419706"/>
                    <a:gd name="connsiteY194" fmla="*/ 333691 h 1611452"/>
                    <a:gd name="connsiteX195" fmla="*/ 628379 w 7419706"/>
                    <a:gd name="connsiteY195" fmla="*/ 333691 h 1611452"/>
                    <a:gd name="connsiteX196" fmla="*/ 628379 w 7419706"/>
                    <a:gd name="connsiteY196" fmla="*/ 316357 h 1611452"/>
                    <a:gd name="connsiteX197" fmla="*/ 598044 w 7419706"/>
                    <a:gd name="connsiteY197" fmla="*/ 316357 h 1611452"/>
                    <a:gd name="connsiteX198" fmla="*/ 598044 w 7419706"/>
                    <a:gd name="connsiteY198" fmla="*/ 294688 h 1611452"/>
                    <a:gd name="connsiteX199" fmla="*/ 576375 w 7419706"/>
                    <a:gd name="connsiteY199" fmla="*/ 294688 h 1611452"/>
                    <a:gd name="connsiteX200" fmla="*/ 576375 w 7419706"/>
                    <a:gd name="connsiteY200" fmla="*/ 281687 h 1611452"/>
                    <a:gd name="connsiteX201" fmla="*/ 554707 w 7419706"/>
                    <a:gd name="connsiteY201" fmla="*/ 281687 h 1611452"/>
                    <a:gd name="connsiteX202" fmla="*/ 554707 w 7419706"/>
                    <a:gd name="connsiteY202" fmla="*/ 268687 h 1611452"/>
                    <a:gd name="connsiteX203" fmla="*/ 489702 w 7419706"/>
                    <a:gd name="connsiteY203" fmla="*/ 268687 h 1611452"/>
                    <a:gd name="connsiteX204" fmla="*/ 489702 w 7419706"/>
                    <a:gd name="connsiteY204" fmla="*/ 242685 h 1611452"/>
                    <a:gd name="connsiteX205" fmla="*/ 455033 w 7419706"/>
                    <a:gd name="connsiteY205" fmla="*/ 242685 h 1611452"/>
                    <a:gd name="connsiteX206" fmla="*/ 455033 w 7419706"/>
                    <a:gd name="connsiteY206" fmla="*/ 216683 h 1611452"/>
                    <a:gd name="connsiteX207" fmla="*/ 437699 w 7419706"/>
                    <a:gd name="connsiteY207" fmla="*/ 216683 h 1611452"/>
                    <a:gd name="connsiteX208" fmla="*/ 437699 w 7419706"/>
                    <a:gd name="connsiteY208" fmla="*/ 186347 h 1611452"/>
                    <a:gd name="connsiteX209" fmla="*/ 407363 w 7419706"/>
                    <a:gd name="connsiteY209" fmla="*/ 186347 h 1611452"/>
                    <a:gd name="connsiteX210" fmla="*/ 407363 w 7419706"/>
                    <a:gd name="connsiteY210" fmla="*/ 173346 h 1611452"/>
                    <a:gd name="connsiteX211" fmla="*/ 372694 w 7419706"/>
                    <a:gd name="connsiteY211" fmla="*/ 173346 h 1611452"/>
                    <a:gd name="connsiteX212" fmla="*/ 372694 w 7419706"/>
                    <a:gd name="connsiteY212" fmla="*/ 151678 h 1611452"/>
                    <a:gd name="connsiteX213" fmla="*/ 355359 w 7419706"/>
                    <a:gd name="connsiteY213" fmla="*/ 151678 h 1611452"/>
                    <a:gd name="connsiteX214" fmla="*/ 355359 w 7419706"/>
                    <a:gd name="connsiteY214" fmla="*/ 138677 h 1611452"/>
                    <a:gd name="connsiteX215" fmla="*/ 303356 w 7419706"/>
                    <a:gd name="connsiteY215" fmla="*/ 138677 h 1611452"/>
                    <a:gd name="connsiteX216" fmla="*/ 303356 w 7419706"/>
                    <a:gd name="connsiteY216" fmla="*/ 95341 h 1611452"/>
                    <a:gd name="connsiteX217" fmla="*/ 268686 w 7419706"/>
                    <a:gd name="connsiteY217" fmla="*/ 95341 h 1611452"/>
                    <a:gd name="connsiteX218" fmla="*/ 268686 w 7419706"/>
                    <a:gd name="connsiteY218" fmla="*/ 82340 h 1611452"/>
                    <a:gd name="connsiteX219" fmla="*/ 234017 w 7419706"/>
                    <a:gd name="connsiteY219" fmla="*/ 82340 h 1611452"/>
                    <a:gd name="connsiteX220" fmla="*/ 234017 w 7419706"/>
                    <a:gd name="connsiteY220" fmla="*/ 47670 h 1611452"/>
                    <a:gd name="connsiteX221" fmla="*/ 208015 w 7419706"/>
                    <a:gd name="connsiteY221" fmla="*/ 47670 h 1611452"/>
                    <a:gd name="connsiteX222" fmla="*/ 208015 w 7419706"/>
                    <a:gd name="connsiteY222" fmla="*/ 39003 h 1611452"/>
                    <a:gd name="connsiteX223" fmla="*/ 156011 w 7419706"/>
                    <a:gd name="connsiteY223" fmla="*/ 39003 h 1611452"/>
                    <a:gd name="connsiteX224" fmla="*/ 156011 w 7419706"/>
                    <a:gd name="connsiteY224" fmla="*/ 26002 h 1611452"/>
                    <a:gd name="connsiteX225" fmla="*/ 121342 w 7419706"/>
                    <a:gd name="connsiteY225" fmla="*/ 26002 h 1611452"/>
                    <a:gd name="connsiteX226" fmla="*/ 121342 w 7419706"/>
                    <a:gd name="connsiteY226" fmla="*/ 0 h 1611452"/>
                    <a:gd name="connsiteX227" fmla="*/ 82339 w 7419706"/>
                    <a:gd name="connsiteY227" fmla="*/ 0 h 1611452"/>
                    <a:gd name="connsiteX228" fmla="*/ 82339 w 7419706"/>
                    <a:gd name="connsiteY228" fmla="*/ 43337 h 1611452"/>
                    <a:gd name="connsiteX229" fmla="*/ 0 w 7419706"/>
                    <a:gd name="connsiteY229" fmla="*/ 43337 h 1611452"/>
                    <a:gd name="connsiteX230" fmla="*/ 8667 w 7419706"/>
                    <a:gd name="connsiteY230" fmla="*/ 34670 h 1611452"/>
                    <a:gd name="connsiteX231" fmla="*/ 8667 w 7419706"/>
                    <a:gd name="connsiteY231" fmla="*/ 52004 h 1611452"/>
                    <a:gd name="connsiteX232" fmla="*/ 21668 w 7419706"/>
                    <a:gd name="connsiteY232" fmla="*/ 52004 h 1611452"/>
                    <a:gd name="connsiteX233" fmla="*/ 21668 w 7419706"/>
                    <a:gd name="connsiteY233" fmla="*/ 65005 h 1611452"/>
                    <a:gd name="connsiteX234" fmla="*/ 52004 w 7419706"/>
                    <a:gd name="connsiteY234" fmla="*/ 65005 h 1611452"/>
                    <a:gd name="connsiteX235" fmla="*/ 52004 w 7419706"/>
                    <a:gd name="connsiteY235" fmla="*/ 86673 h 1611452"/>
                    <a:gd name="connsiteX236" fmla="*/ 78006 w 7419706"/>
                    <a:gd name="connsiteY236" fmla="*/ 86673 h 1611452"/>
                    <a:gd name="connsiteX237" fmla="*/ 78006 w 7419706"/>
                    <a:gd name="connsiteY237" fmla="*/ 125676 h 1611452"/>
                    <a:gd name="connsiteX238" fmla="*/ 138677 w 7419706"/>
                    <a:gd name="connsiteY238" fmla="*/ 125676 h 1611452"/>
                    <a:gd name="connsiteX239" fmla="*/ 147344 w 7419706"/>
                    <a:gd name="connsiteY239" fmla="*/ 134343 h 1611452"/>
                    <a:gd name="connsiteX240" fmla="*/ 164679 w 7419706"/>
                    <a:gd name="connsiteY240" fmla="*/ 134343 h 1611452"/>
                    <a:gd name="connsiteX241" fmla="*/ 164679 w 7419706"/>
                    <a:gd name="connsiteY241" fmla="*/ 156012 h 1611452"/>
                    <a:gd name="connsiteX242" fmla="*/ 182013 w 7419706"/>
                    <a:gd name="connsiteY242" fmla="*/ 156012 h 1611452"/>
                    <a:gd name="connsiteX243" fmla="*/ 195014 w 7419706"/>
                    <a:gd name="connsiteY243" fmla="*/ 169013 h 1611452"/>
                    <a:gd name="connsiteX244" fmla="*/ 225350 w 7419706"/>
                    <a:gd name="connsiteY244" fmla="*/ 169013 h 1611452"/>
                    <a:gd name="connsiteX245" fmla="*/ 225350 w 7419706"/>
                    <a:gd name="connsiteY245" fmla="*/ 208015 h 1611452"/>
                    <a:gd name="connsiteX246" fmla="*/ 251352 w 7419706"/>
                    <a:gd name="connsiteY246" fmla="*/ 208015 h 1611452"/>
                    <a:gd name="connsiteX247" fmla="*/ 260019 w 7419706"/>
                    <a:gd name="connsiteY247" fmla="*/ 216682 h 1611452"/>
                    <a:gd name="connsiteX248" fmla="*/ 273021 w 7419706"/>
                    <a:gd name="connsiteY248" fmla="*/ 229684 h 1611452"/>
                    <a:gd name="connsiteX249" fmla="*/ 273021 w 7419706"/>
                    <a:gd name="connsiteY249" fmla="*/ 251352 h 1611452"/>
                    <a:gd name="connsiteX250" fmla="*/ 303356 w 7419706"/>
                    <a:gd name="connsiteY250" fmla="*/ 251352 h 1611452"/>
                    <a:gd name="connsiteX251" fmla="*/ 303356 w 7419706"/>
                    <a:gd name="connsiteY251" fmla="*/ 268687 h 1611452"/>
                    <a:gd name="connsiteX252" fmla="*/ 342358 w 7419706"/>
                    <a:gd name="connsiteY252" fmla="*/ 268687 h 1611452"/>
                    <a:gd name="connsiteX253" fmla="*/ 342358 w 7419706"/>
                    <a:gd name="connsiteY253" fmla="*/ 286021 h 1611452"/>
                    <a:gd name="connsiteX254" fmla="*/ 385695 w 7419706"/>
                    <a:gd name="connsiteY254" fmla="*/ 286021 h 1611452"/>
                    <a:gd name="connsiteX255" fmla="*/ 385695 w 7419706"/>
                    <a:gd name="connsiteY255" fmla="*/ 286021 h 1611452"/>
                    <a:gd name="connsiteX256" fmla="*/ 407363 w 7419706"/>
                    <a:gd name="connsiteY256" fmla="*/ 307689 h 1611452"/>
                    <a:gd name="connsiteX257" fmla="*/ 424698 w 7419706"/>
                    <a:gd name="connsiteY257" fmla="*/ 325024 h 1611452"/>
                    <a:gd name="connsiteX258" fmla="*/ 472368 w 7419706"/>
                    <a:gd name="connsiteY258" fmla="*/ 325024 h 1611452"/>
                    <a:gd name="connsiteX259" fmla="*/ 472368 w 7419706"/>
                    <a:gd name="connsiteY259" fmla="*/ 355360 h 1611452"/>
                    <a:gd name="connsiteX260" fmla="*/ 511371 w 7419706"/>
                    <a:gd name="connsiteY260" fmla="*/ 355360 h 1611452"/>
                    <a:gd name="connsiteX261" fmla="*/ 511371 w 7419706"/>
                    <a:gd name="connsiteY261" fmla="*/ 377028 h 1611452"/>
                    <a:gd name="connsiteX262" fmla="*/ 559041 w 7419706"/>
                    <a:gd name="connsiteY262" fmla="*/ 377028 h 1611452"/>
                    <a:gd name="connsiteX263" fmla="*/ 559041 w 7419706"/>
                    <a:gd name="connsiteY263" fmla="*/ 398696 h 1611452"/>
                    <a:gd name="connsiteX264" fmla="*/ 589376 w 7419706"/>
                    <a:gd name="connsiteY264" fmla="*/ 398696 h 1611452"/>
                    <a:gd name="connsiteX265" fmla="*/ 602377 w 7419706"/>
                    <a:gd name="connsiteY265" fmla="*/ 411697 h 1611452"/>
                    <a:gd name="connsiteX266" fmla="*/ 650047 w 7419706"/>
                    <a:gd name="connsiteY266" fmla="*/ 411697 h 1611452"/>
                    <a:gd name="connsiteX267" fmla="*/ 650047 w 7419706"/>
                    <a:gd name="connsiteY267" fmla="*/ 450700 h 1611452"/>
                    <a:gd name="connsiteX268" fmla="*/ 758389 w 7419706"/>
                    <a:gd name="connsiteY268" fmla="*/ 450700 h 1611452"/>
                    <a:gd name="connsiteX269" fmla="*/ 758389 w 7419706"/>
                    <a:gd name="connsiteY269" fmla="*/ 481035 h 1611452"/>
                    <a:gd name="connsiteX270" fmla="*/ 875397 w 7419706"/>
                    <a:gd name="connsiteY270" fmla="*/ 481035 h 1611452"/>
                    <a:gd name="connsiteX271" fmla="*/ 875397 w 7419706"/>
                    <a:gd name="connsiteY271" fmla="*/ 507037 h 1611452"/>
                    <a:gd name="connsiteX272" fmla="*/ 927401 w 7419706"/>
                    <a:gd name="connsiteY272" fmla="*/ 507037 h 1611452"/>
                    <a:gd name="connsiteX273" fmla="*/ 927401 w 7419706"/>
                    <a:gd name="connsiteY273" fmla="*/ 524372 h 1611452"/>
                    <a:gd name="connsiteX274" fmla="*/ 979405 w 7419706"/>
                    <a:gd name="connsiteY274" fmla="*/ 524372 h 1611452"/>
                    <a:gd name="connsiteX275" fmla="*/ 992406 w 7419706"/>
                    <a:gd name="connsiteY275" fmla="*/ 524372 h 1611452"/>
                    <a:gd name="connsiteX276" fmla="*/ 1005407 w 7419706"/>
                    <a:gd name="connsiteY276" fmla="*/ 537373 h 1611452"/>
                    <a:gd name="connsiteX277" fmla="*/ 1027075 w 7419706"/>
                    <a:gd name="connsiteY277" fmla="*/ 537373 h 1611452"/>
                    <a:gd name="connsiteX278" fmla="*/ 1057410 w 7419706"/>
                    <a:gd name="connsiteY278" fmla="*/ 537373 h 1611452"/>
                    <a:gd name="connsiteX279" fmla="*/ 1057410 w 7419706"/>
                    <a:gd name="connsiteY279" fmla="*/ 563375 h 1611452"/>
                    <a:gd name="connsiteX280" fmla="*/ 1079079 w 7419706"/>
                    <a:gd name="connsiteY280" fmla="*/ 563375 h 1611452"/>
                    <a:gd name="connsiteX281" fmla="*/ 1079079 w 7419706"/>
                    <a:gd name="connsiteY281" fmla="*/ 576376 h 1611452"/>
                    <a:gd name="connsiteX282" fmla="*/ 1157084 w 7419706"/>
                    <a:gd name="connsiteY282" fmla="*/ 576376 h 1611452"/>
                    <a:gd name="connsiteX283" fmla="*/ 1157084 w 7419706"/>
                    <a:gd name="connsiteY283" fmla="*/ 589377 h 1611452"/>
                    <a:gd name="connsiteX284" fmla="*/ 1196087 w 7419706"/>
                    <a:gd name="connsiteY284" fmla="*/ 589377 h 1611452"/>
                    <a:gd name="connsiteX285" fmla="*/ 1196087 w 7419706"/>
                    <a:gd name="connsiteY285" fmla="*/ 598044 h 1611452"/>
                    <a:gd name="connsiteX286" fmla="*/ 1243757 w 7419706"/>
                    <a:gd name="connsiteY286" fmla="*/ 598044 h 1611452"/>
                    <a:gd name="connsiteX287" fmla="*/ 1256758 w 7419706"/>
                    <a:gd name="connsiteY287" fmla="*/ 611045 h 1611452"/>
                    <a:gd name="connsiteX288" fmla="*/ 1269759 w 7419706"/>
                    <a:gd name="connsiteY288" fmla="*/ 624046 h 1611452"/>
                    <a:gd name="connsiteX289" fmla="*/ 1334764 w 7419706"/>
                    <a:gd name="connsiteY289" fmla="*/ 624046 h 1611452"/>
                    <a:gd name="connsiteX290" fmla="*/ 1334764 w 7419706"/>
                    <a:gd name="connsiteY290" fmla="*/ 645714 h 1611452"/>
                    <a:gd name="connsiteX291" fmla="*/ 1425771 w 7419706"/>
                    <a:gd name="connsiteY291" fmla="*/ 645714 h 1611452"/>
                    <a:gd name="connsiteX292" fmla="*/ 1434438 w 7419706"/>
                    <a:gd name="connsiteY292" fmla="*/ 654381 h 1611452"/>
                    <a:gd name="connsiteX293" fmla="*/ 1456106 w 7419706"/>
                    <a:gd name="connsiteY293" fmla="*/ 654381 h 1611452"/>
                    <a:gd name="connsiteX294" fmla="*/ 1456106 w 7419706"/>
                    <a:gd name="connsiteY294" fmla="*/ 667382 h 1611452"/>
                    <a:gd name="connsiteX295" fmla="*/ 1508110 w 7419706"/>
                    <a:gd name="connsiteY295" fmla="*/ 667382 h 1611452"/>
                    <a:gd name="connsiteX296" fmla="*/ 1508110 w 7419706"/>
                    <a:gd name="connsiteY296" fmla="*/ 684717 h 1611452"/>
                    <a:gd name="connsiteX297" fmla="*/ 1564447 w 7419706"/>
                    <a:gd name="connsiteY297" fmla="*/ 684717 h 1611452"/>
                    <a:gd name="connsiteX298" fmla="*/ 1568781 w 7419706"/>
                    <a:gd name="connsiteY298" fmla="*/ 689051 h 1611452"/>
                    <a:gd name="connsiteX299" fmla="*/ 1612118 w 7419706"/>
                    <a:gd name="connsiteY299" fmla="*/ 689051 h 1611452"/>
                    <a:gd name="connsiteX300" fmla="*/ 1625119 w 7419706"/>
                    <a:gd name="connsiteY300" fmla="*/ 702052 h 1611452"/>
                    <a:gd name="connsiteX301" fmla="*/ 1677122 w 7419706"/>
                    <a:gd name="connsiteY301" fmla="*/ 702052 h 1611452"/>
                    <a:gd name="connsiteX302" fmla="*/ 1685790 w 7419706"/>
                    <a:gd name="connsiteY302" fmla="*/ 710720 h 1611452"/>
                    <a:gd name="connsiteX303" fmla="*/ 1703123 w 7419706"/>
                    <a:gd name="connsiteY303" fmla="*/ 728053 h 1611452"/>
                    <a:gd name="connsiteX304" fmla="*/ 1716124 w 7419706"/>
                    <a:gd name="connsiteY304" fmla="*/ 741054 h 1611452"/>
                    <a:gd name="connsiteX305" fmla="*/ 1750794 w 7419706"/>
                    <a:gd name="connsiteY305" fmla="*/ 741054 h 1611452"/>
                    <a:gd name="connsiteX306" fmla="*/ 1750794 w 7419706"/>
                    <a:gd name="connsiteY306" fmla="*/ 767056 h 1611452"/>
                    <a:gd name="connsiteX307" fmla="*/ 1798465 w 7419706"/>
                    <a:gd name="connsiteY307" fmla="*/ 767056 h 1611452"/>
                    <a:gd name="connsiteX308" fmla="*/ 1798465 w 7419706"/>
                    <a:gd name="connsiteY308" fmla="*/ 780057 h 1611452"/>
                    <a:gd name="connsiteX309" fmla="*/ 1841801 w 7419706"/>
                    <a:gd name="connsiteY309" fmla="*/ 780057 h 1611452"/>
                    <a:gd name="connsiteX310" fmla="*/ 1841801 w 7419706"/>
                    <a:gd name="connsiteY310" fmla="*/ 797392 h 1611452"/>
                    <a:gd name="connsiteX311" fmla="*/ 1876470 w 7419706"/>
                    <a:gd name="connsiteY311" fmla="*/ 797392 h 1611452"/>
                    <a:gd name="connsiteX312" fmla="*/ 1885138 w 7419706"/>
                    <a:gd name="connsiteY312" fmla="*/ 806060 h 1611452"/>
                    <a:gd name="connsiteX313" fmla="*/ 1963143 w 7419706"/>
                    <a:gd name="connsiteY313" fmla="*/ 806060 h 1611452"/>
                    <a:gd name="connsiteX314" fmla="*/ 2006480 w 7419706"/>
                    <a:gd name="connsiteY314" fmla="*/ 806060 h 1611452"/>
                    <a:gd name="connsiteX315" fmla="*/ 2036815 w 7419706"/>
                    <a:gd name="connsiteY315" fmla="*/ 836395 h 1611452"/>
                    <a:gd name="connsiteX316" fmla="*/ 2049816 w 7419706"/>
                    <a:gd name="connsiteY316" fmla="*/ 836395 h 1611452"/>
                    <a:gd name="connsiteX317" fmla="*/ 2106154 w 7419706"/>
                    <a:gd name="connsiteY317" fmla="*/ 836395 h 1611452"/>
                    <a:gd name="connsiteX318" fmla="*/ 2106154 w 7419706"/>
                    <a:gd name="connsiteY318" fmla="*/ 862396 h 1611452"/>
                    <a:gd name="connsiteX319" fmla="*/ 2119155 w 7419706"/>
                    <a:gd name="connsiteY319" fmla="*/ 862396 h 1611452"/>
                    <a:gd name="connsiteX320" fmla="*/ 2136489 w 7419706"/>
                    <a:gd name="connsiteY320" fmla="*/ 862396 h 1611452"/>
                    <a:gd name="connsiteX321" fmla="*/ 2184159 w 7419706"/>
                    <a:gd name="connsiteY321" fmla="*/ 862396 h 1611452"/>
                    <a:gd name="connsiteX322" fmla="*/ 2184159 w 7419706"/>
                    <a:gd name="connsiteY322" fmla="*/ 888398 h 1611452"/>
                    <a:gd name="connsiteX323" fmla="*/ 2200254 w 7419706"/>
                    <a:gd name="connsiteY323" fmla="*/ 883636 h 1611452"/>
                    <a:gd name="connsiteX324" fmla="*/ 2240733 w 7419706"/>
                    <a:gd name="connsiteY324" fmla="*/ 881254 h 1611452"/>
                    <a:gd name="connsiteX325" fmla="*/ 2240102 w 7419706"/>
                    <a:gd name="connsiteY325" fmla="*/ 914626 h 1611452"/>
                    <a:gd name="connsiteX326" fmla="*/ 2265640 w 7419706"/>
                    <a:gd name="connsiteY326" fmla="*/ 915879 h 1611452"/>
                    <a:gd name="connsiteX327" fmla="*/ 2266296 w 7419706"/>
                    <a:gd name="connsiteY327" fmla="*/ 886052 h 1611452"/>
                    <a:gd name="connsiteX328" fmla="*/ 2301168 w 7419706"/>
                    <a:gd name="connsiteY328" fmla="*/ 880160 h 1611452"/>
                    <a:gd name="connsiteX329" fmla="*/ 2301168 w 7419706"/>
                    <a:gd name="connsiteY329" fmla="*/ 914400 h 1611452"/>
                    <a:gd name="connsiteX330" fmla="*/ 2335837 w 7419706"/>
                    <a:gd name="connsiteY330" fmla="*/ 914400 h 1611452"/>
                    <a:gd name="connsiteX331" fmla="*/ 2335837 w 7419706"/>
                    <a:gd name="connsiteY331" fmla="*/ 923068 h 1611452"/>
                    <a:gd name="connsiteX332" fmla="*/ 2400842 w 7419706"/>
                    <a:gd name="connsiteY332" fmla="*/ 923068 h 1611452"/>
                    <a:gd name="connsiteX333" fmla="*/ 2400842 w 7419706"/>
                    <a:gd name="connsiteY333" fmla="*/ 936069 h 1611452"/>
                    <a:gd name="connsiteX334" fmla="*/ 2439845 w 7419706"/>
                    <a:gd name="connsiteY334" fmla="*/ 936069 h 1611452"/>
                    <a:gd name="connsiteX335" fmla="*/ 2452846 w 7419706"/>
                    <a:gd name="connsiteY335" fmla="*/ 949070 h 1611452"/>
                    <a:gd name="connsiteX336" fmla="*/ 2500516 w 7419706"/>
                    <a:gd name="connsiteY336" fmla="*/ 949070 h 1611452"/>
                    <a:gd name="connsiteX337" fmla="*/ 2513517 w 7419706"/>
                    <a:gd name="connsiteY337" fmla="*/ 962071 h 1611452"/>
                    <a:gd name="connsiteX338" fmla="*/ 2543852 w 7419706"/>
                    <a:gd name="connsiteY338" fmla="*/ 962071 h 1611452"/>
                    <a:gd name="connsiteX339" fmla="*/ 2543852 w 7419706"/>
                    <a:gd name="connsiteY339" fmla="*/ 979405 h 1611452"/>
                    <a:gd name="connsiteX340" fmla="*/ 2591522 w 7419706"/>
                    <a:gd name="connsiteY340" fmla="*/ 979405 h 1611452"/>
                    <a:gd name="connsiteX341" fmla="*/ 2591522 w 7419706"/>
                    <a:gd name="connsiteY341" fmla="*/ 1001073 h 1611452"/>
                    <a:gd name="connsiteX342" fmla="*/ 2639192 w 7419706"/>
                    <a:gd name="connsiteY342" fmla="*/ 1001073 h 1611452"/>
                    <a:gd name="connsiteX343" fmla="*/ 2639192 w 7419706"/>
                    <a:gd name="connsiteY343" fmla="*/ 1022742 h 1611452"/>
                    <a:gd name="connsiteX344" fmla="*/ 2699864 w 7419706"/>
                    <a:gd name="connsiteY344" fmla="*/ 1022742 h 1611452"/>
                    <a:gd name="connsiteX345" fmla="*/ 2699864 w 7419706"/>
                    <a:gd name="connsiteY345" fmla="*/ 1040076 h 1611452"/>
                    <a:gd name="connsiteX346" fmla="*/ 2808205 w 7419706"/>
                    <a:gd name="connsiteY346" fmla="*/ 1040076 h 1611452"/>
                    <a:gd name="connsiteX347" fmla="*/ 2816872 w 7419706"/>
                    <a:gd name="connsiteY347" fmla="*/ 1048743 h 1611452"/>
                    <a:gd name="connsiteX348" fmla="*/ 2825540 w 7419706"/>
                    <a:gd name="connsiteY348" fmla="*/ 1057411 h 1611452"/>
                    <a:gd name="connsiteX349" fmla="*/ 2864542 w 7419706"/>
                    <a:gd name="connsiteY349" fmla="*/ 1057411 h 1611452"/>
                    <a:gd name="connsiteX350" fmla="*/ 2886210 w 7419706"/>
                    <a:gd name="connsiteY350" fmla="*/ 1057411 h 1611452"/>
                    <a:gd name="connsiteX351" fmla="*/ 2899211 w 7419706"/>
                    <a:gd name="connsiteY351" fmla="*/ 1057411 h 1611452"/>
                    <a:gd name="connsiteX352" fmla="*/ 2916546 w 7419706"/>
                    <a:gd name="connsiteY352" fmla="*/ 1074746 h 1611452"/>
                    <a:gd name="connsiteX353" fmla="*/ 2968550 w 7419706"/>
                    <a:gd name="connsiteY353" fmla="*/ 1074746 h 1611452"/>
                    <a:gd name="connsiteX354" fmla="*/ 2968550 w 7419706"/>
                    <a:gd name="connsiteY354" fmla="*/ 1092080 h 1611452"/>
                    <a:gd name="connsiteX355" fmla="*/ 3141896 w 7419706"/>
                    <a:gd name="connsiteY355" fmla="*/ 1092080 h 1611452"/>
                    <a:gd name="connsiteX356" fmla="*/ 3141896 w 7419706"/>
                    <a:gd name="connsiteY356" fmla="*/ 1122415 h 1611452"/>
                    <a:gd name="connsiteX357" fmla="*/ 3211234 w 7419706"/>
                    <a:gd name="connsiteY357" fmla="*/ 1122415 h 1611452"/>
                    <a:gd name="connsiteX358" fmla="*/ 3215568 w 7419706"/>
                    <a:gd name="connsiteY358" fmla="*/ 1122415 h 1611452"/>
                    <a:gd name="connsiteX359" fmla="*/ 3302241 w 7419706"/>
                    <a:gd name="connsiteY359" fmla="*/ 1122415 h 1611452"/>
                    <a:gd name="connsiteX360" fmla="*/ 3302241 w 7419706"/>
                    <a:gd name="connsiteY360" fmla="*/ 1148417 h 1611452"/>
                    <a:gd name="connsiteX361" fmla="*/ 3388914 w 7419706"/>
                    <a:gd name="connsiteY361" fmla="*/ 1148417 h 1611452"/>
                    <a:gd name="connsiteX362" fmla="*/ 3388914 w 7419706"/>
                    <a:gd name="connsiteY362" fmla="*/ 1157085 h 1611452"/>
                    <a:gd name="connsiteX363" fmla="*/ 3445251 w 7419706"/>
                    <a:gd name="connsiteY363" fmla="*/ 1157085 h 1611452"/>
                    <a:gd name="connsiteX364" fmla="*/ 3453919 w 7419706"/>
                    <a:gd name="connsiteY364" fmla="*/ 1165753 h 1611452"/>
                    <a:gd name="connsiteX365" fmla="*/ 3596929 w 7419706"/>
                    <a:gd name="connsiteY365" fmla="*/ 1165753 h 1611452"/>
                    <a:gd name="connsiteX366" fmla="*/ 3596929 w 7419706"/>
                    <a:gd name="connsiteY366" fmla="*/ 1178753 h 1611452"/>
                    <a:gd name="connsiteX367" fmla="*/ 3705270 w 7419706"/>
                    <a:gd name="connsiteY367" fmla="*/ 1178753 h 1611452"/>
                    <a:gd name="connsiteX368" fmla="*/ 3709604 w 7419706"/>
                    <a:gd name="connsiteY368" fmla="*/ 1183087 h 1611452"/>
                    <a:gd name="connsiteX369" fmla="*/ 3960956 w 7419706"/>
                    <a:gd name="connsiteY369" fmla="*/ 1183087 h 1611452"/>
                    <a:gd name="connsiteX370" fmla="*/ 3960956 w 7419706"/>
                    <a:gd name="connsiteY370" fmla="*/ 1204755 h 1611452"/>
                    <a:gd name="connsiteX371" fmla="*/ 3991291 w 7419706"/>
                    <a:gd name="connsiteY371" fmla="*/ 1204755 h 1611452"/>
                    <a:gd name="connsiteX372" fmla="*/ 3991291 w 7419706"/>
                    <a:gd name="connsiteY372" fmla="*/ 1178753 h 1611452"/>
                    <a:gd name="connsiteX373" fmla="*/ 4030294 w 7419706"/>
                    <a:gd name="connsiteY373" fmla="*/ 1178753 h 1611452"/>
                    <a:gd name="connsiteX374" fmla="*/ 4030294 w 7419706"/>
                    <a:gd name="connsiteY374" fmla="*/ 1213422 h 1611452"/>
                    <a:gd name="connsiteX375" fmla="*/ 4043295 w 7419706"/>
                    <a:gd name="connsiteY375" fmla="*/ 1213422 h 1611452"/>
                    <a:gd name="connsiteX376" fmla="*/ 4043295 w 7419706"/>
                    <a:gd name="connsiteY376" fmla="*/ 1222089 h 1611452"/>
                    <a:gd name="connsiteX377" fmla="*/ 4164637 w 7419706"/>
                    <a:gd name="connsiteY377" fmla="*/ 1222089 h 1611452"/>
                    <a:gd name="connsiteX378" fmla="*/ 4164637 w 7419706"/>
                    <a:gd name="connsiteY378" fmla="*/ 1243758 h 1611452"/>
                    <a:gd name="connsiteX379" fmla="*/ 4320648 w 7419706"/>
                    <a:gd name="connsiteY379" fmla="*/ 1243758 h 1611452"/>
                    <a:gd name="connsiteX380" fmla="*/ 4320648 w 7419706"/>
                    <a:gd name="connsiteY380" fmla="*/ 1261092 h 1611452"/>
                    <a:gd name="connsiteX381" fmla="*/ 4398654 w 7419706"/>
                    <a:gd name="connsiteY381" fmla="*/ 1261092 h 1611452"/>
                    <a:gd name="connsiteX382" fmla="*/ 4398654 w 7419706"/>
                    <a:gd name="connsiteY382" fmla="*/ 1287094 h 1611452"/>
                    <a:gd name="connsiteX383" fmla="*/ 4450658 w 7419706"/>
                    <a:gd name="connsiteY383" fmla="*/ 1287094 h 1611452"/>
                    <a:gd name="connsiteX384" fmla="*/ 4476660 w 7419706"/>
                    <a:gd name="connsiteY384" fmla="*/ 1287094 h 1611452"/>
                    <a:gd name="connsiteX385" fmla="*/ 4498328 w 7419706"/>
                    <a:gd name="connsiteY385" fmla="*/ 1308762 h 1611452"/>
                    <a:gd name="connsiteX386" fmla="*/ 4593668 w 7419706"/>
                    <a:gd name="connsiteY386" fmla="*/ 1308762 h 1611452"/>
                    <a:gd name="connsiteX387" fmla="*/ 4602336 w 7419706"/>
                    <a:gd name="connsiteY387" fmla="*/ 1317430 h 1611452"/>
                    <a:gd name="connsiteX388" fmla="*/ 4663007 w 7419706"/>
                    <a:gd name="connsiteY388" fmla="*/ 1317430 h 1611452"/>
                    <a:gd name="connsiteX389" fmla="*/ 4663007 w 7419706"/>
                    <a:gd name="connsiteY389" fmla="*/ 1339098 h 1611452"/>
                    <a:gd name="connsiteX390" fmla="*/ 4706343 w 7419706"/>
                    <a:gd name="connsiteY390" fmla="*/ 1339098 h 1611452"/>
                    <a:gd name="connsiteX391" fmla="*/ 4710677 w 7419706"/>
                    <a:gd name="connsiteY391" fmla="*/ 1343432 h 1611452"/>
                    <a:gd name="connsiteX392" fmla="*/ 4767014 w 7419706"/>
                    <a:gd name="connsiteY392" fmla="*/ 1343432 h 1611452"/>
                    <a:gd name="connsiteX393" fmla="*/ 4780015 w 7419706"/>
                    <a:gd name="connsiteY393" fmla="*/ 1356433 h 1611452"/>
                    <a:gd name="connsiteX394" fmla="*/ 5005365 w 7419706"/>
                    <a:gd name="connsiteY394" fmla="*/ 1356433 h 1611452"/>
                    <a:gd name="connsiteX395" fmla="*/ 5018366 w 7419706"/>
                    <a:gd name="connsiteY395" fmla="*/ 1369434 h 1611452"/>
                    <a:gd name="connsiteX396" fmla="*/ 5152709 w 7419706"/>
                    <a:gd name="connsiteY396" fmla="*/ 1369434 h 1611452"/>
                    <a:gd name="connsiteX397" fmla="*/ 5152709 w 7419706"/>
                    <a:gd name="connsiteY397" fmla="*/ 1391102 h 1611452"/>
                    <a:gd name="connsiteX398" fmla="*/ 5282719 w 7419706"/>
                    <a:gd name="connsiteY398" fmla="*/ 1391102 h 1611452"/>
                    <a:gd name="connsiteX399" fmla="*/ 5291386 w 7419706"/>
                    <a:gd name="connsiteY399" fmla="*/ 1399769 h 1611452"/>
                    <a:gd name="connsiteX400" fmla="*/ 5356391 w 7419706"/>
                    <a:gd name="connsiteY400" fmla="*/ 1399769 h 1611452"/>
                    <a:gd name="connsiteX401" fmla="*/ 5369392 w 7419706"/>
                    <a:gd name="connsiteY401" fmla="*/ 1399769 h 1611452"/>
                    <a:gd name="connsiteX402" fmla="*/ 5369392 w 7419706"/>
                    <a:gd name="connsiteY402" fmla="*/ 1421437 h 1611452"/>
                    <a:gd name="connsiteX403" fmla="*/ 5473399 w 7419706"/>
                    <a:gd name="connsiteY403" fmla="*/ 1421437 h 1611452"/>
                    <a:gd name="connsiteX404" fmla="*/ 5473399 w 7419706"/>
                    <a:gd name="connsiteY404" fmla="*/ 1399769 h 1611452"/>
                    <a:gd name="connsiteX405" fmla="*/ 5512402 w 7419706"/>
                    <a:gd name="connsiteY405" fmla="*/ 1399769 h 1611452"/>
                    <a:gd name="connsiteX406" fmla="*/ 5512402 w 7419706"/>
                    <a:gd name="connsiteY406" fmla="*/ 1425771 h 1611452"/>
                    <a:gd name="connsiteX407" fmla="*/ 5607742 w 7419706"/>
                    <a:gd name="connsiteY407" fmla="*/ 1425771 h 1611452"/>
                    <a:gd name="connsiteX408" fmla="*/ 5607742 w 7419706"/>
                    <a:gd name="connsiteY408" fmla="*/ 1399769 h 1611452"/>
                    <a:gd name="connsiteX409" fmla="*/ 5664080 w 7419706"/>
                    <a:gd name="connsiteY409" fmla="*/ 1399769 h 1611452"/>
                    <a:gd name="connsiteX410" fmla="*/ 5664080 w 7419706"/>
                    <a:gd name="connsiteY410" fmla="*/ 1434438 h 1611452"/>
                    <a:gd name="connsiteX411" fmla="*/ 5685748 w 7419706"/>
                    <a:gd name="connsiteY411" fmla="*/ 1434438 h 1611452"/>
                    <a:gd name="connsiteX412" fmla="*/ 5685748 w 7419706"/>
                    <a:gd name="connsiteY412" fmla="*/ 1443106 h 1611452"/>
                    <a:gd name="connsiteX413" fmla="*/ 5716083 w 7419706"/>
                    <a:gd name="connsiteY413" fmla="*/ 1443106 h 1611452"/>
                    <a:gd name="connsiteX414" fmla="*/ 5716083 w 7419706"/>
                    <a:gd name="connsiteY414" fmla="*/ 1456106 h 1611452"/>
                    <a:gd name="connsiteX415" fmla="*/ 5794089 w 7419706"/>
                    <a:gd name="connsiteY415" fmla="*/ 1456106 h 1611452"/>
                    <a:gd name="connsiteX416" fmla="*/ 5794089 w 7419706"/>
                    <a:gd name="connsiteY416" fmla="*/ 1421437 h 1611452"/>
                    <a:gd name="connsiteX417" fmla="*/ 5837426 w 7419706"/>
                    <a:gd name="connsiteY417" fmla="*/ 1421437 h 1611452"/>
                    <a:gd name="connsiteX418" fmla="*/ 5837426 w 7419706"/>
                    <a:gd name="connsiteY418" fmla="*/ 1456106 h 1611452"/>
                    <a:gd name="connsiteX419" fmla="*/ 5902430 w 7419706"/>
                    <a:gd name="connsiteY419" fmla="*/ 1456106 h 1611452"/>
                    <a:gd name="connsiteX420" fmla="*/ 5928432 w 7419706"/>
                    <a:gd name="connsiteY420" fmla="*/ 1456106 h 1611452"/>
                    <a:gd name="connsiteX421" fmla="*/ 5928432 w 7419706"/>
                    <a:gd name="connsiteY421" fmla="*/ 1473441 h 1611452"/>
                    <a:gd name="connsiteX422" fmla="*/ 5945767 w 7419706"/>
                    <a:gd name="connsiteY422" fmla="*/ 1473441 h 1611452"/>
                    <a:gd name="connsiteX423" fmla="*/ 5950101 w 7419706"/>
                    <a:gd name="connsiteY423" fmla="*/ 1477775 h 1611452"/>
                    <a:gd name="connsiteX424" fmla="*/ 6019439 w 7419706"/>
                    <a:gd name="connsiteY424" fmla="*/ 1477775 h 1611452"/>
                    <a:gd name="connsiteX425" fmla="*/ 6019439 w 7419706"/>
                    <a:gd name="connsiteY425" fmla="*/ 1456106 h 1611452"/>
                    <a:gd name="connsiteX426" fmla="*/ 6058442 w 7419706"/>
                    <a:gd name="connsiteY426" fmla="*/ 1456106 h 1611452"/>
                    <a:gd name="connsiteX427" fmla="*/ 6058442 w 7419706"/>
                    <a:gd name="connsiteY427" fmla="*/ 1499443 h 1611452"/>
                    <a:gd name="connsiteX428" fmla="*/ 6110446 w 7419706"/>
                    <a:gd name="connsiteY428" fmla="*/ 1499443 h 1611452"/>
                    <a:gd name="connsiteX429" fmla="*/ 6110446 w 7419706"/>
                    <a:gd name="connsiteY429" fmla="*/ 1508110 h 1611452"/>
                    <a:gd name="connsiteX430" fmla="*/ 6188451 w 7419706"/>
                    <a:gd name="connsiteY430" fmla="*/ 1508110 h 1611452"/>
                    <a:gd name="connsiteX431" fmla="*/ 6188451 w 7419706"/>
                    <a:gd name="connsiteY431" fmla="*/ 1464774 h 1611452"/>
                    <a:gd name="connsiteX432" fmla="*/ 6227454 w 7419706"/>
                    <a:gd name="connsiteY432" fmla="*/ 1464774 h 1611452"/>
                    <a:gd name="connsiteX433" fmla="*/ 6227454 w 7419706"/>
                    <a:gd name="connsiteY433" fmla="*/ 1516778 h 1611452"/>
                    <a:gd name="connsiteX434" fmla="*/ 6353130 w 7419706"/>
                    <a:gd name="connsiteY434" fmla="*/ 1516778 h 1611452"/>
                    <a:gd name="connsiteX435" fmla="*/ 6353130 w 7419706"/>
                    <a:gd name="connsiteY435" fmla="*/ 1477775 h 1611452"/>
                    <a:gd name="connsiteX436" fmla="*/ 6409467 w 7419706"/>
                    <a:gd name="connsiteY436" fmla="*/ 1477775 h 1611452"/>
                    <a:gd name="connsiteX437" fmla="*/ 6409467 w 7419706"/>
                    <a:gd name="connsiteY437" fmla="*/ 1529778 h 1611452"/>
                    <a:gd name="connsiteX438" fmla="*/ 6457138 w 7419706"/>
                    <a:gd name="connsiteY438" fmla="*/ 1529778 h 1611452"/>
                    <a:gd name="connsiteX439" fmla="*/ 6457138 w 7419706"/>
                    <a:gd name="connsiteY439" fmla="*/ 1482108 h 1611452"/>
                    <a:gd name="connsiteX440" fmla="*/ 6487473 w 7419706"/>
                    <a:gd name="connsiteY440" fmla="*/ 1482108 h 1611452"/>
                    <a:gd name="connsiteX441" fmla="*/ 6487473 w 7419706"/>
                    <a:gd name="connsiteY441" fmla="*/ 1529778 h 1611452"/>
                    <a:gd name="connsiteX442" fmla="*/ 6561145 w 7419706"/>
                    <a:gd name="connsiteY442" fmla="*/ 1529778 h 1611452"/>
                    <a:gd name="connsiteX443" fmla="*/ 6565479 w 7419706"/>
                    <a:gd name="connsiteY443" fmla="*/ 1534112 h 1611452"/>
                    <a:gd name="connsiteX444" fmla="*/ 6669486 w 7419706"/>
                    <a:gd name="connsiteY444" fmla="*/ 1534112 h 1611452"/>
                    <a:gd name="connsiteX445" fmla="*/ 6669486 w 7419706"/>
                    <a:gd name="connsiteY445" fmla="*/ 1499443 h 1611452"/>
                    <a:gd name="connsiteX446" fmla="*/ 6738825 w 7419706"/>
                    <a:gd name="connsiteY446" fmla="*/ 1499443 h 1611452"/>
                    <a:gd name="connsiteX447" fmla="*/ 6738825 w 7419706"/>
                    <a:gd name="connsiteY447" fmla="*/ 1542779 h 1611452"/>
                    <a:gd name="connsiteX448" fmla="*/ 6795162 w 7419706"/>
                    <a:gd name="connsiteY448" fmla="*/ 1542779 h 1611452"/>
                    <a:gd name="connsiteX449" fmla="*/ 6795162 w 7419706"/>
                    <a:gd name="connsiteY449" fmla="*/ 1499443 h 1611452"/>
                    <a:gd name="connsiteX450" fmla="*/ 6829831 w 7419706"/>
                    <a:gd name="connsiteY450" fmla="*/ 1499443 h 1611452"/>
                    <a:gd name="connsiteX451" fmla="*/ 6829831 w 7419706"/>
                    <a:gd name="connsiteY451" fmla="*/ 1529778 h 1611452"/>
                    <a:gd name="connsiteX452" fmla="*/ 6847166 w 7419706"/>
                    <a:gd name="connsiteY452" fmla="*/ 1529778 h 1611452"/>
                    <a:gd name="connsiteX453" fmla="*/ 6847166 w 7419706"/>
                    <a:gd name="connsiteY453" fmla="*/ 1555780 h 1611452"/>
                    <a:gd name="connsiteX454" fmla="*/ 7050847 w 7419706"/>
                    <a:gd name="connsiteY454" fmla="*/ 1555780 h 1611452"/>
                    <a:gd name="connsiteX455" fmla="*/ 7063848 w 7419706"/>
                    <a:gd name="connsiteY455" fmla="*/ 1568781 h 1611452"/>
                    <a:gd name="connsiteX456" fmla="*/ 7133187 w 7419706"/>
                    <a:gd name="connsiteY456" fmla="*/ 1568781 h 1611452"/>
                    <a:gd name="connsiteX457" fmla="*/ 7133187 w 7419706"/>
                    <a:gd name="connsiteY457" fmla="*/ 1586116 h 1611452"/>
                    <a:gd name="connsiteX458" fmla="*/ 7284865 w 7419706"/>
                    <a:gd name="connsiteY458" fmla="*/ 1586116 h 1611452"/>
                    <a:gd name="connsiteX459" fmla="*/ 7284865 w 7419706"/>
                    <a:gd name="connsiteY459" fmla="*/ 1607784 h 1611452"/>
                    <a:gd name="connsiteX460" fmla="*/ 7419638 w 7419706"/>
                    <a:gd name="connsiteY460" fmla="*/ 1611452 h 1611452"/>
                    <a:gd name="connsiteX0" fmla="*/ 7414876 w 7415104"/>
                    <a:gd name="connsiteY0" fmla="*/ 1609071 h 1609071"/>
                    <a:gd name="connsiteX1" fmla="*/ 7414874 w 7415104"/>
                    <a:gd name="connsiteY1" fmla="*/ 1508110 h 1609071"/>
                    <a:gd name="connsiteX2" fmla="*/ 7271864 w 7415104"/>
                    <a:gd name="connsiteY2" fmla="*/ 1508110 h 1609071"/>
                    <a:gd name="connsiteX3" fmla="*/ 7258863 w 7415104"/>
                    <a:gd name="connsiteY3" fmla="*/ 1495109 h 1609071"/>
                    <a:gd name="connsiteX4" fmla="*/ 7159189 w 7415104"/>
                    <a:gd name="connsiteY4" fmla="*/ 1495109 h 1609071"/>
                    <a:gd name="connsiteX5" fmla="*/ 7141854 w 7415104"/>
                    <a:gd name="connsiteY5" fmla="*/ 1477774 h 1609071"/>
                    <a:gd name="connsiteX6" fmla="*/ 7037847 w 7415104"/>
                    <a:gd name="connsiteY6" fmla="*/ 1477774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66007 w 7415104"/>
                    <a:gd name="connsiteY3" fmla="*/ 1495109 h 1609071"/>
                    <a:gd name="connsiteX4" fmla="*/ 7159189 w 7415104"/>
                    <a:gd name="connsiteY4" fmla="*/ 1495109 h 1609071"/>
                    <a:gd name="connsiteX5" fmla="*/ 7141854 w 7415104"/>
                    <a:gd name="connsiteY5" fmla="*/ 1477774 h 1609071"/>
                    <a:gd name="connsiteX6" fmla="*/ 7037847 w 7415104"/>
                    <a:gd name="connsiteY6" fmla="*/ 1477774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66007 w 7415104"/>
                    <a:gd name="connsiteY3" fmla="*/ 1495109 h 1609071"/>
                    <a:gd name="connsiteX4" fmla="*/ 7159189 w 7415104"/>
                    <a:gd name="connsiteY4" fmla="*/ 1495109 h 1609071"/>
                    <a:gd name="connsiteX5" fmla="*/ 7158523 w 7415104"/>
                    <a:gd name="connsiteY5" fmla="*/ 1465868 h 1609071"/>
                    <a:gd name="connsiteX6" fmla="*/ 7037847 w 7415104"/>
                    <a:gd name="connsiteY6" fmla="*/ 1477774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66007 w 7415104"/>
                    <a:gd name="connsiteY3" fmla="*/ 1495109 h 1609071"/>
                    <a:gd name="connsiteX4" fmla="*/ 7159189 w 7415104"/>
                    <a:gd name="connsiteY4" fmla="*/ 1495109 h 1609071"/>
                    <a:gd name="connsiteX5" fmla="*/ 7158523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66007 w 7415104"/>
                    <a:gd name="connsiteY3" fmla="*/ 1495109 h 1609071"/>
                    <a:gd name="connsiteX4" fmla="*/ 7154427 w 7415104"/>
                    <a:gd name="connsiteY4" fmla="*/ 1492728 h 1609071"/>
                    <a:gd name="connsiteX5" fmla="*/ 7158523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8523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7439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68834 w 7415104"/>
                    <a:gd name="connsiteY9" fmla="*/ 1447439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68834 w 7415104"/>
                    <a:gd name="connsiteY9" fmla="*/ 1442677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48144 w 7415104"/>
                    <a:gd name="connsiteY19" fmla="*/ 1425771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69486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69486 w 7415104"/>
                    <a:gd name="connsiteY444" fmla="*/ 1534112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405134 w 7415104"/>
                    <a:gd name="connsiteY24" fmla="*/ 1434438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390847 w 7415104"/>
                    <a:gd name="connsiteY24" fmla="*/ 1424913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409467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34438 h 1609071"/>
                    <a:gd name="connsiteX24" fmla="*/ 6390847 w 7415104"/>
                    <a:gd name="connsiteY24" fmla="*/ 1424913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9942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0847 w 7415104"/>
                    <a:gd name="connsiteY24" fmla="*/ 1424913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9942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9942 w 7415104"/>
                    <a:gd name="connsiteY436" fmla="*/ 1477775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405134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88036 w 7415104"/>
                    <a:gd name="connsiteY436" fmla="*/ 1473013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88036 w 7415104"/>
                    <a:gd name="connsiteY436" fmla="*/ 1473013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409467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57138 w 7415104"/>
                    <a:gd name="connsiteY438" fmla="*/ 1529778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54757 w 7415104"/>
                    <a:gd name="connsiteY438" fmla="*/ 1532159 h 1609071"/>
                    <a:gd name="connsiteX439" fmla="*/ 6457138 w 7415104"/>
                    <a:gd name="connsiteY439" fmla="*/ 148210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54757 w 7415104"/>
                    <a:gd name="connsiteY438" fmla="*/ 1532159 h 1609071"/>
                    <a:gd name="connsiteX439" fmla="*/ 6449994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3 w 7415104"/>
                    <a:gd name="connsiteY438" fmla="*/ 1532159 h 1609071"/>
                    <a:gd name="connsiteX439" fmla="*/ 6449994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3 w 7415104"/>
                    <a:gd name="connsiteY438" fmla="*/ 1532159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9995 w 7415104"/>
                    <a:gd name="connsiteY438" fmla="*/ 1532159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9995 w 7415104"/>
                    <a:gd name="connsiteY438" fmla="*/ 1532159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9995 w 7415104"/>
                    <a:gd name="connsiteY438" fmla="*/ 1534540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9995 w 7415104"/>
                    <a:gd name="connsiteY438" fmla="*/ 1529778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4137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3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54756 w 7415104"/>
                    <a:gd name="connsiteY439" fmla="*/ 148449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44137 w 7415104"/>
                    <a:gd name="connsiteY22" fmla="*/ 1482108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69043 w 7415104"/>
                    <a:gd name="connsiteY439" fmla="*/ 149877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3662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69043 w 7415104"/>
                    <a:gd name="connsiteY439" fmla="*/ 149877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3662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9993 w 7415104"/>
                    <a:gd name="connsiteY439" fmla="*/ 1477347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3662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9993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3662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9993 w 7415104"/>
                    <a:gd name="connsiteY439" fmla="*/ 1482110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3662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2 w 7415104"/>
                    <a:gd name="connsiteY439" fmla="*/ 1484491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3662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35705 w 7415104"/>
                    <a:gd name="connsiteY439" fmla="*/ 1486872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35705 w 7415104"/>
                    <a:gd name="connsiteY439" fmla="*/ 1486872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57369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80015 w 7415104"/>
                    <a:gd name="connsiteY393" fmla="*/ 1356433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4052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697676 w 7415104"/>
                    <a:gd name="connsiteY68" fmla="*/ 1256758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10025 w 7415104"/>
                    <a:gd name="connsiteY67" fmla="*/ 1256758 h 1609071"/>
                    <a:gd name="connsiteX68" fmla="*/ 4702439 w 7415104"/>
                    <a:gd name="connsiteY68" fmla="*/ 1254376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84675 w 7415104"/>
                    <a:gd name="connsiteY69" fmla="*/ 1243757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63007 w 7415104"/>
                    <a:gd name="connsiteY70" fmla="*/ 1243757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60626 w 7415104"/>
                    <a:gd name="connsiteY70" fmla="*/ 1234232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174419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0086 h 1609071"/>
                    <a:gd name="connsiteX79" fmla="*/ 4394321 w 7415104"/>
                    <a:gd name="connsiteY79" fmla="*/ 1200421 h 1609071"/>
                    <a:gd name="connsiteX80" fmla="*/ 4359651 w 7415104"/>
                    <a:gd name="connsiteY80" fmla="*/ 1200421 h 1609071"/>
                    <a:gd name="connsiteX81" fmla="*/ 4359651 w 7415104"/>
                    <a:gd name="connsiteY81" fmla="*/ 1157085 h 1609071"/>
                    <a:gd name="connsiteX82" fmla="*/ 4329316 w 7415104"/>
                    <a:gd name="connsiteY82" fmla="*/ 1157085 h 1609071"/>
                    <a:gd name="connsiteX83" fmla="*/ 4320648 w 7415104"/>
                    <a:gd name="connsiteY83" fmla="*/ 1148417 h 1609071"/>
                    <a:gd name="connsiteX84" fmla="*/ 4155970 w 7415104"/>
                    <a:gd name="connsiteY84" fmla="*/ 1148417 h 1609071"/>
                    <a:gd name="connsiteX85" fmla="*/ 4147302 w 7415104"/>
                    <a:gd name="connsiteY85" fmla="*/ 1139749 h 1609071"/>
                    <a:gd name="connsiteX86" fmla="*/ 4064963 w 7415104"/>
                    <a:gd name="connsiteY86" fmla="*/ 1139749 h 1609071"/>
                    <a:gd name="connsiteX87" fmla="*/ 4064963 w 7415104"/>
                    <a:gd name="connsiteY87" fmla="*/ 1122415 h 1609071"/>
                    <a:gd name="connsiteX88" fmla="*/ 4047628 w 7415104"/>
                    <a:gd name="connsiteY88" fmla="*/ 1122415 h 1609071"/>
                    <a:gd name="connsiteX89" fmla="*/ 4047628 w 7415104"/>
                    <a:gd name="connsiteY89" fmla="*/ 1105081 h 1609071"/>
                    <a:gd name="connsiteX90" fmla="*/ 4025960 w 7415104"/>
                    <a:gd name="connsiteY90" fmla="*/ 1105081 h 1609071"/>
                    <a:gd name="connsiteX91" fmla="*/ 4025960 w 7415104"/>
                    <a:gd name="connsiteY91" fmla="*/ 1152751 h 1609071"/>
                    <a:gd name="connsiteX92" fmla="*/ 3991291 w 7415104"/>
                    <a:gd name="connsiteY92" fmla="*/ 1152751 h 1609071"/>
                    <a:gd name="connsiteX93" fmla="*/ 3991291 w 7415104"/>
                    <a:gd name="connsiteY93" fmla="*/ 1109415 h 1609071"/>
                    <a:gd name="connsiteX94" fmla="*/ 3960956 w 7415104"/>
                    <a:gd name="connsiteY94" fmla="*/ 1109415 h 1609071"/>
                    <a:gd name="connsiteX95" fmla="*/ 3952288 w 7415104"/>
                    <a:gd name="connsiteY95" fmla="*/ 1100747 h 1609071"/>
                    <a:gd name="connsiteX96" fmla="*/ 3735606 w 7415104"/>
                    <a:gd name="connsiteY96" fmla="*/ 1100747 h 1609071"/>
                    <a:gd name="connsiteX97" fmla="*/ 3718272 w 7415104"/>
                    <a:gd name="connsiteY97" fmla="*/ 1083413 h 1609071"/>
                    <a:gd name="connsiteX98" fmla="*/ 3592595 w 7415104"/>
                    <a:gd name="connsiteY98" fmla="*/ 1083413 h 1609071"/>
                    <a:gd name="connsiteX99" fmla="*/ 3575261 w 7415104"/>
                    <a:gd name="connsiteY99" fmla="*/ 1066079 h 1609071"/>
                    <a:gd name="connsiteX100" fmla="*/ 3440918 w 7415104"/>
                    <a:gd name="connsiteY100" fmla="*/ 1066079 h 1609071"/>
                    <a:gd name="connsiteX101" fmla="*/ 3440918 w 7415104"/>
                    <a:gd name="connsiteY101" fmla="*/ 1040076 h 1609071"/>
                    <a:gd name="connsiteX102" fmla="*/ 3319575 w 7415104"/>
                    <a:gd name="connsiteY102" fmla="*/ 1040076 h 1609071"/>
                    <a:gd name="connsiteX103" fmla="*/ 3319575 w 7415104"/>
                    <a:gd name="connsiteY103" fmla="*/ 1027075 h 1609071"/>
                    <a:gd name="connsiteX104" fmla="*/ 3180899 w 7415104"/>
                    <a:gd name="connsiteY104" fmla="*/ 1027075 h 1609071"/>
                    <a:gd name="connsiteX105" fmla="*/ 3180899 w 7415104"/>
                    <a:gd name="connsiteY105" fmla="*/ 1020123 h 1609071"/>
                    <a:gd name="connsiteX106" fmla="*/ 3163564 w 7415104"/>
                    <a:gd name="connsiteY106" fmla="*/ 1018408 h 1609071"/>
                    <a:gd name="connsiteX107" fmla="*/ 3150563 w 7415104"/>
                    <a:gd name="connsiteY107" fmla="*/ 1005407 h 1609071"/>
                    <a:gd name="connsiteX108" fmla="*/ 2990218 w 7415104"/>
                    <a:gd name="connsiteY108" fmla="*/ 1005407 h 1609071"/>
                    <a:gd name="connsiteX109" fmla="*/ 2990218 w 7415104"/>
                    <a:gd name="connsiteY109" fmla="*/ 988072 h 1609071"/>
                    <a:gd name="connsiteX110" fmla="*/ 2907879 w 7415104"/>
                    <a:gd name="connsiteY110" fmla="*/ 988072 h 1609071"/>
                    <a:gd name="connsiteX111" fmla="*/ 2899211 w 7415104"/>
                    <a:gd name="connsiteY111" fmla="*/ 979404 h 1609071"/>
                    <a:gd name="connsiteX112" fmla="*/ 2868876 w 7415104"/>
                    <a:gd name="connsiteY112" fmla="*/ 979404 h 1609071"/>
                    <a:gd name="connsiteX113" fmla="*/ 2868876 w 7415104"/>
                    <a:gd name="connsiteY113" fmla="*/ 953403 h 1609071"/>
                    <a:gd name="connsiteX114" fmla="*/ 2842874 w 7415104"/>
                    <a:gd name="connsiteY114" fmla="*/ 953403 h 1609071"/>
                    <a:gd name="connsiteX115" fmla="*/ 2834207 w 7415104"/>
                    <a:gd name="connsiteY115" fmla="*/ 944736 h 1609071"/>
                    <a:gd name="connsiteX116" fmla="*/ 2756201 w 7415104"/>
                    <a:gd name="connsiteY116" fmla="*/ 944736 h 1609071"/>
                    <a:gd name="connsiteX117" fmla="*/ 2747534 w 7415104"/>
                    <a:gd name="connsiteY117" fmla="*/ 936069 h 1609071"/>
                    <a:gd name="connsiteX118" fmla="*/ 2699864 w 7415104"/>
                    <a:gd name="connsiteY118" fmla="*/ 936069 h 1609071"/>
                    <a:gd name="connsiteX119" fmla="*/ 2688815 w 7415104"/>
                    <a:gd name="connsiteY119" fmla="*/ 925019 h 1609071"/>
                    <a:gd name="connsiteX120" fmla="*/ 2643526 w 7415104"/>
                    <a:gd name="connsiteY120" fmla="*/ 927401 h 1609071"/>
                    <a:gd name="connsiteX121" fmla="*/ 2638099 w 7415104"/>
                    <a:gd name="connsiteY121" fmla="*/ 910067 h 1609071"/>
                    <a:gd name="connsiteX122" fmla="*/ 2616001 w 7415104"/>
                    <a:gd name="connsiteY122" fmla="*/ 899876 h 1609071"/>
                    <a:gd name="connsiteX123" fmla="*/ 2591522 w 7415104"/>
                    <a:gd name="connsiteY123" fmla="*/ 875397 h 1609071"/>
                    <a:gd name="connsiteX124" fmla="*/ 2561187 w 7415104"/>
                    <a:gd name="connsiteY124" fmla="*/ 875397 h 1609071"/>
                    <a:gd name="connsiteX125" fmla="*/ 2552519 w 7415104"/>
                    <a:gd name="connsiteY125" fmla="*/ 866729 h 1609071"/>
                    <a:gd name="connsiteX126" fmla="*/ 2500516 w 7415104"/>
                    <a:gd name="connsiteY126" fmla="*/ 866729 h 1609071"/>
                    <a:gd name="connsiteX127" fmla="*/ 2500516 w 7415104"/>
                    <a:gd name="connsiteY127" fmla="*/ 849396 h 1609071"/>
                    <a:gd name="connsiteX128" fmla="*/ 2444178 w 7415104"/>
                    <a:gd name="connsiteY128" fmla="*/ 849396 h 1609071"/>
                    <a:gd name="connsiteX129" fmla="*/ 2435510 w 7415104"/>
                    <a:gd name="connsiteY129" fmla="*/ 840728 h 1609071"/>
                    <a:gd name="connsiteX130" fmla="*/ 2413843 w 7415104"/>
                    <a:gd name="connsiteY130" fmla="*/ 840728 h 1609071"/>
                    <a:gd name="connsiteX131" fmla="*/ 2400842 w 7415104"/>
                    <a:gd name="connsiteY131" fmla="*/ 827727 h 1609071"/>
                    <a:gd name="connsiteX132" fmla="*/ 2348838 w 7415104"/>
                    <a:gd name="connsiteY132" fmla="*/ 827727 h 1609071"/>
                    <a:gd name="connsiteX133" fmla="*/ 2348838 w 7415104"/>
                    <a:gd name="connsiteY133" fmla="*/ 810393 h 1609071"/>
                    <a:gd name="connsiteX134" fmla="*/ 2309835 w 7415104"/>
                    <a:gd name="connsiteY134" fmla="*/ 810393 h 1609071"/>
                    <a:gd name="connsiteX135" fmla="*/ 2296834 w 7415104"/>
                    <a:gd name="connsiteY135" fmla="*/ 823394 h 1609071"/>
                    <a:gd name="connsiteX136" fmla="*/ 2266499 w 7415104"/>
                    <a:gd name="connsiteY136" fmla="*/ 823394 h 1609071"/>
                    <a:gd name="connsiteX137" fmla="*/ 2253498 w 7415104"/>
                    <a:gd name="connsiteY137" fmla="*/ 810393 h 1609071"/>
                    <a:gd name="connsiteX138" fmla="*/ 2244830 w 7415104"/>
                    <a:gd name="connsiteY138" fmla="*/ 801725 h 1609071"/>
                    <a:gd name="connsiteX139" fmla="*/ 2244830 w 7415104"/>
                    <a:gd name="connsiteY139" fmla="*/ 775724 h 1609071"/>
                    <a:gd name="connsiteX140" fmla="*/ 2123488 w 7415104"/>
                    <a:gd name="connsiteY140" fmla="*/ 775724 h 1609071"/>
                    <a:gd name="connsiteX141" fmla="*/ 2123488 w 7415104"/>
                    <a:gd name="connsiteY141" fmla="*/ 745388 h 1609071"/>
                    <a:gd name="connsiteX142" fmla="*/ 2071484 w 7415104"/>
                    <a:gd name="connsiteY142" fmla="*/ 745388 h 1609071"/>
                    <a:gd name="connsiteX143" fmla="*/ 2062817 w 7415104"/>
                    <a:gd name="connsiteY143" fmla="*/ 736721 h 1609071"/>
                    <a:gd name="connsiteX144" fmla="*/ 2006480 w 7415104"/>
                    <a:gd name="connsiteY144" fmla="*/ 736721 h 1609071"/>
                    <a:gd name="connsiteX145" fmla="*/ 2006480 w 7415104"/>
                    <a:gd name="connsiteY145" fmla="*/ 715052 h 1609071"/>
                    <a:gd name="connsiteX146" fmla="*/ 1906806 w 7415104"/>
                    <a:gd name="connsiteY146" fmla="*/ 715052 h 1609071"/>
                    <a:gd name="connsiteX147" fmla="*/ 1902473 w 7415104"/>
                    <a:gd name="connsiteY147" fmla="*/ 710719 h 1609071"/>
                    <a:gd name="connsiteX148" fmla="*/ 1863469 w 7415104"/>
                    <a:gd name="connsiteY148" fmla="*/ 710719 h 1609071"/>
                    <a:gd name="connsiteX149" fmla="*/ 1863469 w 7415104"/>
                    <a:gd name="connsiteY149" fmla="*/ 680383 h 1609071"/>
                    <a:gd name="connsiteX150" fmla="*/ 1807132 w 7415104"/>
                    <a:gd name="connsiteY150" fmla="*/ 680383 h 1609071"/>
                    <a:gd name="connsiteX151" fmla="*/ 1798465 w 7415104"/>
                    <a:gd name="connsiteY151" fmla="*/ 671716 h 1609071"/>
                    <a:gd name="connsiteX152" fmla="*/ 1785464 w 7415104"/>
                    <a:gd name="connsiteY152" fmla="*/ 671716 h 1609071"/>
                    <a:gd name="connsiteX153" fmla="*/ 1785464 w 7415104"/>
                    <a:gd name="connsiteY153" fmla="*/ 658715 h 1609071"/>
                    <a:gd name="connsiteX154" fmla="*/ 1750794 w 7415104"/>
                    <a:gd name="connsiteY154" fmla="*/ 658715 h 1609071"/>
                    <a:gd name="connsiteX155" fmla="*/ 1750794 w 7415104"/>
                    <a:gd name="connsiteY155" fmla="*/ 637047 h 1609071"/>
                    <a:gd name="connsiteX156" fmla="*/ 1698791 w 7415104"/>
                    <a:gd name="connsiteY156" fmla="*/ 637047 h 1609071"/>
                    <a:gd name="connsiteX157" fmla="*/ 1698791 w 7415104"/>
                    <a:gd name="connsiteY157" fmla="*/ 611045 h 1609071"/>
                    <a:gd name="connsiteX158" fmla="*/ 1616451 w 7415104"/>
                    <a:gd name="connsiteY158" fmla="*/ 611045 h 1609071"/>
                    <a:gd name="connsiteX159" fmla="*/ 1603450 w 7415104"/>
                    <a:gd name="connsiteY159" fmla="*/ 598044 h 1609071"/>
                    <a:gd name="connsiteX160" fmla="*/ 1590449 w 7415104"/>
                    <a:gd name="connsiteY160" fmla="*/ 598044 h 1609071"/>
                    <a:gd name="connsiteX161" fmla="*/ 1577448 w 7415104"/>
                    <a:gd name="connsiteY161" fmla="*/ 585043 h 1609071"/>
                    <a:gd name="connsiteX162" fmla="*/ 1529778 w 7415104"/>
                    <a:gd name="connsiteY162" fmla="*/ 585043 h 1609071"/>
                    <a:gd name="connsiteX163" fmla="*/ 1529778 w 7415104"/>
                    <a:gd name="connsiteY163" fmla="*/ 576376 h 1609071"/>
                    <a:gd name="connsiteX164" fmla="*/ 1477774 w 7415104"/>
                    <a:gd name="connsiteY164" fmla="*/ 576376 h 1609071"/>
                    <a:gd name="connsiteX165" fmla="*/ 1477774 w 7415104"/>
                    <a:gd name="connsiteY165" fmla="*/ 559041 h 1609071"/>
                    <a:gd name="connsiteX166" fmla="*/ 1408436 w 7415104"/>
                    <a:gd name="connsiteY166" fmla="*/ 559041 h 1609071"/>
                    <a:gd name="connsiteX167" fmla="*/ 1395435 w 7415104"/>
                    <a:gd name="connsiteY167" fmla="*/ 546040 h 1609071"/>
                    <a:gd name="connsiteX168" fmla="*/ 1330430 w 7415104"/>
                    <a:gd name="connsiteY168" fmla="*/ 546040 h 1609071"/>
                    <a:gd name="connsiteX169" fmla="*/ 1330430 w 7415104"/>
                    <a:gd name="connsiteY169" fmla="*/ 528706 h 1609071"/>
                    <a:gd name="connsiteX170" fmla="*/ 1274093 w 7415104"/>
                    <a:gd name="connsiteY170" fmla="*/ 528706 h 1609071"/>
                    <a:gd name="connsiteX171" fmla="*/ 1274093 w 7415104"/>
                    <a:gd name="connsiteY171" fmla="*/ 507037 h 1609071"/>
                    <a:gd name="connsiteX172" fmla="*/ 1191754 w 7415104"/>
                    <a:gd name="connsiteY172" fmla="*/ 507037 h 1609071"/>
                    <a:gd name="connsiteX173" fmla="*/ 1174419 w 7415104"/>
                    <a:gd name="connsiteY173" fmla="*/ 507037 h 1609071"/>
                    <a:gd name="connsiteX174" fmla="*/ 1148417 w 7415104"/>
                    <a:gd name="connsiteY174" fmla="*/ 507037 h 1609071"/>
                    <a:gd name="connsiteX175" fmla="*/ 1148417 w 7415104"/>
                    <a:gd name="connsiteY175" fmla="*/ 481035 h 1609071"/>
                    <a:gd name="connsiteX176" fmla="*/ 1092080 w 7415104"/>
                    <a:gd name="connsiteY176" fmla="*/ 481035 h 1609071"/>
                    <a:gd name="connsiteX177" fmla="*/ 1092080 w 7415104"/>
                    <a:gd name="connsiteY177" fmla="*/ 468034 h 1609071"/>
                    <a:gd name="connsiteX178" fmla="*/ 1044410 w 7415104"/>
                    <a:gd name="connsiteY178" fmla="*/ 468034 h 1609071"/>
                    <a:gd name="connsiteX179" fmla="*/ 1044410 w 7415104"/>
                    <a:gd name="connsiteY179" fmla="*/ 437699 h 1609071"/>
                    <a:gd name="connsiteX180" fmla="*/ 988072 w 7415104"/>
                    <a:gd name="connsiteY180" fmla="*/ 437699 h 1609071"/>
                    <a:gd name="connsiteX181" fmla="*/ 975071 w 7415104"/>
                    <a:gd name="connsiteY181" fmla="*/ 424698 h 1609071"/>
                    <a:gd name="connsiteX182" fmla="*/ 953403 w 7415104"/>
                    <a:gd name="connsiteY182" fmla="*/ 424698 h 1609071"/>
                    <a:gd name="connsiteX183" fmla="*/ 944736 w 7415104"/>
                    <a:gd name="connsiteY183" fmla="*/ 416031 h 1609071"/>
                    <a:gd name="connsiteX184" fmla="*/ 892732 w 7415104"/>
                    <a:gd name="connsiteY184" fmla="*/ 416031 h 1609071"/>
                    <a:gd name="connsiteX185" fmla="*/ 892732 w 7415104"/>
                    <a:gd name="connsiteY185" fmla="*/ 394362 h 1609071"/>
                    <a:gd name="connsiteX186" fmla="*/ 866730 w 7415104"/>
                    <a:gd name="connsiteY186" fmla="*/ 394362 h 1609071"/>
                    <a:gd name="connsiteX187" fmla="*/ 858063 w 7415104"/>
                    <a:gd name="connsiteY187" fmla="*/ 385695 h 1609071"/>
                    <a:gd name="connsiteX188" fmla="*/ 754055 w 7415104"/>
                    <a:gd name="connsiteY188" fmla="*/ 385695 h 1609071"/>
                    <a:gd name="connsiteX189" fmla="*/ 754055 w 7415104"/>
                    <a:gd name="connsiteY189" fmla="*/ 359693 h 1609071"/>
                    <a:gd name="connsiteX190" fmla="*/ 723719 w 7415104"/>
                    <a:gd name="connsiteY190" fmla="*/ 359693 h 1609071"/>
                    <a:gd name="connsiteX191" fmla="*/ 723719 w 7415104"/>
                    <a:gd name="connsiteY191" fmla="*/ 342359 h 1609071"/>
                    <a:gd name="connsiteX192" fmla="*/ 658715 w 7415104"/>
                    <a:gd name="connsiteY192" fmla="*/ 342359 h 1609071"/>
                    <a:gd name="connsiteX193" fmla="*/ 650047 w 7415104"/>
                    <a:gd name="connsiteY193" fmla="*/ 333691 h 1609071"/>
                    <a:gd name="connsiteX194" fmla="*/ 628379 w 7415104"/>
                    <a:gd name="connsiteY194" fmla="*/ 333691 h 1609071"/>
                    <a:gd name="connsiteX195" fmla="*/ 628379 w 7415104"/>
                    <a:gd name="connsiteY195" fmla="*/ 316357 h 1609071"/>
                    <a:gd name="connsiteX196" fmla="*/ 598044 w 7415104"/>
                    <a:gd name="connsiteY196" fmla="*/ 316357 h 1609071"/>
                    <a:gd name="connsiteX197" fmla="*/ 598044 w 7415104"/>
                    <a:gd name="connsiteY197" fmla="*/ 294688 h 1609071"/>
                    <a:gd name="connsiteX198" fmla="*/ 576375 w 7415104"/>
                    <a:gd name="connsiteY198" fmla="*/ 294688 h 1609071"/>
                    <a:gd name="connsiteX199" fmla="*/ 576375 w 7415104"/>
                    <a:gd name="connsiteY199" fmla="*/ 281687 h 1609071"/>
                    <a:gd name="connsiteX200" fmla="*/ 554707 w 7415104"/>
                    <a:gd name="connsiteY200" fmla="*/ 281687 h 1609071"/>
                    <a:gd name="connsiteX201" fmla="*/ 554707 w 7415104"/>
                    <a:gd name="connsiteY201" fmla="*/ 268687 h 1609071"/>
                    <a:gd name="connsiteX202" fmla="*/ 489702 w 7415104"/>
                    <a:gd name="connsiteY202" fmla="*/ 268687 h 1609071"/>
                    <a:gd name="connsiteX203" fmla="*/ 489702 w 7415104"/>
                    <a:gd name="connsiteY203" fmla="*/ 242685 h 1609071"/>
                    <a:gd name="connsiteX204" fmla="*/ 455033 w 7415104"/>
                    <a:gd name="connsiteY204" fmla="*/ 242685 h 1609071"/>
                    <a:gd name="connsiteX205" fmla="*/ 455033 w 7415104"/>
                    <a:gd name="connsiteY205" fmla="*/ 216683 h 1609071"/>
                    <a:gd name="connsiteX206" fmla="*/ 437699 w 7415104"/>
                    <a:gd name="connsiteY206" fmla="*/ 216683 h 1609071"/>
                    <a:gd name="connsiteX207" fmla="*/ 437699 w 7415104"/>
                    <a:gd name="connsiteY207" fmla="*/ 186347 h 1609071"/>
                    <a:gd name="connsiteX208" fmla="*/ 407363 w 7415104"/>
                    <a:gd name="connsiteY208" fmla="*/ 186347 h 1609071"/>
                    <a:gd name="connsiteX209" fmla="*/ 407363 w 7415104"/>
                    <a:gd name="connsiteY209" fmla="*/ 173346 h 1609071"/>
                    <a:gd name="connsiteX210" fmla="*/ 372694 w 7415104"/>
                    <a:gd name="connsiteY210" fmla="*/ 173346 h 1609071"/>
                    <a:gd name="connsiteX211" fmla="*/ 372694 w 7415104"/>
                    <a:gd name="connsiteY211" fmla="*/ 151678 h 1609071"/>
                    <a:gd name="connsiteX212" fmla="*/ 355359 w 7415104"/>
                    <a:gd name="connsiteY212" fmla="*/ 151678 h 1609071"/>
                    <a:gd name="connsiteX213" fmla="*/ 355359 w 7415104"/>
                    <a:gd name="connsiteY213" fmla="*/ 138677 h 1609071"/>
                    <a:gd name="connsiteX214" fmla="*/ 303356 w 7415104"/>
                    <a:gd name="connsiteY214" fmla="*/ 138677 h 1609071"/>
                    <a:gd name="connsiteX215" fmla="*/ 303356 w 7415104"/>
                    <a:gd name="connsiteY215" fmla="*/ 95341 h 1609071"/>
                    <a:gd name="connsiteX216" fmla="*/ 268686 w 7415104"/>
                    <a:gd name="connsiteY216" fmla="*/ 95341 h 1609071"/>
                    <a:gd name="connsiteX217" fmla="*/ 268686 w 7415104"/>
                    <a:gd name="connsiteY217" fmla="*/ 82340 h 1609071"/>
                    <a:gd name="connsiteX218" fmla="*/ 234017 w 7415104"/>
                    <a:gd name="connsiteY218" fmla="*/ 82340 h 1609071"/>
                    <a:gd name="connsiteX219" fmla="*/ 234017 w 7415104"/>
                    <a:gd name="connsiteY219" fmla="*/ 47670 h 1609071"/>
                    <a:gd name="connsiteX220" fmla="*/ 208015 w 7415104"/>
                    <a:gd name="connsiteY220" fmla="*/ 47670 h 1609071"/>
                    <a:gd name="connsiteX221" fmla="*/ 208015 w 7415104"/>
                    <a:gd name="connsiteY221" fmla="*/ 39003 h 1609071"/>
                    <a:gd name="connsiteX222" fmla="*/ 156011 w 7415104"/>
                    <a:gd name="connsiteY222" fmla="*/ 39003 h 1609071"/>
                    <a:gd name="connsiteX223" fmla="*/ 156011 w 7415104"/>
                    <a:gd name="connsiteY223" fmla="*/ 26002 h 1609071"/>
                    <a:gd name="connsiteX224" fmla="*/ 121342 w 7415104"/>
                    <a:gd name="connsiteY224" fmla="*/ 26002 h 1609071"/>
                    <a:gd name="connsiteX225" fmla="*/ 121342 w 7415104"/>
                    <a:gd name="connsiteY225" fmla="*/ 0 h 1609071"/>
                    <a:gd name="connsiteX226" fmla="*/ 82339 w 7415104"/>
                    <a:gd name="connsiteY226" fmla="*/ 0 h 1609071"/>
                    <a:gd name="connsiteX227" fmla="*/ 82339 w 7415104"/>
                    <a:gd name="connsiteY227" fmla="*/ 43337 h 1609071"/>
                    <a:gd name="connsiteX228" fmla="*/ 0 w 7415104"/>
                    <a:gd name="connsiteY228" fmla="*/ 43337 h 1609071"/>
                    <a:gd name="connsiteX229" fmla="*/ 8667 w 7415104"/>
                    <a:gd name="connsiteY229" fmla="*/ 34670 h 1609071"/>
                    <a:gd name="connsiteX230" fmla="*/ 8667 w 7415104"/>
                    <a:gd name="connsiteY230" fmla="*/ 52004 h 1609071"/>
                    <a:gd name="connsiteX231" fmla="*/ 21668 w 7415104"/>
                    <a:gd name="connsiteY231" fmla="*/ 52004 h 1609071"/>
                    <a:gd name="connsiteX232" fmla="*/ 21668 w 7415104"/>
                    <a:gd name="connsiteY232" fmla="*/ 65005 h 1609071"/>
                    <a:gd name="connsiteX233" fmla="*/ 52004 w 7415104"/>
                    <a:gd name="connsiteY233" fmla="*/ 65005 h 1609071"/>
                    <a:gd name="connsiteX234" fmla="*/ 52004 w 7415104"/>
                    <a:gd name="connsiteY234" fmla="*/ 86673 h 1609071"/>
                    <a:gd name="connsiteX235" fmla="*/ 78006 w 7415104"/>
                    <a:gd name="connsiteY235" fmla="*/ 86673 h 1609071"/>
                    <a:gd name="connsiteX236" fmla="*/ 78006 w 7415104"/>
                    <a:gd name="connsiteY236" fmla="*/ 125676 h 1609071"/>
                    <a:gd name="connsiteX237" fmla="*/ 138677 w 7415104"/>
                    <a:gd name="connsiteY237" fmla="*/ 125676 h 1609071"/>
                    <a:gd name="connsiteX238" fmla="*/ 147344 w 7415104"/>
                    <a:gd name="connsiteY238" fmla="*/ 134343 h 1609071"/>
                    <a:gd name="connsiteX239" fmla="*/ 164679 w 7415104"/>
                    <a:gd name="connsiteY239" fmla="*/ 134343 h 1609071"/>
                    <a:gd name="connsiteX240" fmla="*/ 164679 w 7415104"/>
                    <a:gd name="connsiteY240" fmla="*/ 156012 h 1609071"/>
                    <a:gd name="connsiteX241" fmla="*/ 182013 w 7415104"/>
                    <a:gd name="connsiteY241" fmla="*/ 156012 h 1609071"/>
                    <a:gd name="connsiteX242" fmla="*/ 195014 w 7415104"/>
                    <a:gd name="connsiteY242" fmla="*/ 169013 h 1609071"/>
                    <a:gd name="connsiteX243" fmla="*/ 225350 w 7415104"/>
                    <a:gd name="connsiteY243" fmla="*/ 169013 h 1609071"/>
                    <a:gd name="connsiteX244" fmla="*/ 225350 w 7415104"/>
                    <a:gd name="connsiteY244" fmla="*/ 208015 h 1609071"/>
                    <a:gd name="connsiteX245" fmla="*/ 251352 w 7415104"/>
                    <a:gd name="connsiteY245" fmla="*/ 208015 h 1609071"/>
                    <a:gd name="connsiteX246" fmla="*/ 260019 w 7415104"/>
                    <a:gd name="connsiteY246" fmla="*/ 216682 h 1609071"/>
                    <a:gd name="connsiteX247" fmla="*/ 273021 w 7415104"/>
                    <a:gd name="connsiteY247" fmla="*/ 229684 h 1609071"/>
                    <a:gd name="connsiteX248" fmla="*/ 273021 w 7415104"/>
                    <a:gd name="connsiteY248" fmla="*/ 251352 h 1609071"/>
                    <a:gd name="connsiteX249" fmla="*/ 303356 w 7415104"/>
                    <a:gd name="connsiteY249" fmla="*/ 251352 h 1609071"/>
                    <a:gd name="connsiteX250" fmla="*/ 303356 w 7415104"/>
                    <a:gd name="connsiteY250" fmla="*/ 268687 h 1609071"/>
                    <a:gd name="connsiteX251" fmla="*/ 342358 w 7415104"/>
                    <a:gd name="connsiteY251" fmla="*/ 268687 h 1609071"/>
                    <a:gd name="connsiteX252" fmla="*/ 342358 w 7415104"/>
                    <a:gd name="connsiteY252" fmla="*/ 286021 h 1609071"/>
                    <a:gd name="connsiteX253" fmla="*/ 385695 w 7415104"/>
                    <a:gd name="connsiteY253" fmla="*/ 286021 h 1609071"/>
                    <a:gd name="connsiteX254" fmla="*/ 385695 w 7415104"/>
                    <a:gd name="connsiteY254" fmla="*/ 286021 h 1609071"/>
                    <a:gd name="connsiteX255" fmla="*/ 407363 w 7415104"/>
                    <a:gd name="connsiteY255" fmla="*/ 307689 h 1609071"/>
                    <a:gd name="connsiteX256" fmla="*/ 424698 w 7415104"/>
                    <a:gd name="connsiteY256" fmla="*/ 325024 h 1609071"/>
                    <a:gd name="connsiteX257" fmla="*/ 472368 w 7415104"/>
                    <a:gd name="connsiteY257" fmla="*/ 325024 h 1609071"/>
                    <a:gd name="connsiteX258" fmla="*/ 472368 w 7415104"/>
                    <a:gd name="connsiteY258" fmla="*/ 355360 h 1609071"/>
                    <a:gd name="connsiteX259" fmla="*/ 511371 w 7415104"/>
                    <a:gd name="connsiteY259" fmla="*/ 355360 h 1609071"/>
                    <a:gd name="connsiteX260" fmla="*/ 511371 w 7415104"/>
                    <a:gd name="connsiteY260" fmla="*/ 377028 h 1609071"/>
                    <a:gd name="connsiteX261" fmla="*/ 559041 w 7415104"/>
                    <a:gd name="connsiteY261" fmla="*/ 377028 h 1609071"/>
                    <a:gd name="connsiteX262" fmla="*/ 559041 w 7415104"/>
                    <a:gd name="connsiteY262" fmla="*/ 398696 h 1609071"/>
                    <a:gd name="connsiteX263" fmla="*/ 589376 w 7415104"/>
                    <a:gd name="connsiteY263" fmla="*/ 398696 h 1609071"/>
                    <a:gd name="connsiteX264" fmla="*/ 602377 w 7415104"/>
                    <a:gd name="connsiteY264" fmla="*/ 411697 h 1609071"/>
                    <a:gd name="connsiteX265" fmla="*/ 650047 w 7415104"/>
                    <a:gd name="connsiteY265" fmla="*/ 411697 h 1609071"/>
                    <a:gd name="connsiteX266" fmla="*/ 650047 w 7415104"/>
                    <a:gd name="connsiteY266" fmla="*/ 450700 h 1609071"/>
                    <a:gd name="connsiteX267" fmla="*/ 758389 w 7415104"/>
                    <a:gd name="connsiteY267" fmla="*/ 450700 h 1609071"/>
                    <a:gd name="connsiteX268" fmla="*/ 758389 w 7415104"/>
                    <a:gd name="connsiteY268" fmla="*/ 481035 h 1609071"/>
                    <a:gd name="connsiteX269" fmla="*/ 875397 w 7415104"/>
                    <a:gd name="connsiteY269" fmla="*/ 481035 h 1609071"/>
                    <a:gd name="connsiteX270" fmla="*/ 875397 w 7415104"/>
                    <a:gd name="connsiteY270" fmla="*/ 507037 h 1609071"/>
                    <a:gd name="connsiteX271" fmla="*/ 927401 w 7415104"/>
                    <a:gd name="connsiteY271" fmla="*/ 507037 h 1609071"/>
                    <a:gd name="connsiteX272" fmla="*/ 927401 w 7415104"/>
                    <a:gd name="connsiteY272" fmla="*/ 524372 h 1609071"/>
                    <a:gd name="connsiteX273" fmla="*/ 979405 w 7415104"/>
                    <a:gd name="connsiteY273" fmla="*/ 524372 h 1609071"/>
                    <a:gd name="connsiteX274" fmla="*/ 992406 w 7415104"/>
                    <a:gd name="connsiteY274" fmla="*/ 524372 h 1609071"/>
                    <a:gd name="connsiteX275" fmla="*/ 1005407 w 7415104"/>
                    <a:gd name="connsiteY275" fmla="*/ 537373 h 1609071"/>
                    <a:gd name="connsiteX276" fmla="*/ 1027075 w 7415104"/>
                    <a:gd name="connsiteY276" fmla="*/ 537373 h 1609071"/>
                    <a:gd name="connsiteX277" fmla="*/ 1057410 w 7415104"/>
                    <a:gd name="connsiteY277" fmla="*/ 537373 h 1609071"/>
                    <a:gd name="connsiteX278" fmla="*/ 1057410 w 7415104"/>
                    <a:gd name="connsiteY278" fmla="*/ 563375 h 1609071"/>
                    <a:gd name="connsiteX279" fmla="*/ 1079079 w 7415104"/>
                    <a:gd name="connsiteY279" fmla="*/ 563375 h 1609071"/>
                    <a:gd name="connsiteX280" fmla="*/ 1079079 w 7415104"/>
                    <a:gd name="connsiteY280" fmla="*/ 576376 h 1609071"/>
                    <a:gd name="connsiteX281" fmla="*/ 1157084 w 7415104"/>
                    <a:gd name="connsiteY281" fmla="*/ 576376 h 1609071"/>
                    <a:gd name="connsiteX282" fmla="*/ 1157084 w 7415104"/>
                    <a:gd name="connsiteY282" fmla="*/ 589377 h 1609071"/>
                    <a:gd name="connsiteX283" fmla="*/ 1196087 w 7415104"/>
                    <a:gd name="connsiteY283" fmla="*/ 589377 h 1609071"/>
                    <a:gd name="connsiteX284" fmla="*/ 1196087 w 7415104"/>
                    <a:gd name="connsiteY284" fmla="*/ 598044 h 1609071"/>
                    <a:gd name="connsiteX285" fmla="*/ 1243757 w 7415104"/>
                    <a:gd name="connsiteY285" fmla="*/ 598044 h 1609071"/>
                    <a:gd name="connsiteX286" fmla="*/ 1256758 w 7415104"/>
                    <a:gd name="connsiteY286" fmla="*/ 611045 h 1609071"/>
                    <a:gd name="connsiteX287" fmla="*/ 1269759 w 7415104"/>
                    <a:gd name="connsiteY287" fmla="*/ 624046 h 1609071"/>
                    <a:gd name="connsiteX288" fmla="*/ 1334764 w 7415104"/>
                    <a:gd name="connsiteY288" fmla="*/ 624046 h 1609071"/>
                    <a:gd name="connsiteX289" fmla="*/ 1334764 w 7415104"/>
                    <a:gd name="connsiteY289" fmla="*/ 645714 h 1609071"/>
                    <a:gd name="connsiteX290" fmla="*/ 1425771 w 7415104"/>
                    <a:gd name="connsiteY290" fmla="*/ 645714 h 1609071"/>
                    <a:gd name="connsiteX291" fmla="*/ 1434438 w 7415104"/>
                    <a:gd name="connsiteY291" fmla="*/ 654381 h 1609071"/>
                    <a:gd name="connsiteX292" fmla="*/ 1456106 w 7415104"/>
                    <a:gd name="connsiteY292" fmla="*/ 654381 h 1609071"/>
                    <a:gd name="connsiteX293" fmla="*/ 1456106 w 7415104"/>
                    <a:gd name="connsiteY293" fmla="*/ 667382 h 1609071"/>
                    <a:gd name="connsiteX294" fmla="*/ 1508110 w 7415104"/>
                    <a:gd name="connsiteY294" fmla="*/ 667382 h 1609071"/>
                    <a:gd name="connsiteX295" fmla="*/ 1508110 w 7415104"/>
                    <a:gd name="connsiteY295" fmla="*/ 684717 h 1609071"/>
                    <a:gd name="connsiteX296" fmla="*/ 1564447 w 7415104"/>
                    <a:gd name="connsiteY296" fmla="*/ 684717 h 1609071"/>
                    <a:gd name="connsiteX297" fmla="*/ 1568781 w 7415104"/>
                    <a:gd name="connsiteY297" fmla="*/ 689051 h 1609071"/>
                    <a:gd name="connsiteX298" fmla="*/ 1612118 w 7415104"/>
                    <a:gd name="connsiteY298" fmla="*/ 689051 h 1609071"/>
                    <a:gd name="connsiteX299" fmla="*/ 1625119 w 7415104"/>
                    <a:gd name="connsiteY299" fmla="*/ 702052 h 1609071"/>
                    <a:gd name="connsiteX300" fmla="*/ 1677122 w 7415104"/>
                    <a:gd name="connsiteY300" fmla="*/ 702052 h 1609071"/>
                    <a:gd name="connsiteX301" fmla="*/ 1685790 w 7415104"/>
                    <a:gd name="connsiteY301" fmla="*/ 710720 h 1609071"/>
                    <a:gd name="connsiteX302" fmla="*/ 1703123 w 7415104"/>
                    <a:gd name="connsiteY302" fmla="*/ 728053 h 1609071"/>
                    <a:gd name="connsiteX303" fmla="*/ 1716124 w 7415104"/>
                    <a:gd name="connsiteY303" fmla="*/ 741054 h 1609071"/>
                    <a:gd name="connsiteX304" fmla="*/ 1750794 w 7415104"/>
                    <a:gd name="connsiteY304" fmla="*/ 741054 h 1609071"/>
                    <a:gd name="connsiteX305" fmla="*/ 1750794 w 7415104"/>
                    <a:gd name="connsiteY305" fmla="*/ 767056 h 1609071"/>
                    <a:gd name="connsiteX306" fmla="*/ 1798465 w 7415104"/>
                    <a:gd name="connsiteY306" fmla="*/ 767056 h 1609071"/>
                    <a:gd name="connsiteX307" fmla="*/ 1798465 w 7415104"/>
                    <a:gd name="connsiteY307" fmla="*/ 780057 h 1609071"/>
                    <a:gd name="connsiteX308" fmla="*/ 1841801 w 7415104"/>
                    <a:gd name="connsiteY308" fmla="*/ 780057 h 1609071"/>
                    <a:gd name="connsiteX309" fmla="*/ 1841801 w 7415104"/>
                    <a:gd name="connsiteY309" fmla="*/ 797392 h 1609071"/>
                    <a:gd name="connsiteX310" fmla="*/ 1876470 w 7415104"/>
                    <a:gd name="connsiteY310" fmla="*/ 797392 h 1609071"/>
                    <a:gd name="connsiteX311" fmla="*/ 1885138 w 7415104"/>
                    <a:gd name="connsiteY311" fmla="*/ 806060 h 1609071"/>
                    <a:gd name="connsiteX312" fmla="*/ 1963143 w 7415104"/>
                    <a:gd name="connsiteY312" fmla="*/ 806060 h 1609071"/>
                    <a:gd name="connsiteX313" fmla="*/ 2006480 w 7415104"/>
                    <a:gd name="connsiteY313" fmla="*/ 806060 h 1609071"/>
                    <a:gd name="connsiteX314" fmla="*/ 2036815 w 7415104"/>
                    <a:gd name="connsiteY314" fmla="*/ 836395 h 1609071"/>
                    <a:gd name="connsiteX315" fmla="*/ 2049816 w 7415104"/>
                    <a:gd name="connsiteY315" fmla="*/ 836395 h 1609071"/>
                    <a:gd name="connsiteX316" fmla="*/ 2106154 w 7415104"/>
                    <a:gd name="connsiteY316" fmla="*/ 836395 h 1609071"/>
                    <a:gd name="connsiteX317" fmla="*/ 2106154 w 7415104"/>
                    <a:gd name="connsiteY317" fmla="*/ 862396 h 1609071"/>
                    <a:gd name="connsiteX318" fmla="*/ 2119155 w 7415104"/>
                    <a:gd name="connsiteY318" fmla="*/ 862396 h 1609071"/>
                    <a:gd name="connsiteX319" fmla="*/ 2136489 w 7415104"/>
                    <a:gd name="connsiteY319" fmla="*/ 862396 h 1609071"/>
                    <a:gd name="connsiteX320" fmla="*/ 2184159 w 7415104"/>
                    <a:gd name="connsiteY320" fmla="*/ 862396 h 1609071"/>
                    <a:gd name="connsiteX321" fmla="*/ 2184159 w 7415104"/>
                    <a:gd name="connsiteY321" fmla="*/ 888398 h 1609071"/>
                    <a:gd name="connsiteX322" fmla="*/ 2200254 w 7415104"/>
                    <a:gd name="connsiteY322" fmla="*/ 883636 h 1609071"/>
                    <a:gd name="connsiteX323" fmla="*/ 2240733 w 7415104"/>
                    <a:gd name="connsiteY323" fmla="*/ 881254 h 1609071"/>
                    <a:gd name="connsiteX324" fmla="*/ 2240102 w 7415104"/>
                    <a:gd name="connsiteY324" fmla="*/ 914626 h 1609071"/>
                    <a:gd name="connsiteX325" fmla="*/ 2265640 w 7415104"/>
                    <a:gd name="connsiteY325" fmla="*/ 915879 h 1609071"/>
                    <a:gd name="connsiteX326" fmla="*/ 2266296 w 7415104"/>
                    <a:gd name="connsiteY326" fmla="*/ 886052 h 1609071"/>
                    <a:gd name="connsiteX327" fmla="*/ 2301168 w 7415104"/>
                    <a:gd name="connsiteY327" fmla="*/ 880160 h 1609071"/>
                    <a:gd name="connsiteX328" fmla="*/ 2301168 w 7415104"/>
                    <a:gd name="connsiteY328" fmla="*/ 914400 h 1609071"/>
                    <a:gd name="connsiteX329" fmla="*/ 2335837 w 7415104"/>
                    <a:gd name="connsiteY329" fmla="*/ 914400 h 1609071"/>
                    <a:gd name="connsiteX330" fmla="*/ 2335837 w 7415104"/>
                    <a:gd name="connsiteY330" fmla="*/ 923068 h 1609071"/>
                    <a:gd name="connsiteX331" fmla="*/ 2400842 w 7415104"/>
                    <a:gd name="connsiteY331" fmla="*/ 923068 h 1609071"/>
                    <a:gd name="connsiteX332" fmla="*/ 2400842 w 7415104"/>
                    <a:gd name="connsiteY332" fmla="*/ 936069 h 1609071"/>
                    <a:gd name="connsiteX333" fmla="*/ 2439845 w 7415104"/>
                    <a:gd name="connsiteY333" fmla="*/ 936069 h 1609071"/>
                    <a:gd name="connsiteX334" fmla="*/ 2452846 w 7415104"/>
                    <a:gd name="connsiteY334" fmla="*/ 949070 h 1609071"/>
                    <a:gd name="connsiteX335" fmla="*/ 2500516 w 7415104"/>
                    <a:gd name="connsiteY335" fmla="*/ 949070 h 1609071"/>
                    <a:gd name="connsiteX336" fmla="*/ 2513517 w 7415104"/>
                    <a:gd name="connsiteY336" fmla="*/ 962071 h 1609071"/>
                    <a:gd name="connsiteX337" fmla="*/ 2543852 w 7415104"/>
                    <a:gd name="connsiteY337" fmla="*/ 962071 h 1609071"/>
                    <a:gd name="connsiteX338" fmla="*/ 2543852 w 7415104"/>
                    <a:gd name="connsiteY338" fmla="*/ 979405 h 1609071"/>
                    <a:gd name="connsiteX339" fmla="*/ 2591522 w 7415104"/>
                    <a:gd name="connsiteY339" fmla="*/ 979405 h 1609071"/>
                    <a:gd name="connsiteX340" fmla="*/ 2591522 w 7415104"/>
                    <a:gd name="connsiteY340" fmla="*/ 1001073 h 1609071"/>
                    <a:gd name="connsiteX341" fmla="*/ 2639192 w 7415104"/>
                    <a:gd name="connsiteY341" fmla="*/ 1001073 h 1609071"/>
                    <a:gd name="connsiteX342" fmla="*/ 2639192 w 7415104"/>
                    <a:gd name="connsiteY342" fmla="*/ 1022742 h 1609071"/>
                    <a:gd name="connsiteX343" fmla="*/ 2699864 w 7415104"/>
                    <a:gd name="connsiteY343" fmla="*/ 1022742 h 1609071"/>
                    <a:gd name="connsiteX344" fmla="*/ 2699864 w 7415104"/>
                    <a:gd name="connsiteY344" fmla="*/ 1040076 h 1609071"/>
                    <a:gd name="connsiteX345" fmla="*/ 2808205 w 7415104"/>
                    <a:gd name="connsiteY345" fmla="*/ 1040076 h 1609071"/>
                    <a:gd name="connsiteX346" fmla="*/ 2816872 w 7415104"/>
                    <a:gd name="connsiteY346" fmla="*/ 1048743 h 1609071"/>
                    <a:gd name="connsiteX347" fmla="*/ 2825540 w 7415104"/>
                    <a:gd name="connsiteY347" fmla="*/ 1057411 h 1609071"/>
                    <a:gd name="connsiteX348" fmla="*/ 2864542 w 7415104"/>
                    <a:gd name="connsiteY348" fmla="*/ 1057411 h 1609071"/>
                    <a:gd name="connsiteX349" fmla="*/ 2886210 w 7415104"/>
                    <a:gd name="connsiteY349" fmla="*/ 1057411 h 1609071"/>
                    <a:gd name="connsiteX350" fmla="*/ 2899211 w 7415104"/>
                    <a:gd name="connsiteY350" fmla="*/ 1057411 h 1609071"/>
                    <a:gd name="connsiteX351" fmla="*/ 2916546 w 7415104"/>
                    <a:gd name="connsiteY351" fmla="*/ 1074746 h 1609071"/>
                    <a:gd name="connsiteX352" fmla="*/ 2968550 w 7415104"/>
                    <a:gd name="connsiteY352" fmla="*/ 1074746 h 1609071"/>
                    <a:gd name="connsiteX353" fmla="*/ 2968550 w 7415104"/>
                    <a:gd name="connsiteY353" fmla="*/ 1092080 h 1609071"/>
                    <a:gd name="connsiteX354" fmla="*/ 3141896 w 7415104"/>
                    <a:gd name="connsiteY354" fmla="*/ 1092080 h 1609071"/>
                    <a:gd name="connsiteX355" fmla="*/ 3141896 w 7415104"/>
                    <a:gd name="connsiteY355" fmla="*/ 1122415 h 1609071"/>
                    <a:gd name="connsiteX356" fmla="*/ 3211234 w 7415104"/>
                    <a:gd name="connsiteY356" fmla="*/ 1122415 h 1609071"/>
                    <a:gd name="connsiteX357" fmla="*/ 3215568 w 7415104"/>
                    <a:gd name="connsiteY357" fmla="*/ 1122415 h 1609071"/>
                    <a:gd name="connsiteX358" fmla="*/ 3302241 w 7415104"/>
                    <a:gd name="connsiteY358" fmla="*/ 1122415 h 1609071"/>
                    <a:gd name="connsiteX359" fmla="*/ 3302241 w 7415104"/>
                    <a:gd name="connsiteY359" fmla="*/ 1148417 h 1609071"/>
                    <a:gd name="connsiteX360" fmla="*/ 3388914 w 7415104"/>
                    <a:gd name="connsiteY360" fmla="*/ 1148417 h 1609071"/>
                    <a:gd name="connsiteX361" fmla="*/ 3388914 w 7415104"/>
                    <a:gd name="connsiteY361" fmla="*/ 1157085 h 1609071"/>
                    <a:gd name="connsiteX362" fmla="*/ 3445251 w 7415104"/>
                    <a:gd name="connsiteY362" fmla="*/ 1157085 h 1609071"/>
                    <a:gd name="connsiteX363" fmla="*/ 3453919 w 7415104"/>
                    <a:gd name="connsiteY363" fmla="*/ 1165753 h 1609071"/>
                    <a:gd name="connsiteX364" fmla="*/ 3596929 w 7415104"/>
                    <a:gd name="connsiteY364" fmla="*/ 1165753 h 1609071"/>
                    <a:gd name="connsiteX365" fmla="*/ 3596929 w 7415104"/>
                    <a:gd name="connsiteY365" fmla="*/ 1178753 h 1609071"/>
                    <a:gd name="connsiteX366" fmla="*/ 3705270 w 7415104"/>
                    <a:gd name="connsiteY366" fmla="*/ 1178753 h 1609071"/>
                    <a:gd name="connsiteX367" fmla="*/ 3709604 w 7415104"/>
                    <a:gd name="connsiteY367" fmla="*/ 1183087 h 1609071"/>
                    <a:gd name="connsiteX368" fmla="*/ 3960956 w 7415104"/>
                    <a:gd name="connsiteY368" fmla="*/ 1183087 h 1609071"/>
                    <a:gd name="connsiteX369" fmla="*/ 3960956 w 7415104"/>
                    <a:gd name="connsiteY369" fmla="*/ 1204755 h 1609071"/>
                    <a:gd name="connsiteX370" fmla="*/ 3991291 w 7415104"/>
                    <a:gd name="connsiteY370" fmla="*/ 1204755 h 1609071"/>
                    <a:gd name="connsiteX371" fmla="*/ 3991291 w 7415104"/>
                    <a:gd name="connsiteY371" fmla="*/ 1178753 h 1609071"/>
                    <a:gd name="connsiteX372" fmla="*/ 4030294 w 7415104"/>
                    <a:gd name="connsiteY372" fmla="*/ 1178753 h 1609071"/>
                    <a:gd name="connsiteX373" fmla="*/ 4030294 w 7415104"/>
                    <a:gd name="connsiteY373" fmla="*/ 1213422 h 1609071"/>
                    <a:gd name="connsiteX374" fmla="*/ 4043295 w 7415104"/>
                    <a:gd name="connsiteY374" fmla="*/ 1213422 h 1609071"/>
                    <a:gd name="connsiteX375" fmla="*/ 4043295 w 7415104"/>
                    <a:gd name="connsiteY375" fmla="*/ 1222089 h 1609071"/>
                    <a:gd name="connsiteX376" fmla="*/ 4164637 w 7415104"/>
                    <a:gd name="connsiteY376" fmla="*/ 1222089 h 1609071"/>
                    <a:gd name="connsiteX377" fmla="*/ 4164637 w 7415104"/>
                    <a:gd name="connsiteY377" fmla="*/ 1243758 h 1609071"/>
                    <a:gd name="connsiteX378" fmla="*/ 4320648 w 7415104"/>
                    <a:gd name="connsiteY378" fmla="*/ 1243758 h 1609071"/>
                    <a:gd name="connsiteX379" fmla="*/ 4320648 w 7415104"/>
                    <a:gd name="connsiteY379" fmla="*/ 1261092 h 1609071"/>
                    <a:gd name="connsiteX380" fmla="*/ 4398654 w 7415104"/>
                    <a:gd name="connsiteY380" fmla="*/ 1261092 h 1609071"/>
                    <a:gd name="connsiteX381" fmla="*/ 4398654 w 7415104"/>
                    <a:gd name="connsiteY381" fmla="*/ 1287094 h 1609071"/>
                    <a:gd name="connsiteX382" fmla="*/ 4450658 w 7415104"/>
                    <a:gd name="connsiteY382" fmla="*/ 1287094 h 1609071"/>
                    <a:gd name="connsiteX383" fmla="*/ 4476660 w 7415104"/>
                    <a:gd name="connsiteY383" fmla="*/ 1287094 h 1609071"/>
                    <a:gd name="connsiteX384" fmla="*/ 4498328 w 7415104"/>
                    <a:gd name="connsiteY384" fmla="*/ 1308762 h 1609071"/>
                    <a:gd name="connsiteX385" fmla="*/ 4593668 w 7415104"/>
                    <a:gd name="connsiteY385" fmla="*/ 1308762 h 1609071"/>
                    <a:gd name="connsiteX386" fmla="*/ 4602336 w 7415104"/>
                    <a:gd name="connsiteY386" fmla="*/ 1317430 h 1609071"/>
                    <a:gd name="connsiteX387" fmla="*/ 4663007 w 7415104"/>
                    <a:gd name="connsiteY387" fmla="*/ 1317430 h 1609071"/>
                    <a:gd name="connsiteX388" fmla="*/ 4663007 w 7415104"/>
                    <a:gd name="connsiteY388" fmla="*/ 1339098 h 1609071"/>
                    <a:gd name="connsiteX389" fmla="*/ 4706343 w 7415104"/>
                    <a:gd name="connsiteY389" fmla="*/ 1339098 h 1609071"/>
                    <a:gd name="connsiteX390" fmla="*/ 4710677 w 7415104"/>
                    <a:gd name="connsiteY390" fmla="*/ 1343432 h 1609071"/>
                    <a:gd name="connsiteX391" fmla="*/ 4767014 w 7415104"/>
                    <a:gd name="connsiteY391" fmla="*/ 1343432 h 1609071"/>
                    <a:gd name="connsiteX392" fmla="*/ 4765727 w 7415104"/>
                    <a:gd name="connsiteY392" fmla="*/ 1358814 h 1609071"/>
                    <a:gd name="connsiteX393" fmla="*/ 5005365 w 7415104"/>
                    <a:gd name="connsiteY393" fmla="*/ 1356433 h 1609071"/>
                    <a:gd name="connsiteX394" fmla="*/ 5018366 w 7415104"/>
                    <a:gd name="connsiteY394" fmla="*/ 1369434 h 1609071"/>
                    <a:gd name="connsiteX395" fmla="*/ 5152709 w 7415104"/>
                    <a:gd name="connsiteY395" fmla="*/ 1369434 h 1609071"/>
                    <a:gd name="connsiteX396" fmla="*/ 5152709 w 7415104"/>
                    <a:gd name="connsiteY396" fmla="*/ 1391102 h 1609071"/>
                    <a:gd name="connsiteX397" fmla="*/ 5282719 w 7415104"/>
                    <a:gd name="connsiteY397" fmla="*/ 1391102 h 1609071"/>
                    <a:gd name="connsiteX398" fmla="*/ 5291386 w 7415104"/>
                    <a:gd name="connsiteY398" fmla="*/ 1399769 h 1609071"/>
                    <a:gd name="connsiteX399" fmla="*/ 5356391 w 7415104"/>
                    <a:gd name="connsiteY399" fmla="*/ 1399769 h 1609071"/>
                    <a:gd name="connsiteX400" fmla="*/ 5369392 w 7415104"/>
                    <a:gd name="connsiteY400" fmla="*/ 1399769 h 1609071"/>
                    <a:gd name="connsiteX401" fmla="*/ 5369392 w 7415104"/>
                    <a:gd name="connsiteY401" fmla="*/ 1421437 h 1609071"/>
                    <a:gd name="connsiteX402" fmla="*/ 5473399 w 7415104"/>
                    <a:gd name="connsiteY402" fmla="*/ 1421437 h 1609071"/>
                    <a:gd name="connsiteX403" fmla="*/ 5473399 w 7415104"/>
                    <a:gd name="connsiteY403" fmla="*/ 1399769 h 1609071"/>
                    <a:gd name="connsiteX404" fmla="*/ 5512402 w 7415104"/>
                    <a:gd name="connsiteY404" fmla="*/ 1399769 h 1609071"/>
                    <a:gd name="connsiteX405" fmla="*/ 5512402 w 7415104"/>
                    <a:gd name="connsiteY405" fmla="*/ 1425771 h 1609071"/>
                    <a:gd name="connsiteX406" fmla="*/ 5607742 w 7415104"/>
                    <a:gd name="connsiteY406" fmla="*/ 1425771 h 1609071"/>
                    <a:gd name="connsiteX407" fmla="*/ 5607742 w 7415104"/>
                    <a:gd name="connsiteY407" fmla="*/ 1399769 h 1609071"/>
                    <a:gd name="connsiteX408" fmla="*/ 5664080 w 7415104"/>
                    <a:gd name="connsiteY408" fmla="*/ 1399769 h 1609071"/>
                    <a:gd name="connsiteX409" fmla="*/ 5664080 w 7415104"/>
                    <a:gd name="connsiteY409" fmla="*/ 1434438 h 1609071"/>
                    <a:gd name="connsiteX410" fmla="*/ 5685748 w 7415104"/>
                    <a:gd name="connsiteY410" fmla="*/ 1434438 h 1609071"/>
                    <a:gd name="connsiteX411" fmla="*/ 5685748 w 7415104"/>
                    <a:gd name="connsiteY411" fmla="*/ 1443106 h 1609071"/>
                    <a:gd name="connsiteX412" fmla="*/ 5716083 w 7415104"/>
                    <a:gd name="connsiteY412" fmla="*/ 1443106 h 1609071"/>
                    <a:gd name="connsiteX413" fmla="*/ 5716083 w 7415104"/>
                    <a:gd name="connsiteY413" fmla="*/ 1456106 h 1609071"/>
                    <a:gd name="connsiteX414" fmla="*/ 5794089 w 7415104"/>
                    <a:gd name="connsiteY414" fmla="*/ 1456106 h 1609071"/>
                    <a:gd name="connsiteX415" fmla="*/ 5794089 w 7415104"/>
                    <a:gd name="connsiteY415" fmla="*/ 1421437 h 1609071"/>
                    <a:gd name="connsiteX416" fmla="*/ 5837426 w 7415104"/>
                    <a:gd name="connsiteY416" fmla="*/ 1421437 h 1609071"/>
                    <a:gd name="connsiteX417" fmla="*/ 5837426 w 7415104"/>
                    <a:gd name="connsiteY417" fmla="*/ 1456106 h 1609071"/>
                    <a:gd name="connsiteX418" fmla="*/ 5902430 w 7415104"/>
                    <a:gd name="connsiteY418" fmla="*/ 1456106 h 1609071"/>
                    <a:gd name="connsiteX419" fmla="*/ 5928432 w 7415104"/>
                    <a:gd name="connsiteY419" fmla="*/ 1456106 h 1609071"/>
                    <a:gd name="connsiteX420" fmla="*/ 5928432 w 7415104"/>
                    <a:gd name="connsiteY420" fmla="*/ 1473441 h 1609071"/>
                    <a:gd name="connsiteX421" fmla="*/ 5945767 w 7415104"/>
                    <a:gd name="connsiteY421" fmla="*/ 1473441 h 1609071"/>
                    <a:gd name="connsiteX422" fmla="*/ 5950101 w 7415104"/>
                    <a:gd name="connsiteY422" fmla="*/ 1477775 h 1609071"/>
                    <a:gd name="connsiteX423" fmla="*/ 6019439 w 7415104"/>
                    <a:gd name="connsiteY423" fmla="*/ 1477775 h 1609071"/>
                    <a:gd name="connsiteX424" fmla="*/ 6019439 w 7415104"/>
                    <a:gd name="connsiteY424" fmla="*/ 1456106 h 1609071"/>
                    <a:gd name="connsiteX425" fmla="*/ 6058442 w 7415104"/>
                    <a:gd name="connsiteY425" fmla="*/ 1456106 h 1609071"/>
                    <a:gd name="connsiteX426" fmla="*/ 6058442 w 7415104"/>
                    <a:gd name="connsiteY426" fmla="*/ 1499443 h 1609071"/>
                    <a:gd name="connsiteX427" fmla="*/ 6110446 w 7415104"/>
                    <a:gd name="connsiteY427" fmla="*/ 1499443 h 1609071"/>
                    <a:gd name="connsiteX428" fmla="*/ 6110446 w 7415104"/>
                    <a:gd name="connsiteY428" fmla="*/ 1508110 h 1609071"/>
                    <a:gd name="connsiteX429" fmla="*/ 6188451 w 7415104"/>
                    <a:gd name="connsiteY429" fmla="*/ 1508110 h 1609071"/>
                    <a:gd name="connsiteX430" fmla="*/ 6188451 w 7415104"/>
                    <a:gd name="connsiteY430" fmla="*/ 1464774 h 1609071"/>
                    <a:gd name="connsiteX431" fmla="*/ 6227454 w 7415104"/>
                    <a:gd name="connsiteY431" fmla="*/ 1464774 h 1609071"/>
                    <a:gd name="connsiteX432" fmla="*/ 6227454 w 7415104"/>
                    <a:gd name="connsiteY432" fmla="*/ 1516778 h 1609071"/>
                    <a:gd name="connsiteX433" fmla="*/ 6353130 w 7415104"/>
                    <a:gd name="connsiteY433" fmla="*/ 1516778 h 1609071"/>
                    <a:gd name="connsiteX434" fmla="*/ 6353130 w 7415104"/>
                    <a:gd name="connsiteY434" fmla="*/ 1477775 h 1609071"/>
                    <a:gd name="connsiteX435" fmla="*/ 6397561 w 7415104"/>
                    <a:gd name="connsiteY435" fmla="*/ 1475394 h 1609071"/>
                    <a:gd name="connsiteX436" fmla="*/ 6399942 w 7415104"/>
                    <a:gd name="connsiteY436" fmla="*/ 1529778 h 1609071"/>
                    <a:gd name="connsiteX437" fmla="*/ 6447614 w 7415104"/>
                    <a:gd name="connsiteY437" fmla="*/ 1529778 h 1609071"/>
                    <a:gd name="connsiteX438" fmla="*/ 6447611 w 7415104"/>
                    <a:gd name="connsiteY438" fmla="*/ 1479728 h 1609071"/>
                    <a:gd name="connsiteX439" fmla="*/ 6487473 w 7415104"/>
                    <a:gd name="connsiteY439" fmla="*/ 1482108 h 1609071"/>
                    <a:gd name="connsiteX440" fmla="*/ 6487473 w 7415104"/>
                    <a:gd name="connsiteY440" fmla="*/ 1529778 h 1609071"/>
                    <a:gd name="connsiteX441" fmla="*/ 6561145 w 7415104"/>
                    <a:gd name="connsiteY441" fmla="*/ 1529778 h 1609071"/>
                    <a:gd name="connsiteX442" fmla="*/ 6565479 w 7415104"/>
                    <a:gd name="connsiteY442" fmla="*/ 1534112 h 1609071"/>
                    <a:gd name="connsiteX443" fmla="*/ 6674249 w 7415104"/>
                    <a:gd name="connsiteY443" fmla="*/ 1536493 h 1609071"/>
                    <a:gd name="connsiteX444" fmla="*/ 6676630 w 7415104"/>
                    <a:gd name="connsiteY444" fmla="*/ 1499443 h 1609071"/>
                    <a:gd name="connsiteX445" fmla="*/ 6738825 w 7415104"/>
                    <a:gd name="connsiteY445" fmla="*/ 1499443 h 1609071"/>
                    <a:gd name="connsiteX446" fmla="*/ 6738825 w 7415104"/>
                    <a:gd name="connsiteY446" fmla="*/ 1542779 h 1609071"/>
                    <a:gd name="connsiteX447" fmla="*/ 6795162 w 7415104"/>
                    <a:gd name="connsiteY447" fmla="*/ 1542779 h 1609071"/>
                    <a:gd name="connsiteX448" fmla="*/ 6795162 w 7415104"/>
                    <a:gd name="connsiteY448" fmla="*/ 1499443 h 1609071"/>
                    <a:gd name="connsiteX449" fmla="*/ 6829831 w 7415104"/>
                    <a:gd name="connsiteY449" fmla="*/ 1499443 h 1609071"/>
                    <a:gd name="connsiteX450" fmla="*/ 6829831 w 7415104"/>
                    <a:gd name="connsiteY450" fmla="*/ 1529778 h 1609071"/>
                    <a:gd name="connsiteX451" fmla="*/ 6847166 w 7415104"/>
                    <a:gd name="connsiteY451" fmla="*/ 1529778 h 1609071"/>
                    <a:gd name="connsiteX452" fmla="*/ 6847166 w 7415104"/>
                    <a:gd name="connsiteY452" fmla="*/ 1555780 h 1609071"/>
                    <a:gd name="connsiteX453" fmla="*/ 7050847 w 7415104"/>
                    <a:gd name="connsiteY453" fmla="*/ 1555780 h 1609071"/>
                    <a:gd name="connsiteX454" fmla="*/ 7063848 w 7415104"/>
                    <a:gd name="connsiteY454" fmla="*/ 1568781 h 1609071"/>
                    <a:gd name="connsiteX455" fmla="*/ 7133187 w 7415104"/>
                    <a:gd name="connsiteY455" fmla="*/ 1568781 h 1609071"/>
                    <a:gd name="connsiteX456" fmla="*/ 7133187 w 7415104"/>
                    <a:gd name="connsiteY456" fmla="*/ 1586116 h 1609071"/>
                    <a:gd name="connsiteX457" fmla="*/ 7284865 w 7415104"/>
                    <a:gd name="connsiteY457" fmla="*/ 1586116 h 1609071"/>
                    <a:gd name="connsiteX458" fmla="*/ 7284865 w 7415104"/>
                    <a:gd name="connsiteY458" fmla="*/ 1607784 h 1609071"/>
                    <a:gd name="connsiteX459" fmla="*/ 7414876 w 7415104"/>
                    <a:gd name="connsiteY459"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8654 w 7415104"/>
                    <a:gd name="connsiteY78" fmla="*/ 1179611 h 1609071"/>
                    <a:gd name="connsiteX79" fmla="*/ 4394321 w 7415104"/>
                    <a:gd name="connsiteY79" fmla="*/ 1200421 h 1609071"/>
                    <a:gd name="connsiteX80" fmla="*/ 4359651 w 7415104"/>
                    <a:gd name="connsiteY80" fmla="*/ 1200421 h 1609071"/>
                    <a:gd name="connsiteX81" fmla="*/ 4359651 w 7415104"/>
                    <a:gd name="connsiteY81" fmla="*/ 1157085 h 1609071"/>
                    <a:gd name="connsiteX82" fmla="*/ 4329316 w 7415104"/>
                    <a:gd name="connsiteY82" fmla="*/ 1157085 h 1609071"/>
                    <a:gd name="connsiteX83" fmla="*/ 4320648 w 7415104"/>
                    <a:gd name="connsiteY83" fmla="*/ 1148417 h 1609071"/>
                    <a:gd name="connsiteX84" fmla="*/ 4155970 w 7415104"/>
                    <a:gd name="connsiteY84" fmla="*/ 1148417 h 1609071"/>
                    <a:gd name="connsiteX85" fmla="*/ 4147302 w 7415104"/>
                    <a:gd name="connsiteY85" fmla="*/ 1139749 h 1609071"/>
                    <a:gd name="connsiteX86" fmla="*/ 4064963 w 7415104"/>
                    <a:gd name="connsiteY86" fmla="*/ 1139749 h 1609071"/>
                    <a:gd name="connsiteX87" fmla="*/ 4064963 w 7415104"/>
                    <a:gd name="connsiteY87" fmla="*/ 1122415 h 1609071"/>
                    <a:gd name="connsiteX88" fmla="*/ 4047628 w 7415104"/>
                    <a:gd name="connsiteY88" fmla="*/ 1122415 h 1609071"/>
                    <a:gd name="connsiteX89" fmla="*/ 4047628 w 7415104"/>
                    <a:gd name="connsiteY89" fmla="*/ 1105081 h 1609071"/>
                    <a:gd name="connsiteX90" fmla="*/ 4025960 w 7415104"/>
                    <a:gd name="connsiteY90" fmla="*/ 1105081 h 1609071"/>
                    <a:gd name="connsiteX91" fmla="*/ 4025960 w 7415104"/>
                    <a:gd name="connsiteY91" fmla="*/ 1152751 h 1609071"/>
                    <a:gd name="connsiteX92" fmla="*/ 3991291 w 7415104"/>
                    <a:gd name="connsiteY92" fmla="*/ 1152751 h 1609071"/>
                    <a:gd name="connsiteX93" fmla="*/ 3991291 w 7415104"/>
                    <a:gd name="connsiteY93" fmla="*/ 1109415 h 1609071"/>
                    <a:gd name="connsiteX94" fmla="*/ 3960956 w 7415104"/>
                    <a:gd name="connsiteY94" fmla="*/ 1109415 h 1609071"/>
                    <a:gd name="connsiteX95" fmla="*/ 3952288 w 7415104"/>
                    <a:gd name="connsiteY95" fmla="*/ 1100747 h 1609071"/>
                    <a:gd name="connsiteX96" fmla="*/ 3735606 w 7415104"/>
                    <a:gd name="connsiteY96" fmla="*/ 1100747 h 1609071"/>
                    <a:gd name="connsiteX97" fmla="*/ 3718272 w 7415104"/>
                    <a:gd name="connsiteY97" fmla="*/ 1083413 h 1609071"/>
                    <a:gd name="connsiteX98" fmla="*/ 3592595 w 7415104"/>
                    <a:gd name="connsiteY98" fmla="*/ 1083413 h 1609071"/>
                    <a:gd name="connsiteX99" fmla="*/ 3575261 w 7415104"/>
                    <a:gd name="connsiteY99" fmla="*/ 1066079 h 1609071"/>
                    <a:gd name="connsiteX100" fmla="*/ 3440918 w 7415104"/>
                    <a:gd name="connsiteY100" fmla="*/ 1066079 h 1609071"/>
                    <a:gd name="connsiteX101" fmla="*/ 3440918 w 7415104"/>
                    <a:gd name="connsiteY101" fmla="*/ 1040076 h 1609071"/>
                    <a:gd name="connsiteX102" fmla="*/ 3319575 w 7415104"/>
                    <a:gd name="connsiteY102" fmla="*/ 1040076 h 1609071"/>
                    <a:gd name="connsiteX103" fmla="*/ 3319575 w 7415104"/>
                    <a:gd name="connsiteY103" fmla="*/ 1027075 h 1609071"/>
                    <a:gd name="connsiteX104" fmla="*/ 3180899 w 7415104"/>
                    <a:gd name="connsiteY104" fmla="*/ 1027075 h 1609071"/>
                    <a:gd name="connsiteX105" fmla="*/ 3180899 w 7415104"/>
                    <a:gd name="connsiteY105" fmla="*/ 1020123 h 1609071"/>
                    <a:gd name="connsiteX106" fmla="*/ 3163564 w 7415104"/>
                    <a:gd name="connsiteY106" fmla="*/ 1018408 h 1609071"/>
                    <a:gd name="connsiteX107" fmla="*/ 3150563 w 7415104"/>
                    <a:gd name="connsiteY107" fmla="*/ 1005407 h 1609071"/>
                    <a:gd name="connsiteX108" fmla="*/ 2990218 w 7415104"/>
                    <a:gd name="connsiteY108" fmla="*/ 1005407 h 1609071"/>
                    <a:gd name="connsiteX109" fmla="*/ 2990218 w 7415104"/>
                    <a:gd name="connsiteY109" fmla="*/ 988072 h 1609071"/>
                    <a:gd name="connsiteX110" fmla="*/ 2907879 w 7415104"/>
                    <a:gd name="connsiteY110" fmla="*/ 988072 h 1609071"/>
                    <a:gd name="connsiteX111" fmla="*/ 2899211 w 7415104"/>
                    <a:gd name="connsiteY111" fmla="*/ 979404 h 1609071"/>
                    <a:gd name="connsiteX112" fmla="*/ 2868876 w 7415104"/>
                    <a:gd name="connsiteY112" fmla="*/ 979404 h 1609071"/>
                    <a:gd name="connsiteX113" fmla="*/ 2868876 w 7415104"/>
                    <a:gd name="connsiteY113" fmla="*/ 953403 h 1609071"/>
                    <a:gd name="connsiteX114" fmla="*/ 2842874 w 7415104"/>
                    <a:gd name="connsiteY114" fmla="*/ 953403 h 1609071"/>
                    <a:gd name="connsiteX115" fmla="*/ 2834207 w 7415104"/>
                    <a:gd name="connsiteY115" fmla="*/ 944736 h 1609071"/>
                    <a:gd name="connsiteX116" fmla="*/ 2756201 w 7415104"/>
                    <a:gd name="connsiteY116" fmla="*/ 944736 h 1609071"/>
                    <a:gd name="connsiteX117" fmla="*/ 2747534 w 7415104"/>
                    <a:gd name="connsiteY117" fmla="*/ 936069 h 1609071"/>
                    <a:gd name="connsiteX118" fmla="*/ 2699864 w 7415104"/>
                    <a:gd name="connsiteY118" fmla="*/ 936069 h 1609071"/>
                    <a:gd name="connsiteX119" fmla="*/ 2688815 w 7415104"/>
                    <a:gd name="connsiteY119" fmla="*/ 925019 h 1609071"/>
                    <a:gd name="connsiteX120" fmla="*/ 2643526 w 7415104"/>
                    <a:gd name="connsiteY120" fmla="*/ 927401 h 1609071"/>
                    <a:gd name="connsiteX121" fmla="*/ 2638099 w 7415104"/>
                    <a:gd name="connsiteY121" fmla="*/ 910067 h 1609071"/>
                    <a:gd name="connsiteX122" fmla="*/ 2616001 w 7415104"/>
                    <a:gd name="connsiteY122" fmla="*/ 899876 h 1609071"/>
                    <a:gd name="connsiteX123" fmla="*/ 2591522 w 7415104"/>
                    <a:gd name="connsiteY123" fmla="*/ 875397 h 1609071"/>
                    <a:gd name="connsiteX124" fmla="*/ 2561187 w 7415104"/>
                    <a:gd name="connsiteY124" fmla="*/ 875397 h 1609071"/>
                    <a:gd name="connsiteX125" fmla="*/ 2552519 w 7415104"/>
                    <a:gd name="connsiteY125" fmla="*/ 866729 h 1609071"/>
                    <a:gd name="connsiteX126" fmla="*/ 2500516 w 7415104"/>
                    <a:gd name="connsiteY126" fmla="*/ 866729 h 1609071"/>
                    <a:gd name="connsiteX127" fmla="*/ 2500516 w 7415104"/>
                    <a:gd name="connsiteY127" fmla="*/ 849396 h 1609071"/>
                    <a:gd name="connsiteX128" fmla="*/ 2444178 w 7415104"/>
                    <a:gd name="connsiteY128" fmla="*/ 849396 h 1609071"/>
                    <a:gd name="connsiteX129" fmla="*/ 2435510 w 7415104"/>
                    <a:gd name="connsiteY129" fmla="*/ 840728 h 1609071"/>
                    <a:gd name="connsiteX130" fmla="*/ 2413843 w 7415104"/>
                    <a:gd name="connsiteY130" fmla="*/ 840728 h 1609071"/>
                    <a:gd name="connsiteX131" fmla="*/ 2400842 w 7415104"/>
                    <a:gd name="connsiteY131" fmla="*/ 827727 h 1609071"/>
                    <a:gd name="connsiteX132" fmla="*/ 2348838 w 7415104"/>
                    <a:gd name="connsiteY132" fmla="*/ 827727 h 1609071"/>
                    <a:gd name="connsiteX133" fmla="*/ 2348838 w 7415104"/>
                    <a:gd name="connsiteY133" fmla="*/ 810393 h 1609071"/>
                    <a:gd name="connsiteX134" fmla="*/ 2309835 w 7415104"/>
                    <a:gd name="connsiteY134" fmla="*/ 810393 h 1609071"/>
                    <a:gd name="connsiteX135" fmla="*/ 2296834 w 7415104"/>
                    <a:gd name="connsiteY135" fmla="*/ 823394 h 1609071"/>
                    <a:gd name="connsiteX136" fmla="*/ 2266499 w 7415104"/>
                    <a:gd name="connsiteY136" fmla="*/ 823394 h 1609071"/>
                    <a:gd name="connsiteX137" fmla="*/ 2253498 w 7415104"/>
                    <a:gd name="connsiteY137" fmla="*/ 810393 h 1609071"/>
                    <a:gd name="connsiteX138" fmla="*/ 2244830 w 7415104"/>
                    <a:gd name="connsiteY138" fmla="*/ 801725 h 1609071"/>
                    <a:gd name="connsiteX139" fmla="*/ 2244830 w 7415104"/>
                    <a:gd name="connsiteY139" fmla="*/ 775724 h 1609071"/>
                    <a:gd name="connsiteX140" fmla="*/ 2123488 w 7415104"/>
                    <a:gd name="connsiteY140" fmla="*/ 775724 h 1609071"/>
                    <a:gd name="connsiteX141" fmla="*/ 2123488 w 7415104"/>
                    <a:gd name="connsiteY141" fmla="*/ 745388 h 1609071"/>
                    <a:gd name="connsiteX142" fmla="*/ 2071484 w 7415104"/>
                    <a:gd name="connsiteY142" fmla="*/ 745388 h 1609071"/>
                    <a:gd name="connsiteX143" fmla="*/ 2062817 w 7415104"/>
                    <a:gd name="connsiteY143" fmla="*/ 736721 h 1609071"/>
                    <a:gd name="connsiteX144" fmla="*/ 2006480 w 7415104"/>
                    <a:gd name="connsiteY144" fmla="*/ 736721 h 1609071"/>
                    <a:gd name="connsiteX145" fmla="*/ 2006480 w 7415104"/>
                    <a:gd name="connsiteY145" fmla="*/ 715052 h 1609071"/>
                    <a:gd name="connsiteX146" fmla="*/ 1906806 w 7415104"/>
                    <a:gd name="connsiteY146" fmla="*/ 715052 h 1609071"/>
                    <a:gd name="connsiteX147" fmla="*/ 1902473 w 7415104"/>
                    <a:gd name="connsiteY147" fmla="*/ 710719 h 1609071"/>
                    <a:gd name="connsiteX148" fmla="*/ 1863469 w 7415104"/>
                    <a:gd name="connsiteY148" fmla="*/ 710719 h 1609071"/>
                    <a:gd name="connsiteX149" fmla="*/ 1863469 w 7415104"/>
                    <a:gd name="connsiteY149" fmla="*/ 680383 h 1609071"/>
                    <a:gd name="connsiteX150" fmla="*/ 1807132 w 7415104"/>
                    <a:gd name="connsiteY150" fmla="*/ 680383 h 1609071"/>
                    <a:gd name="connsiteX151" fmla="*/ 1798465 w 7415104"/>
                    <a:gd name="connsiteY151" fmla="*/ 671716 h 1609071"/>
                    <a:gd name="connsiteX152" fmla="*/ 1785464 w 7415104"/>
                    <a:gd name="connsiteY152" fmla="*/ 671716 h 1609071"/>
                    <a:gd name="connsiteX153" fmla="*/ 1785464 w 7415104"/>
                    <a:gd name="connsiteY153" fmla="*/ 658715 h 1609071"/>
                    <a:gd name="connsiteX154" fmla="*/ 1750794 w 7415104"/>
                    <a:gd name="connsiteY154" fmla="*/ 658715 h 1609071"/>
                    <a:gd name="connsiteX155" fmla="*/ 1750794 w 7415104"/>
                    <a:gd name="connsiteY155" fmla="*/ 637047 h 1609071"/>
                    <a:gd name="connsiteX156" fmla="*/ 1698791 w 7415104"/>
                    <a:gd name="connsiteY156" fmla="*/ 637047 h 1609071"/>
                    <a:gd name="connsiteX157" fmla="*/ 1698791 w 7415104"/>
                    <a:gd name="connsiteY157" fmla="*/ 611045 h 1609071"/>
                    <a:gd name="connsiteX158" fmla="*/ 1616451 w 7415104"/>
                    <a:gd name="connsiteY158" fmla="*/ 611045 h 1609071"/>
                    <a:gd name="connsiteX159" fmla="*/ 1603450 w 7415104"/>
                    <a:gd name="connsiteY159" fmla="*/ 598044 h 1609071"/>
                    <a:gd name="connsiteX160" fmla="*/ 1590449 w 7415104"/>
                    <a:gd name="connsiteY160" fmla="*/ 598044 h 1609071"/>
                    <a:gd name="connsiteX161" fmla="*/ 1577448 w 7415104"/>
                    <a:gd name="connsiteY161" fmla="*/ 585043 h 1609071"/>
                    <a:gd name="connsiteX162" fmla="*/ 1529778 w 7415104"/>
                    <a:gd name="connsiteY162" fmla="*/ 585043 h 1609071"/>
                    <a:gd name="connsiteX163" fmla="*/ 1529778 w 7415104"/>
                    <a:gd name="connsiteY163" fmla="*/ 576376 h 1609071"/>
                    <a:gd name="connsiteX164" fmla="*/ 1477774 w 7415104"/>
                    <a:gd name="connsiteY164" fmla="*/ 576376 h 1609071"/>
                    <a:gd name="connsiteX165" fmla="*/ 1477774 w 7415104"/>
                    <a:gd name="connsiteY165" fmla="*/ 559041 h 1609071"/>
                    <a:gd name="connsiteX166" fmla="*/ 1408436 w 7415104"/>
                    <a:gd name="connsiteY166" fmla="*/ 559041 h 1609071"/>
                    <a:gd name="connsiteX167" fmla="*/ 1395435 w 7415104"/>
                    <a:gd name="connsiteY167" fmla="*/ 546040 h 1609071"/>
                    <a:gd name="connsiteX168" fmla="*/ 1330430 w 7415104"/>
                    <a:gd name="connsiteY168" fmla="*/ 546040 h 1609071"/>
                    <a:gd name="connsiteX169" fmla="*/ 1330430 w 7415104"/>
                    <a:gd name="connsiteY169" fmla="*/ 528706 h 1609071"/>
                    <a:gd name="connsiteX170" fmla="*/ 1274093 w 7415104"/>
                    <a:gd name="connsiteY170" fmla="*/ 528706 h 1609071"/>
                    <a:gd name="connsiteX171" fmla="*/ 1274093 w 7415104"/>
                    <a:gd name="connsiteY171" fmla="*/ 507037 h 1609071"/>
                    <a:gd name="connsiteX172" fmla="*/ 1191754 w 7415104"/>
                    <a:gd name="connsiteY172" fmla="*/ 507037 h 1609071"/>
                    <a:gd name="connsiteX173" fmla="*/ 1174419 w 7415104"/>
                    <a:gd name="connsiteY173" fmla="*/ 507037 h 1609071"/>
                    <a:gd name="connsiteX174" fmla="*/ 1148417 w 7415104"/>
                    <a:gd name="connsiteY174" fmla="*/ 507037 h 1609071"/>
                    <a:gd name="connsiteX175" fmla="*/ 1148417 w 7415104"/>
                    <a:gd name="connsiteY175" fmla="*/ 481035 h 1609071"/>
                    <a:gd name="connsiteX176" fmla="*/ 1092080 w 7415104"/>
                    <a:gd name="connsiteY176" fmla="*/ 481035 h 1609071"/>
                    <a:gd name="connsiteX177" fmla="*/ 1092080 w 7415104"/>
                    <a:gd name="connsiteY177" fmla="*/ 468034 h 1609071"/>
                    <a:gd name="connsiteX178" fmla="*/ 1044410 w 7415104"/>
                    <a:gd name="connsiteY178" fmla="*/ 468034 h 1609071"/>
                    <a:gd name="connsiteX179" fmla="*/ 1044410 w 7415104"/>
                    <a:gd name="connsiteY179" fmla="*/ 437699 h 1609071"/>
                    <a:gd name="connsiteX180" fmla="*/ 988072 w 7415104"/>
                    <a:gd name="connsiteY180" fmla="*/ 437699 h 1609071"/>
                    <a:gd name="connsiteX181" fmla="*/ 975071 w 7415104"/>
                    <a:gd name="connsiteY181" fmla="*/ 424698 h 1609071"/>
                    <a:gd name="connsiteX182" fmla="*/ 953403 w 7415104"/>
                    <a:gd name="connsiteY182" fmla="*/ 424698 h 1609071"/>
                    <a:gd name="connsiteX183" fmla="*/ 944736 w 7415104"/>
                    <a:gd name="connsiteY183" fmla="*/ 416031 h 1609071"/>
                    <a:gd name="connsiteX184" fmla="*/ 892732 w 7415104"/>
                    <a:gd name="connsiteY184" fmla="*/ 416031 h 1609071"/>
                    <a:gd name="connsiteX185" fmla="*/ 892732 w 7415104"/>
                    <a:gd name="connsiteY185" fmla="*/ 394362 h 1609071"/>
                    <a:gd name="connsiteX186" fmla="*/ 866730 w 7415104"/>
                    <a:gd name="connsiteY186" fmla="*/ 394362 h 1609071"/>
                    <a:gd name="connsiteX187" fmla="*/ 858063 w 7415104"/>
                    <a:gd name="connsiteY187" fmla="*/ 385695 h 1609071"/>
                    <a:gd name="connsiteX188" fmla="*/ 754055 w 7415104"/>
                    <a:gd name="connsiteY188" fmla="*/ 385695 h 1609071"/>
                    <a:gd name="connsiteX189" fmla="*/ 754055 w 7415104"/>
                    <a:gd name="connsiteY189" fmla="*/ 359693 h 1609071"/>
                    <a:gd name="connsiteX190" fmla="*/ 723719 w 7415104"/>
                    <a:gd name="connsiteY190" fmla="*/ 359693 h 1609071"/>
                    <a:gd name="connsiteX191" fmla="*/ 723719 w 7415104"/>
                    <a:gd name="connsiteY191" fmla="*/ 342359 h 1609071"/>
                    <a:gd name="connsiteX192" fmla="*/ 658715 w 7415104"/>
                    <a:gd name="connsiteY192" fmla="*/ 342359 h 1609071"/>
                    <a:gd name="connsiteX193" fmla="*/ 650047 w 7415104"/>
                    <a:gd name="connsiteY193" fmla="*/ 333691 h 1609071"/>
                    <a:gd name="connsiteX194" fmla="*/ 628379 w 7415104"/>
                    <a:gd name="connsiteY194" fmla="*/ 333691 h 1609071"/>
                    <a:gd name="connsiteX195" fmla="*/ 628379 w 7415104"/>
                    <a:gd name="connsiteY195" fmla="*/ 316357 h 1609071"/>
                    <a:gd name="connsiteX196" fmla="*/ 598044 w 7415104"/>
                    <a:gd name="connsiteY196" fmla="*/ 316357 h 1609071"/>
                    <a:gd name="connsiteX197" fmla="*/ 598044 w 7415104"/>
                    <a:gd name="connsiteY197" fmla="*/ 294688 h 1609071"/>
                    <a:gd name="connsiteX198" fmla="*/ 576375 w 7415104"/>
                    <a:gd name="connsiteY198" fmla="*/ 294688 h 1609071"/>
                    <a:gd name="connsiteX199" fmla="*/ 576375 w 7415104"/>
                    <a:gd name="connsiteY199" fmla="*/ 281687 h 1609071"/>
                    <a:gd name="connsiteX200" fmla="*/ 554707 w 7415104"/>
                    <a:gd name="connsiteY200" fmla="*/ 281687 h 1609071"/>
                    <a:gd name="connsiteX201" fmla="*/ 554707 w 7415104"/>
                    <a:gd name="connsiteY201" fmla="*/ 268687 h 1609071"/>
                    <a:gd name="connsiteX202" fmla="*/ 489702 w 7415104"/>
                    <a:gd name="connsiteY202" fmla="*/ 268687 h 1609071"/>
                    <a:gd name="connsiteX203" fmla="*/ 489702 w 7415104"/>
                    <a:gd name="connsiteY203" fmla="*/ 242685 h 1609071"/>
                    <a:gd name="connsiteX204" fmla="*/ 455033 w 7415104"/>
                    <a:gd name="connsiteY204" fmla="*/ 242685 h 1609071"/>
                    <a:gd name="connsiteX205" fmla="*/ 455033 w 7415104"/>
                    <a:gd name="connsiteY205" fmla="*/ 216683 h 1609071"/>
                    <a:gd name="connsiteX206" fmla="*/ 437699 w 7415104"/>
                    <a:gd name="connsiteY206" fmla="*/ 216683 h 1609071"/>
                    <a:gd name="connsiteX207" fmla="*/ 437699 w 7415104"/>
                    <a:gd name="connsiteY207" fmla="*/ 186347 h 1609071"/>
                    <a:gd name="connsiteX208" fmla="*/ 407363 w 7415104"/>
                    <a:gd name="connsiteY208" fmla="*/ 186347 h 1609071"/>
                    <a:gd name="connsiteX209" fmla="*/ 407363 w 7415104"/>
                    <a:gd name="connsiteY209" fmla="*/ 173346 h 1609071"/>
                    <a:gd name="connsiteX210" fmla="*/ 372694 w 7415104"/>
                    <a:gd name="connsiteY210" fmla="*/ 173346 h 1609071"/>
                    <a:gd name="connsiteX211" fmla="*/ 372694 w 7415104"/>
                    <a:gd name="connsiteY211" fmla="*/ 151678 h 1609071"/>
                    <a:gd name="connsiteX212" fmla="*/ 355359 w 7415104"/>
                    <a:gd name="connsiteY212" fmla="*/ 151678 h 1609071"/>
                    <a:gd name="connsiteX213" fmla="*/ 355359 w 7415104"/>
                    <a:gd name="connsiteY213" fmla="*/ 138677 h 1609071"/>
                    <a:gd name="connsiteX214" fmla="*/ 303356 w 7415104"/>
                    <a:gd name="connsiteY214" fmla="*/ 138677 h 1609071"/>
                    <a:gd name="connsiteX215" fmla="*/ 303356 w 7415104"/>
                    <a:gd name="connsiteY215" fmla="*/ 95341 h 1609071"/>
                    <a:gd name="connsiteX216" fmla="*/ 268686 w 7415104"/>
                    <a:gd name="connsiteY216" fmla="*/ 95341 h 1609071"/>
                    <a:gd name="connsiteX217" fmla="*/ 268686 w 7415104"/>
                    <a:gd name="connsiteY217" fmla="*/ 82340 h 1609071"/>
                    <a:gd name="connsiteX218" fmla="*/ 234017 w 7415104"/>
                    <a:gd name="connsiteY218" fmla="*/ 82340 h 1609071"/>
                    <a:gd name="connsiteX219" fmla="*/ 234017 w 7415104"/>
                    <a:gd name="connsiteY219" fmla="*/ 47670 h 1609071"/>
                    <a:gd name="connsiteX220" fmla="*/ 208015 w 7415104"/>
                    <a:gd name="connsiteY220" fmla="*/ 47670 h 1609071"/>
                    <a:gd name="connsiteX221" fmla="*/ 208015 w 7415104"/>
                    <a:gd name="connsiteY221" fmla="*/ 39003 h 1609071"/>
                    <a:gd name="connsiteX222" fmla="*/ 156011 w 7415104"/>
                    <a:gd name="connsiteY222" fmla="*/ 39003 h 1609071"/>
                    <a:gd name="connsiteX223" fmla="*/ 156011 w 7415104"/>
                    <a:gd name="connsiteY223" fmla="*/ 26002 h 1609071"/>
                    <a:gd name="connsiteX224" fmla="*/ 121342 w 7415104"/>
                    <a:gd name="connsiteY224" fmla="*/ 26002 h 1609071"/>
                    <a:gd name="connsiteX225" fmla="*/ 121342 w 7415104"/>
                    <a:gd name="connsiteY225" fmla="*/ 0 h 1609071"/>
                    <a:gd name="connsiteX226" fmla="*/ 82339 w 7415104"/>
                    <a:gd name="connsiteY226" fmla="*/ 0 h 1609071"/>
                    <a:gd name="connsiteX227" fmla="*/ 82339 w 7415104"/>
                    <a:gd name="connsiteY227" fmla="*/ 43337 h 1609071"/>
                    <a:gd name="connsiteX228" fmla="*/ 0 w 7415104"/>
                    <a:gd name="connsiteY228" fmla="*/ 43337 h 1609071"/>
                    <a:gd name="connsiteX229" fmla="*/ 8667 w 7415104"/>
                    <a:gd name="connsiteY229" fmla="*/ 34670 h 1609071"/>
                    <a:gd name="connsiteX230" fmla="*/ 8667 w 7415104"/>
                    <a:gd name="connsiteY230" fmla="*/ 52004 h 1609071"/>
                    <a:gd name="connsiteX231" fmla="*/ 21668 w 7415104"/>
                    <a:gd name="connsiteY231" fmla="*/ 52004 h 1609071"/>
                    <a:gd name="connsiteX232" fmla="*/ 21668 w 7415104"/>
                    <a:gd name="connsiteY232" fmla="*/ 65005 h 1609071"/>
                    <a:gd name="connsiteX233" fmla="*/ 52004 w 7415104"/>
                    <a:gd name="connsiteY233" fmla="*/ 65005 h 1609071"/>
                    <a:gd name="connsiteX234" fmla="*/ 52004 w 7415104"/>
                    <a:gd name="connsiteY234" fmla="*/ 86673 h 1609071"/>
                    <a:gd name="connsiteX235" fmla="*/ 78006 w 7415104"/>
                    <a:gd name="connsiteY235" fmla="*/ 86673 h 1609071"/>
                    <a:gd name="connsiteX236" fmla="*/ 78006 w 7415104"/>
                    <a:gd name="connsiteY236" fmla="*/ 125676 h 1609071"/>
                    <a:gd name="connsiteX237" fmla="*/ 138677 w 7415104"/>
                    <a:gd name="connsiteY237" fmla="*/ 125676 h 1609071"/>
                    <a:gd name="connsiteX238" fmla="*/ 147344 w 7415104"/>
                    <a:gd name="connsiteY238" fmla="*/ 134343 h 1609071"/>
                    <a:gd name="connsiteX239" fmla="*/ 164679 w 7415104"/>
                    <a:gd name="connsiteY239" fmla="*/ 134343 h 1609071"/>
                    <a:gd name="connsiteX240" fmla="*/ 164679 w 7415104"/>
                    <a:gd name="connsiteY240" fmla="*/ 156012 h 1609071"/>
                    <a:gd name="connsiteX241" fmla="*/ 182013 w 7415104"/>
                    <a:gd name="connsiteY241" fmla="*/ 156012 h 1609071"/>
                    <a:gd name="connsiteX242" fmla="*/ 195014 w 7415104"/>
                    <a:gd name="connsiteY242" fmla="*/ 169013 h 1609071"/>
                    <a:gd name="connsiteX243" fmla="*/ 225350 w 7415104"/>
                    <a:gd name="connsiteY243" fmla="*/ 169013 h 1609071"/>
                    <a:gd name="connsiteX244" fmla="*/ 225350 w 7415104"/>
                    <a:gd name="connsiteY244" fmla="*/ 208015 h 1609071"/>
                    <a:gd name="connsiteX245" fmla="*/ 251352 w 7415104"/>
                    <a:gd name="connsiteY245" fmla="*/ 208015 h 1609071"/>
                    <a:gd name="connsiteX246" fmla="*/ 260019 w 7415104"/>
                    <a:gd name="connsiteY246" fmla="*/ 216682 h 1609071"/>
                    <a:gd name="connsiteX247" fmla="*/ 273021 w 7415104"/>
                    <a:gd name="connsiteY247" fmla="*/ 229684 h 1609071"/>
                    <a:gd name="connsiteX248" fmla="*/ 273021 w 7415104"/>
                    <a:gd name="connsiteY248" fmla="*/ 251352 h 1609071"/>
                    <a:gd name="connsiteX249" fmla="*/ 303356 w 7415104"/>
                    <a:gd name="connsiteY249" fmla="*/ 251352 h 1609071"/>
                    <a:gd name="connsiteX250" fmla="*/ 303356 w 7415104"/>
                    <a:gd name="connsiteY250" fmla="*/ 268687 h 1609071"/>
                    <a:gd name="connsiteX251" fmla="*/ 342358 w 7415104"/>
                    <a:gd name="connsiteY251" fmla="*/ 268687 h 1609071"/>
                    <a:gd name="connsiteX252" fmla="*/ 342358 w 7415104"/>
                    <a:gd name="connsiteY252" fmla="*/ 286021 h 1609071"/>
                    <a:gd name="connsiteX253" fmla="*/ 385695 w 7415104"/>
                    <a:gd name="connsiteY253" fmla="*/ 286021 h 1609071"/>
                    <a:gd name="connsiteX254" fmla="*/ 385695 w 7415104"/>
                    <a:gd name="connsiteY254" fmla="*/ 286021 h 1609071"/>
                    <a:gd name="connsiteX255" fmla="*/ 407363 w 7415104"/>
                    <a:gd name="connsiteY255" fmla="*/ 307689 h 1609071"/>
                    <a:gd name="connsiteX256" fmla="*/ 424698 w 7415104"/>
                    <a:gd name="connsiteY256" fmla="*/ 325024 h 1609071"/>
                    <a:gd name="connsiteX257" fmla="*/ 472368 w 7415104"/>
                    <a:gd name="connsiteY257" fmla="*/ 325024 h 1609071"/>
                    <a:gd name="connsiteX258" fmla="*/ 472368 w 7415104"/>
                    <a:gd name="connsiteY258" fmla="*/ 355360 h 1609071"/>
                    <a:gd name="connsiteX259" fmla="*/ 511371 w 7415104"/>
                    <a:gd name="connsiteY259" fmla="*/ 355360 h 1609071"/>
                    <a:gd name="connsiteX260" fmla="*/ 511371 w 7415104"/>
                    <a:gd name="connsiteY260" fmla="*/ 377028 h 1609071"/>
                    <a:gd name="connsiteX261" fmla="*/ 559041 w 7415104"/>
                    <a:gd name="connsiteY261" fmla="*/ 377028 h 1609071"/>
                    <a:gd name="connsiteX262" fmla="*/ 559041 w 7415104"/>
                    <a:gd name="connsiteY262" fmla="*/ 398696 h 1609071"/>
                    <a:gd name="connsiteX263" fmla="*/ 589376 w 7415104"/>
                    <a:gd name="connsiteY263" fmla="*/ 398696 h 1609071"/>
                    <a:gd name="connsiteX264" fmla="*/ 602377 w 7415104"/>
                    <a:gd name="connsiteY264" fmla="*/ 411697 h 1609071"/>
                    <a:gd name="connsiteX265" fmla="*/ 650047 w 7415104"/>
                    <a:gd name="connsiteY265" fmla="*/ 411697 h 1609071"/>
                    <a:gd name="connsiteX266" fmla="*/ 650047 w 7415104"/>
                    <a:gd name="connsiteY266" fmla="*/ 450700 h 1609071"/>
                    <a:gd name="connsiteX267" fmla="*/ 758389 w 7415104"/>
                    <a:gd name="connsiteY267" fmla="*/ 450700 h 1609071"/>
                    <a:gd name="connsiteX268" fmla="*/ 758389 w 7415104"/>
                    <a:gd name="connsiteY268" fmla="*/ 481035 h 1609071"/>
                    <a:gd name="connsiteX269" fmla="*/ 875397 w 7415104"/>
                    <a:gd name="connsiteY269" fmla="*/ 481035 h 1609071"/>
                    <a:gd name="connsiteX270" fmla="*/ 875397 w 7415104"/>
                    <a:gd name="connsiteY270" fmla="*/ 507037 h 1609071"/>
                    <a:gd name="connsiteX271" fmla="*/ 927401 w 7415104"/>
                    <a:gd name="connsiteY271" fmla="*/ 507037 h 1609071"/>
                    <a:gd name="connsiteX272" fmla="*/ 927401 w 7415104"/>
                    <a:gd name="connsiteY272" fmla="*/ 524372 h 1609071"/>
                    <a:gd name="connsiteX273" fmla="*/ 979405 w 7415104"/>
                    <a:gd name="connsiteY273" fmla="*/ 524372 h 1609071"/>
                    <a:gd name="connsiteX274" fmla="*/ 992406 w 7415104"/>
                    <a:gd name="connsiteY274" fmla="*/ 524372 h 1609071"/>
                    <a:gd name="connsiteX275" fmla="*/ 1005407 w 7415104"/>
                    <a:gd name="connsiteY275" fmla="*/ 537373 h 1609071"/>
                    <a:gd name="connsiteX276" fmla="*/ 1027075 w 7415104"/>
                    <a:gd name="connsiteY276" fmla="*/ 537373 h 1609071"/>
                    <a:gd name="connsiteX277" fmla="*/ 1057410 w 7415104"/>
                    <a:gd name="connsiteY277" fmla="*/ 537373 h 1609071"/>
                    <a:gd name="connsiteX278" fmla="*/ 1057410 w 7415104"/>
                    <a:gd name="connsiteY278" fmla="*/ 563375 h 1609071"/>
                    <a:gd name="connsiteX279" fmla="*/ 1079079 w 7415104"/>
                    <a:gd name="connsiteY279" fmla="*/ 563375 h 1609071"/>
                    <a:gd name="connsiteX280" fmla="*/ 1079079 w 7415104"/>
                    <a:gd name="connsiteY280" fmla="*/ 576376 h 1609071"/>
                    <a:gd name="connsiteX281" fmla="*/ 1157084 w 7415104"/>
                    <a:gd name="connsiteY281" fmla="*/ 576376 h 1609071"/>
                    <a:gd name="connsiteX282" fmla="*/ 1157084 w 7415104"/>
                    <a:gd name="connsiteY282" fmla="*/ 589377 h 1609071"/>
                    <a:gd name="connsiteX283" fmla="*/ 1196087 w 7415104"/>
                    <a:gd name="connsiteY283" fmla="*/ 589377 h 1609071"/>
                    <a:gd name="connsiteX284" fmla="*/ 1196087 w 7415104"/>
                    <a:gd name="connsiteY284" fmla="*/ 598044 h 1609071"/>
                    <a:gd name="connsiteX285" fmla="*/ 1243757 w 7415104"/>
                    <a:gd name="connsiteY285" fmla="*/ 598044 h 1609071"/>
                    <a:gd name="connsiteX286" fmla="*/ 1256758 w 7415104"/>
                    <a:gd name="connsiteY286" fmla="*/ 611045 h 1609071"/>
                    <a:gd name="connsiteX287" fmla="*/ 1269759 w 7415104"/>
                    <a:gd name="connsiteY287" fmla="*/ 624046 h 1609071"/>
                    <a:gd name="connsiteX288" fmla="*/ 1334764 w 7415104"/>
                    <a:gd name="connsiteY288" fmla="*/ 624046 h 1609071"/>
                    <a:gd name="connsiteX289" fmla="*/ 1334764 w 7415104"/>
                    <a:gd name="connsiteY289" fmla="*/ 645714 h 1609071"/>
                    <a:gd name="connsiteX290" fmla="*/ 1425771 w 7415104"/>
                    <a:gd name="connsiteY290" fmla="*/ 645714 h 1609071"/>
                    <a:gd name="connsiteX291" fmla="*/ 1434438 w 7415104"/>
                    <a:gd name="connsiteY291" fmla="*/ 654381 h 1609071"/>
                    <a:gd name="connsiteX292" fmla="*/ 1456106 w 7415104"/>
                    <a:gd name="connsiteY292" fmla="*/ 654381 h 1609071"/>
                    <a:gd name="connsiteX293" fmla="*/ 1456106 w 7415104"/>
                    <a:gd name="connsiteY293" fmla="*/ 667382 h 1609071"/>
                    <a:gd name="connsiteX294" fmla="*/ 1508110 w 7415104"/>
                    <a:gd name="connsiteY294" fmla="*/ 667382 h 1609071"/>
                    <a:gd name="connsiteX295" fmla="*/ 1508110 w 7415104"/>
                    <a:gd name="connsiteY295" fmla="*/ 684717 h 1609071"/>
                    <a:gd name="connsiteX296" fmla="*/ 1564447 w 7415104"/>
                    <a:gd name="connsiteY296" fmla="*/ 684717 h 1609071"/>
                    <a:gd name="connsiteX297" fmla="*/ 1568781 w 7415104"/>
                    <a:gd name="connsiteY297" fmla="*/ 689051 h 1609071"/>
                    <a:gd name="connsiteX298" fmla="*/ 1612118 w 7415104"/>
                    <a:gd name="connsiteY298" fmla="*/ 689051 h 1609071"/>
                    <a:gd name="connsiteX299" fmla="*/ 1625119 w 7415104"/>
                    <a:gd name="connsiteY299" fmla="*/ 702052 h 1609071"/>
                    <a:gd name="connsiteX300" fmla="*/ 1677122 w 7415104"/>
                    <a:gd name="connsiteY300" fmla="*/ 702052 h 1609071"/>
                    <a:gd name="connsiteX301" fmla="*/ 1685790 w 7415104"/>
                    <a:gd name="connsiteY301" fmla="*/ 710720 h 1609071"/>
                    <a:gd name="connsiteX302" fmla="*/ 1703123 w 7415104"/>
                    <a:gd name="connsiteY302" fmla="*/ 728053 h 1609071"/>
                    <a:gd name="connsiteX303" fmla="*/ 1716124 w 7415104"/>
                    <a:gd name="connsiteY303" fmla="*/ 741054 h 1609071"/>
                    <a:gd name="connsiteX304" fmla="*/ 1750794 w 7415104"/>
                    <a:gd name="connsiteY304" fmla="*/ 741054 h 1609071"/>
                    <a:gd name="connsiteX305" fmla="*/ 1750794 w 7415104"/>
                    <a:gd name="connsiteY305" fmla="*/ 767056 h 1609071"/>
                    <a:gd name="connsiteX306" fmla="*/ 1798465 w 7415104"/>
                    <a:gd name="connsiteY306" fmla="*/ 767056 h 1609071"/>
                    <a:gd name="connsiteX307" fmla="*/ 1798465 w 7415104"/>
                    <a:gd name="connsiteY307" fmla="*/ 780057 h 1609071"/>
                    <a:gd name="connsiteX308" fmla="*/ 1841801 w 7415104"/>
                    <a:gd name="connsiteY308" fmla="*/ 780057 h 1609071"/>
                    <a:gd name="connsiteX309" fmla="*/ 1841801 w 7415104"/>
                    <a:gd name="connsiteY309" fmla="*/ 797392 h 1609071"/>
                    <a:gd name="connsiteX310" fmla="*/ 1876470 w 7415104"/>
                    <a:gd name="connsiteY310" fmla="*/ 797392 h 1609071"/>
                    <a:gd name="connsiteX311" fmla="*/ 1885138 w 7415104"/>
                    <a:gd name="connsiteY311" fmla="*/ 806060 h 1609071"/>
                    <a:gd name="connsiteX312" fmla="*/ 1963143 w 7415104"/>
                    <a:gd name="connsiteY312" fmla="*/ 806060 h 1609071"/>
                    <a:gd name="connsiteX313" fmla="*/ 2006480 w 7415104"/>
                    <a:gd name="connsiteY313" fmla="*/ 806060 h 1609071"/>
                    <a:gd name="connsiteX314" fmla="*/ 2036815 w 7415104"/>
                    <a:gd name="connsiteY314" fmla="*/ 836395 h 1609071"/>
                    <a:gd name="connsiteX315" fmla="*/ 2049816 w 7415104"/>
                    <a:gd name="connsiteY315" fmla="*/ 836395 h 1609071"/>
                    <a:gd name="connsiteX316" fmla="*/ 2106154 w 7415104"/>
                    <a:gd name="connsiteY316" fmla="*/ 836395 h 1609071"/>
                    <a:gd name="connsiteX317" fmla="*/ 2106154 w 7415104"/>
                    <a:gd name="connsiteY317" fmla="*/ 862396 h 1609071"/>
                    <a:gd name="connsiteX318" fmla="*/ 2119155 w 7415104"/>
                    <a:gd name="connsiteY318" fmla="*/ 862396 h 1609071"/>
                    <a:gd name="connsiteX319" fmla="*/ 2136489 w 7415104"/>
                    <a:gd name="connsiteY319" fmla="*/ 862396 h 1609071"/>
                    <a:gd name="connsiteX320" fmla="*/ 2184159 w 7415104"/>
                    <a:gd name="connsiteY320" fmla="*/ 862396 h 1609071"/>
                    <a:gd name="connsiteX321" fmla="*/ 2184159 w 7415104"/>
                    <a:gd name="connsiteY321" fmla="*/ 888398 h 1609071"/>
                    <a:gd name="connsiteX322" fmla="*/ 2200254 w 7415104"/>
                    <a:gd name="connsiteY322" fmla="*/ 883636 h 1609071"/>
                    <a:gd name="connsiteX323" fmla="*/ 2240733 w 7415104"/>
                    <a:gd name="connsiteY323" fmla="*/ 881254 h 1609071"/>
                    <a:gd name="connsiteX324" fmla="*/ 2240102 w 7415104"/>
                    <a:gd name="connsiteY324" fmla="*/ 914626 h 1609071"/>
                    <a:gd name="connsiteX325" fmla="*/ 2265640 w 7415104"/>
                    <a:gd name="connsiteY325" fmla="*/ 915879 h 1609071"/>
                    <a:gd name="connsiteX326" fmla="*/ 2266296 w 7415104"/>
                    <a:gd name="connsiteY326" fmla="*/ 886052 h 1609071"/>
                    <a:gd name="connsiteX327" fmla="*/ 2301168 w 7415104"/>
                    <a:gd name="connsiteY327" fmla="*/ 880160 h 1609071"/>
                    <a:gd name="connsiteX328" fmla="*/ 2301168 w 7415104"/>
                    <a:gd name="connsiteY328" fmla="*/ 914400 h 1609071"/>
                    <a:gd name="connsiteX329" fmla="*/ 2335837 w 7415104"/>
                    <a:gd name="connsiteY329" fmla="*/ 914400 h 1609071"/>
                    <a:gd name="connsiteX330" fmla="*/ 2335837 w 7415104"/>
                    <a:gd name="connsiteY330" fmla="*/ 923068 h 1609071"/>
                    <a:gd name="connsiteX331" fmla="*/ 2400842 w 7415104"/>
                    <a:gd name="connsiteY331" fmla="*/ 923068 h 1609071"/>
                    <a:gd name="connsiteX332" fmla="*/ 2400842 w 7415104"/>
                    <a:gd name="connsiteY332" fmla="*/ 936069 h 1609071"/>
                    <a:gd name="connsiteX333" fmla="*/ 2439845 w 7415104"/>
                    <a:gd name="connsiteY333" fmla="*/ 936069 h 1609071"/>
                    <a:gd name="connsiteX334" fmla="*/ 2452846 w 7415104"/>
                    <a:gd name="connsiteY334" fmla="*/ 949070 h 1609071"/>
                    <a:gd name="connsiteX335" fmla="*/ 2500516 w 7415104"/>
                    <a:gd name="connsiteY335" fmla="*/ 949070 h 1609071"/>
                    <a:gd name="connsiteX336" fmla="*/ 2513517 w 7415104"/>
                    <a:gd name="connsiteY336" fmla="*/ 962071 h 1609071"/>
                    <a:gd name="connsiteX337" fmla="*/ 2543852 w 7415104"/>
                    <a:gd name="connsiteY337" fmla="*/ 962071 h 1609071"/>
                    <a:gd name="connsiteX338" fmla="*/ 2543852 w 7415104"/>
                    <a:gd name="connsiteY338" fmla="*/ 979405 h 1609071"/>
                    <a:gd name="connsiteX339" fmla="*/ 2591522 w 7415104"/>
                    <a:gd name="connsiteY339" fmla="*/ 979405 h 1609071"/>
                    <a:gd name="connsiteX340" fmla="*/ 2591522 w 7415104"/>
                    <a:gd name="connsiteY340" fmla="*/ 1001073 h 1609071"/>
                    <a:gd name="connsiteX341" fmla="*/ 2639192 w 7415104"/>
                    <a:gd name="connsiteY341" fmla="*/ 1001073 h 1609071"/>
                    <a:gd name="connsiteX342" fmla="*/ 2639192 w 7415104"/>
                    <a:gd name="connsiteY342" fmla="*/ 1022742 h 1609071"/>
                    <a:gd name="connsiteX343" fmla="*/ 2699864 w 7415104"/>
                    <a:gd name="connsiteY343" fmla="*/ 1022742 h 1609071"/>
                    <a:gd name="connsiteX344" fmla="*/ 2699864 w 7415104"/>
                    <a:gd name="connsiteY344" fmla="*/ 1040076 h 1609071"/>
                    <a:gd name="connsiteX345" fmla="*/ 2808205 w 7415104"/>
                    <a:gd name="connsiteY345" fmla="*/ 1040076 h 1609071"/>
                    <a:gd name="connsiteX346" fmla="*/ 2816872 w 7415104"/>
                    <a:gd name="connsiteY346" fmla="*/ 1048743 h 1609071"/>
                    <a:gd name="connsiteX347" fmla="*/ 2825540 w 7415104"/>
                    <a:gd name="connsiteY347" fmla="*/ 1057411 h 1609071"/>
                    <a:gd name="connsiteX348" fmla="*/ 2864542 w 7415104"/>
                    <a:gd name="connsiteY348" fmla="*/ 1057411 h 1609071"/>
                    <a:gd name="connsiteX349" fmla="*/ 2886210 w 7415104"/>
                    <a:gd name="connsiteY349" fmla="*/ 1057411 h 1609071"/>
                    <a:gd name="connsiteX350" fmla="*/ 2899211 w 7415104"/>
                    <a:gd name="connsiteY350" fmla="*/ 1057411 h 1609071"/>
                    <a:gd name="connsiteX351" fmla="*/ 2916546 w 7415104"/>
                    <a:gd name="connsiteY351" fmla="*/ 1074746 h 1609071"/>
                    <a:gd name="connsiteX352" fmla="*/ 2968550 w 7415104"/>
                    <a:gd name="connsiteY352" fmla="*/ 1074746 h 1609071"/>
                    <a:gd name="connsiteX353" fmla="*/ 2968550 w 7415104"/>
                    <a:gd name="connsiteY353" fmla="*/ 1092080 h 1609071"/>
                    <a:gd name="connsiteX354" fmla="*/ 3141896 w 7415104"/>
                    <a:gd name="connsiteY354" fmla="*/ 1092080 h 1609071"/>
                    <a:gd name="connsiteX355" fmla="*/ 3141896 w 7415104"/>
                    <a:gd name="connsiteY355" fmla="*/ 1122415 h 1609071"/>
                    <a:gd name="connsiteX356" fmla="*/ 3211234 w 7415104"/>
                    <a:gd name="connsiteY356" fmla="*/ 1122415 h 1609071"/>
                    <a:gd name="connsiteX357" fmla="*/ 3215568 w 7415104"/>
                    <a:gd name="connsiteY357" fmla="*/ 1122415 h 1609071"/>
                    <a:gd name="connsiteX358" fmla="*/ 3302241 w 7415104"/>
                    <a:gd name="connsiteY358" fmla="*/ 1122415 h 1609071"/>
                    <a:gd name="connsiteX359" fmla="*/ 3302241 w 7415104"/>
                    <a:gd name="connsiteY359" fmla="*/ 1148417 h 1609071"/>
                    <a:gd name="connsiteX360" fmla="*/ 3388914 w 7415104"/>
                    <a:gd name="connsiteY360" fmla="*/ 1148417 h 1609071"/>
                    <a:gd name="connsiteX361" fmla="*/ 3388914 w 7415104"/>
                    <a:gd name="connsiteY361" fmla="*/ 1157085 h 1609071"/>
                    <a:gd name="connsiteX362" fmla="*/ 3445251 w 7415104"/>
                    <a:gd name="connsiteY362" fmla="*/ 1157085 h 1609071"/>
                    <a:gd name="connsiteX363" fmla="*/ 3453919 w 7415104"/>
                    <a:gd name="connsiteY363" fmla="*/ 1165753 h 1609071"/>
                    <a:gd name="connsiteX364" fmla="*/ 3596929 w 7415104"/>
                    <a:gd name="connsiteY364" fmla="*/ 1165753 h 1609071"/>
                    <a:gd name="connsiteX365" fmla="*/ 3596929 w 7415104"/>
                    <a:gd name="connsiteY365" fmla="*/ 1178753 h 1609071"/>
                    <a:gd name="connsiteX366" fmla="*/ 3705270 w 7415104"/>
                    <a:gd name="connsiteY366" fmla="*/ 1178753 h 1609071"/>
                    <a:gd name="connsiteX367" fmla="*/ 3709604 w 7415104"/>
                    <a:gd name="connsiteY367" fmla="*/ 1183087 h 1609071"/>
                    <a:gd name="connsiteX368" fmla="*/ 3960956 w 7415104"/>
                    <a:gd name="connsiteY368" fmla="*/ 1183087 h 1609071"/>
                    <a:gd name="connsiteX369" fmla="*/ 3960956 w 7415104"/>
                    <a:gd name="connsiteY369" fmla="*/ 1204755 h 1609071"/>
                    <a:gd name="connsiteX370" fmla="*/ 3991291 w 7415104"/>
                    <a:gd name="connsiteY370" fmla="*/ 1204755 h 1609071"/>
                    <a:gd name="connsiteX371" fmla="*/ 3991291 w 7415104"/>
                    <a:gd name="connsiteY371" fmla="*/ 1178753 h 1609071"/>
                    <a:gd name="connsiteX372" fmla="*/ 4030294 w 7415104"/>
                    <a:gd name="connsiteY372" fmla="*/ 1178753 h 1609071"/>
                    <a:gd name="connsiteX373" fmla="*/ 4030294 w 7415104"/>
                    <a:gd name="connsiteY373" fmla="*/ 1213422 h 1609071"/>
                    <a:gd name="connsiteX374" fmla="*/ 4043295 w 7415104"/>
                    <a:gd name="connsiteY374" fmla="*/ 1213422 h 1609071"/>
                    <a:gd name="connsiteX375" fmla="*/ 4043295 w 7415104"/>
                    <a:gd name="connsiteY375" fmla="*/ 1222089 h 1609071"/>
                    <a:gd name="connsiteX376" fmla="*/ 4164637 w 7415104"/>
                    <a:gd name="connsiteY376" fmla="*/ 1222089 h 1609071"/>
                    <a:gd name="connsiteX377" fmla="*/ 4164637 w 7415104"/>
                    <a:gd name="connsiteY377" fmla="*/ 1243758 h 1609071"/>
                    <a:gd name="connsiteX378" fmla="*/ 4320648 w 7415104"/>
                    <a:gd name="connsiteY378" fmla="*/ 1243758 h 1609071"/>
                    <a:gd name="connsiteX379" fmla="*/ 4320648 w 7415104"/>
                    <a:gd name="connsiteY379" fmla="*/ 1261092 h 1609071"/>
                    <a:gd name="connsiteX380" fmla="*/ 4398654 w 7415104"/>
                    <a:gd name="connsiteY380" fmla="*/ 1261092 h 1609071"/>
                    <a:gd name="connsiteX381" fmla="*/ 4398654 w 7415104"/>
                    <a:gd name="connsiteY381" fmla="*/ 1287094 h 1609071"/>
                    <a:gd name="connsiteX382" fmla="*/ 4450658 w 7415104"/>
                    <a:gd name="connsiteY382" fmla="*/ 1287094 h 1609071"/>
                    <a:gd name="connsiteX383" fmla="*/ 4476660 w 7415104"/>
                    <a:gd name="connsiteY383" fmla="*/ 1287094 h 1609071"/>
                    <a:gd name="connsiteX384" fmla="*/ 4498328 w 7415104"/>
                    <a:gd name="connsiteY384" fmla="*/ 1308762 h 1609071"/>
                    <a:gd name="connsiteX385" fmla="*/ 4593668 w 7415104"/>
                    <a:gd name="connsiteY385" fmla="*/ 1308762 h 1609071"/>
                    <a:gd name="connsiteX386" fmla="*/ 4602336 w 7415104"/>
                    <a:gd name="connsiteY386" fmla="*/ 1317430 h 1609071"/>
                    <a:gd name="connsiteX387" fmla="*/ 4663007 w 7415104"/>
                    <a:gd name="connsiteY387" fmla="*/ 1317430 h 1609071"/>
                    <a:gd name="connsiteX388" fmla="*/ 4663007 w 7415104"/>
                    <a:gd name="connsiteY388" fmla="*/ 1339098 h 1609071"/>
                    <a:gd name="connsiteX389" fmla="*/ 4706343 w 7415104"/>
                    <a:gd name="connsiteY389" fmla="*/ 1339098 h 1609071"/>
                    <a:gd name="connsiteX390" fmla="*/ 4710677 w 7415104"/>
                    <a:gd name="connsiteY390" fmla="*/ 1343432 h 1609071"/>
                    <a:gd name="connsiteX391" fmla="*/ 4767014 w 7415104"/>
                    <a:gd name="connsiteY391" fmla="*/ 1343432 h 1609071"/>
                    <a:gd name="connsiteX392" fmla="*/ 4765727 w 7415104"/>
                    <a:gd name="connsiteY392" fmla="*/ 1358814 h 1609071"/>
                    <a:gd name="connsiteX393" fmla="*/ 5005365 w 7415104"/>
                    <a:gd name="connsiteY393" fmla="*/ 1356433 h 1609071"/>
                    <a:gd name="connsiteX394" fmla="*/ 5018366 w 7415104"/>
                    <a:gd name="connsiteY394" fmla="*/ 1369434 h 1609071"/>
                    <a:gd name="connsiteX395" fmla="*/ 5152709 w 7415104"/>
                    <a:gd name="connsiteY395" fmla="*/ 1369434 h 1609071"/>
                    <a:gd name="connsiteX396" fmla="*/ 5152709 w 7415104"/>
                    <a:gd name="connsiteY396" fmla="*/ 1391102 h 1609071"/>
                    <a:gd name="connsiteX397" fmla="*/ 5282719 w 7415104"/>
                    <a:gd name="connsiteY397" fmla="*/ 1391102 h 1609071"/>
                    <a:gd name="connsiteX398" fmla="*/ 5291386 w 7415104"/>
                    <a:gd name="connsiteY398" fmla="*/ 1399769 h 1609071"/>
                    <a:gd name="connsiteX399" fmla="*/ 5356391 w 7415104"/>
                    <a:gd name="connsiteY399" fmla="*/ 1399769 h 1609071"/>
                    <a:gd name="connsiteX400" fmla="*/ 5369392 w 7415104"/>
                    <a:gd name="connsiteY400" fmla="*/ 1399769 h 1609071"/>
                    <a:gd name="connsiteX401" fmla="*/ 5369392 w 7415104"/>
                    <a:gd name="connsiteY401" fmla="*/ 1421437 h 1609071"/>
                    <a:gd name="connsiteX402" fmla="*/ 5473399 w 7415104"/>
                    <a:gd name="connsiteY402" fmla="*/ 1421437 h 1609071"/>
                    <a:gd name="connsiteX403" fmla="*/ 5473399 w 7415104"/>
                    <a:gd name="connsiteY403" fmla="*/ 1399769 h 1609071"/>
                    <a:gd name="connsiteX404" fmla="*/ 5512402 w 7415104"/>
                    <a:gd name="connsiteY404" fmla="*/ 1399769 h 1609071"/>
                    <a:gd name="connsiteX405" fmla="*/ 5512402 w 7415104"/>
                    <a:gd name="connsiteY405" fmla="*/ 1425771 h 1609071"/>
                    <a:gd name="connsiteX406" fmla="*/ 5607742 w 7415104"/>
                    <a:gd name="connsiteY406" fmla="*/ 1425771 h 1609071"/>
                    <a:gd name="connsiteX407" fmla="*/ 5607742 w 7415104"/>
                    <a:gd name="connsiteY407" fmla="*/ 1399769 h 1609071"/>
                    <a:gd name="connsiteX408" fmla="*/ 5664080 w 7415104"/>
                    <a:gd name="connsiteY408" fmla="*/ 1399769 h 1609071"/>
                    <a:gd name="connsiteX409" fmla="*/ 5664080 w 7415104"/>
                    <a:gd name="connsiteY409" fmla="*/ 1434438 h 1609071"/>
                    <a:gd name="connsiteX410" fmla="*/ 5685748 w 7415104"/>
                    <a:gd name="connsiteY410" fmla="*/ 1434438 h 1609071"/>
                    <a:gd name="connsiteX411" fmla="*/ 5685748 w 7415104"/>
                    <a:gd name="connsiteY411" fmla="*/ 1443106 h 1609071"/>
                    <a:gd name="connsiteX412" fmla="*/ 5716083 w 7415104"/>
                    <a:gd name="connsiteY412" fmla="*/ 1443106 h 1609071"/>
                    <a:gd name="connsiteX413" fmla="*/ 5716083 w 7415104"/>
                    <a:gd name="connsiteY413" fmla="*/ 1456106 h 1609071"/>
                    <a:gd name="connsiteX414" fmla="*/ 5794089 w 7415104"/>
                    <a:gd name="connsiteY414" fmla="*/ 1456106 h 1609071"/>
                    <a:gd name="connsiteX415" fmla="*/ 5794089 w 7415104"/>
                    <a:gd name="connsiteY415" fmla="*/ 1421437 h 1609071"/>
                    <a:gd name="connsiteX416" fmla="*/ 5837426 w 7415104"/>
                    <a:gd name="connsiteY416" fmla="*/ 1421437 h 1609071"/>
                    <a:gd name="connsiteX417" fmla="*/ 5837426 w 7415104"/>
                    <a:gd name="connsiteY417" fmla="*/ 1456106 h 1609071"/>
                    <a:gd name="connsiteX418" fmla="*/ 5902430 w 7415104"/>
                    <a:gd name="connsiteY418" fmla="*/ 1456106 h 1609071"/>
                    <a:gd name="connsiteX419" fmla="*/ 5928432 w 7415104"/>
                    <a:gd name="connsiteY419" fmla="*/ 1456106 h 1609071"/>
                    <a:gd name="connsiteX420" fmla="*/ 5928432 w 7415104"/>
                    <a:gd name="connsiteY420" fmla="*/ 1473441 h 1609071"/>
                    <a:gd name="connsiteX421" fmla="*/ 5945767 w 7415104"/>
                    <a:gd name="connsiteY421" fmla="*/ 1473441 h 1609071"/>
                    <a:gd name="connsiteX422" fmla="*/ 5950101 w 7415104"/>
                    <a:gd name="connsiteY422" fmla="*/ 1477775 h 1609071"/>
                    <a:gd name="connsiteX423" fmla="*/ 6019439 w 7415104"/>
                    <a:gd name="connsiteY423" fmla="*/ 1477775 h 1609071"/>
                    <a:gd name="connsiteX424" fmla="*/ 6019439 w 7415104"/>
                    <a:gd name="connsiteY424" fmla="*/ 1456106 h 1609071"/>
                    <a:gd name="connsiteX425" fmla="*/ 6058442 w 7415104"/>
                    <a:gd name="connsiteY425" fmla="*/ 1456106 h 1609071"/>
                    <a:gd name="connsiteX426" fmla="*/ 6058442 w 7415104"/>
                    <a:gd name="connsiteY426" fmla="*/ 1499443 h 1609071"/>
                    <a:gd name="connsiteX427" fmla="*/ 6110446 w 7415104"/>
                    <a:gd name="connsiteY427" fmla="*/ 1499443 h 1609071"/>
                    <a:gd name="connsiteX428" fmla="*/ 6110446 w 7415104"/>
                    <a:gd name="connsiteY428" fmla="*/ 1508110 h 1609071"/>
                    <a:gd name="connsiteX429" fmla="*/ 6188451 w 7415104"/>
                    <a:gd name="connsiteY429" fmla="*/ 1508110 h 1609071"/>
                    <a:gd name="connsiteX430" fmla="*/ 6188451 w 7415104"/>
                    <a:gd name="connsiteY430" fmla="*/ 1464774 h 1609071"/>
                    <a:gd name="connsiteX431" fmla="*/ 6227454 w 7415104"/>
                    <a:gd name="connsiteY431" fmla="*/ 1464774 h 1609071"/>
                    <a:gd name="connsiteX432" fmla="*/ 6227454 w 7415104"/>
                    <a:gd name="connsiteY432" fmla="*/ 1516778 h 1609071"/>
                    <a:gd name="connsiteX433" fmla="*/ 6353130 w 7415104"/>
                    <a:gd name="connsiteY433" fmla="*/ 1516778 h 1609071"/>
                    <a:gd name="connsiteX434" fmla="*/ 6353130 w 7415104"/>
                    <a:gd name="connsiteY434" fmla="*/ 1477775 h 1609071"/>
                    <a:gd name="connsiteX435" fmla="*/ 6397561 w 7415104"/>
                    <a:gd name="connsiteY435" fmla="*/ 1475394 h 1609071"/>
                    <a:gd name="connsiteX436" fmla="*/ 6399942 w 7415104"/>
                    <a:gd name="connsiteY436" fmla="*/ 1529778 h 1609071"/>
                    <a:gd name="connsiteX437" fmla="*/ 6447614 w 7415104"/>
                    <a:gd name="connsiteY437" fmla="*/ 1529778 h 1609071"/>
                    <a:gd name="connsiteX438" fmla="*/ 6447611 w 7415104"/>
                    <a:gd name="connsiteY438" fmla="*/ 1479728 h 1609071"/>
                    <a:gd name="connsiteX439" fmla="*/ 6487473 w 7415104"/>
                    <a:gd name="connsiteY439" fmla="*/ 1482108 h 1609071"/>
                    <a:gd name="connsiteX440" fmla="*/ 6487473 w 7415104"/>
                    <a:gd name="connsiteY440" fmla="*/ 1529778 h 1609071"/>
                    <a:gd name="connsiteX441" fmla="*/ 6561145 w 7415104"/>
                    <a:gd name="connsiteY441" fmla="*/ 1529778 h 1609071"/>
                    <a:gd name="connsiteX442" fmla="*/ 6565479 w 7415104"/>
                    <a:gd name="connsiteY442" fmla="*/ 1534112 h 1609071"/>
                    <a:gd name="connsiteX443" fmla="*/ 6674249 w 7415104"/>
                    <a:gd name="connsiteY443" fmla="*/ 1536493 h 1609071"/>
                    <a:gd name="connsiteX444" fmla="*/ 6676630 w 7415104"/>
                    <a:gd name="connsiteY444" fmla="*/ 1499443 h 1609071"/>
                    <a:gd name="connsiteX445" fmla="*/ 6738825 w 7415104"/>
                    <a:gd name="connsiteY445" fmla="*/ 1499443 h 1609071"/>
                    <a:gd name="connsiteX446" fmla="*/ 6738825 w 7415104"/>
                    <a:gd name="connsiteY446" fmla="*/ 1542779 h 1609071"/>
                    <a:gd name="connsiteX447" fmla="*/ 6795162 w 7415104"/>
                    <a:gd name="connsiteY447" fmla="*/ 1542779 h 1609071"/>
                    <a:gd name="connsiteX448" fmla="*/ 6795162 w 7415104"/>
                    <a:gd name="connsiteY448" fmla="*/ 1499443 h 1609071"/>
                    <a:gd name="connsiteX449" fmla="*/ 6829831 w 7415104"/>
                    <a:gd name="connsiteY449" fmla="*/ 1499443 h 1609071"/>
                    <a:gd name="connsiteX450" fmla="*/ 6829831 w 7415104"/>
                    <a:gd name="connsiteY450" fmla="*/ 1529778 h 1609071"/>
                    <a:gd name="connsiteX451" fmla="*/ 6847166 w 7415104"/>
                    <a:gd name="connsiteY451" fmla="*/ 1529778 h 1609071"/>
                    <a:gd name="connsiteX452" fmla="*/ 6847166 w 7415104"/>
                    <a:gd name="connsiteY452" fmla="*/ 1555780 h 1609071"/>
                    <a:gd name="connsiteX453" fmla="*/ 7050847 w 7415104"/>
                    <a:gd name="connsiteY453" fmla="*/ 1555780 h 1609071"/>
                    <a:gd name="connsiteX454" fmla="*/ 7063848 w 7415104"/>
                    <a:gd name="connsiteY454" fmla="*/ 1568781 h 1609071"/>
                    <a:gd name="connsiteX455" fmla="*/ 7133187 w 7415104"/>
                    <a:gd name="connsiteY455" fmla="*/ 1568781 h 1609071"/>
                    <a:gd name="connsiteX456" fmla="*/ 7133187 w 7415104"/>
                    <a:gd name="connsiteY456" fmla="*/ 1586116 h 1609071"/>
                    <a:gd name="connsiteX457" fmla="*/ 7284865 w 7415104"/>
                    <a:gd name="connsiteY457" fmla="*/ 1586116 h 1609071"/>
                    <a:gd name="connsiteX458" fmla="*/ 7284865 w 7415104"/>
                    <a:gd name="connsiteY458" fmla="*/ 1607784 h 1609071"/>
                    <a:gd name="connsiteX459" fmla="*/ 7414876 w 7415104"/>
                    <a:gd name="connsiteY459"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45673 w 7415104"/>
                    <a:gd name="connsiteY71" fmla="*/ 1226423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3892 w 7415104"/>
                    <a:gd name="connsiteY78" fmla="*/ 1184373 h 1609071"/>
                    <a:gd name="connsiteX79" fmla="*/ 4394321 w 7415104"/>
                    <a:gd name="connsiteY79" fmla="*/ 1200421 h 1609071"/>
                    <a:gd name="connsiteX80" fmla="*/ 4359651 w 7415104"/>
                    <a:gd name="connsiteY80" fmla="*/ 1200421 h 1609071"/>
                    <a:gd name="connsiteX81" fmla="*/ 4359651 w 7415104"/>
                    <a:gd name="connsiteY81" fmla="*/ 1157085 h 1609071"/>
                    <a:gd name="connsiteX82" fmla="*/ 4329316 w 7415104"/>
                    <a:gd name="connsiteY82" fmla="*/ 1157085 h 1609071"/>
                    <a:gd name="connsiteX83" fmla="*/ 4320648 w 7415104"/>
                    <a:gd name="connsiteY83" fmla="*/ 1148417 h 1609071"/>
                    <a:gd name="connsiteX84" fmla="*/ 4155970 w 7415104"/>
                    <a:gd name="connsiteY84" fmla="*/ 1148417 h 1609071"/>
                    <a:gd name="connsiteX85" fmla="*/ 4147302 w 7415104"/>
                    <a:gd name="connsiteY85" fmla="*/ 1139749 h 1609071"/>
                    <a:gd name="connsiteX86" fmla="*/ 4064963 w 7415104"/>
                    <a:gd name="connsiteY86" fmla="*/ 1139749 h 1609071"/>
                    <a:gd name="connsiteX87" fmla="*/ 4064963 w 7415104"/>
                    <a:gd name="connsiteY87" fmla="*/ 1122415 h 1609071"/>
                    <a:gd name="connsiteX88" fmla="*/ 4047628 w 7415104"/>
                    <a:gd name="connsiteY88" fmla="*/ 1122415 h 1609071"/>
                    <a:gd name="connsiteX89" fmla="*/ 4047628 w 7415104"/>
                    <a:gd name="connsiteY89" fmla="*/ 1105081 h 1609071"/>
                    <a:gd name="connsiteX90" fmla="*/ 4025960 w 7415104"/>
                    <a:gd name="connsiteY90" fmla="*/ 1105081 h 1609071"/>
                    <a:gd name="connsiteX91" fmla="*/ 4025960 w 7415104"/>
                    <a:gd name="connsiteY91" fmla="*/ 1152751 h 1609071"/>
                    <a:gd name="connsiteX92" fmla="*/ 3991291 w 7415104"/>
                    <a:gd name="connsiteY92" fmla="*/ 1152751 h 1609071"/>
                    <a:gd name="connsiteX93" fmla="*/ 3991291 w 7415104"/>
                    <a:gd name="connsiteY93" fmla="*/ 1109415 h 1609071"/>
                    <a:gd name="connsiteX94" fmla="*/ 3960956 w 7415104"/>
                    <a:gd name="connsiteY94" fmla="*/ 1109415 h 1609071"/>
                    <a:gd name="connsiteX95" fmla="*/ 3952288 w 7415104"/>
                    <a:gd name="connsiteY95" fmla="*/ 1100747 h 1609071"/>
                    <a:gd name="connsiteX96" fmla="*/ 3735606 w 7415104"/>
                    <a:gd name="connsiteY96" fmla="*/ 1100747 h 1609071"/>
                    <a:gd name="connsiteX97" fmla="*/ 3718272 w 7415104"/>
                    <a:gd name="connsiteY97" fmla="*/ 1083413 h 1609071"/>
                    <a:gd name="connsiteX98" fmla="*/ 3592595 w 7415104"/>
                    <a:gd name="connsiteY98" fmla="*/ 1083413 h 1609071"/>
                    <a:gd name="connsiteX99" fmla="*/ 3575261 w 7415104"/>
                    <a:gd name="connsiteY99" fmla="*/ 1066079 h 1609071"/>
                    <a:gd name="connsiteX100" fmla="*/ 3440918 w 7415104"/>
                    <a:gd name="connsiteY100" fmla="*/ 1066079 h 1609071"/>
                    <a:gd name="connsiteX101" fmla="*/ 3440918 w 7415104"/>
                    <a:gd name="connsiteY101" fmla="*/ 1040076 h 1609071"/>
                    <a:gd name="connsiteX102" fmla="*/ 3319575 w 7415104"/>
                    <a:gd name="connsiteY102" fmla="*/ 1040076 h 1609071"/>
                    <a:gd name="connsiteX103" fmla="*/ 3319575 w 7415104"/>
                    <a:gd name="connsiteY103" fmla="*/ 1027075 h 1609071"/>
                    <a:gd name="connsiteX104" fmla="*/ 3180899 w 7415104"/>
                    <a:gd name="connsiteY104" fmla="*/ 1027075 h 1609071"/>
                    <a:gd name="connsiteX105" fmla="*/ 3180899 w 7415104"/>
                    <a:gd name="connsiteY105" fmla="*/ 1020123 h 1609071"/>
                    <a:gd name="connsiteX106" fmla="*/ 3163564 w 7415104"/>
                    <a:gd name="connsiteY106" fmla="*/ 1018408 h 1609071"/>
                    <a:gd name="connsiteX107" fmla="*/ 3150563 w 7415104"/>
                    <a:gd name="connsiteY107" fmla="*/ 1005407 h 1609071"/>
                    <a:gd name="connsiteX108" fmla="*/ 2990218 w 7415104"/>
                    <a:gd name="connsiteY108" fmla="*/ 1005407 h 1609071"/>
                    <a:gd name="connsiteX109" fmla="*/ 2990218 w 7415104"/>
                    <a:gd name="connsiteY109" fmla="*/ 988072 h 1609071"/>
                    <a:gd name="connsiteX110" fmla="*/ 2907879 w 7415104"/>
                    <a:gd name="connsiteY110" fmla="*/ 988072 h 1609071"/>
                    <a:gd name="connsiteX111" fmla="*/ 2899211 w 7415104"/>
                    <a:gd name="connsiteY111" fmla="*/ 979404 h 1609071"/>
                    <a:gd name="connsiteX112" fmla="*/ 2868876 w 7415104"/>
                    <a:gd name="connsiteY112" fmla="*/ 979404 h 1609071"/>
                    <a:gd name="connsiteX113" fmla="*/ 2868876 w 7415104"/>
                    <a:gd name="connsiteY113" fmla="*/ 953403 h 1609071"/>
                    <a:gd name="connsiteX114" fmla="*/ 2842874 w 7415104"/>
                    <a:gd name="connsiteY114" fmla="*/ 953403 h 1609071"/>
                    <a:gd name="connsiteX115" fmla="*/ 2834207 w 7415104"/>
                    <a:gd name="connsiteY115" fmla="*/ 944736 h 1609071"/>
                    <a:gd name="connsiteX116" fmla="*/ 2756201 w 7415104"/>
                    <a:gd name="connsiteY116" fmla="*/ 944736 h 1609071"/>
                    <a:gd name="connsiteX117" fmla="*/ 2747534 w 7415104"/>
                    <a:gd name="connsiteY117" fmla="*/ 936069 h 1609071"/>
                    <a:gd name="connsiteX118" fmla="*/ 2699864 w 7415104"/>
                    <a:gd name="connsiteY118" fmla="*/ 936069 h 1609071"/>
                    <a:gd name="connsiteX119" fmla="*/ 2688815 w 7415104"/>
                    <a:gd name="connsiteY119" fmla="*/ 925019 h 1609071"/>
                    <a:gd name="connsiteX120" fmla="*/ 2643526 w 7415104"/>
                    <a:gd name="connsiteY120" fmla="*/ 927401 h 1609071"/>
                    <a:gd name="connsiteX121" fmla="*/ 2638099 w 7415104"/>
                    <a:gd name="connsiteY121" fmla="*/ 910067 h 1609071"/>
                    <a:gd name="connsiteX122" fmla="*/ 2616001 w 7415104"/>
                    <a:gd name="connsiteY122" fmla="*/ 899876 h 1609071"/>
                    <a:gd name="connsiteX123" fmla="*/ 2591522 w 7415104"/>
                    <a:gd name="connsiteY123" fmla="*/ 875397 h 1609071"/>
                    <a:gd name="connsiteX124" fmla="*/ 2561187 w 7415104"/>
                    <a:gd name="connsiteY124" fmla="*/ 875397 h 1609071"/>
                    <a:gd name="connsiteX125" fmla="*/ 2552519 w 7415104"/>
                    <a:gd name="connsiteY125" fmla="*/ 866729 h 1609071"/>
                    <a:gd name="connsiteX126" fmla="*/ 2500516 w 7415104"/>
                    <a:gd name="connsiteY126" fmla="*/ 866729 h 1609071"/>
                    <a:gd name="connsiteX127" fmla="*/ 2500516 w 7415104"/>
                    <a:gd name="connsiteY127" fmla="*/ 849396 h 1609071"/>
                    <a:gd name="connsiteX128" fmla="*/ 2444178 w 7415104"/>
                    <a:gd name="connsiteY128" fmla="*/ 849396 h 1609071"/>
                    <a:gd name="connsiteX129" fmla="*/ 2435510 w 7415104"/>
                    <a:gd name="connsiteY129" fmla="*/ 840728 h 1609071"/>
                    <a:gd name="connsiteX130" fmla="*/ 2413843 w 7415104"/>
                    <a:gd name="connsiteY130" fmla="*/ 840728 h 1609071"/>
                    <a:gd name="connsiteX131" fmla="*/ 2400842 w 7415104"/>
                    <a:gd name="connsiteY131" fmla="*/ 827727 h 1609071"/>
                    <a:gd name="connsiteX132" fmla="*/ 2348838 w 7415104"/>
                    <a:gd name="connsiteY132" fmla="*/ 827727 h 1609071"/>
                    <a:gd name="connsiteX133" fmla="*/ 2348838 w 7415104"/>
                    <a:gd name="connsiteY133" fmla="*/ 810393 h 1609071"/>
                    <a:gd name="connsiteX134" fmla="*/ 2309835 w 7415104"/>
                    <a:gd name="connsiteY134" fmla="*/ 810393 h 1609071"/>
                    <a:gd name="connsiteX135" fmla="*/ 2296834 w 7415104"/>
                    <a:gd name="connsiteY135" fmla="*/ 823394 h 1609071"/>
                    <a:gd name="connsiteX136" fmla="*/ 2266499 w 7415104"/>
                    <a:gd name="connsiteY136" fmla="*/ 823394 h 1609071"/>
                    <a:gd name="connsiteX137" fmla="*/ 2253498 w 7415104"/>
                    <a:gd name="connsiteY137" fmla="*/ 810393 h 1609071"/>
                    <a:gd name="connsiteX138" fmla="*/ 2244830 w 7415104"/>
                    <a:gd name="connsiteY138" fmla="*/ 801725 h 1609071"/>
                    <a:gd name="connsiteX139" fmla="*/ 2244830 w 7415104"/>
                    <a:gd name="connsiteY139" fmla="*/ 775724 h 1609071"/>
                    <a:gd name="connsiteX140" fmla="*/ 2123488 w 7415104"/>
                    <a:gd name="connsiteY140" fmla="*/ 775724 h 1609071"/>
                    <a:gd name="connsiteX141" fmla="*/ 2123488 w 7415104"/>
                    <a:gd name="connsiteY141" fmla="*/ 745388 h 1609071"/>
                    <a:gd name="connsiteX142" fmla="*/ 2071484 w 7415104"/>
                    <a:gd name="connsiteY142" fmla="*/ 745388 h 1609071"/>
                    <a:gd name="connsiteX143" fmla="*/ 2062817 w 7415104"/>
                    <a:gd name="connsiteY143" fmla="*/ 736721 h 1609071"/>
                    <a:gd name="connsiteX144" fmla="*/ 2006480 w 7415104"/>
                    <a:gd name="connsiteY144" fmla="*/ 736721 h 1609071"/>
                    <a:gd name="connsiteX145" fmla="*/ 2006480 w 7415104"/>
                    <a:gd name="connsiteY145" fmla="*/ 715052 h 1609071"/>
                    <a:gd name="connsiteX146" fmla="*/ 1906806 w 7415104"/>
                    <a:gd name="connsiteY146" fmla="*/ 715052 h 1609071"/>
                    <a:gd name="connsiteX147" fmla="*/ 1902473 w 7415104"/>
                    <a:gd name="connsiteY147" fmla="*/ 710719 h 1609071"/>
                    <a:gd name="connsiteX148" fmla="*/ 1863469 w 7415104"/>
                    <a:gd name="connsiteY148" fmla="*/ 710719 h 1609071"/>
                    <a:gd name="connsiteX149" fmla="*/ 1863469 w 7415104"/>
                    <a:gd name="connsiteY149" fmla="*/ 680383 h 1609071"/>
                    <a:gd name="connsiteX150" fmla="*/ 1807132 w 7415104"/>
                    <a:gd name="connsiteY150" fmla="*/ 680383 h 1609071"/>
                    <a:gd name="connsiteX151" fmla="*/ 1798465 w 7415104"/>
                    <a:gd name="connsiteY151" fmla="*/ 671716 h 1609071"/>
                    <a:gd name="connsiteX152" fmla="*/ 1785464 w 7415104"/>
                    <a:gd name="connsiteY152" fmla="*/ 671716 h 1609071"/>
                    <a:gd name="connsiteX153" fmla="*/ 1785464 w 7415104"/>
                    <a:gd name="connsiteY153" fmla="*/ 658715 h 1609071"/>
                    <a:gd name="connsiteX154" fmla="*/ 1750794 w 7415104"/>
                    <a:gd name="connsiteY154" fmla="*/ 658715 h 1609071"/>
                    <a:gd name="connsiteX155" fmla="*/ 1750794 w 7415104"/>
                    <a:gd name="connsiteY155" fmla="*/ 637047 h 1609071"/>
                    <a:gd name="connsiteX156" fmla="*/ 1698791 w 7415104"/>
                    <a:gd name="connsiteY156" fmla="*/ 637047 h 1609071"/>
                    <a:gd name="connsiteX157" fmla="*/ 1698791 w 7415104"/>
                    <a:gd name="connsiteY157" fmla="*/ 611045 h 1609071"/>
                    <a:gd name="connsiteX158" fmla="*/ 1616451 w 7415104"/>
                    <a:gd name="connsiteY158" fmla="*/ 611045 h 1609071"/>
                    <a:gd name="connsiteX159" fmla="*/ 1603450 w 7415104"/>
                    <a:gd name="connsiteY159" fmla="*/ 598044 h 1609071"/>
                    <a:gd name="connsiteX160" fmla="*/ 1590449 w 7415104"/>
                    <a:gd name="connsiteY160" fmla="*/ 598044 h 1609071"/>
                    <a:gd name="connsiteX161" fmla="*/ 1577448 w 7415104"/>
                    <a:gd name="connsiteY161" fmla="*/ 585043 h 1609071"/>
                    <a:gd name="connsiteX162" fmla="*/ 1529778 w 7415104"/>
                    <a:gd name="connsiteY162" fmla="*/ 585043 h 1609071"/>
                    <a:gd name="connsiteX163" fmla="*/ 1529778 w 7415104"/>
                    <a:gd name="connsiteY163" fmla="*/ 576376 h 1609071"/>
                    <a:gd name="connsiteX164" fmla="*/ 1477774 w 7415104"/>
                    <a:gd name="connsiteY164" fmla="*/ 576376 h 1609071"/>
                    <a:gd name="connsiteX165" fmla="*/ 1477774 w 7415104"/>
                    <a:gd name="connsiteY165" fmla="*/ 559041 h 1609071"/>
                    <a:gd name="connsiteX166" fmla="*/ 1408436 w 7415104"/>
                    <a:gd name="connsiteY166" fmla="*/ 559041 h 1609071"/>
                    <a:gd name="connsiteX167" fmla="*/ 1395435 w 7415104"/>
                    <a:gd name="connsiteY167" fmla="*/ 546040 h 1609071"/>
                    <a:gd name="connsiteX168" fmla="*/ 1330430 w 7415104"/>
                    <a:gd name="connsiteY168" fmla="*/ 546040 h 1609071"/>
                    <a:gd name="connsiteX169" fmla="*/ 1330430 w 7415104"/>
                    <a:gd name="connsiteY169" fmla="*/ 528706 h 1609071"/>
                    <a:gd name="connsiteX170" fmla="*/ 1274093 w 7415104"/>
                    <a:gd name="connsiteY170" fmla="*/ 528706 h 1609071"/>
                    <a:gd name="connsiteX171" fmla="*/ 1274093 w 7415104"/>
                    <a:gd name="connsiteY171" fmla="*/ 507037 h 1609071"/>
                    <a:gd name="connsiteX172" fmla="*/ 1191754 w 7415104"/>
                    <a:gd name="connsiteY172" fmla="*/ 507037 h 1609071"/>
                    <a:gd name="connsiteX173" fmla="*/ 1174419 w 7415104"/>
                    <a:gd name="connsiteY173" fmla="*/ 507037 h 1609071"/>
                    <a:gd name="connsiteX174" fmla="*/ 1148417 w 7415104"/>
                    <a:gd name="connsiteY174" fmla="*/ 507037 h 1609071"/>
                    <a:gd name="connsiteX175" fmla="*/ 1148417 w 7415104"/>
                    <a:gd name="connsiteY175" fmla="*/ 481035 h 1609071"/>
                    <a:gd name="connsiteX176" fmla="*/ 1092080 w 7415104"/>
                    <a:gd name="connsiteY176" fmla="*/ 481035 h 1609071"/>
                    <a:gd name="connsiteX177" fmla="*/ 1092080 w 7415104"/>
                    <a:gd name="connsiteY177" fmla="*/ 468034 h 1609071"/>
                    <a:gd name="connsiteX178" fmla="*/ 1044410 w 7415104"/>
                    <a:gd name="connsiteY178" fmla="*/ 468034 h 1609071"/>
                    <a:gd name="connsiteX179" fmla="*/ 1044410 w 7415104"/>
                    <a:gd name="connsiteY179" fmla="*/ 437699 h 1609071"/>
                    <a:gd name="connsiteX180" fmla="*/ 988072 w 7415104"/>
                    <a:gd name="connsiteY180" fmla="*/ 437699 h 1609071"/>
                    <a:gd name="connsiteX181" fmla="*/ 975071 w 7415104"/>
                    <a:gd name="connsiteY181" fmla="*/ 424698 h 1609071"/>
                    <a:gd name="connsiteX182" fmla="*/ 953403 w 7415104"/>
                    <a:gd name="connsiteY182" fmla="*/ 424698 h 1609071"/>
                    <a:gd name="connsiteX183" fmla="*/ 944736 w 7415104"/>
                    <a:gd name="connsiteY183" fmla="*/ 416031 h 1609071"/>
                    <a:gd name="connsiteX184" fmla="*/ 892732 w 7415104"/>
                    <a:gd name="connsiteY184" fmla="*/ 416031 h 1609071"/>
                    <a:gd name="connsiteX185" fmla="*/ 892732 w 7415104"/>
                    <a:gd name="connsiteY185" fmla="*/ 394362 h 1609071"/>
                    <a:gd name="connsiteX186" fmla="*/ 866730 w 7415104"/>
                    <a:gd name="connsiteY186" fmla="*/ 394362 h 1609071"/>
                    <a:gd name="connsiteX187" fmla="*/ 858063 w 7415104"/>
                    <a:gd name="connsiteY187" fmla="*/ 385695 h 1609071"/>
                    <a:gd name="connsiteX188" fmla="*/ 754055 w 7415104"/>
                    <a:gd name="connsiteY188" fmla="*/ 385695 h 1609071"/>
                    <a:gd name="connsiteX189" fmla="*/ 754055 w 7415104"/>
                    <a:gd name="connsiteY189" fmla="*/ 359693 h 1609071"/>
                    <a:gd name="connsiteX190" fmla="*/ 723719 w 7415104"/>
                    <a:gd name="connsiteY190" fmla="*/ 359693 h 1609071"/>
                    <a:gd name="connsiteX191" fmla="*/ 723719 w 7415104"/>
                    <a:gd name="connsiteY191" fmla="*/ 342359 h 1609071"/>
                    <a:gd name="connsiteX192" fmla="*/ 658715 w 7415104"/>
                    <a:gd name="connsiteY192" fmla="*/ 342359 h 1609071"/>
                    <a:gd name="connsiteX193" fmla="*/ 650047 w 7415104"/>
                    <a:gd name="connsiteY193" fmla="*/ 333691 h 1609071"/>
                    <a:gd name="connsiteX194" fmla="*/ 628379 w 7415104"/>
                    <a:gd name="connsiteY194" fmla="*/ 333691 h 1609071"/>
                    <a:gd name="connsiteX195" fmla="*/ 628379 w 7415104"/>
                    <a:gd name="connsiteY195" fmla="*/ 316357 h 1609071"/>
                    <a:gd name="connsiteX196" fmla="*/ 598044 w 7415104"/>
                    <a:gd name="connsiteY196" fmla="*/ 316357 h 1609071"/>
                    <a:gd name="connsiteX197" fmla="*/ 598044 w 7415104"/>
                    <a:gd name="connsiteY197" fmla="*/ 294688 h 1609071"/>
                    <a:gd name="connsiteX198" fmla="*/ 576375 w 7415104"/>
                    <a:gd name="connsiteY198" fmla="*/ 294688 h 1609071"/>
                    <a:gd name="connsiteX199" fmla="*/ 576375 w 7415104"/>
                    <a:gd name="connsiteY199" fmla="*/ 281687 h 1609071"/>
                    <a:gd name="connsiteX200" fmla="*/ 554707 w 7415104"/>
                    <a:gd name="connsiteY200" fmla="*/ 281687 h 1609071"/>
                    <a:gd name="connsiteX201" fmla="*/ 554707 w 7415104"/>
                    <a:gd name="connsiteY201" fmla="*/ 268687 h 1609071"/>
                    <a:gd name="connsiteX202" fmla="*/ 489702 w 7415104"/>
                    <a:gd name="connsiteY202" fmla="*/ 268687 h 1609071"/>
                    <a:gd name="connsiteX203" fmla="*/ 489702 w 7415104"/>
                    <a:gd name="connsiteY203" fmla="*/ 242685 h 1609071"/>
                    <a:gd name="connsiteX204" fmla="*/ 455033 w 7415104"/>
                    <a:gd name="connsiteY204" fmla="*/ 242685 h 1609071"/>
                    <a:gd name="connsiteX205" fmla="*/ 455033 w 7415104"/>
                    <a:gd name="connsiteY205" fmla="*/ 216683 h 1609071"/>
                    <a:gd name="connsiteX206" fmla="*/ 437699 w 7415104"/>
                    <a:gd name="connsiteY206" fmla="*/ 216683 h 1609071"/>
                    <a:gd name="connsiteX207" fmla="*/ 437699 w 7415104"/>
                    <a:gd name="connsiteY207" fmla="*/ 186347 h 1609071"/>
                    <a:gd name="connsiteX208" fmla="*/ 407363 w 7415104"/>
                    <a:gd name="connsiteY208" fmla="*/ 186347 h 1609071"/>
                    <a:gd name="connsiteX209" fmla="*/ 407363 w 7415104"/>
                    <a:gd name="connsiteY209" fmla="*/ 173346 h 1609071"/>
                    <a:gd name="connsiteX210" fmla="*/ 372694 w 7415104"/>
                    <a:gd name="connsiteY210" fmla="*/ 173346 h 1609071"/>
                    <a:gd name="connsiteX211" fmla="*/ 372694 w 7415104"/>
                    <a:gd name="connsiteY211" fmla="*/ 151678 h 1609071"/>
                    <a:gd name="connsiteX212" fmla="*/ 355359 w 7415104"/>
                    <a:gd name="connsiteY212" fmla="*/ 151678 h 1609071"/>
                    <a:gd name="connsiteX213" fmla="*/ 355359 w 7415104"/>
                    <a:gd name="connsiteY213" fmla="*/ 138677 h 1609071"/>
                    <a:gd name="connsiteX214" fmla="*/ 303356 w 7415104"/>
                    <a:gd name="connsiteY214" fmla="*/ 138677 h 1609071"/>
                    <a:gd name="connsiteX215" fmla="*/ 303356 w 7415104"/>
                    <a:gd name="connsiteY215" fmla="*/ 95341 h 1609071"/>
                    <a:gd name="connsiteX216" fmla="*/ 268686 w 7415104"/>
                    <a:gd name="connsiteY216" fmla="*/ 95341 h 1609071"/>
                    <a:gd name="connsiteX217" fmla="*/ 268686 w 7415104"/>
                    <a:gd name="connsiteY217" fmla="*/ 82340 h 1609071"/>
                    <a:gd name="connsiteX218" fmla="*/ 234017 w 7415104"/>
                    <a:gd name="connsiteY218" fmla="*/ 82340 h 1609071"/>
                    <a:gd name="connsiteX219" fmla="*/ 234017 w 7415104"/>
                    <a:gd name="connsiteY219" fmla="*/ 47670 h 1609071"/>
                    <a:gd name="connsiteX220" fmla="*/ 208015 w 7415104"/>
                    <a:gd name="connsiteY220" fmla="*/ 47670 h 1609071"/>
                    <a:gd name="connsiteX221" fmla="*/ 208015 w 7415104"/>
                    <a:gd name="connsiteY221" fmla="*/ 39003 h 1609071"/>
                    <a:gd name="connsiteX222" fmla="*/ 156011 w 7415104"/>
                    <a:gd name="connsiteY222" fmla="*/ 39003 h 1609071"/>
                    <a:gd name="connsiteX223" fmla="*/ 156011 w 7415104"/>
                    <a:gd name="connsiteY223" fmla="*/ 26002 h 1609071"/>
                    <a:gd name="connsiteX224" fmla="*/ 121342 w 7415104"/>
                    <a:gd name="connsiteY224" fmla="*/ 26002 h 1609071"/>
                    <a:gd name="connsiteX225" fmla="*/ 121342 w 7415104"/>
                    <a:gd name="connsiteY225" fmla="*/ 0 h 1609071"/>
                    <a:gd name="connsiteX226" fmla="*/ 82339 w 7415104"/>
                    <a:gd name="connsiteY226" fmla="*/ 0 h 1609071"/>
                    <a:gd name="connsiteX227" fmla="*/ 82339 w 7415104"/>
                    <a:gd name="connsiteY227" fmla="*/ 43337 h 1609071"/>
                    <a:gd name="connsiteX228" fmla="*/ 0 w 7415104"/>
                    <a:gd name="connsiteY228" fmla="*/ 43337 h 1609071"/>
                    <a:gd name="connsiteX229" fmla="*/ 8667 w 7415104"/>
                    <a:gd name="connsiteY229" fmla="*/ 34670 h 1609071"/>
                    <a:gd name="connsiteX230" fmla="*/ 8667 w 7415104"/>
                    <a:gd name="connsiteY230" fmla="*/ 52004 h 1609071"/>
                    <a:gd name="connsiteX231" fmla="*/ 21668 w 7415104"/>
                    <a:gd name="connsiteY231" fmla="*/ 52004 h 1609071"/>
                    <a:gd name="connsiteX232" fmla="*/ 21668 w 7415104"/>
                    <a:gd name="connsiteY232" fmla="*/ 65005 h 1609071"/>
                    <a:gd name="connsiteX233" fmla="*/ 52004 w 7415104"/>
                    <a:gd name="connsiteY233" fmla="*/ 65005 h 1609071"/>
                    <a:gd name="connsiteX234" fmla="*/ 52004 w 7415104"/>
                    <a:gd name="connsiteY234" fmla="*/ 86673 h 1609071"/>
                    <a:gd name="connsiteX235" fmla="*/ 78006 w 7415104"/>
                    <a:gd name="connsiteY235" fmla="*/ 86673 h 1609071"/>
                    <a:gd name="connsiteX236" fmla="*/ 78006 w 7415104"/>
                    <a:gd name="connsiteY236" fmla="*/ 125676 h 1609071"/>
                    <a:gd name="connsiteX237" fmla="*/ 138677 w 7415104"/>
                    <a:gd name="connsiteY237" fmla="*/ 125676 h 1609071"/>
                    <a:gd name="connsiteX238" fmla="*/ 147344 w 7415104"/>
                    <a:gd name="connsiteY238" fmla="*/ 134343 h 1609071"/>
                    <a:gd name="connsiteX239" fmla="*/ 164679 w 7415104"/>
                    <a:gd name="connsiteY239" fmla="*/ 134343 h 1609071"/>
                    <a:gd name="connsiteX240" fmla="*/ 164679 w 7415104"/>
                    <a:gd name="connsiteY240" fmla="*/ 156012 h 1609071"/>
                    <a:gd name="connsiteX241" fmla="*/ 182013 w 7415104"/>
                    <a:gd name="connsiteY241" fmla="*/ 156012 h 1609071"/>
                    <a:gd name="connsiteX242" fmla="*/ 195014 w 7415104"/>
                    <a:gd name="connsiteY242" fmla="*/ 169013 h 1609071"/>
                    <a:gd name="connsiteX243" fmla="*/ 225350 w 7415104"/>
                    <a:gd name="connsiteY243" fmla="*/ 169013 h 1609071"/>
                    <a:gd name="connsiteX244" fmla="*/ 225350 w 7415104"/>
                    <a:gd name="connsiteY244" fmla="*/ 208015 h 1609071"/>
                    <a:gd name="connsiteX245" fmla="*/ 251352 w 7415104"/>
                    <a:gd name="connsiteY245" fmla="*/ 208015 h 1609071"/>
                    <a:gd name="connsiteX246" fmla="*/ 260019 w 7415104"/>
                    <a:gd name="connsiteY246" fmla="*/ 216682 h 1609071"/>
                    <a:gd name="connsiteX247" fmla="*/ 273021 w 7415104"/>
                    <a:gd name="connsiteY247" fmla="*/ 229684 h 1609071"/>
                    <a:gd name="connsiteX248" fmla="*/ 273021 w 7415104"/>
                    <a:gd name="connsiteY248" fmla="*/ 251352 h 1609071"/>
                    <a:gd name="connsiteX249" fmla="*/ 303356 w 7415104"/>
                    <a:gd name="connsiteY249" fmla="*/ 251352 h 1609071"/>
                    <a:gd name="connsiteX250" fmla="*/ 303356 w 7415104"/>
                    <a:gd name="connsiteY250" fmla="*/ 268687 h 1609071"/>
                    <a:gd name="connsiteX251" fmla="*/ 342358 w 7415104"/>
                    <a:gd name="connsiteY251" fmla="*/ 268687 h 1609071"/>
                    <a:gd name="connsiteX252" fmla="*/ 342358 w 7415104"/>
                    <a:gd name="connsiteY252" fmla="*/ 286021 h 1609071"/>
                    <a:gd name="connsiteX253" fmla="*/ 385695 w 7415104"/>
                    <a:gd name="connsiteY253" fmla="*/ 286021 h 1609071"/>
                    <a:gd name="connsiteX254" fmla="*/ 385695 w 7415104"/>
                    <a:gd name="connsiteY254" fmla="*/ 286021 h 1609071"/>
                    <a:gd name="connsiteX255" fmla="*/ 407363 w 7415104"/>
                    <a:gd name="connsiteY255" fmla="*/ 307689 h 1609071"/>
                    <a:gd name="connsiteX256" fmla="*/ 424698 w 7415104"/>
                    <a:gd name="connsiteY256" fmla="*/ 325024 h 1609071"/>
                    <a:gd name="connsiteX257" fmla="*/ 472368 w 7415104"/>
                    <a:gd name="connsiteY257" fmla="*/ 325024 h 1609071"/>
                    <a:gd name="connsiteX258" fmla="*/ 472368 w 7415104"/>
                    <a:gd name="connsiteY258" fmla="*/ 355360 h 1609071"/>
                    <a:gd name="connsiteX259" fmla="*/ 511371 w 7415104"/>
                    <a:gd name="connsiteY259" fmla="*/ 355360 h 1609071"/>
                    <a:gd name="connsiteX260" fmla="*/ 511371 w 7415104"/>
                    <a:gd name="connsiteY260" fmla="*/ 377028 h 1609071"/>
                    <a:gd name="connsiteX261" fmla="*/ 559041 w 7415104"/>
                    <a:gd name="connsiteY261" fmla="*/ 377028 h 1609071"/>
                    <a:gd name="connsiteX262" fmla="*/ 559041 w 7415104"/>
                    <a:gd name="connsiteY262" fmla="*/ 398696 h 1609071"/>
                    <a:gd name="connsiteX263" fmla="*/ 589376 w 7415104"/>
                    <a:gd name="connsiteY263" fmla="*/ 398696 h 1609071"/>
                    <a:gd name="connsiteX264" fmla="*/ 602377 w 7415104"/>
                    <a:gd name="connsiteY264" fmla="*/ 411697 h 1609071"/>
                    <a:gd name="connsiteX265" fmla="*/ 650047 w 7415104"/>
                    <a:gd name="connsiteY265" fmla="*/ 411697 h 1609071"/>
                    <a:gd name="connsiteX266" fmla="*/ 650047 w 7415104"/>
                    <a:gd name="connsiteY266" fmla="*/ 450700 h 1609071"/>
                    <a:gd name="connsiteX267" fmla="*/ 758389 w 7415104"/>
                    <a:gd name="connsiteY267" fmla="*/ 450700 h 1609071"/>
                    <a:gd name="connsiteX268" fmla="*/ 758389 w 7415104"/>
                    <a:gd name="connsiteY268" fmla="*/ 481035 h 1609071"/>
                    <a:gd name="connsiteX269" fmla="*/ 875397 w 7415104"/>
                    <a:gd name="connsiteY269" fmla="*/ 481035 h 1609071"/>
                    <a:gd name="connsiteX270" fmla="*/ 875397 w 7415104"/>
                    <a:gd name="connsiteY270" fmla="*/ 507037 h 1609071"/>
                    <a:gd name="connsiteX271" fmla="*/ 927401 w 7415104"/>
                    <a:gd name="connsiteY271" fmla="*/ 507037 h 1609071"/>
                    <a:gd name="connsiteX272" fmla="*/ 927401 w 7415104"/>
                    <a:gd name="connsiteY272" fmla="*/ 524372 h 1609071"/>
                    <a:gd name="connsiteX273" fmla="*/ 979405 w 7415104"/>
                    <a:gd name="connsiteY273" fmla="*/ 524372 h 1609071"/>
                    <a:gd name="connsiteX274" fmla="*/ 992406 w 7415104"/>
                    <a:gd name="connsiteY274" fmla="*/ 524372 h 1609071"/>
                    <a:gd name="connsiteX275" fmla="*/ 1005407 w 7415104"/>
                    <a:gd name="connsiteY275" fmla="*/ 537373 h 1609071"/>
                    <a:gd name="connsiteX276" fmla="*/ 1027075 w 7415104"/>
                    <a:gd name="connsiteY276" fmla="*/ 537373 h 1609071"/>
                    <a:gd name="connsiteX277" fmla="*/ 1057410 w 7415104"/>
                    <a:gd name="connsiteY277" fmla="*/ 537373 h 1609071"/>
                    <a:gd name="connsiteX278" fmla="*/ 1057410 w 7415104"/>
                    <a:gd name="connsiteY278" fmla="*/ 563375 h 1609071"/>
                    <a:gd name="connsiteX279" fmla="*/ 1079079 w 7415104"/>
                    <a:gd name="connsiteY279" fmla="*/ 563375 h 1609071"/>
                    <a:gd name="connsiteX280" fmla="*/ 1079079 w 7415104"/>
                    <a:gd name="connsiteY280" fmla="*/ 576376 h 1609071"/>
                    <a:gd name="connsiteX281" fmla="*/ 1157084 w 7415104"/>
                    <a:gd name="connsiteY281" fmla="*/ 576376 h 1609071"/>
                    <a:gd name="connsiteX282" fmla="*/ 1157084 w 7415104"/>
                    <a:gd name="connsiteY282" fmla="*/ 589377 h 1609071"/>
                    <a:gd name="connsiteX283" fmla="*/ 1196087 w 7415104"/>
                    <a:gd name="connsiteY283" fmla="*/ 589377 h 1609071"/>
                    <a:gd name="connsiteX284" fmla="*/ 1196087 w 7415104"/>
                    <a:gd name="connsiteY284" fmla="*/ 598044 h 1609071"/>
                    <a:gd name="connsiteX285" fmla="*/ 1243757 w 7415104"/>
                    <a:gd name="connsiteY285" fmla="*/ 598044 h 1609071"/>
                    <a:gd name="connsiteX286" fmla="*/ 1256758 w 7415104"/>
                    <a:gd name="connsiteY286" fmla="*/ 611045 h 1609071"/>
                    <a:gd name="connsiteX287" fmla="*/ 1269759 w 7415104"/>
                    <a:gd name="connsiteY287" fmla="*/ 624046 h 1609071"/>
                    <a:gd name="connsiteX288" fmla="*/ 1334764 w 7415104"/>
                    <a:gd name="connsiteY288" fmla="*/ 624046 h 1609071"/>
                    <a:gd name="connsiteX289" fmla="*/ 1334764 w 7415104"/>
                    <a:gd name="connsiteY289" fmla="*/ 645714 h 1609071"/>
                    <a:gd name="connsiteX290" fmla="*/ 1425771 w 7415104"/>
                    <a:gd name="connsiteY290" fmla="*/ 645714 h 1609071"/>
                    <a:gd name="connsiteX291" fmla="*/ 1434438 w 7415104"/>
                    <a:gd name="connsiteY291" fmla="*/ 654381 h 1609071"/>
                    <a:gd name="connsiteX292" fmla="*/ 1456106 w 7415104"/>
                    <a:gd name="connsiteY292" fmla="*/ 654381 h 1609071"/>
                    <a:gd name="connsiteX293" fmla="*/ 1456106 w 7415104"/>
                    <a:gd name="connsiteY293" fmla="*/ 667382 h 1609071"/>
                    <a:gd name="connsiteX294" fmla="*/ 1508110 w 7415104"/>
                    <a:gd name="connsiteY294" fmla="*/ 667382 h 1609071"/>
                    <a:gd name="connsiteX295" fmla="*/ 1508110 w 7415104"/>
                    <a:gd name="connsiteY295" fmla="*/ 684717 h 1609071"/>
                    <a:gd name="connsiteX296" fmla="*/ 1564447 w 7415104"/>
                    <a:gd name="connsiteY296" fmla="*/ 684717 h 1609071"/>
                    <a:gd name="connsiteX297" fmla="*/ 1568781 w 7415104"/>
                    <a:gd name="connsiteY297" fmla="*/ 689051 h 1609071"/>
                    <a:gd name="connsiteX298" fmla="*/ 1612118 w 7415104"/>
                    <a:gd name="connsiteY298" fmla="*/ 689051 h 1609071"/>
                    <a:gd name="connsiteX299" fmla="*/ 1625119 w 7415104"/>
                    <a:gd name="connsiteY299" fmla="*/ 702052 h 1609071"/>
                    <a:gd name="connsiteX300" fmla="*/ 1677122 w 7415104"/>
                    <a:gd name="connsiteY300" fmla="*/ 702052 h 1609071"/>
                    <a:gd name="connsiteX301" fmla="*/ 1685790 w 7415104"/>
                    <a:gd name="connsiteY301" fmla="*/ 710720 h 1609071"/>
                    <a:gd name="connsiteX302" fmla="*/ 1703123 w 7415104"/>
                    <a:gd name="connsiteY302" fmla="*/ 728053 h 1609071"/>
                    <a:gd name="connsiteX303" fmla="*/ 1716124 w 7415104"/>
                    <a:gd name="connsiteY303" fmla="*/ 741054 h 1609071"/>
                    <a:gd name="connsiteX304" fmla="*/ 1750794 w 7415104"/>
                    <a:gd name="connsiteY304" fmla="*/ 741054 h 1609071"/>
                    <a:gd name="connsiteX305" fmla="*/ 1750794 w 7415104"/>
                    <a:gd name="connsiteY305" fmla="*/ 767056 h 1609071"/>
                    <a:gd name="connsiteX306" fmla="*/ 1798465 w 7415104"/>
                    <a:gd name="connsiteY306" fmla="*/ 767056 h 1609071"/>
                    <a:gd name="connsiteX307" fmla="*/ 1798465 w 7415104"/>
                    <a:gd name="connsiteY307" fmla="*/ 780057 h 1609071"/>
                    <a:gd name="connsiteX308" fmla="*/ 1841801 w 7415104"/>
                    <a:gd name="connsiteY308" fmla="*/ 780057 h 1609071"/>
                    <a:gd name="connsiteX309" fmla="*/ 1841801 w 7415104"/>
                    <a:gd name="connsiteY309" fmla="*/ 797392 h 1609071"/>
                    <a:gd name="connsiteX310" fmla="*/ 1876470 w 7415104"/>
                    <a:gd name="connsiteY310" fmla="*/ 797392 h 1609071"/>
                    <a:gd name="connsiteX311" fmla="*/ 1885138 w 7415104"/>
                    <a:gd name="connsiteY311" fmla="*/ 806060 h 1609071"/>
                    <a:gd name="connsiteX312" fmla="*/ 1963143 w 7415104"/>
                    <a:gd name="connsiteY312" fmla="*/ 806060 h 1609071"/>
                    <a:gd name="connsiteX313" fmla="*/ 2006480 w 7415104"/>
                    <a:gd name="connsiteY313" fmla="*/ 806060 h 1609071"/>
                    <a:gd name="connsiteX314" fmla="*/ 2036815 w 7415104"/>
                    <a:gd name="connsiteY314" fmla="*/ 836395 h 1609071"/>
                    <a:gd name="connsiteX315" fmla="*/ 2049816 w 7415104"/>
                    <a:gd name="connsiteY315" fmla="*/ 836395 h 1609071"/>
                    <a:gd name="connsiteX316" fmla="*/ 2106154 w 7415104"/>
                    <a:gd name="connsiteY316" fmla="*/ 836395 h 1609071"/>
                    <a:gd name="connsiteX317" fmla="*/ 2106154 w 7415104"/>
                    <a:gd name="connsiteY317" fmla="*/ 862396 h 1609071"/>
                    <a:gd name="connsiteX318" fmla="*/ 2119155 w 7415104"/>
                    <a:gd name="connsiteY318" fmla="*/ 862396 h 1609071"/>
                    <a:gd name="connsiteX319" fmla="*/ 2136489 w 7415104"/>
                    <a:gd name="connsiteY319" fmla="*/ 862396 h 1609071"/>
                    <a:gd name="connsiteX320" fmla="*/ 2184159 w 7415104"/>
                    <a:gd name="connsiteY320" fmla="*/ 862396 h 1609071"/>
                    <a:gd name="connsiteX321" fmla="*/ 2184159 w 7415104"/>
                    <a:gd name="connsiteY321" fmla="*/ 888398 h 1609071"/>
                    <a:gd name="connsiteX322" fmla="*/ 2200254 w 7415104"/>
                    <a:gd name="connsiteY322" fmla="*/ 883636 h 1609071"/>
                    <a:gd name="connsiteX323" fmla="*/ 2240733 w 7415104"/>
                    <a:gd name="connsiteY323" fmla="*/ 881254 h 1609071"/>
                    <a:gd name="connsiteX324" fmla="*/ 2240102 w 7415104"/>
                    <a:gd name="connsiteY324" fmla="*/ 914626 h 1609071"/>
                    <a:gd name="connsiteX325" fmla="*/ 2265640 w 7415104"/>
                    <a:gd name="connsiteY325" fmla="*/ 915879 h 1609071"/>
                    <a:gd name="connsiteX326" fmla="*/ 2266296 w 7415104"/>
                    <a:gd name="connsiteY326" fmla="*/ 886052 h 1609071"/>
                    <a:gd name="connsiteX327" fmla="*/ 2301168 w 7415104"/>
                    <a:gd name="connsiteY327" fmla="*/ 880160 h 1609071"/>
                    <a:gd name="connsiteX328" fmla="*/ 2301168 w 7415104"/>
                    <a:gd name="connsiteY328" fmla="*/ 914400 h 1609071"/>
                    <a:gd name="connsiteX329" fmla="*/ 2335837 w 7415104"/>
                    <a:gd name="connsiteY329" fmla="*/ 914400 h 1609071"/>
                    <a:gd name="connsiteX330" fmla="*/ 2335837 w 7415104"/>
                    <a:gd name="connsiteY330" fmla="*/ 923068 h 1609071"/>
                    <a:gd name="connsiteX331" fmla="*/ 2400842 w 7415104"/>
                    <a:gd name="connsiteY331" fmla="*/ 923068 h 1609071"/>
                    <a:gd name="connsiteX332" fmla="*/ 2400842 w 7415104"/>
                    <a:gd name="connsiteY332" fmla="*/ 936069 h 1609071"/>
                    <a:gd name="connsiteX333" fmla="*/ 2439845 w 7415104"/>
                    <a:gd name="connsiteY333" fmla="*/ 936069 h 1609071"/>
                    <a:gd name="connsiteX334" fmla="*/ 2452846 w 7415104"/>
                    <a:gd name="connsiteY334" fmla="*/ 949070 h 1609071"/>
                    <a:gd name="connsiteX335" fmla="*/ 2500516 w 7415104"/>
                    <a:gd name="connsiteY335" fmla="*/ 949070 h 1609071"/>
                    <a:gd name="connsiteX336" fmla="*/ 2513517 w 7415104"/>
                    <a:gd name="connsiteY336" fmla="*/ 962071 h 1609071"/>
                    <a:gd name="connsiteX337" fmla="*/ 2543852 w 7415104"/>
                    <a:gd name="connsiteY337" fmla="*/ 962071 h 1609071"/>
                    <a:gd name="connsiteX338" fmla="*/ 2543852 w 7415104"/>
                    <a:gd name="connsiteY338" fmla="*/ 979405 h 1609071"/>
                    <a:gd name="connsiteX339" fmla="*/ 2591522 w 7415104"/>
                    <a:gd name="connsiteY339" fmla="*/ 979405 h 1609071"/>
                    <a:gd name="connsiteX340" fmla="*/ 2591522 w 7415104"/>
                    <a:gd name="connsiteY340" fmla="*/ 1001073 h 1609071"/>
                    <a:gd name="connsiteX341" fmla="*/ 2639192 w 7415104"/>
                    <a:gd name="connsiteY341" fmla="*/ 1001073 h 1609071"/>
                    <a:gd name="connsiteX342" fmla="*/ 2639192 w 7415104"/>
                    <a:gd name="connsiteY342" fmla="*/ 1022742 h 1609071"/>
                    <a:gd name="connsiteX343" fmla="*/ 2699864 w 7415104"/>
                    <a:gd name="connsiteY343" fmla="*/ 1022742 h 1609071"/>
                    <a:gd name="connsiteX344" fmla="*/ 2699864 w 7415104"/>
                    <a:gd name="connsiteY344" fmla="*/ 1040076 h 1609071"/>
                    <a:gd name="connsiteX345" fmla="*/ 2808205 w 7415104"/>
                    <a:gd name="connsiteY345" fmla="*/ 1040076 h 1609071"/>
                    <a:gd name="connsiteX346" fmla="*/ 2816872 w 7415104"/>
                    <a:gd name="connsiteY346" fmla="*/ 1048743 h 1609071"/>
                    <a:gd name="connsiteX347" fmla="*/ 2825540 w 7415104"/>
                    <a:gd name="connsiteY347" fmla="*/ 1057411 h 1609071"/>
                    <a:gd name="connsiteX348" fmla="*/ 2864542 w 7415104"/>
                    <a:gd name="connsiteY348" fmla="*/ 1057411 h 1609071"/>
                    <a:gd name="connsiteX349" fmla="*/ 2886210 w 7415104"/>
                    <a:gd name="connsiteY349" fmla="*/ 1057411 h 1609071"/>
                    <a:gd name="connsiteX350" fmla="*/ 2899211 w 7415104"/>
                    <a:gd name="connsiteY350" fmla="*/ 1057411 h 1609071"/>
                    <a:gd name="connsiteX351" fmla="*/ 2916546 w 7415104"/>
                    <a:gd name="connsiteY351" fmla="*/ 1074746 h 1609071"/>
                    <a:gd name="connsiteX352" fmla="*/ 2968550 w 7415104"/>
                    <a:gd name="connsiteY352" fmla="*/ 1074746 h 1609071"/>
                    <a:gd name="connsiteX353" fmla="*/ 2968550 w 7415104"/>
                    <a:gd name="connsiteY353" fmla="*/ 1092080 h 1609071"/>
                    <a:gd name="connsiteX354" fmla="*/ 3141896 w 7415104"/>
                    <a:gd name="connsiteY354" fmla="*/ 1092080 h 1609071"/>
                    <a:gd name="connsiteX355" fmla="*/ 3141896 w 7415104"/>
                    <a:gd name="connsiteY355" fmla="*/ 1122415 h 1609071"/>
                    <a:gd name="connsiteX356" fmla="*/ 3211234 w 7415104"/>
                    <a:gd name="connsiteY356" fmla="*/ 1122415 h 1609071"/>
                    <a:gd name="connsiteX357" fmla="*/ 3215568 w 7415104"/>
                    <a:gd name="connsiteY357" fmla="*/ 1122415 h 1609071"/>
                    <a:gd name="connsiteX358" fmla="*/ 3302241 w 7415104"/>
                    <a:gd name="connsiteY358" fmla="*/ 1122415 h 1609071"/>
                    <a:gd name="connsiteX359" fmla="*/ 3302241 w 7415104"/>
                    <a:gd name="connsiteY359" fmla="*/ 1148417 h 1609071"/>
                    <a:gd name="connsiteX360" fmla="*/ 3388914 w 7415104"/>
                    <a:gd name="connsiteY360" fmla="*/ 1148417 h 1609071"/>
                    <a:gd name="connsiteX361" fmla="*/ 3388914 w 7415104"/>
                    <a:gd name="connsiteY361" fmla="*/ 1157085 h 1609071"/>
                    <a:gd name="connsiteX362" fmla="*/ 3445251 w 7415104"/>
                    <a:gd name="connsiteY362" fmla="*/ 1157085 h 1609071"/>
                    <a:gd name="connsiteX363" fmla="*/ 3453919 w 7415104"/>
                    <a:gd name="connsiteY363" fmla="*/ 1165753 h 1609071"/>
                    <a:gd name="connsiteX364" fmla="*/ 3596929 w 7415104"/>
                    <a:gd name="connsiteY364" fmla="*/ 1165753 h 1609071"/>
                    <a:gd name="connsiteX365" fmla="*/ 3596929 w 7415104"/>
                    <a:gd name="connsiteY365" fmla="*/ 1178753 h 1609071"/>
                    <a:gd name="connsiteX366" fmla="*/ 3705270 w 7415104"/>
                    <a:gd name="connsiteY366" fmla="*/ 1178753 h 1609071"/>
                    <a:gd name="connsiteX367" fmla="*/ 3709604 w 7415104"/>
                    <a:gd name="connsiteY367" fmla="*/ 1183087 h 1609071"/>
                    <a:gd name="connsiteX368" fmla="*/ 3960956 w 7415104"/>
                    <a:gd name="connsiteY368" fmla="*/ 1183087 h 1609071"/>
                    <a:gd name="connsiteX369" fmla="*/ 3960956 w 7415104"/>
                    <a:gd name="connsiteY369" fmla="*/ 1204755 h 1609071"/>
                    <a:gd name="connsiteX370" fmla="*/ 3991291 w 7415104"/>
                    <a:gd name="connsiteY370" fmla="*/ 1204755 h 1609071"/>
                    <a:gd name="connsiteX371" fmla="*/ 3991291 w 7415104"/>
                    <a:gd name="connsiteY371" fmla="*/ 1178753 h 1609071"/>
                    <a:gd name="connsiteX372" fmla="*/ 4030294 w 7415104"/>
                    <a:gd name="connsiteY372" fmla="*/ 1178753 h 1609071"/>
                    <a:gd name="connsiteX373" fmla="*/ 4030294 w 7415104"/>
                    <a:gd name="connsiteY373" fmla="*/ 1213422 h 1609071"/>
                    <a:gd name="connsiteX374" fmla="*/ 4043295 w 7415104"/>
                    <a:gd name="connsiteY374" fmla="*/ 1213422 h 1609071"/>
                    <a:gd name="connsiteX375" fmla="*/ 4043295 w 7415104"/>
                    <a:gd name="connsiteY375" fmla="*/ 1222089 h 1609071"/>
                    <a:gd name="connsiteX376" fmla="*/ 4164637 w 7415104"/>
                    <a:gd name="connsiteY376" fmla="*/ 1222089 h 1609071"/>
                    <a:gd name="connsiteX377" fmla="*/ 4164637 w 7415104"/>
                    <a:gd name="connsiteY377" fmla="*/ 1243758 h 1609071"/>
                    <a:gd name="connsiteX378" fmla="*/ 4320648 w 7415104"/>
                    <a:gd name="connsiteY378" fmla="*/ 1243758 h 1609071"/>
                    <a:gd name="connsiteX379" fmla="*/ 4320648 w 7415104"/>
                    <a:gd name="connsiteY379" fmla="*/ 1261092 h 1609071"/>
                    <a:gd name="connsiteX380" fmla="*/ 4398654 w 7415104"/>
                    <a:gd name="connsiteY380" fmla="*/ 1261092 h 1609071"/>
                    <a:gd name="connsiteX381" fmla="*/ 4398654 w 7415104"/>
                    <a:gd name="connsiteY381" fmla="*/ 1287094 h 1609071"/>
                    <a:gd name="connsiteX382" fmla="*/ 4450658 w 7415104"/>
                    <a:gd name="connsiteY382" fmla="*/ 1287094 h 1609071"/>
                    <a:gd name="connsiteX383" fmla="*/ 4476660 w 7415104"/>
                    <a:gd name="connsiteY383" fmla="*/ 1287094 h 1609071"/>
                    <a:gd name="connsiteX384" fmla="*/ 4498328 w 7415104"/>
                    <a:gd name="connsiteY384" fmla="*/ 1308762 h 1609071"/>
                    <a:gd name="connsiteX385" fmla="*/ 4593668 w 7415104"/>
                    <a:gd name="connsiteY385" fmla="*/ 1308762 h 1609071"/>
                    <a:gd name="connsiteX386" fmla="*/ 4602336 w 7415104"/>
                    <a:gd name="connsiteY386" fmla="*/ 1317430 h 1609071"/>
                    <a:gd name="connsiteX387" fmla="*/ 4663007 w 7415104"/>
                    <a:gd name="connsiteY387" fmla="*/ 1317430 h 1609071"/>
                    <a:gd name="connsiteX388" fmla="*/ 4663007 w 7415104"/>
                    <a:gd name="connsiteY388" fmla="*/ 1339098 h 1609071"/>
                    <a:gd name="connsiteX389" fmla="*/ 4706343 w 7415104"/>
                    <a:gd name="connsiteY389" fmla="*/ 1339098 h 1609071"/>
                    <a:gd name="connsiteX390" fmla="*/ 4710677 w 7415104"/>
                    <a:gd name="connsiteY390" fmla="*/ 1343432 h 1609071"/>
                    <a:gd name="connsiteX391" fmla="*/ 4767014 w 7415104"/>
                    <a:gd name="connsiteY391" fmla="*/ 1343432 h 1609071"/>
                    <a:gd name="connsiteX392" fmla="*/ 4765727 w 7415104"/>
                    <a:gd name="connsiteY392" fmla="*/ 1358814 h 1609071"/>
                    <a:gd name="connsiteX393" fmla="*/ 5005365 w 7415104"/>
                    <a:gd name="connsiteY393" fmla="*/ 1356433 h 1609071"/>
                    <a:gd name="connsiteX394" fmla="*/ 5018366 w 7415104"/>
                    <a:gd name="connsiteY394" fmla="*/ 1369434 h 1609071"/>
                    <a:gd name="connsiteX395" fmla="*/ 5152709 w 7415104"/>
                    <a:gd name="connsiteY395" fmla="*/ 1369434 h 1609071"/>
                    <a:gd name="connsiteX396" fmla="*/ 5152709 w 7415104"/>
                    <a:gd name="connsiteY396" fmla="*/ 1391102 h 1609071"/>
                    <a:gd name="connsiteX397" fmla="*/ 5282719 w 7415104"/>
                    <a:gd name="connsiteY397" fmla="*/ 1391102 h 1609071"/>
                    <a:gd name="connsiteX398" fmla="*/ 5291386 w 7415104"/>
                    <a:gd name="connsiteY398" fmla="*/ 1399769 h 1609071"/>
                    <a:gd name="connsiteX399" fmla="*/ 5356391 w 7415104"/>
                    <a:gd name="connsiteY399" fmla="*/ 1399769 h 1609071"/>
                    <a:gd name="connsiteX400" fmla="*/ 5369392 w 7415104"/>
                    <a:gd name="connsiteY400" fmla="*/ 1399769 h 1609071"/>
                    <a:gd name="connsiteX401" fmla="*/ 5369392 w 7415104"/>
                    <a:gd name="connsiteY401" fmla="*/ 1421437 h 1609071"/>
                    <a:gd name="connsiteX402" fmla="*/ 5473399 w 7415104"/>
                    <a:gd name="connsiteY402" fmla="*/ 1421437 h 1609071"/>
                    <a:gd name="connsiteX403" fmla="*/ 5473399 w 7415104"/>
                    <a:gd name="connsiteY403" fmla="*/ 1399769 h 1609071"/>
                    <a:gd name="connsiteX404" fmla="*/ 5512402 w 7415104"/>
                    <a:gd name="connsiteY404" fmla="*/ 1399769 h 1609071"/>
                    <a:gd name="connsiteX405" fmla="*/ 5512402 w 7415104"/>
                    <a:gd name="connsiteY405" fmla="*/ 1425771 h 1609071"/>
                    <a:gd name="connsiteX406" fmla="*/ 5607742 w 7415104"/>
                    <a:gd name="connsiteY406" fmla="*/ 1425771 h 1609071"/>
                    <a:gd name="connsiteX407" fmla="*/ 5607742 w 7415104"/>
                    <a:gd name="connsiteY407" fmla="*/ 1399769 h 1609071"/>
                    <a:gd name="connsiteX408" fmla="*/ 5664080 w 7415104"/>
                    <a:gd name="connsiteY408" fmla="*/ 1399769 h 1609071"/>
                    <a:gd name="connsiteX409" fmla="*/ 5664080 w 7415104"/>
                    <a:gd name="connsiteY409" fmla="*/ 1434438 h 1609071"/>
                    <a:gd name="connsiteX410" fmla="*/ 5685748 w 7415104"/>
                    <a:gd name="connsiteY410" fmla="*/ 1434438 h 1609071"/>
                    <a:gd name="connsiteX411" fmla="*/ 5685748 w 7415104"/>
                    <a:gd name="connsiteY411" fmla="*/ 1443106 h 1609071"/>
                    <a:gd name="connsiteX412" fmla="*/ 5716083 w 7415104"/>
                    <a:gd name="connsiteY412" fmla="*/ 1443106 h 1609071"/>
                    <a:gd name="connsiteX413" fmla="*/ 5716083 w 7415104"/>
                    <a:gd name="connsiteY413" fmla="*/ 1456106 h 1609071"/>
                    <a:gd name="connsiteX414" fmla="*/ 5794089 w 7415104"/>
                    <a:gd name="connsiteY414" fmla="*/ 1456106 h 1609071"/>
                    <a:gd name="connsiteX415" fmla="*/ 5794089 w 7415104"/>
                    <a:gd name="connsiteY415" fmla="*/ 1421437 h 1609071"/>
                    <a:gd name="connsiteX416" fmla="*/ 5837426 w 7415104"/>
                    <a:gd name="connsiteY416" fmla="*/ 1421437 h 1609071"/>
                    <a:gd name="connsiteX417" fmla="*/ 5837426 w 7415104"/>
                    <a:gd name="connsiteY417" fmla="*/ 1456106 h 1609071"/>
                    <a:gd name="connsiteX418" fmla="*/ 5902430 w 7415104"/>
                    <a:gd name="connsiteY418" fmla="*/ 1456106 h 1609071"/>
                    <a:gd name="connsiteX419" fmla="*/ 5928432 w 7415104"/>
                    <a:gd name="connsiteY419" fmla="*/ 1456106 h 1609071"/>
                    <a:gd name="connsiteX420" fmla="*/ 5928432 w 7415104"/>
                    <a:gd name="connsiteY420" fmla="*/ 1473441 h 1609071"/>
                    <a:gd name="connsiteX421" fmla="*/ 5945767 w 7415104"/>
                    <a:gd name="connsiteY421" fmla="*/ 1473441 h 1609071"/>
                    <a:gd name="connsiteX422" fmla="*/ 5950101 w 7415104"/>
                    <a:gd name="connsiteY422" fmla="*/ 1477775 h 1609071"/>
                    <a:gd name="connsiteX423" fmla="*/ 6019439 w 7415104"/>
                    <a:gd name="connsiteY423" fmla="*/ 1477775 h 1609071"/>
                    <a:gd name="connsiteX424" fmla="*/ 6019439 w 7415104"/>
                    <a:gd name="connsiteY424" fmla="*/ 1456106 h 1609071"/>
                    <a:gd name="connsiteX425" fmla="*/ 6058442 w 7415104"/>
                    <a:gd name="connsiteY425" fmla="*/ 1456106 h 1609071"/>
                    <a:gd name="connsiteX426" fmla="*/ 6058442 w 7415104"/>
                    <a:gd name="connsiteY426" fmla="*/ 1499443 h 1609071"/>
                    <a:gd name="connsiteX427" fmla="*/ 6110446 w 7415104"/>
                    <a:gd name="connsiteY427" fmla="*/ 1499443 h 1609071"/>
                    <a:gd name="connsiteX428" fmla="*/ 6110446 w 7415104"/>
                    <a:gd name="connsiteY428" fmla="*/ 1508110 h 1609071"/>
                    <a:gd name="connsiteX429" fmla="*/ 6188451 w 7415104"/>
                    <a:gd name="connsiteY429" fmla="*/ 1508110 h 1609071"/>
                    <a:gd name="connsiteX430" fmla="*/ 6188451 w 7415104"/>
                    <a:gd name="connsiteY430" fmla="*/ 1464774 h 1609071"/>
                    <a:gd name="connsiteX431" fmla="*/ 6227454 w 7415104"/>
                    <a:gd name="connsiteY431" fmla="*/ 1464774 h 1609071"/>
                    <a:gd name="connsiteX432" fmla="*/ 6227454 w 7415104"/>
                    <a:gd name="connsiteY432" fmla="*/ 1516778 h 1609071"/>
                    <a:gd name="connsiteX433" fmla="*/ 6353130 w 7415104"/>
                    <a:gd name="connsiteY433" fmla="*/ 1516778 h 1609071"/>
                    <a:gd name="connsiteX434" fmla="*/ 6353130 w 7415104"/>
                    <a:gd name="connsiteY434" fmla="*/ 1477775 h 1609071"/>
                    <a:gd name="connsiteX435" fmla="*/ 6397561 w 7415104"/>
                    <a:gd name="connsiteY435" fmla="*/ 1475394 h 1609071"/>
                    <a:gd name="connsiteX436" fmla="*/ 6399942 w 7415104"/>
                    <a:gd name="connsiteY436" fmla="*/ 1529778 h 1609071"/>
                    <a:gd name="connsiteX437" fmla="*/ 6447614 w 7415104"/>
                    <a:gd name="connsiteY437" fmla="*/ 1529778 h 1609071"/>
                    <a:gd name="connsiteX438" fmla="*/ 6447611 w 7415104"/>
                    <a:gd name="connsiteY438" fmla="*/ 1479728 h 1609071"/>
                    <a:gd name="connsiteX439" fmla="*/ 6487473 w 7415104"/>
                    <a:gd name="connsiteY439" fmla="*/ 1482108 h 1609071"/>
                    <a:gd name="connsiteX440" fmla="*/ 6487473 w 7415104"/>
                    <a:gd name="connsiteY440" fmla="*/ 1529778 h 1609071"/>
                    <a:gd name="connsiteX441" fmla="*/ 6561145 w 7415104"/>
                    <a:gd name="connsiteY441" fmla="*/ 1529778 h 1609071"/>
                    <a:gd name="connsiteX442" fmla="*/ 6565479 w 7415104"/>
                    <a:gd name="connsiteY442" fmla="*/ 1534112 h 1609071"/>
                    <a:gd name="connsiteX443" fmla="*/ 6674249 w 7415104"/>
                    <a:gd name="connsiteY443" fmla="*/ 1536493 h 1609071"/>
                    <a:gd name="connsiteX444" fmla="*/ 6676630 w 7415104"/>
                    <a:gd name="connsiteY444" fmla="*/ 1499443 h 1609071"/>
                    <a:gd name="connsiteX445" fmla="*/ 6738825 w 7415104"/>
                    <a:gd name="connsiteY445" fmla="*/ 1499443 h 1609071"/>
                    <a:gd name="connsiteX446" fmla="*/ 6738825 w 7415104"/>
                    <a:gd name="connsiteY446" fmla="*/ 1542779 h 1609071"/>
                    <a:gd name="connsiteX447" fmla="*/ 6795162 w 7415104"/>
                    <a:gd name="connsiteY447" fmla="*/ 1542779 h 1609071"/>
                    <a:gd name="connsiteX448" fmla="*/ 6795162 w 7415104"/>
                    <a:gd name="connsiteY448" fmla="*/ 1499443 h 1609071"/>
                    <a:gd name="connsiteX449" fmla="*/ 6829831 w 7415104"/>
                    <a:gd name="connsiteY449" fmla="*/ 1499443 h 1609071"/>
                    <a:gd name="connsiteX450" fmla="*/ 6829831 w 7415104"/>
                    <a:gd name="connsiteY450" fmla="*/ 1529778 h 1609071"/>
                    <a:gd name="connsiteX451" fmla="*/ 6847166 w 7415104"/>
                    <a:gd name="connsiteY451" fmla="*/ 1529778 h 1609071"/>
                    <a:gd name="connsiteX452" fmla="*/ 6847166 w 7415104"/>
                    <a:gd name="connsiteY452" fmla="*/ 1555780 h 1609071"/>
                    <a:gd name="connsiteX453" fmla="*/ 7050847 w 7415104"/>
                    <a:gd name="connsiteY453" fmla="*/ 1555780 h 1609071"/>
                    <a:gd name="connsiteX454" fmla="*/ 7063848 w 7415104"/>
                    <a:gd name="connsiteY454" fmla="*/ 1568781 h 1609071"/>
                    <a:gd name="connsiteX455" fmla="*/ 7133187 w 7415104"/>
                    <a:gd name="connsiteY455" fmla="*/ 1568781 h 1609071"/>
                    <a:gd name="connsiteX456" fmla="*/ 7133187 w 7415104"/>
                    <a:gd name="connsiteY456" fmla="*/ 1586116 h 1609071"/>
                    <a:gd name="connsiteX457" fmla="*/ 7284865 w 7415104"/>
                    <a:gd name="connsiteY457" fmla="*/ 1586116 h 1609071"/>
                    <a:gd name="connsiteX458" fmla="*/ 7284865 w 7415104"/>
                    <a:gd name="connsiteY458" fmla="*/ 1607784 h 1609071"/>
                    <a:gd name="connsiteX459" fmla="*/ 7414876 w 7415104"/>
                    <a:gd name="connsiteY459"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86155 w 7415104"/>
                    <a:gd name="connsiteY71" fmla="*/ 1128792 h 1609071"/>
                    <a:gd name="connsiteX72" fmla="*/ 4632672 w 7415104"/>
                    <a:gd name="connsiteY72" fmla="*/ 1213422 h 1609071"/>
                    <a:gd name="connsiteX73" fmla="*/ 4489661 w 7415104"/>
                    <a:gd name="connsiteY73" fmla="*/ 1213422 h 1609071"/>
                    <a:gd name="connsiteX74" fmla="*/ 4489661 w 7415104"/>
                    <a:gd name="connsiteY74" fmla="*/ 1200421 h 1609071"/>
                    <a:gd name="connsiteX75" fmla="*/ 4446324 w 7415104"/>
                    <a:gd name="connsiteY75" fmla="*/ 1200421 h 1609071"/>
                    <a:gd name="connsiteX76" fmla="*/ 4446324 w 7415104"/>
                    <a:gd name="connsiteY76" fmla="*/ 1183087 h 1609071"/>
                    <a:gd name="connsiteX77" fmla="*/ 4411655 w 7415104"/>
                    <a:gd name="connsiteY77" fmla="*/ 1183087 h 1609071"/>
                    <a:gd name="connsiteX78" fmla="*/ 4393892 w 7415104"/>
                    <a:gd name="connsiteY78" fmla="*/ 1184373 h 1609071"/>
                    <a:gd name="connsiteX79" fmla="*/ 4394321 w 7415104"/>
                    <a:gd name="connsiteY79" fmla="*/ 1200421 h 1609071"/>
                    <a:gd name="connsiteX80" fmla="*/ 4359651 w 7415104"/>
                    <a:gd name="connsiteY80" fmla="*/ 1200421 h 1609071"/>
                    <a:gd name="connsiteX81" fmla="*/ 4359651 w 7415104"/>
                    <a:gd name="connsiteY81" fmla="*/ 1157085 h 1609071"/>
                    <a:gd name="connsiteX82" fmla="*/ 4329316 w 7415104"/>
                    <a:gd name="connsiteY82" fmla="*/ 1157085 h 1609071"/>
                    <a:gd name="connsiteX83" fmla="*/ 4320648 w 7415104"/>
                    <a:gd name="connsiteY83" fmla="*/ 1148417 h 1609071"/>
                    <a:gd name="connsiteX84" fmla="*/ 4155970 w 7415104"/>
                    <a:gd name="connsiteY84" fmla="*/ 1148417 h 1609071"/>
                    <a:gd name="connsiteX85" fmla="*/ 4147302 w 7415104"/>
                    <a:gd name="connsiteY85" fmla="*/ 1139749 h 1609071"/>
                    <a:gd name="connsiteX86" fmla="*/ 4064963 w 7415104"/>
                    <a:gd name="connsiteY86" fmla="*/ 1139749 h 1609071"/>
                    <a:gd name="connsiteX87" fmla="*/ 4064963 w 7415104"/>
                    <a:gd name="connsiteY87" fmla="*/ 1122415 h 1609071"/>
                    <a:gd name="connsiteX88" fmla="*/ 4047628 w 7415104"/>
                    <a:gd name="connsiteY88" fmla="*/ 1122415 h 1609071"/>
                    <a:gd name="connsiteX89" fmla="*/ 4047628 w 7415104"/>
                    <a:gd name="connsiteY89" fmla="*/ 1105081 h 1609071"/>
                    <a:gd name="connsiteX90" fmla="*/ 4025960 w 7415104"/>
                    <a:gd name="connsiteY90" fmla="*/ 1105081 h 1609071"/>
                    <a:gd name="connsiteX91" fmla="*/ 4025960 w 7415104"/>
                    <a:gd name="connsiteY91" fmla="*/ 1152751 h 1609071"/>
                    <a:gd name="connsiteX92" fmla="*/ 3991291 w 7415104"/>
                    <a:gd name="connsiteY92" fmla="*/ 1152751 h 1609071"/>
                    <a:gd name="connsiteX93" fmla="*/ 3991291 w 7415104"/>
                    <a:gd name="connsiteY93" fmla="*/ 1109415 h 1609071"/>
                    <a:gd name="connsiteX94" fmla="*/ 3960956 w 7415104"/>
                    <a:gd name="connsiteY94" fmla="*/ 1109415 h 1609071"/>
                    <a:gd name="connsiteX95" fmla="*/ 3952288 w 7415104"/>
                    <a:gd name="connsiteY95" fmla="*/ 1100747 h 1609071"/>
                    <a:gd name="connsiteX96" fmla="*/ 3735606 w 7415104"/>
                    <a:gd name="connsiteY96" fmla="*/ 1100747 h 1609071"/>
                    <a:gd name="connsiteX97" fmla="*/ 3718272 w 7415104"/>
                    <a:gd name="connsiteY97" fmla="*/ 1083413 h 1609071"/>
                    <a:gd name="connsiteX98" fmla="*/ 3592595 w 7415104"/>
                    <a:gd name="connsiteY98" fmla="*/ 1083413 h 1609071"/>
                    <a:gd name="connsiteX99" fmla="*/ 3575261 w 7415104"/>
                    <a:gd name="connsiteY99" fmla="*/ 1066079 h 1609071"/>
                    <a:gd name="connsiteX100" fmla="*/ 3440918 w 7415104"/>
                    <a:gd name="connsiteY100" fmla="*/ 1066079 h 1609071"/>
                    <a:gd name="connsiteX101" fmla="*/ 3440918 w 7415104"/>
                    <a:gd name="connsiteY101" fmla="*/ 1040076 h 1609071"/>
                    <a:gd name="connsiteX102" fmla="*/ 3319575 w 7415104"/>
                    <a:gd name="connsiteY102" fmla="*/ 1040076 h 1609071"/>
                    <a:gd name="connsiteX103" fmla="*/ 3319575 w 7415104"/>
                    <a:gd name="connsiteY103" fmla="*/ 1027075 h 1609071"/>
                    <a:gd name="connsiteX104" fmla="*/ 3180899 w 7415104"/>
                    <a:gd name="connsiteY104" fmla="*/ 1027075 h 1609071"/>
                    <a:gd name="connsiteX105" fmla="*/ 3180899 w 7415104"/>
                    <a:gd name="connsiteY105" fmla="*/ 1020123 h 1609071"/>
                    <a:gd name="connsiteX106" fmla="*/ 3163564 w 7415104"/>
                    <a:gd name="connsiteY106" fmla="*/ 1018408 h 1609071"/>
                    <a:gd name="connsiteX107" fmla="*/ 3150563 w 7415104"/>
                    <a:gd name="connsiteY107" fmla="*/ 1005407 h 1609071"/>
                    <a:gd name="connsiteX108" fmla="*/ 2990218 w 7415104"/>
                    <a:gd name="connsiteY108" fmla="*/ 1005407 h 1609071"/>
                    <a:gd name="connsiteX109" fmla="*/ 2990218 w 7415104"/>
                    <a:gd name="connsiteY109" fmla="*/ 988072 h 1609071"/>
                    <a:gd name="connsiteX110" fmla="*/ 2907879 w 7415104"/>
                    <a:gd name="connsiteY110" fmla="*/ 988072 h 1609071"/>
                    <a:gd name="connsiteX111" fmla="*/ 2899211 w 7415104"/>
                    <a:gd name="connsiteY111" fmla="*/ 979404 h 1609071"/>
                    <a:gd name="connsiteX112" fmla="*/ 2868876 w 7415104"/>
                    <a:gd name="connsiteY112" fmla="*/ 979404 h 1609071"/>
                    <a:gd name="connsiteX113" fmla="*/ 2868876 w 7415104"/>
                    <a:gd name="connsiteY113" fmla="*/ 953403 h 1609071"/>
                    <a:gd name="connsiteX114" fmla="*/ 2842874 w 7415104"/>
                    <a:gd name="connsiteY114" fmla="*/ 953403 h 1609071"/>
                    <a:gd name="connsiteX115" fmla="*/ 2834207 w 7415104"/>
                    <a:gd name="connsiteY115" fmla="*/ 944736 h 1609071"/>
                    <a:gd name="connsiteX116" fmla="*/ 2756201 w 7415104"/>
                    <a:gd name="connsiteY116" fmla="*/ 944736 h 1609071"/>
                    <a:gd name="connsiteX117" fmla="*/ 2747534 w 7415104"/>
                    <a:gd name="connsiteY117" fmla="*/ 936069 h 1609071"/>
                    <a:gd name="connsiteX118" fmla="*/ 2699864 w 7415104"/>
                    <a:gd name="connsiteY118" fmla="*/ 936069 h 1609071"/>
                    <a:gd name="connsiteX119" fmla="*/ 2688815 w 7415104"/>
                    <a:gd name="connsiteY119" fmla="*/ 925019 h 1609071"/>
                    <a:gd name="connsiteX120" fmla="*/ 2643526 w 7415104"/>
                    <a:gd name="connsiteY120" fmla="*/ 927401 h 1609071"/>
                    <a:gd name="connsiteX121" fmla="*/ 2638099 w 7415104"/>
                    <a:gd name="connsiteY121" fmla="*/ 910067 h 1609071"/>
                    <a:gd name="connsiteX122" fmla="*/ 2616001 w 7415104"/>
                    <a:gd name="connsiteY122" fmla="*/ 899876 h 1609071"/>
                    <a:gd name="connsiteX123" fmla="*/ 2591522 w 7415104"/>
                    <a:gd name="connsiteY123" fmla="*/ 875397 h 1609071"/>
                    <a:gd name="connsiteX124" fmla="*/ 2561187 w 7415104"/>
                    <a:gd name="connsiteY124" fmla="*/ 875397 h 1609071"/>
                    <a:gd name="connsiteX125" fmla="*/ 2552519 w 7415104"/>
                    <a:gd name="connsiteY125" fmla="*/ 866729 h 1609071"/>
                    <a:gd name="connsiteX126" fmla="*/ 2500516 w 7415104"/>
                    <a:gd name="connsiteY126" fmla="*/ 866729 h 1609071"/>
                    <a:gd name="connsiteX127" fmla="*/ 2500516 w 7415104"/>
                    <a:gd name="connsiteY127" fmla="*/ 849396 h 1609071"/>
                    <a:gd name="connsiteX128" fmla="*/ 2444178 w 7415104"/>
                    <a:gd name="connsiteY128" fmla="*/ 849396 h 1609071"/>
                    <a:gd name="connsiteX129" fmla="*/ 2435510 w 7415104"/>
                    <a:gd name="connsiteY129" fmla="*/ 840728 h 1609071"/>
                    <a:gd name="connsiteX130" fmla="*/ 2413843 w 7415104"/>
                    <a:gd name="connsiteY130" fmla="*/ 840728 h 1609071"/>
                    <a:gd name="connsiteX131" fmla="*/ 2400842 w 7415104"/>
                    <a:gd name="connsiteY131" fmla="*/ 827727 h 1609071"/>
                    <a:gd name="connsiteX132" fmla="*/ 2348838 w 7415104"/>
                    <a:gd name="connsiteY132" fmla="*/ 827727 h 1609071"/>
                    <a:gd name="connsiteX133" fmla="*/ 2348838 w 7415104"/>
                    <a:gd name="connsiteY133" fmla="*/ 810393 h 1609071"/>
                    <a:gd name="connsiteX134" fmla="*/ 2309835 w 7415104"/>
                    <a:gd name="connsiteY134" fmla="*/ 810393 h 1609071"/>
                    <a:gd name="connsiteX135" fmla="*/ 2296834 w 7415104"/>
                    <a:gd name="connsiteY135" fmla="*/ 823394 h 1609071"/>
                    <a:gd name="connsiteX136" fmla="*/ 2266499 w 7415104"/>
                    <a:gd name="connsiteY136" fmla="*/ 823394 h 1609071"/>
                    <a:gd name="connsiteX137" fmla="*/ 2253498 w 7415104"/>
                    <a:gd name="connsiteY137" fmla="*/ 810393 h 1609071"/>
                    <a:gd name="connsiteX138" fmla="*/ 2244830 w 7415104"/>
                    <a:gd name="connsiteY138" fmla="*/ 801725 h 1609071"/>
                    <a:gd name="connsiteX139" fmla="*/ 2244830 w 7415104"/>
                    <a:gd name="connsiteY139" fmla="*/ 775724 h 1609071"/>
                    <a:gd name="connsiteX140" fmla="*/ 2123488 w 7415104"/>
                    <a:gd name="connsiteY140" fmla="*/ 775724 h 1609071"/>
                    <a:gd name="connsiteX141" fmla="*/ 2123488 w 7415104"/>
                    <a:gd name="connsiteY141" fmla="*/ 745388 h 1609071"/>
                    <a:gd name="connsiteX142" fmla="*/ 2071484 w 7415104"/>
                    <a:gd name="connsiteY142" fmla="*/ 745388 h 1609071"/>
                    <a:gd name="connsiteX143" fmla="*/ 2062817 w 7415104"/>
                    <a:gd name="connsiteY143" fmla="*/ 736721 h 1609071"/>
                    <a:gd name="connsiteX144" fmla="*/ 2006480 w 7415104"/>
                    <a:gd name="connsiteY144" fmla="*/ 736721 h 1609071"/>
                    <a:gd name="connsiteX145" fmla="*/ 2006480 w 7415104"/>
                    <a:gd name="connsiteY145" fmla="*/ 715052 h 1609071"/>
                    <a:gd name="connsiteX146" fmla="*/ 1906806 w 7415104"/>
                    <a:gd name="connsiteY146" fmla="*/ 715052 h 1609071"/>
                    <a:gd name="connsiteX147" fmla="*/ 1902473 w 7415104"/>
                    <a:gd name="connsiteY147" fmla="*/ 710719 h 1609071"/>
                    <a:gd name="connsiteX148" fmla="*/ 1863469 w 7415104"/>
                    <a:gd name="connsiteY148" fmla="*/ 710719 h 1609071"/>
                    <a:gd name="connsiteX149" fmla="*/ 1863469 w 7415104"/>
                    <a:gd name="connsiteY149" fmla="*/ 680383 h 1609071"/>
                    <a:gd name="connsiteX150" fmla="*/ 1807132 w 7415104"/>
                    <a:gd name="connsiteY150" fmla="*/ 680383 h 1609071"/>
                    <a:gd name="connsiteX151" fmla="*/ 1798465 w 7415104"/>
                    <a:gd name="connsiteY151" fmla="*/ 671716 h 1609071"/>
                    <a:gd name="connsiteX152" fmla="*/ 1785464 w 7415104"/>
                    <a:gd name="connsiteY152" fmla="*/ 671716 h 1609071"/>
                    <a:gd name="connsiteX153" fmla="*/ 1785464 w 7415104"/>
                    <a:gd name="connsiteY153" fmla="*/ 658715 h 1609071"/>
                    <a:gd name="connsiteX154" fmla="*/ 1750794 w 7415104"/>
                    <a:gd name="connsiteY154" fmla="*/ 658715 h 1609071"/>
                    <a:gd name="connsiteX155" fmla="*/ 1750794 w 7415104"/>
                    <a:gd name="connsiteY155" fmla="*/ 637047 h 1609071"/>
                    <a:gd name="connsiteX156" fmla="*/ 1698791 w 7415104"/>
                    <a:gd name="connsiteY156" fmla="*/ 637047 h 1609071"/>
                    <a:gd name="connsiteX157" fmla="*/ 1698791 w 7415104"/>
                    <a:gd name="connsiteY157" fmla="*/ 611045 h 1609071"/>
                    <a:gd name="connsiteX158" fmla="*/ 1616451 w 7415104"/>
                    <a:gd name="connsiteY158" fmla="*/ 611045 h 1609071"/>
                    <a:gd name="connsiteX159" fmla="*/ 1603450 w 7415104"/>
                    <a:gd name="connsiteY159" fmla="*/ 598044 h 1609071"/>
                    <a:gd name="connsiteX160" fmla="*/ 1590449 w 7415104"/>
                    <a:gd name="connsiteY160" fmla="*/ 598044 h 1609071"/>
                    <a:gd name="connsiteX161" fmla="*/ 1577448 w 7415104"/>
                    <a:gd name="connsiteY161" fmla="*/ 585043 h 1609071"/>
                    <a:gd name="connsiteX162" fmla="*/ 1529778 w 7415104"/>
                    <a:gd name="connsiteY162" fmla="*/ 585043 h 1609071"/>
                    <a:gd name="connsiteX163" fmla="*/ 1529778 w 7415104"/>
                    <a:gd name="connsiteY163" fmla="*/ 576376 h 1609071"/>
                    <a:gd name="connsiteX164" fmla="*/ 1477774 w 7415104"/>
                    <a:gd name="connsiteY164" fmla="*/ 576376 h 1609071"/>
                    <a:gd name="connsiteX165" fmla="*/ 1477774 w 7415104"/>
                    <a:gd name="connsiteY165" fmla="*/ 559041 h 1609071"/>
                    <a:gd name="connsiteX166" fmla="*/ 1408436 w 7415104"/>
                    <a:gd name="connsiteY166" fmla="*/ 559041 h 1609071"/>
                    <a:gd name="connsiteX167" fmla="*/ 1395435 w 7415104"/>
                    <a:gd name="connsiteY167" fmla="*/ 546040 h 1609071"/>
                    <a:gd name="connsiteX168" fmla="*/ 1330430 w 7415104"/>
                    <a:gd name="connsiteY168" fmla="*/ 546040 h 1609071"/>
                    <a:gd name="connsiteX169" fmla="*/ 1330430 w 7415104"/>
                    <a:gd name="connsiteY169" fmla="*/ 528706 h 1609071"/>
                    <a:gd name="connsiteX170" fmla="*/ 1274093 w 7415104"/>
                    <a:gd name="connsiteY170" fmla="*/ 528706 h 1609071"/>
                    <a:gd name="connsiteX171" fmla="*/ 1274093 w 7415104"/>
                    <a:gd name="connsiteY171" fmla="*/ 507037 h 1609071"/>
                    <a:gd name="connsiteX172" fmla="*/ 1191754 w 7415104"/>
                    <a:gd name="connsiteY172" fmla="*/ 507037 h 1609071"/>
                    <a:gd name="connsiteX173" fmla="*/ 1174419 w 7415104"/>
                    <a:gd name="connsiteY173" fmla="*/ 507037 h 1609071"/>
                    <a:gd name="connsiteX174" fmla="*/ 1148417 w 7415104"/>
                    <a:gd name="connsiteY174" fmla="*/ 507037 h 1609071"/>
                    <a:gd name="connsiteX175" fmla="*/ 1148417 w 7415104"/>
                    <a:gd name="connsiteY175" fmla="*/ 481035 h 1609071"/>
                    <a:gd name="connsiteX176" fmla="*/ 1092080 w 7415104"/>
                    <a:gd name="connsiteY176" fmla="*/ 481035 h 1609071"/>
                    <a:gd name="connsiteX177" fmla="*/ 1092080 w 7415104"/>
                    <a:gd name="connsiteY177" fmla="*/ 468034 h 1609071"/>
                    <a:gd name="connsiteX178" fmla="*/ 1044410 w 7415104"/>
                    <a:gd name="connsiteY178" fmla="*/ 468034 h 1609071"/>
                    <a:gd name="connsiteX179" fmla="*/ 1044410 w 7415104"/>
                    <a:gd name="connsiteY179" fmla="*/ 437699 h 1609071"/>
                    <a:gd name="connsiteX180" fmla="*/ 988072 w 7415104"/>
                    <a:gd name="connsiteY180" fmla="*/ 437699 h 1609071"/>
                    <a:gd name="connsiteX181" fmla="*/ 975071 w 7415104"/>
                    <a:gd name="connsiteY181" fmla="*/ 424698 h 1609071"/>
                    <a:gd name="connsiteX182" fmla="*/ 953403 w 7415104"/>
                    <a:gd name="connsiteY182" fmla="*/ 424698 h 1609071"/>
                    <a:gd name="connsiteX183" fmla="*/ 944736 w 7415104"/>
                    <a:gd name="connsiteY183" fmla="*/ 416031 h 1609071"/>
                    <a:gd name="connsiteX184" fmla="*/ 892732 w 7415104"/>
                    <a:gd name="connsiteY184" fmla="*/ 416031 h 1609071"/>
                    <a:gd name="connsiteX185" fmla="*/ 892732 w 7415104"/>
                    <a:gd name="connsiteY185" fmla="*/ 394362 h 1609071"/>
                    <a:gd name="connsiteX186" fmla="*/ 866730 w 7415104"/>
                    <a:gd name="connsiteY186" fmla="*/ 394362 h 1609071"/>
                    <a:gd name="connsiteX187" fmla="*/ 858063 w 7415104"/>
                    <a:gd name="connsiteY187" fmla="*/ 385695 h 1609071"/>
                    <a:gd name="connsiteX188" fmla="*/ 754055 w 7415104"/>
                    <a:gd name="connsiteY188" fmla="*/ 385695 h 1609071"/>
                    <a:gd name="connsiteX189" fmla="*/ 754055 w 7415104"/>
                    <a:gd name="connsiteY189" fmla="*/ 359693 h 1609071"/>
                    <a:gd name="connsiteX190" fmla="*/ 723719 w 7415104"/>
                    <a:gd name="connsiteY190" fmla="*/ 359693 h 1609071"/>
                    <a:gd name="connsiteX191" fmla="*/ 723719 w 7415104"/>
                    <a:gd name="connsiteY191" fmla="*/ 342359 h 1609071"/>
                    <a:gd name="connsiteX192" fmla="*/ 658715 w 7415104"/>
                    <a:gd name="connsiteY192" fmla="*/ 342359 h 1609071"/>
                    <a:gd name="connsiteX193" fmla="*/ 650047 w 7415104"/>
                    <a:gd name="connsiteY193" fmla="*/ 333691 h 1609071"/>
                    <a:gd name="connsiteX194" fmla="*/ 628379 w 7415104"/>
                    <a:gd name="connsiteY194" fmla="*/ 333691 h 1609071"/>
                    <a:gd name="connsiteX195" fmla="*/ 628379 w 7415104"/>
                    <a:gd name="connsiteY195" fmla="*/ 316357 h 1609071"/>
                    <a:gd name="connsiteX196" fmla="*/ 598044 w 7415104"/>
                    <a:gd name="connsiteY196" fmla="*/ 316357 h 1609071"/>
                    <a:gd name="connsiteX197" fmla="*/ 598044 w 7415104"/>
                    <a:gd name="connsiteY197" fmla="*/ 294688 h 1609071"/>
                    <a:gd name="connsiteX198" fmla="*/ 576375 w 7415104"/>
                    <a:gd name="connsiteY198" fmla="*/ 294688 h 1609071"/>
                    <a:gd name="connsiteX199" fmla="*/ 576375 w 7415104"/>
                    <a:gd name="connsiteY199" fmla="*/ 281687 h 1609071"/>
                    <a:gd name="connsiteX200" fmla="*/ 554707 w 7415104"/>
                    <a:gd name="connsiteY200" fmla="*/ 281687 h 1609071"/>
                    <a:gd name="connsiteX201" fmla="*/ 554707 w 7415104"/>
                    <a:gd name="connsiteY201" fmla="*/ 268687 h 1609071"/>
                    <a:gd name="connsiteX202" fmla="*/ 489702 w 7415104"/>
                    <a:gd name="connsiteY202" fmla="*/ 268687 h 1609071"/>
                    <a:gd name="connsiteX203" fmla="*/ 489702 w 7415104"/>
                    <a:gd name="connsiteY203" fmla="*/ 242685 h 1609071"/>
                    <a:gd name="connsiteX204" fmla="*/ 455033 w 7415104"/>
                    <a:gd name="connsiteY204" fmla="*/ 242685 h 1609071"/>
                    <a:gd name="connsiteX205" fmla="*/ 455033 w 7415104"/>
                    <a:gd name="connsiteY205" fmla="*/ 216683 h 1609071"/>
                    <a:gd name="connsiteX206" fmla="*/ 437699 w 7415104"/>
                    <a:gd name="connsiteY206" fmla="*/ 216683 h 1609071"/>
                    <a:gd name="connsiteX207" fmla="*/ 437699 w 7415104"/>
                    <a:gd name="connsiteY207" fmla="*/ 186347 h 1609071"/>
                    <a:gd name="connsiteX208" fmla="*/ 407363 w 7415104"/>
                    <a:gd name="connsiteY208" fmla="*/ 186347 h 1609071"/>
                    <a:gd name="connsiteX209" fmla="*/ 407363 w 7415104"/>
                    <a:gd name="connsiteY209" fmla="*/ 173346 h 1609071"/>
                    <a:gd name="connsiteX210" fmla="*/ 372694 w 7415104"/>
                    <a:gd name="connsiteY210" fmla="*/ 173346 h 1609071"/>
                    <a:gd name="connsiteX211" fmla="*/ 372694 w 7415104"/>
                    <a:gd name="connsiteY211" fmla="*/ 151678 h 1609071"/>
                    <a:gd name="connsiteX212" fmla="*/ 355359 w 7415104"/>
                    <a:gd name="connsiteY212" fmla="*/ 151678 h 1609071"/>
                    <a:gd name="connsiteX213" fmla="*/ 355359 w 7415104"/>
                    <a:gd name="connsiteY213" fmla="*/ 138677 h 1609071"/>
                    <a:gd name="connsiteX214" fmla="*/ 303356 w 7415104"/>
                    <a:gd name="connsiteY214" fmla="*/ 138677 h 1609071"/>
                    <a:gd name="connsiteX215" fmla="*/ 303356 w 7415104"/>
                    <a:gd name="connsiteY215" fmla="*/ 95341 h 1609071"/>
                    <a:gd name="connsiteX216" fmla="*/ 268686 w 7415104"/>
                    <a:gd name="connsiteY216" fmla="*/ 95341 h 1609071"/>
                    <a:gd name="connsiteX217" fmla="*/ 268686 w 7415104"/>
                    <a:gd name="connsiteY217" fmla="*/ 82340 h 1609071"/>
                    <a:gd name="connsiteX218" fmla="*/ 234017 w 7415104"/>
                    <a:gd name="connsiteY218" fmla="*/ 82340 h 1609071"/>
                    <a:gd name="connsiteX219" fmla="*/ 234017 w 7415104"/>
                    <a:gd name="connsiteY219" fmla="*/ 47670 h 1609071"/>
                    <a:gd name="connsiteX220" fmla="*/ 208015 w 7415104"/>
                    <a:gd name="connsiteY220" fmla="*/ 47670 h 1609071"/>
                    <a:gd name="connsiteX221" fmla="*/ 208015 w 7415104"/>
                    <a:gd name="connsiteY221" fmla="*/ 39003 h 1609071"/>
                    <a:gd name="connsiteX222" fmla="*/ 156011 w 7415104"/>
                    <a:gd name="connsiteY222" fmla="*/ 39003 h 1609071"/>
                    <a:gd name="connsiteX223" fmla="*/ 156011 w 7415104"/>
                    <a:gd name="connsiteY223" fmla="*/ 26002 h 1609071"/>
                    <a:gd name="connsiteX224" fmla="*/ 121342 w 7415104"/>
                    <a:gd name="connsiteY224" fmla="*/ 26002 h 1609071"/>
                    <a:gd name="connsiteX225" fmla="*/ 121342 w 7415104"/>
                    <a:gd name="connsiteY225" fmla="*/ 0 h 1609071"/>
                    <a:gd name="connsiteX226" fmla="*/ 82339 w 7415104"/>
                    <a:gd name="connsiteY226" fmla="*/ 0 h 1609071"/>
                    <a:gd name="connsiteX227" fmla="*/ 82339 w 7415104"/>
                    <a:gd name="connsiteY227" fmla="*/ 43337 h 1609071"/>
                    <a:gd name="connsiteX228" fmla="*/ 0 w 7415104"/>
                    <a:gd name="connsiteY228" fmla="*/ 43337 h 1609071"/>
                    <a:gd name="connsiteX229" fmla="*/ 8667 w 7415104"/>
                    <a:gd name="connsiteY229" fmla="*/ 34670 h 1609071"/>
                    <a:gd name="connsiteX230" fmla="*/ 8667 w 7415104"/>
                    <a:gd name="connsiteY230" fmla="*/ 52004 h 1609071"/>
                    <a:gd name="connsiteX231" fmla="*/ 21668 w 7415104"/>
                    <a:gd name="connsiteY231" fmla="*/ 52004 h 1609071"/>
                    <a:gd name="connsiteX232" fmla="*/ 21668 w 7415104"/>
                    <a:gd name="connsiteY232" fmla="*/ 65005 h 1609071"/>
                    <a:gd name="connsiteX233" fmla="*/ 52004 w 7415104"/>
                    <a:gd name="connsiteY233" fmla="*/ 65005 h 1609071"/>
                    <a:gd name="connsiteX234" fmla="*/ 52004 w 7415104"/>
                    <a:gd name="connsiteY234" fmla="*/ 86673 h 1609071"/>
                    <a:gd name="connsiteX235" fmla="*/ 78006 w 7415104"/>
                    <a:gd name="connsiteY235" fmla="*/ 86673 h 1609071"/>
                    <a:gd name="connsiteX236" fmla="*/ 78006 w 7415104"/>
                    <a:gd name="connsiteY236" fmla="*/ 125676 h 1609071"/>
                    <a:gd name="connsiteX237" fmla="*/ 138677 w 7415104"/>
                    <a:gd name="connsiteY237" fmla="*/ 125676 h 1609071"/>
                    <a:gd name="connsiteX238" fmla="*/ 147344 w 7415104"/>
                    <a:gd name="connsiteY238" fmla="*/ 134343 h 1609071"/>
                    <a:gd name="connsiteX239" fmla="*/ 164679 w 7415104"/>
                    <a:gd name="connsiteY239" fmla="*/ 134343 h 1609071"/>
                    <a:gd name="connsiteX240" fmla="*/ 164679 w 7415104"/>
                    <a:gd name="connsiteY240" fmla="*/ 156012 h 1609071"/>
                    <a:gd name="connsiteX241" fmla="*/ 182013 w 7415104"/>
                    <a:gd name="connsiteY241" fmla="*/ 156012 h 1609071"/>
                    <a:gd name="connsiteX242" fmla="*/ 195014 w 7415104"/>
                    <a:gd name="connsiteY242" fmla="*/ 169013 h 1609071"/>
                    <a:gd name="connsiteX243" fmla="*/ 225350 w 7415104"/>
                    <a:gd name="connsiteY243" fmla="*/ 169013 h 1609071"/>
                    <a:gd name="connsiteX244" fmla="*/ 225350 w 7415104"/>
                    <a:gd name="connsiteY244" fmla="*/ 208015 h 1609071"/>
                    <a:gd name="connsiteX245" fmla="*/ 251352 w 7415104"/>
                    <a:gd name="connsiteY245" fmla="*/ 208015 h 1609071"/>
                    <a:gd name="connsiteX246" fmla="*/ 260019 w 7415104"/>
                    <a:gd name="connsiteY246" fmla="*/ 216682 h 1609071"/>
                    <a:gd name="connsiteX247" fmla="*/ 273021 w 7415104"/>
                    <a:gd name="connsiteY247" fmla="*/ 229684 h 1609071"/>
                    <a:gd name="connsiteX248" fmla="*/ 273021 w 7415104"/>
                    <a:gd name="connsiteY248" fmla="*/ 251352 h 1609071"/>
                    <a:gd name="connsiteX249" fmla="*/ 303356 w 7415104"/>
                    <a:gd name="connsiteY249" fmla="*/ 251352 h 1609071"/>
                    <a:gd name="connsiteX250" fmla="*/ 303356 w 7415104"/>
                    <a:gd name="connsiteY250" fmla="*/ 268687 h 1609071"/>
                    <a:gd name="connsiteX251" fmla="*/ 342358 w 7415104"/>
                    <a:gd name="connsiteY251" fmla="*/ 268687 h 1609071"/>
                    <a:gd name="connsiteX252" fmla="*/ 342358 w 7415104"/>
                    <a:gd name="connsiteY252" fmla="*/ 286021 h 1609071"/>
                    <a:gd name="connsiteX253" fmla="*/ 385695 w 7415104"/>
                    <a:gd name="connsiteY253" fmla="*/ 286021 h 1609071"/>
                    <a:gd name="connsiteX254" fmla="*/ 385695 w 7415104"/>
                    <a:gd name="connsiteY254" fmla="*/ 286021 h 1609071"/>
                    <a:gd name="connsiteX255" fmla="*/ 407363 w 7415104"/>
                    <a:gd name="connsiteY255" fmla="*/ 307689 h 1609071"/>
                    <a:gd name="connsiteX256" fmla="*/ 424698 w 7415104"/>
                    <a:gd name="connsiteY256" fmla="*/ 325024 h 1609071"/>
                    <a:gd name="connsiteX257" fmla="*/ 472368 w 7415104"/>
                    <a:gd name="connsiteY257" fmla="*/ 325024 h 1609071"/>
                    <a:gd name="connsiteX258" fmla="*/ 472368 w 7415104"/>
                    <a:gd name="connsiteY258" fmla="*/ 355360 h 1609071"/>
                    <a:gd name="connsiteX259" fmla="*/ 511371 w 7415104"/>
                    <a:gd name="connsiteY259" fmla="*/ 355360 h 1609071"/>
                    <a:gd name="connsiteX260" fmla="*/ 511371 w 7415104"/>
                    <a:gd name="connsiteY260" fmla="*/ 377028 h 1609071"/>
                    <a:gd name="connsiteX261" fmla="*/ 559041 w 7415104"/>
                    <a:gd name="connsiteY261" fmla="*/ 377028 h 1609071"/>
                    <a:gd name="connsiteX262" fmla="*/ 559041 w 7415104"/>
                    <a:gd name="connsiteY262" fmla="*/ 398696 h 1609071"/>
                    <a:gd name="connsiteX263" fmla="*/ 589376 w 7415104"/>
                    <a:gd name="connsiteY263" fmla="*/ 398696 h 1609071"/>
                    <a:gd name="connsiteX264" fmla="*/ 602377 w 7415104"/>
                    <a:gd name="connsiteY264" fmla="*/ 411697 h 1609071"/>
                    <a:gd name="connsiteX265" fmla="*/ 650047 w 7415104"/>
                    <a:gd name="connsiteY265" fmla="*/ 411697 h 1609071"/>
                    <a:gd name="connsiteX266" fmla="*/ 650047 w 7415104"/>
                    <a:gd name="connsiteY266" fmla="*/ 450700 h 1609071"/>
                    <a:gd name="connsiteX267" fmla="*/ 758389 w 7415104"/>
                    <a:gd name="connsiteY267" fmla="*/ 450700 h 1609071"/>
                    <a:gd name="connsiteX268" fmla="*/ 758389 w 7415104"/>
                    <a:gd name="connsiteY268" fmla="*/ 481035 h 1609071"/>
                    <a:gd name="connsiteX269" fmla="*/ 875397 w 7415104"/>
                    <a:gd name="connsiteY269" fmla="*/ 481035 h 1609071"/>
                    <a:gd name="connsiteX270" fmla="*/ 875397 w 7415104"/>
                    <a:gd name="connsiteY270" fmla="*/ 507037 h 1609071"/>
                    <a:gd name="connsiteX271" fmla="*/ 927401 w 7415104"/>
                    <a:gd name="connsiteY271" fmla="*/ 507037 h 1609071"/>
                    <a:gd name="connsiteX272" fmla="*/ 927401 w 7415104"/>
                    <a:gd name="connsiteY272" fmla="*/ 524372 h 1609071"/>
                    <a:gd name="connsiteX273" fmla="*/ 979405 w 7415104"/>
                    <a:gd name="connsiteY273" fmla="*/ 524372 h 1609071"/>
                    <a:gd name="connsiteX274" fmla="*/ 992406 w 7415104"/>
                    <a:gd name="connsiteY274" fmla="*/ 524372 h 1609071"/>
                    <a:gd name="connsiteX275" fmla="*/ 1005407 w 7415104"/>
                    <a:gd name="connsiteY275" fmla="*/ 537373 h 1609071"/>
                    <a:gd name="connsiteX276" fmla="*/ 1027075 w 7415104"/>
                    <a:gd name="connsiteY276" fmla="*/ 537373 h 1609071"/>
                    <a:gd name="connsiteX277" fmla="*/ 1057410 w 7415104"/>
                    <a:gd name="connsiteY277" fmla="*/ 537373 h 1609071"/>
                    <a:gd name="connsiteX278" fmla="*/ 1057410 w 7415104"/>
                    <a:gd name="connsiteY278" fmla="*/ 563375 h 1609071"/>
                    <a:gd name="connsiteX279" fmla="*/ 1079079 w 7415104"/>
                    <a:gd name="connsiteY279" fmla="*/ 563375 h 1609071"/>
                    <a:gd name="connsiteX280" fmla="*/ 1079079 w 7415104"/>
                    <a:gd name="connsiteY280" fmla="*/ 576376 h 1609071"/>
                    <a:gd name="connsiteX281" fmla="*/ 1157084 w 7415104"/>
                    <a:gd name="connsiteY281" fmla="*/ 576376 h 1609071"/>
                    <a:gd name="connsiteX282" fmla="*/ 1157084 w 7415104"/>
                    <a:gd name="connsiteY282" fmla="*/ 589377 h 1609071"/>
                    <a:gd name="connsiteX283" fmla="*/ 1196087 w 7415104"/>
                    <a:gd name="connsiteY283" fmla="*/ 589377 h 1609071"/>
                    <a:gd name="connsiteX284" fmla="*/ 1196087 w 7415104"/>
                    <a:gd name="connsiteY284" fmla="*/ 598044 h 1609071"/>
                    <a:gd name="connsiteX285" fmla="*/ 1243757 w 7415104"/>
                    <a:gd name="connsiteY285" fmla="*/ 598044 h 1609071"/>
                    <a:gd name="connsiteX286" fmla="*/ 1256758 w 7415104"/>
                    <a:gd name="connsiteY286" fmla="*/ 611045 h 1609071"/>
                    <a:gd name="connsiteX287" fmla="*/ 1269759 w 7415104"/>
                    <a:gd name="connsiteY287" fmla="*/ 624046 h 1609071"/>
                    <a:gd name="connsiteX288" fmla="*/ 1334764 w 7415104"/>
                    <a:gd name="connsiteY288" fmla="*/ 624046 h 1609071"/>
                    <a:gd name="connsiteX289" fmla="*/ 1334764 w 7415104"/>
                    <a:gd name="connsiteY289" fmla="*/ 645714 h 1609071"/>
                    <a:gd name="connsiteX290" fmla="*/ 1425771 w 7415104"/>
                    <a:gd name="connsiteY290" fmla="*/ 645714 h 1609071"/>
                    <a:gd name="connsiteX291" fmla="*/ 1434438 w 7415104"/>
                    <a:gd name="connsiteY291" fmla="*/ 654381 h 1609071"/>
                    <a:gd name="connsiteX292" fmla="*/ 1456106 w 7415104"/>
                    <a:gd name="connsiteY292" fmla="*/ 654381 h 1609071"/>
                    <a:gd name="connsiteX293" fmla="*/ 1456106 w 7415104"/>
                    <a:gd name="connsiteY293" fmla="*/ 667382 h 1609071"/>
                    <a:gd name="connsiteX294" fmla="*/ 1508110 w 7415104"/>
                    <a:gd name="connsiteY294" fmla="*/ 667382 h 1609071"/>
                    <a:gd name="connsiteX295" fmla="*/ 1508110 w 7415104"/>
                    <a:gd name="connsiteY295" fmla="*/ 684717 h 1609071"/>
                    <a:gd name="connsiteX296" fmla="*/ 1564447 w 7415104"/>
                    <a:gd name="connsiteY296" fmla="*/ 684717 h 1609071"/>
                    <a:gd name="connsiteX297" fmla="*/ 1568781 w 7415104"/>
                    <a:gd name="connsiteY297" fmla="*/ 689051 h 1609071"/>
                    <a:gd name="connsiteX298" fmla="*/ 1612118 w 7415104"/>
                    <a:gd name="connsiteY298" fmla="*/ 689051 h 1609071"/>
                    <a:gd name="connsiteX299" fmla="*/ 1625119 w 7415104"/>
                    <a:gd name="connsiteY299" fmla="*/ 702052 h 1609071"/>
                    <a:gd name="connsiteX300" fmla="*/ 1677122 w 7415104"/>
                    <a:gd name="connsiteY300" fmla="*/ 702052 h 1609071"/>
                    <a:gd name="connsiteX301" fmla="*/ 1685790 w 7415104"/>
                    <a:gd name="connsiteY301" fmla="*/ 710720 h 1609071"/>
                    <a:gd name="connsiteX302" fmla="*/ 1703123 w 7415104"/>
                    <a:gd name="connsiteY302" fmla="*/ 728053 h 1609071"/>
                    <a:gd name="connsiteX303" fmla="*/ 1716124 w 7415104"/>
                    <a:gd name="connsiteY303" fmla="*/ 741054 h 1609071"/>
                    <a:gd name="connsiteX304" fmla="*/ 1750794 w 7415104"/>
                    <a:gd name="connsiteY304" fmla="*/ 741054 h 1609071"/>
                    <a:gd name="connsiteX305" fmla="*/ 1750794 w 7415104"/>
                    <a:gd name="connsiteY305" fmla="*/ 767056 h 1609071"/>
                    <a:gd name="connsiteX306" fmla="*/ 1798465 w 7415104"/>
                    <a:gd name="connsiteY306" fmla="*/ 767056 h 1609071"/>
                    <a:gd name="connsiteX307" fmla="*/ 1798465 w 7415104"/>
                    <a:gd name="connsiteY307" fmla="*/ 780057 h 1609071"/>
                    <a:gd name="connsiteX308" fmla="*/ 1841801 w 7415104"/>
                    <a:gd name="connsiteY308" fmla="*/ 780057 h 1609071"/>
                    <a:gd name="connsiteX309" fmla="*/ 1841801 w 7415104"/>
                    <a:gd name="connsiteY309" fmla="*/ 797392 h 1609071"/>
                    <a:gd name="connsiteX310" fmla="*/ 1876470 w 7415104"/>
                    <a:gd name="connsiteY310" fmla="*/ 797392 h 1609071"/>
                    <a:gd name="connsiteX311" fmla="*/ 1885138 w 7415104"/>
                    <a:gd name="connsiteY311" fmla="*/ 806060 h 1609071"/>
                    <a:gd name="connsiteX312" fmla="*/ 1963143 w 7415104"/>
                    <a:gd name="connsiteY312" fmla="*/ 806060 h 1609071"/>
                    <a:gd name="connsiteX313" fmla="*/ 2006480 w 7415104"/>
                    <a:gd name="connsiteY313" fmla="*/ 806060 h 1609071"/>
                    <a:gd name="connsiteX314" fmla="*/ 2036815 w 7415104"/>
                    <a:gd name="connsiteY314" fmla="*/ 836395 h 1609071"/>
                    <a:gd name="connsiteX315" fmla="*/ 2049816 w 7415104"/>
                    <a:gd name="connsiteY315" fmla="*/ 836395 h 1609071"/>
                    <a:gd name="connsiteX316" fmla="*/ 2106154 w 7415104"/>
                    <a:gd name="connsiteY316" fmla="*/ 836395 h 1609071"/>
                    <a:gd name="connsiteX317" fmla="*/ 2106154 w 7415104"/>
                    <a:gd name="connsiteY317" fmla="*/ 862396 h 1609071"/>
                    <a:gd name="connsiteX318" fmla="*/ 2119155 w 7415104"/>
                    <a:gd name="connsiteY318" fmla="*/ 862396 h 1609071"/>
                    <a:gd name="connsiteX319" fmla="*/ 2136489 w 7415104"/>
                    <a:gd name="connsiteY319" fmla="*/ 862396 h 1609071"/>
                    <a:gd name="connsiteX320" fmla="*/ 2184159 w 7415104"/>
                    <a:gd name="connsiteY320" fmla="*/ 862396 h 1609071"/>
                    <a:gd name="connsiteX321" fmla="*/ 2184159 w 7415104"/>
                    <a:gd name="connsiteY321" fmla="*/ 888398 h 1609071"/>
                    <a:gd name="connsiteX322" fmla="*/ 2200254 w 7415104"/>
                    <a:gd name="connsiteY322" fmla="*/ 883636 h 1609071"/>
                    <a:gd name="connsiteX323" fmla="*/ 2240733 w 7415104"/>
                    <a:gd name="connsiteY323" fmla="*/ 881254 h 1609071"/>
                    <a:gd name="connsiteX324" fmla="*/ 2240102 w 7415104"/>
                    <a:gd name="connsiteY324" fmla="*/ 914626 h 1609071"/>
                    <a:gd name="connsiteX325" fmla="*/ 2265640 w 7415104"/>
                    <a:gd name="connsiteY325" fmla="*/ 915879 h 1609071"/>
                    <a:gd name="connsiteX326" fmla="*/ 2266296 w 7415104"/>
                    <a:gd name="connsiteY326" fmla="*/ 886052 h 1609071"/>
                    <a:gd name="connsiteX327" fmla="*/ 2301168 w 7415104"/>
                    <a:gd name="connsiteY327" fmla="*/ 880160 h 1609071"/>
                    <a:gd name="connsiteX328" fmla="*/ 2301168 w 7415104"/>
                    <a:gd name="connsiteY328" fmla="*/ 914400 h 1609071"/>
                    <a:gd name="connsiteX329" fmla="*/ 2335837 w 7415104"/>
                    <a:gd name="connsiteY329" fmla="*/ 914400 h 1609071"/>
                    <a:gd name="connsiteX330" fmla="*/ 2335837 w 7415104"/>
                    <a:gd name="connsiteY330" fmla="*/ 923068 h 1609071"/>
                    <a:gd name="connsiteX331" fmla="*/ 2400842 w 7415104"/>
                    <a:gd name="connsiteY331" fmla="*/ 923068 h 1609071"/>
                    <a:gd name="connsiteX332" fmla="*/ 2400842 w 7415104"/>
                    <a:gd name="connsiteY332" fmla="*/ 936069 h 1609071"/>
                    <a:gd name="connsiteX333" fmla="*/ 2439845 w 7415104"/>
                    <a:gd name="connsiteY333" fmla="*/ 936069 h 1609071"/>
                    <a:gd name="connsiteX334" fmla="*/ 2452846 w 7415104"/>
                    <a:gd name="connsiteY334" fmla="*/ 949070 h 1609071"/>
                    <a:gd name="connsiteX335" fmla="*/ 2500516 w 7415104"/>
                    <a:gd name="connsiteY335" fmla="*/ 949070 h 1609071"/>
                    <a:gd name="connsiteX336" fmla="*/ 2513517 w 7415104"/>
                    <a:gd name="connsiteY336" fmla="*/ 962071 h 1609071"/>
                    <a:gd name="connsiteX337" fmla="*/ 2543852 w 7415104"/>
                    <a:gd name="connsiteY337" fmla="*/ 962071 h 1609071"/>
                    <a:gd name="connsiteX338" fmla="*/ 2543852 w 7415104"/>
                    <a:gd name="connsiteY338" fmla="*/ 979405 h 1609071"/>
                    <a:gd name="connsiteX339" fmla="*/ 2591522 w 7415104"/>
                    <a:gd name="connsiteY339" fmla="*/ 979405 h 1609071"/>
                    <a:gd name="connsiteX340" fmla="*/ 2591522 w 7415104"/>
                    <a:gd name="connsiteY340" fmla="*/ 1001073 h 1609071"/>
                    <a:gd name="connsiteX341" fmla="*/ 2639192 w 7415104"/>
                    <a:gd name="connsiteY341" fmla="*/ 1001073 h 1609071"/>
                    <a:gd name="connsiteX342" fmla="*/ 2639192 w 7415104"/>
                    <a:gd name="connsiteY342" fmla="*/ 1022742 h 1609071"/>
                    <a:gd name="connsiteX343" fmla="*/ 2699864 w 7415104"/>
                    <a:gd name="connsiteY343" fmla="*/ 1022742 h 1609071"/>
                    <a:gd name="connsiteX344" fmla="*/ 2699864 w 7415104"/>
                    <a:gd name="connsiteY344" fmla="*/ 1040076 h 1609071"/>
                    <a:gd name="connsiteX345" fmla="*/ 2808205 w 7415104"/>
                    <a:gd name="connsiteY345" fmla="*/ 1040076 h 1609071"/>
                    <a:gd name="connsiteX346" fmla="*/ 2816872 w 7415104"/>
                    <a:gd name="connsiteY346" fmla="*/ 1048743 h 1609071"/>
                    <a:gd name="connsiteX347" fmla="*/ 2825540 w 7415104"/>
                    <a:gd name="connsiteY347" fmla="*/ 1057411 h 1609071"/>
                    <a:gd name="connsiteX348" fmla="*/ 2864542 w 7415104"/>
                    <a:gd name="connsiteY348" fmla="*/ 1057411 h 1609071"/>
                    <a:gd name="connsiteX349" fmla="*/ 2886210 w 7415104"/>
                    <a:gd name="connsiteY349" fmla="*/ 1057411 h 1609071"/>
                    <a:gd name="connsiteX350" fmla="*/ 2899211 w 7415104"/>
                    <a:gd name="connsiteY350" fmla="*/ 1057411 h 1609071"/>
                    <a:gd name="connsiteX351" fmla="*/ 2916546 w 7415104"/>
                    <a:gd name="connsiteY351" fmla="*/ 1074746 h 1609071"/>
                    <a:gd name="connsiteX352" fmla="*/ 2968550 w 7415104"/>
                    <a:gd name="connsiteY352" fmla="*/ 1074746 h 1609071"/>
                    <a:gd name="connsiteX353" fmla="*/ 2968550 w 7415104"/>
                    <a:gd name="connsiteY353" fmla="*/ 1092080 h 1609071"/>
                    <a:gd name="connsiteX354" fmla="*/ 3141896 w 7415104"/>
                    <a:gd name="connsiteY354" fmla="*/ 1092080 h 1609071"/>
                    <a:gd name="connsiteX355" fmla="*/ 3141896 w 7415104"/>
                    <a:gd name="connsiteY355" fmla="*/ 1122415 h 1609071"/>
                    <a:gd name="connsiteX356" fmla="*/ 3211234 w 7415104"/>
                    <a:gd name="connsiteY356" fmla="*/ 1122415 h 1609071"/>
                    <a:gd name="connsiteX357" fmla="*/ 3215568 w 7415104"/>
                    <a:gd name="connsiteY357" fmla="*/ 1122415 h 1609071"/>
                    <a:gd name="connsiteX358" fmla="*/ 3302241 w 7415104"/>
                    <a:gd name="connsiteY358" fmla="*/ 1122415 h 1609071"/>
                    <a:gd name="connsiteX359" fmla="*/ 3302241 w 7415104"/>
                    <a:gd name="connsiteY359" fmla="*/ 1148417 h 1609071"/>
                    <a:gd name="connsiteX360" fmla="*/ 3388914 w 7415104"/>
                    <a:gd name="connsiteY360" fmla="*/ 1148417 h 1609071"/>
                    <a:gd name="connsiteX361" fmla="*/ 3388914 w 7415104"/>
                    <a:gd name="connsiteY361" fmla="*/ 1157085 h 1609071"/>
                    <a:gd name="connsiteX362" fmla="*/ 3445251 w 7415104"/>
                    <a:gd name="connsiteY362" fmla="*/ 1157085 h 1609071"/>
                    <a:gd name="connsiteX363" fmla="*/ 3453919 w 7415104"/>
                    <a:gd name="connsiteY363" fmla="*/ 1165753 h 1609071"/>
                    <a:gd name="connsiteX364" fmla="*/ 3596929 w 7415104"/>
                    <a:gd name="connsiteY364" fmla="*/ 1165753 h 1609071"/>
                    <a:gd name="connsiteX365" fmla="*/ 3596929 w 7415104"/>
                    <a:gd name="connsiteY365" fmla="*/ 1178753 h 1609071"/>
                    <a:gd name="connsiteX366" fmla="*/ 3705270 w 7415104"/>
                    <a:gd name="connsiteY366" fmla="*/ 1178753 h 1609071"/>
                    <a:gd name="connsiteX367" fmla="*/ 3709604 w 7415104"/>
                    <a:gd name="connsiteY367" fmla="*/ 1183087 h 1609071"/>
                    <a:gd name="connsiteX368" fmla="*/ 3960956 w 7415104"/>
                    <a:gd name="connsiteY368" fmla="*/ 1183087 h 1609071"/>
                    <a:gd name="connsiteX369" fmla="*/ 3960956 w 7415104"/>
                    <a:gd name="connsiteY369" fmla="*/ 1204755 h 1609071"/>
                    <a:gd name="connsiteX370" fmla="*/ 3991291 w 7415104"/>
                    <a:gd name="connsiteY370" fmla="*/ 1204755 h 1609071"/>
                    <a:gd name="connsiteX371" fmla="*/ 3991291 w 7415104"/>
                    <a:gd name="connsiteY371" fmla="*/ 1178753 h 1609071"/>
                    <a:gd name="connsiteX372" fmla="*/ 4030294 w 7415104"/>
                    <a:gd name="connsiteY372" fmla="*/ 1178753 h 1609071"/>
                    <a:gd name="connsiteX373" fmla="*/ 4030294 w 7415104"/>
                    <a:gd name="connsiteY373" fmla="*/ 1213422 h 1609071"/>
                    <a:gd name="connsiteX374" fmla="*/ 4043295 w 7415104"/>
                    <a:gd name="connsiteY374" fmla="*/ 1213422 h 1609071"/>
                    <a:gd name="connsiteX375" fmla="*/ 4043295 w 7415104"/>
                    <a:gd name="connsiteY375" fmla="*/ 1222089 h 1609071"/>
                    <a:gd name="connsiteX376" fmla="*/ 4164637 w 7415104"/>
                    <a:gd name="connsiteY376" fmla="*/ 1222089 h 1609071"/>
                    <a:gd name="connsiteX377" fmla="*/ 4164637 w 7415104"/>
                    <a:gd name="connsiteY377" fmla="*/ 1243758 h 1609071"/>
                    <a:gd name="connsiteX378" fmla="*/ 4320648 w 7415104"/>
                    <a:gd name="connsiteY378" fmla="*/ 1243758 h 1609071"/>
                    <a:gd name="connsiteX379" fmla="*/ 4320648 w 7415104"/>
                    <a:gd name="connsiteY379" fmla="*/ 1261092 h 1609071"/>
                    <a:gd name="connsiteX380" fmla="*/ 4398654 w 7415104"/>
                    <a:gd name="connsiteY380" fmla="*/ 1261092 h 1609071"/>
                    <a:gd name="connsiteX381" fmla="*/ 4398654 w 7415104"/>
                    <a:gd name="connsiteY381" fmla="*/ 1287094 h 1609071"/>
                    <a:gd name="connsiteX382" fmla="*/ 4450658 w 7415104"/>
                    <a:gd name="connsiteY382" fmla="*/ 1287094 h 1609071"/>
                    <a:gd name="connsiteX383" fmla="*/ 4476660 w 7415104"/>
                    <a:gd name="connsiteY383" fmla="*/ 1287094 h 1609071"/>
                    <a:gd name="connsiteX384" fmla="*/ 4498328 w 7415104"/>
                    <a:gd name="connsiteY384" fmla="*/ 1308762 h 1609071"/>
                    <a:gd name="connsiteX385" fmla="*/ 4593668 w 7415104"/>
                    <a:gd name="connsiteY385" fmla="*/ 1308762 h 1609071"/>
                    <a:gd name="connsiteX386" fmla="*/ 4602336 w 7415104"/>
                    <a:gd name="connsiteY386" fmla="*/ 1317430 h 1609071"/>
                    <a:gd name="connsiteX387" fmla="*/ 4663007 w 7415104"/>
                    <a:gd name="connsiteY387" fmla="*/ 1317430 h 1609071"/>
                    <a:gd name="connsiteX388" fmla="*/ 4663007 w 7415104"/>
                    <a:gd name="connsiteY388" fmla="*/ 1339098 h 1609071"/>
                    <a:gd name="connsiteX389" fmla="*/ 4706343 w 7415104"/>
                    <a:gd name="connsiteY389" fmla="*/ 1339098 h 1609071"/>
                    <a:gd name="connsiteX390" fmla="*/ 4710677 w 7415104"/>
                    <a:gd name="connsiteY390" fmla="*/ 1343432 h 1609071"/>
                    <a:gd name="connsiteX391" fmla="*/ 4767014 w 7415104"/>
                    <a:gd name="connsiteY391" fmla="*/ 1343432 h 1609071"/>
                    <a:gd name="connsiteX392" fmla="*/ 4765727 w 7415104"/>
                    <a:gd name="connsiteY392" fmla="*/ 1358814 h 1609071"/>
                    <a:gd name="connsiteX393" fmla="*/ 5005365 w 7415104"/>
                    <a:gd name="connsiteY393" fmla="*/ 1356433 h 1609071"/>
                    <a:gd name="connsiteX394" fmla="*/ 5018366 w 7415104"/>
                    <a:gd name="connsiteY394" fmla="*/ 1369434 h 1609071"/>
                    <a:gd name="connsiteX395" fmla="*/ 5152709 w 7415104"/>
                    <a:gd name="connsiteY395" fmla="*/ 1369434 h 1609071"/>
                    <a:gd name="connsiteX396" fmla="*/ 5152709 w 7415104"/>
                    <a:gd name="connsiteY396" fmla="*/ 1391102 h 1609071"/>
                    <a:gd name="connsiteX397" fmla="*/ 5282719 w 7415104"/>
                    <a:gd name="connsiteY397" fmla="*/ 1391102 h 1609071"/>
                    <a:gd name="connsiteX398" fmla="*/ 5291386 w 7415104"/>
                    <a:gd name="connsiteY398" fmla="*/ 1399769 h 1609071"/>
                    <a:gd name="connsiteX399" fmla="*/ 5356391 w 7415104"/>
                    <a:gd name="connsiteY399" fmla="*/ 1399769 h 1609071"/>
                    <a:gd name="connsiteX400" fmla="*/ 5369392 w 7415104"/>
                    <a:gd name="connsiteY400" fmla="*/ 1399769 h 1609071"/>
                    <a:gd name="connsiteX401" fmla="*/ 5369392 w 7415104"/>
                    <a:gd name="connsiteY401" fmla="*/ 1421437 h 1609071"/>
                    <a:gd name="connsiteX402" fmla="*/ 5473399 w 7415104"/>
                    <a:gd name="connsiteY402" fmla="*/ 1421437 h 1609071"/>
                    <a:gd name="connsiteX403" fmla="*/ 5473399 w 7415104"/>
                    <a:gd name="connsiteY403" fmla="*/ 1399769 h 1609071"/>
                    <a:gd name="connsiteX404" fmla="*/ 5512402 w 7415104"/>
                    <a:gd name="connsiteY404" fmla="*/ 1399769 h 1609071"/>
                    <a:gd name="connsiteX405" fmla="*/ 5512402 w 7415104"/>
                    <a:gd name="connsiteY405" fmla="*/ 1425771 h 1609071"/>
                    <a:gd name="connsiteX406" fmla="*/ 5607742 w 7415104"/>
                    <a:gd name="connsiteY406" fmla="*/ 1425771 h 1609071"/>
                    <a:gd name="connsiteX407" fmla="*/ 5607742 w 7415104"/>
                    <a:gd name="connsiteY407" fmla="*/ 1399769 h 1609071"/>
                    <a:gd name="connsiteX408" fmla="*/ 5664080 w 7415104"/>
                    <a:gd name="connsiteY408" fmla="*/ 1399769 h 1609071"/>
                    <a:gd name="connsiteX409" fmla="*/ 5664080 w 7415104"/>
                    <a:gd name="connsiteY409" fmla="*/ 1434438 h 1609071"/>
                    <a:gd name="connsiteX410" fmla="*/ 5685748 w 7415104"/>
                    <a:gd name="connsiteY410" fmla="*/ 1434438 h 1609071"/>
                    <a:gd name="connsiteX411" fmla="*/ 5685748 w 7415104"/>
                    <a:gd name="connsiteY411" fmla="*/ 1443106 h 1609071"/>
                    <a:gd name="connsiteX412" fmla="*/ 5716083 w 7415104"/>
                    <a:gd name="connsiteY412" fmla="*/ 1443106 h 1609071"/>
                    <a:gd name="connsiteX413" fmla="*/ 5716083 w 7415104"/>
                    <a:gd name="connsiteY413" fmla="*/ 1456106 h 1609071"/>
                    <a:gd name="connsiteX414" fmla="*/ 5794089 w 7415104"/>
                    <a:gd name="connsiteY414" fmla="*/ 1456106 h 1609071"/>
                    <a:gd name="connsiteX415" fmla="*/ 5794089 w 7415104"/>
                    <a:gd name="connsiteY415" fmla="*/ 1421437 h 1609071"/>
                    <a:gd name="connsiteX416" fmla="*/ 5837426 w 7415104"/>
                    <a:gd name="connsiteY416" fmla="*/ 1421437 h 1609071"/>
                    <a:gd name="connsiteX417" fmla="*/ 5837426 w 7415104"/>
                    <a:gd name="connsiteY417" fmla="*/ 1456106 h 1609071"/>
                    <a:gd name="connsiteX418" fmla="*/ 5902430 w 7415104"/>
                    <a:gd name="connsiteY418" fmla="*/ 1456106 h 1609071"/>
                    <a:gd name="connsiteX419" fmla="*/ 5928432 w 7415104"/>
                    <a:gd name="connsiteY419" fmla="*/ 1456106 h 1609071"/>
                    <a:gd name="connsiteX420" fmla="*/ 5928432 w 7415104"/>
                    <a:gd name="connsiteY420" fmla="*/ 1473441 h 1609071"/>
                    <a:gd name="connsiteX421" fmla="*/ 5945767 w 7415104"/>
                    <a:gd name="connsiteY421" fmla="*/ 1473441 h 1609071"/>
                    <a:gd name="connsiteX422" fmla="*/ 5950101 w 7415104"/>
                    <a:gd name="connsiteY422" fmla="*/ 1477775 h 1609071"/>
                    <a:gd name="connsiteX423" fmla="*/ 6019439 w 7415104"/>
                    <a:gd name="connsiteY423" fmla="*/ 1477775 h 1609071"/>
                    <a:gd name="connsiteX424" fmla="*/ 6019439 w 7415104"/>
                    <a:gd name="connsiteY424" fmla="*/ 1456106 h 1609071"/>
                    <a:gd name="connsiteX425" fmla="*/ 6058442 w 7415104"/>
                    <a:gd name="connsiteY425" fmla="*/ 1456106 h 1609071"/>
                    <a:gd name="connsiteX426" fmla="*/ 6058442 w 7415104"/>
                    <a:gd name="connsiteY426" fmla="*/ 1499443 h 1609071"/>
                    <a:gd name="connsiteX427" fmla="*/ 6110446 w 7415104"/>
                    <a:gd name="connsiteY427" fmla="*/ 1499443 h 1609071"/>
                    <a:gd name="connsiteX428" fmla="*/ 6110446 w 7415104"/>
                    <a:gd name="connsiteY428" fmla="*/ 1508110 h 1609071"/>
                    <a:gd name="connsiteX429" fmla="*/ 6188451 w 7415104"/>
                    <a:gd name="connsiteY429" fmla="*/ 1508110 h 1609071"/>
                    <a:gd name="connsiteX430" fmla="*/ 6188451 w 7415104"/>
                    <a:gd name="connsiteY430" fmla="*/ 1464774 h 1609071"/>
                    <a:gd name="connsiteX431" fmla="*/ 6227454 w 7415104"/>
                    <a:gd name="connsiteY431" fmla="*/ 1464774 h 1609071"/>
                    <a:gd name="connsiteX432" fmla="*/ 6227454 w 7415104"/>
                    <a:gd name="connsiteY432" fmla="*/ 1516778 h 1609071"/>
                    <a:gd name="connsiteX433" fmla="*/ 6353130 w 7415104"/>
                    <a:gd name="connsiteY433" fmla="*/ 1516778 h 1609071"/>
                    <a:gd name="connsiteX434" fmla="*/ 6353130 w 7415104"/>
                    <a:gd name="connsiteY434" fmla="*/ 1477775 h 1609071"/>
                    <a:gd name="connsiteX435" fmla="*/ 6397561 w 7415104"/>
                    <a:gd name="connsiteY435" fmla="*/ 1475394 h 1609071"/>
                    <a:gd name="connsiteX436" fmla="*/ 6399942 w 7415104"/>
                    <a:gd name="connsiteY436" fmla="*/ 1529778 h 1609071"/>
                    <a:gd name="connsiteX437" fmla="*/ 6447614 w 7415104"/>
                    <a:gd name="connsiteY437" fmla="*/ 1529778 h 1609071"/>
                    <a:gd name="connsiteX438" fmla="*/ 6447611 w 7415104"/>
                    <a:gd name="connsiteY438" fmla="*/ 1479728 h 1609071"/>
                    <a:gd name="connsiteX439" fmla="*/ 6487473 w 7415104"/>
                    <a:gd name="connsiteY439" fmla="*/ 1482108 h 1609071"/>
                    <a:gd name="connsiteX440" fmla="*/ 6487473 w 7415104"/>
                    <a:gd name="connsiteY440" fmla="*/ 1529778 h 1609071"/>
                    <a:gd name="connsiteX441" fmla="*/ 6561145 w 7415104"/>
                    <a:gd name="connsiteY441" fmla="*/ 1529778 h 1609071"/>
                    <a:gd name="connsiteX442" fmla="*/ 6565479 w 7415104"/>
                    <a:gd name="connsiteY442" fmla="*/ 1534112 h 1609071"/>
                    <a:gd name="connsiteX443" fmla="*/ 6674249 w 7415104"/>
                    <a:gd name="connsiteY443" fmla="*/ 1536493 h 1609071"/>
                    <a:gd name="connsiteX444" fmla="*/ 6676630 w 7415104"/>
                    <a:gd name="connsiteY444" fmla="*/ 1499443 h 1609071"/>
                    <a:gd name="connsiteX445" fmla="*/ 6738825 w 7415104"/>
                    <a:gd name="connsiteY445" fmla="*/ 1499443 h 1609071"/>
                    <a:gd name="connsiteX446" fmla="*/ 6738825 w 7415104"/>
                    <a:gd name="connsiteY446" fmla="*/ 1542779 h 1609071"/>
                    <a:gd name="connsiteX447" fmla="*/ 6795162 w 7415104"/>
                    <a:gd name="connsiteY447" fmla="*/ 1542779 h 1609071"/>
                    <a:gd name="connsiteX448" fmla="*/ 6795162 w 7415104"/>
                    <a:gd name="connsiteY448" fmla="*/ 1499443 h 1609071"/>
                    <a:gd name="connsiteX449" fmla="*/ 6829831 w 7415104"/>
                    <a:gd name="connsiteY449" fmla="*/ 1499443 h 1609071"/>
                    <a:gd name="connsiteX450" fmla="*/ 6829831 w 7415104"/>
                    <a:gd name="connsiteY450" fmla="*/ 1529778 h 1609071"/>
                    <a:gd name="connsiteX451" fmla="*/ 6847166 w 7415104"/>
                    <a:gd name="connsiteY451" fmla="*/ 1529778 h 1609071"/>
                    <a:gd name="connsiteX452" fmla="*/ 6847166 w 7415104"/>
                    <a:gd name="connsiteY452" fmla="*/ 1555780 h 1609071"/>
                    <a:gd name="connsiteX453" fmla="*/ 7050847 w 7415104"/>
                    <a:gd name="connsiteY453" fmla="*/ 1555780 h 1609071"/>
                    <a:gd name="connsiteX454" fmla="*/ 7063848 w 7415104"/>
                    <a:gd name="connsiteY454" fmla="*/ 1568781 h 1609071"/>
                    <a:gd name="connsiteX455" fmla="*/ 7133187 w 7415104"/>
                    <a:gd name="connsiteY455" fmla="*/ 1568781 h 1609071"/>
                    <a:gd name="connsiteX456" fmla="*/ 7133187 w 7415104"/>
                    <a:gd name="connsiteY456" fmla="*/ 1586116 h 1609071"/>
                    <a:gd name="connsiteX457" fmla="*/ 7284865 w 7415104"/>
                    <a:gd name="connsiteY457" fmla="*/ 1586116 h 1609071"/>
                    <a:gd name="connsiteX458" fmla="*/ 7284865 w 7415104"/>
                    <a:gd name="connsiteY458" fmla="*/ 1607784 h 1609071"/>
                    <a:gd name="connsiteX459" fmla="*/ 7414876 w 7415104"/>
                    <a:gd name="connsiteY459"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80883 w 7415104"/>
                    <a:gd name="connsiteY71" fmla="*/ 1195615 h 1609071"/>
                    <a:gd name="connsiteX72" fmla="*/ 4686155 w 7415104"/>
                    <a:gd name="connsiteY72" fmla="*/ 112879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11655 w 7415104"/>
                    <a:gd name="connsiteY78" fmla="*/ 1183087 h 1609071"/>
                    <a:gd name="connsiteX79" fmla="*/ 4393892 w 7415104"/>
                    <a:gd name="connsiteY79" fmla="*/ 1184373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86155 w 7415104"/>
                    <a:gd name="connsiteY72" fmla="*/ 112879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11655 w 7415104"/>
                    <a:gd name="connsiteY78" fmla="*/ 1183087 h 1609071"/>
                    <a:gd name="connsiteX79" fmla="*/ 4393892 w 7415104"/>
                    <a:gd name="connsiteY79" fmla="*/ 1184373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11655 w 7415104"/>
                    <a:gd name="connsiteY78" fmla="*/ 1183087 h 1609071"/>
                    <a:gd name="connsiteX79" fmla="*/ 4393892 w 7415104"/>
                    <a:gd name="connsiteY79" fmla="*/ 1184373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602336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11655 w 7415104"/>
                    <a:gd name="connsiteY78" fmla="*/ 1183087 h 1609071"/>
                    <a:gd name="connsiteX79" fmla="*/ 4393892 w 7415104"/>
                    <a:gd name="connsiteY79" fmla="*/ 1184373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597573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11655 w 7415104"/>
                    <a:gd name="connsiteY78" fmla="*/ 1183087 h 1609071"/>
                    <a:gd name="connsiteX79" fmla="*/ 4396273 w 7415104"/>
                    <a:gd name="connsiteY79" fmla="*/ 1172467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597573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11655 w 7415104"/>
                    <a:gd name="connsiteY78" fmla="*/ 1173562 h 1609071"/>
                    <a:gd name="connsiteX79" fmla="*/ 4396273 w 7415104"/>
                    <a:gd name="connsiteY79" fmla="*/ 1172467 h 1609071"/>
                    <a:gd name="connsiteX80" fmla="*/ 4394321 w 7415104"/>
                    <a:gd name="connsiteY80" fmla="*/ 1200421 h 1609071"/>
                    <a:gd name="connsiteX81" fmla="*/ 4359651 w 7415104"/>
                    <a:gd name="connsiteY81" fmla="*/ 1200421 h 1609071"/>
                    <a:gd name="connsiteX82" fmla="*/ 4359651 w 7415104"/>
                    <a:gd name="connsiteY82" fmla="*/ 1157085 h 1609071"/>
                    <a:gd name="connsiteX83" fmla="*/ 4329316 w 7415104"/>
                    <a:gd name="connsiteY83" fmla="*/ 1157085 h 1609071"/>
                    <a:gd name="connsiteX84" fmla="*/ 4320648 w 7415104"/>
                    <a:gd name="connsiteY84" fmla="*/ 1148417 h 1609071"/>
                    <a:gd name="connsiteX85" fmla="*/ 4155970 w 7415104"/>
                    <a:gd name="connsiteY85" fmla="*/ 1148417 h 1609071"/>
                    <a:gd name="connsiteX86" fmla="*/ 4147302 w 7415104"/>
                    <a:gd name="connsiteY86" fmla="*/ 1139749 h 1609071"/>
                    <a:gd name="connsiteX87" fmla="*/ 4064963 w 7415104"/>
                    <a:gd name="connsiteY87" fmla="*/ 1139749 h 1609071"/>
                    <a:gd name="connsiteX88" fmla="*/ 4064963 w 7415104"/>
                    <a:gd name="connsiteY88" fmla="*/ 1122415 h 1609071"/>
                    <a:gd name="connsiteX89" fmla="*/ 4047628 w 7415104"/>
                    <a:gd name="connsiteY89" fmla="*/ 1122415 h 1609071"/>
                    <a:gd name="connsiteX90" fmla="*/ 4047628 w 7415104"/>
                    <a:gd name="connsiteY90" fmla="*/ 1105081 h 1609071"/>
                    <a:gd name="connsiteX91" fmla="*/ 4025960 w 7415104"/>
                    <a:gd name="connsiteY91" fmla="*/ 1105081 h 1609071"/>
                    <a:gd name="connsiteX92" fmla="*/ 4025960 w 7415104"/>
                    <a:gd name="connsiteY92" fmla="*/ 1152751 h 1609071"/>
                    <a:gd name="connsiteX93" fmla="*/ 3991291 w 7415104"/>
                    <a:gd name="connsiteY93" fmla="*/ 1152751 h 1609071"/>
                    <a:gd name="connsiteX94" fmla="*/ 3991291 w 7415104"/>
                    <a:gd name="connsiteY94" fmla="*/ 1109415 h 1609071"/>
                    <a:gd name="connsiteX95" fmla="*/ 3960956 w 7415104"/>
                    <a:gd name="connsiteY95" fmla="*/ 1109415 h 1609071"/>
                    <a:gd name="connsiteX96" fmla="*/ 3952288 w 7415104"/>
                    <a:gd name="connsiteY96" fmla="*/ 1100747 h 1609071"/>
                    <a:gd name="connsiteX97" fmla="*/ 3735606 w 7415104"/>
                    <a:gd name="connsiteY97" fmla="*/ 1100747 h 1609071"/>
                    <a:gd name="connsiteX98" fmla="*/ 3718272 w 7415104"/>
                    <a:gd name="connsiteY98" fmla="*/ 1083413 h 1609071"/>
                    <a:gd name="connsiteX99" fmla="*/ 3592595 w 7415104"/>
                    <a:gd name="connsiteY99" fmla="*/ 1083413 h 1609071"/>
                    <a:gd name="connsiteX100" fmla="*/ 3575261 w 7415104"/>
                    <a:gd name="connsiteY100" fmla="*/ 1066079 h 1609071"/>
                    <a:gd name="connsiteX101" fmla="*/ 3440918 w 7415104"/>
                    <a:gd name="connsiteY101" fmla="*/ 1066079 h 1609071"/>
                    <a:gd name="connsiteX102" fmla="*/ 3440918 w 7415104"/>
                    <a:gd name="connsiteY102" fmla="*/ 1040076 h 1609071"/>
                    <a:gd name="connsiteX103" fmla="*/ 3319575 w 7415104"/>
                    <a:gd name="connsiteY103" fmla="*/ 1040076 h 1609071"/>
                    <a:gd name="connsiteX104" fmla="*/ 3319575 w 7415104"/>
                    <a:gd name="connsiteY104" fmla="*/ 1027075 h 1609071"/>
                    <a:gd name="connsiteX105" fmla="*/ 3180899 w 7415104"/>
                    <a:gd name="connsiteY105" fmla="*/ 1027075 h 1609071"/>
                    <a:gd name="connsiteX106" fmla="*/ 3180899 w 7415104"/>
                    <a:gd name="connsiteY106" fmla="*/ 1020123 h 1609071"/>
                    <a:gd name="connsiteX107" fmla="*/ 3163564 w 7415104"/>
                    <a:gd name="connsiteY107" fmla="*/ 1018408 h 1609071"/>
                    <a:gd name="connsiteX108" fmla="*/ 3150563 w 7415104"/>
                    <a:gd name="connsiteY108" fmla="*/ 1005407 h 1609071"/>
                    <a:gd name="connsiteX109" fmla="*/ 2990218 w 7415104"/>
                    <a:gd name="connsiteY109" fmla="*/ 1005407 h 1609071"/>
                    <a:gd name="connsiteX110" fmla="*/ 2990218 w 7415104"/>
                    <a:gd name="connsiteY110" fmla="*/ 988072 h 1609071"/>
                    <a:gd name="connsiteX111" fmla="*/ 2907879 w 7415104"/>
                    <a:gd name="connsiteY111" fmla="*/ 988072 h 1609071"/>
                    <a:gd name="connsiteX112" fmla="*/ 2899211 w 7415104"/>
                    <a:gd name="connsiteY112" fmla="*/ 979404 h 1609071"/>
                    <a:gd name="connsiteX113" fmla="*/ 2868876 w 7415104"/>
                    <a:gd name="connsiteY113" fmla="*/ 979404 h 1609071"/>
                    <a:gd name="connsiteX114" fmla="*/ 2868876 w 7415104"/>
                    <a:gd name="connsiteY114" fmla="*/ 953403 h 1609071"/>
                    <a:gd name="connsiteX115" fmla="*/ 2842874 w 7415104"/>
                    <a:gd name="connsiteY115" fmla="*/ 953403 h 1609071"/>
                    <a:gd name="connsiteX116" fmla="*/ 2834207 w 7415104"/>
                    <a:gd name="connsiteY116" fmla="*/ 944736 h 1609071"/>
                    <a:gd name="connsiteX117" fmla="*/ 2756201 w 7415104"/>
                    <a:gd name="connsiteY117" fmla="*/ 944736 h 1609071"/>
                    <a:gd name="connsiteX118" fmla="*/ 2747534 w 7415104"/>
                    <a:gd name="connsiteY118" fmla="*/ 936069 h 1609071"/>
                    <a:gd name="connsiteX119" fmla="*/ 2699864 w 7415104"/>
                    <a:gd name="connsiteY119" fmla="*/ 936069 h 1609071"/>
                    <a:gd name="connsiteX120" fmla="*/ 2688815 w 7415104"/>
                    <a:gd name="connsiteY120" fmla="*/ 925019 h 1609071"/>
                    <a:gd name="connsiteX121" fmla="*/ 2643526 w 7415104"/>
                    <a:gd name="connsiteY121" fmla="*/ 927401 h 1609071"/>
                    <a:gd name="connsiteX122" fmla="*/ 2638099 w 7415104"/>
                    <a:gd name="connsiteY122" fmla="*/ 910067 h 1609071"/>
                    <a:gd name="connsiteX123" fmla="*/ 2616001 w 7415104"/>
                    <a:gd name="connsiteY123" fmla="*/ 899876 h 1609071"/>
                    <a:gd name="connsiteX124" fmla="*/ 2591522 w 7415104"/>
                    <a:gd name="connsiteY124" fmla="*/ 875397 h 1609071"/>
                    <a:gd name="connsiteX125" fmla="*/ 2561187 w 7415104"/>
                    <a:gd name="connsiteY125" fmla="*/ 875397 h 1609071"/>
                    <a:gd name="connsiteX126" fmla="*/ 2552519 w 7415104"/>
                    <a:gd name="connsiteY126" fmla="*/ 866729 h 1609071"/>
                    <a:gd name="connsiteX127" fmla="*/ 2500516 w 7415104"/>
                    <a:gd name="connsiteY127" fmla="*/ 866729 h 1609071"/>
                    <a:gd name="connsiteX128" fmla="*/ 2500516 w 7415104"/>
                    <a:gd name="connsiteY128" fmla="*/ 849396 h 1609071"/>
                    <a:gd name="connsiteX129" fmla="*/ 2444178 w 7415104"/>
                    <a:gd name="connsiteY129" fmla="*/ 849396 h 1609071"/>
                    <a:gd name="connsiteX130" fmla="*/ 2435510 w 7415104"/>
                    <a:gd name="connsiteY130" fmla="*/ 840728 h 1609071"/>
                    <a:gd name="connsiteX131" fmla="*/ 2413843 w 7415104"/>
                    <a:gd name="connsiteY131" fmla="*/ 840728 h 1609071"/>
                    <a:gd name="connsiteX132" fmla="*/ 2400842 w 7415104"/>
                    <a:gd name="connsiteY132" fmla="*/ 827727 h 1609071"/>
                    <a:gd name="connsiteX133" fmla="*/ 2348838 w 7415104"/>
                    <a:gd name="connsiteY133" fmla="*/ 827727 h 1609071"/>
                    <a:gd name="connsiteX134" fmla="*/ 2348838 w 7415104"/>
                    <a:gd name="connsiteY134" fmla="*/ 810393 h 1609071"/>
                    <a:gd name="connsiteX135" fmla="*/ 2309835 w 7415104"/>
                    <a:gd name="connsiteY135" fmla="*/ 810393 h 1609071"/>
                    <a:gd name="connsiteX136" fmla="*/ 2296834 w 7415104"/>
                    <a:gd name="connsiteY136" fmla="*/ 823394 h 1609071"/>
                    <a:gd name="connsiteX137" fmla="*/ 2266499 w 7415104"/>
                    <a:gd name="connsiteY137" fmla="*/ 823394 h 1609071"/>
                    <a:gd name="connsiteX138" fmla="*/ 2253498 w 7415104"/>
                    <a:gd name="connsiteY138" fmla="*/ 810393 h 1609071"/>
                    <a:gd name="connsiteX139" fmla="*/ 2244830 w 7415104"/>
                    <a:gd name="connsiteY139" fmla="*/ 801725 h 1609071"/>
                    <a:gd name="connsiteX140" fmla="*/ 2244830 w 7415104"/>
                    <a:gd name="connsiteY140" fmla="*/ 775724 h 1609071"/>
                    <a:gd name="connsiteX141" fmla="*/ 2123488 w 7415104"/>
                    <a:gd name="connsiteY141" fmla="*/ 775724 h 1609071"/>
                    <a:gd name="connsiteX142" fmla="*/ 2123488 w 7415104"/>
                    <a:gd name="connsiteY142" fmla="*/ 745388 h 1609071"/>
                    <a:gd name="connsiteX143" fmla="*/ 2071484 w 7415104"/>
                    <a:gd name="connsiteY143" fmla="*/ 745388 h 1609071"/>
                    <a:gd name="connsiteX144" fmla="*/ 2062817 w 7415104"/>
                    <a:gd name="connsiteY144" fmla="*/ 736721 h 1609071"/>
                    <a:gd name="connsiteX145" fmla="*/ 2006480 w 7415104"/>
                    <a:gd name="connsiteY145" fmla="*/ 736721 h 1609071"/>
                    <a:gd name="connsiteX146" fmla="*/ 2006480 w 7415104"/>
                    <a:gd name="connsiteY146" fmla="*/ 715052 h 1609071"/>
                    <a:gd name="connsiteX147" fmla="*/ 1906806 w 7415104"/>
                    <a:gd name="connsiteY147" fmla="*/ 715052 h 1609071"/>
                    <a:gd name="connsiteX148" fmla="*/ 1902473 w 7415104"/>
                    <a:gd name="connsiteY148" fmla="*/ 710719 h 1609071"/>
                    <a:gd name="connsiteX149" fmla="*/ 1863469 w 7415104"/>
                    <a:gd name="connsiteY149" fmla="*/ 710719 h 1609071"/>
                    <a:gd name="connsiteX150" fmla="*/ 1863469 w 7415104"/>
                    <a:gd name="connsiteY150" fmla="*/ 680383 h 1609071"/>
                    <a:gd name="connsiteX151" fmla="*/ 1807132 w 7415104"/>
                    <a:gd name="connsiteY151" fmla="*/ 680383 h 1609071"/>
                    <a:gd name="connsiteX152" fmla="*/ 1798465 w 7415104"/>
                    <a:gd name="connsiteY152" fmla="*/ 671716 h 1609071"/>
                    <a:gd name="connsiteX153" fmla="*/ 1785464 w 7415104"/>
                    <a:gd name="connsiteY153" fmla="*/ 671716 h 1609071"/>
                    <a:gd name="connsiteX154" fmla="*/ 1785464 w 7415104"/>
                    <a:gd name="connsiteY154" fmla="*/ 658715 h 1609071"/>
                    <a:gd name="connsiteX155" fmla="*/ 1750794 w 7415104"/>
                    <a:gd name="connsiteY155" fmla="*/ 658715 h 1609071"/>
                    <a:gd name="connsiteX156" fmla="*/ 1750794 w 7415104"/>
                    <a:gd name="connsiteY156" fmla="*/ 637047 h 1609071"/>
                    <a:gd name="connsiteX157" fmla="*/ 1698791 w 7415104"/>
                    <a:gd name="connsiteY157" fmla="*/ 637047 h 1609071"/>
                    <a:gd name="connsiteX158" fmla="*/ 1698791 w 7415104"/>
                    <a:gd name="connsiteY158" fmla="*/ 611045 h 1609071"/>
                    <a:gd name="connsiteX159" fmla="*/ 1616451 w 7415104"/>
                    <a:gd name="connsiteY159" fmla="*/ 611045 h 1609071"/>
                    <a:gd name="connsiteX160" fmla="*/ 1603450 w 7415104"/>
                    <a:gd name="connsiteY160" fmla="*/ 598044 h 1609071"/>
                    <a:gd name="connsiteX161" fmla="*/ 1590449 w 7415104"/>
                    <a:gd name="connsiteY161" fmla="*/ 598044 h 1609071"/>
                    <a:gd name="connsiteX162" fmla="*/ 1577448 w 7415104"/>
                    <a:gd name="connsiteY162" fmla="*/ 585043 h 1609071"/>
                    <a:gd name="connsiteX163" fmla="*/ 1529778 w 7415104"/>
                    <a:gd name="connsiteY163" fmla="*/ 585043 h 1609071"/>
                    <a:gd name="connsiteX164" fmla="*/ 1529778 w 7415104"/>
                    <a:gd name="connsiteY164" fmla="*/ 576376 h 1609071"/>
                    <a:gd name="connsiteX165" fmla="*/ 1477774 w 7415104"/>
                    <a:gd name="connsiteY165" fmla="*/ 576376 h 1609071"/>
                    <a:gd name="connsiteX166" fmla="*/ 1477774 w 7415104"/>
                    <a:gd name="connsiteY166" fmla="*/ 559041 h 1609071"/>
                    <a:gd name="connsiteX167" fmla="*/ 1408436 w 7415104"/>
                    <a:gd name="connsiteY167" fmla="*/ 559041 h 1609071"/>
                    <a:gd name="connsiteX168" fmla="*/ 1395435 w 7415104"/>
                    <a:gd name="connsiteY168" fmla="*/ 546040 h 1609071"/>
                    <a:gd name="connsiteX169" fmla="*/ 1330430 w 7415104"/>
                    <a:gd name="connsiteY169" fmla="*/ 546040 h 1609071"/>
                    <a:gd name="connsiteX170" fmla="*/ 1330430 w 7415104"/>
                    <a:gd name="connsiteY170" fmla="*/ 528706 h 1609071"/>
                    <a:gd name="connsiteX171" fmla="*/ 1274093 w 7415104"/>
                    <a:gd name="connsiteY171" fmla="*/ 528706 h 1609071"/>
                    <a:gd name="connsiteX172" fmla="*/ 1274093 w 7415104"/>
                    <a:gd name="connsiteY172" fmla="*/ 507037 h 1609071"/>
                    <a:gd name="connsiteX173" fmla="*/ 1191754 w 7415104"/>
                    <a:gd name="connsiteY173" fmla="*/ 507037 h 1609071"/>
                    <a:gd name="connsiteX174" fmla="*/ 1174419 w 7415104"/>
                    <a:gd name="connsiteY174" fmla="*/ 507037 h 1609071"/>
                    <a:gd name="connsiteX175" fmla="*/ 1148417 w 7415104"/>
                    <a:gd name="connsiteY175" fmla="*/ 507037 h 1609071"/>
                    <a:gd name="connsiteX176" fmla="*/ 1148417 w 7415104"/>
                    <a:gd name="connsiteY176" fmla="*/ 481035 h 1609071"/>
                    <a:gd name="connsiteX177" fmla="*/ 1092080 w 7415104"/>
                    <a:gd name="connsiteY177" fmla="*/ 481035 h 1609071"/>
                    <a:gd name="connsiteX178" fmla="*/ 1092080 w 7415104"/>
                    <a:gd name="connsiteY178" fmla="*/ 468034 h 1609071"/>
                    <a:gd name="connsiteX179" fmla="*/ 1044410 w 7415104"/>
                    <a:gd name="connsiteY179" fmla="*/ 468034 h 1609071"/>
                    <a:gd name="connsiteX180" fmla="*/ 1044410 w 7415104"/>
                    <a:gd name="connsiteY180" fmla="*/ 437699 h 1609071"/>
                    <a:gd name="connsiteX181" fmla="*/ 988072 w 7415104"/>
                    <a:gd name="connsiteY181" fmla="*/ 437699 h 1609071"/>
                    <a:gd name="connsiteX182" fmla="*/ 975071 w 7415104"/>
                    <a:gd name="connsiteY182" fmla="*/ 424698 h 1609071"/>
                    <a:gd name="connsiteX183" fmla="*/ 953403 w 7415104"/>
                    <a:gd name="connsiteY183" fmla="*/ 424698 h 1609071"/>
                    <a:gd name="connsiteX184" fmla="*/ 944736 w 7415104"/>
                    <a:gd name="connsiteY184" fmla="*/ 416031 h 1609071"/>
                    <a:gd name="connsiteX185" fmla="*/ 892732 w 7415104"/>
                    <a:gd name="connsiteY185" fmla="*/ 416031 h 1609071"/>
                    <a:gd name="connsiteX186" fmla="*/ 892732 w 7415104"/>
                    <a:gd name="connsiteY186" fmla="*/ 394362 h 1609071"/>
                    <a:gd name="connsiteX187" fmla="*/ 866730 w 7415104"/>
                    <a:gd name="connsiteY187" fmla="*/ 394362 h 1609071"/>
                    <a:gd name="connsiteX188" fmla="*/ 858063 w 7415104"/>
                    <a:gd name="connsiteY188" fmla="*/ 385695 h 1609071"/>
                    <a:gd name="connsiteX189" fmla="*/ 754055 w 7415104"/>
                    <a:gd name="connsiteY189" fmla="*/ 385695 h 1609071"/>
                    <a:gd name="connsiteX190" fmla="*/ 754055 w 7415104"/>
                    <a:gd name="connsiteY190" fmla="*/ 359693 h 1609071"/>
                    <a:gd name="connsiteX191" fmla="*/ 723719 w 7415104"/>
                    <a:gd name="connsiteY191" fmla="*/ 359693 h 1609071"/>
                    <a:gd name="connsiteX192" fmla="*/ 723719 w 7415104"/>
                    <a:gd name="connsiteY192" fmla="*/ 342359 h 1609071"/>
                    <a:gd name="connsiteX193" fmla="*/ 658715 w 7415104"/>
                    <a:gd name="connsiteY193" fmla="*/ 342359 h 1609071"/>
                    <a:gd name="connsiteX194" fmla="*/ 650047 w 7415104"/>
                    <a:gd name="connsiteY194" fmla="*/ 333691 h 1609071"/>
                    <a:gd name="connsiteX195" fmla="*/ 628379 w 7415104"/>
                    <a:gd name="connsiteY195" fmla="*/ 333691 h 1609071"/>
                    <a:gd name="connsiteX196" fmla="*/ 628379 w 7415104"/>
                    <a:gd name="connsiteY196" fmla="*/ 316357 h 1609071"/>
                    <a:gd name="connsiteX197" fmla="*/ 598044 w 7415104"/>
                    <a:gd name="connsiteY197" fmla="*/ 316357 h 1609071"/>
                    <a:gd name="connsiteX198" fmla="*/ 598044 w 7415104"/>
                    <a:gd name="connsiteY198" fmla="*/ 294688 h 1609071"/>
                    <a:gd name="connsiteX199" fmla="*/ 576375 w 7415104"/>
                    <a:gd name="connsiteY199" fmla="*/ 294688 h 1609071"/>
                    <a:gd name="connsiteX200" fmla="*/ 576375 w 7415104"/>
                    <a:gd name="connsiteY200" fmla="*/ 281687 h 1609071"/>
                    <a:gd name="connsiteX201" fmla="*/ 554707 w 7415104"/>
                    <a:gd name="connsiteY201" fmla="*/ 281687 h 1609071"/>
                    <a:gd name="connsiteX202" fmla="*/ 554707 w 7415104"/>
                    <a:gd name="connsiteY202" fmla="*/ 268687 h 1609071"/>
                    <a:gd name="connsiteX203" fmla="*/ 489702 w 7415104"/>
                    <a:gd name="connsiteY203" fmla="*/ 268687 h 1609071"/>
                    <a:gd name="connsiteX204" fmla="*/ 489702 w 7415104"/>
                    <a:gd name="connsiteY204" fmla="*/ 242685 h 1609071"/>
                    <a:gd name="connsiteX205" fmla="*/ 455033 w 7415104"/>
                    <a:gd name="connsiteY205" fmla="*/ 242685 h 1609071"/>
                    <a:gd name="connsiteX206" fmla="*/ 455033 w 7415104"/>
                    <a:gd name="connsiteY206" fmla="*/ 216683 h 1609071"/>
                    <a:gd name="connsiteX207" fmla="*/ 437699 w 7415104"/>
                    <a:gd name="connsiteY207" fmla="*/ 216683 h 1609071"/>
                    <a:gd name="connsiteX208" fmla="*/ 437699 w 7415104"/>
                    <a:gd name="connsiteY208" fmla="*/ 186347 h 1609071"/>
                    <a:gd name="connsiteX209" fmla="*/ 407363 w 7415104"/>
                    <a:gd name="connsiteY209" fmla="*/ 186347 h 1609071"/>
                    <a:gd name="connsiteX210" fmla="*/ 407363 w 7415104"/>
                    <a:gd name="connsiteY210" fmla="*/ 173346 h 1609071"/>
                    <a:gd name="connsiteX211" fmla="*/ 372694 w 7415104"/>
                    <a:gd name="connsiteY211" fmla="*/ 173346 h 1609071"/>
                    <a:gd name="connsiteX212" fmla="*/ 372694 w 7415104"/>
                    <a:gd name="connsiteY212" fmla="*/ 151678 h 1609071"/>
                    <a:gd name="connsiteX213" fmla="*/ 355359 w 7415104"/>
                    <a:gd name="connsiteY213" fmla="*/ 151678 h 1609071"/>
                    <a:gd name="connsiteX214" fmla="*/ 355359 w 7415104"/>
                    <a:gd name="connsiteY214" fmla="*/ 138677 h 1609071"/>
                    <a:gd name="connsiteX215" fmla="*/ 303356 w 7415104"/>
                    <a:gd name="connsiteY215" fmla="*/ 138677 h 1609071"/>
                    <a:gd name="connsiteX216" fmla="*/ 303356 w 7415104"/>
                    <a:gd name="connsiteY216" fmla="*/ 95341 h 1609071"/>
                    <a:gd name="connsiteX217" fmla="*/ 268686 w 7415104"/>
                    <a:gd name="connsiteY217" fmla="*/ 95341 h 1609071"/>
                    <a:gd name="connsiteX218" fmla="*/ 268686 w 7415104"/>
                    <a:gd name="connsiteY218" fmla="*/ 82340 h 1609071"/>
                    <a:gd name="connsiteX219" fmla="*/ 234017 w 7415104"/>
                    <a:gd name="connsiteY219" fmla="*/ 82340 h 1609071"/>
                    <a:gd name="connsiteX220" fmla="*/ 234017 w 7415104"/>
                    <a:gd name="connsiteY220" fmla="*/ 47670 h 1609071"/>
                    <a:gd name="connsiteX221" fmla="*/ 208015 w 7415104"/>
                    <a:gd name="connsiteY221" fmla="*/ 47670 h 1609071"/>
                    <a:gd name="connsiteX222" fmla="*/ 208015 w 7415104"/>
                    <a:gd name="connsiteY222" fmla="*/ 39003 h 1609071"/>
                    <a:gd name="connsiteX223" fmla="*/ 156011 w 7415104"/>
                    <a:gd name="connsiteY223" fmla="*/ 39003 h 1609071"/>
                    <a:gd name="connsiteX224" fmla="*/ 156011 w 7415104"/>
                    <a:gd name="connsiteY224" fmla="*/ 26002 h 1609071"/>
                    <a:gd name="connsiteX225" fmla="*/ 121342 w 7415104"/>
                    <a:gd name="connsiteY225" fmla="*/ 26002 h 1609071"/>
                    <a:gd name="connsiteX226" fmla="*/ 121342 w 7415104"/>
                    <a:gd name="connsiteY226" fmla="*/ 0 h 1609071"/>
                    <a:gd name="connsiteX227" fmla="*/ 82339 w 7415104"/>
                    <a:gd name="connsiteY227" fmla="*/ 0 h 1609071"/>
                    <a:gd name="connsiteX228" fmla="*/ 82339 w 7415104"/>
                    <a:gd name="connsiteY228" fmla="*/ 43337 h 1609071"/>
                    <a:gd name="connsiteX229" fmla="*/ 0 w 7415104"/>
                    <a:gd name="connsiteY229" fmla="*/ 43337 h 1609071"/>
                    <a:gd name="connsiteX230" fmla="*/ 8667 w 7415104"/>
                    <a:gd name="connsiteY230" fmla="*/ 34670 h 1609071"/>
                    <a:gd name="connsiteX231" fmla="*/ 8667 w 7415104"/>
                    <a:gd name="connsiteY231" fmla="*/ 52004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7075 w 7415104"/>
                    <a:gd name="connsiteY277" fmla="*/ 537373 h 1609071"/>
                    <a:gd name="connsiteX278" fmla="*/ 1057410 w 7415104"/>
                    <a:gd name="connsiteY278" fmla="*/ 537373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68781 w 7415104"/>
                    <a:gd name="connsiteY298" fmla="*/ 689051 h 1609071"/>
                    <a:gd name="connsiteX299" fmla="*/ 1612118 w 7415104"/>
                    <a:gd name="connsiteY299" fmla="*/ 689051 h 1609071"/>
                    <a:gd name="connsiteX300" fmla="*/ 1625119 w 7415104"/>
                    <a:gd name="connsiteY300" fmla="*/ 702052 h 1609071"/>
                    <a:gd name="connsiteX301" fmla="*/ 1677122 w 7415104"/>
                    <a:gd name="connsiteY301" fmla="*/ 702052 h 1609071"/>
                    <a:gd name="connsiteX302" fmla="*/ 1685790 w 7415104"/>
                    <a:gd name="connsiteY302" fmla="*/ 710720 h 1609071"/>
                    <a:gd name="connsiteX303" fmla="*/ 1703123 w 7415104"/>
                    <a:gd name="connsiteY303" fmla="*/ 728053 h 1609071"/>
                    <a:gd name="connsiteX304" fmla="*/ 1716124 w 7415104"/>
                    <a:gd name="connsiteY304" fmla="*/ 741054 h 1609071"/>
                    <a:gd name="connsiteX305" fmla="*/ 1750794 w 7415104"/>
                    <a:gd name="connsiteY305" fmla="*/ 741054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5138 w 7415104"/>
                    <a:gd name="connsiteY312" fmla="*/ 806060 h 1609071"/>
                    <a:gd name="connsiteX313" fmla="*/ 1963143 w 7415104"/>
                    <a:gd name="connsiteY313" fmla="*/ 806060 h 1609071"/>
                    <a:gd name="connsiteX314" fmla="*/ 2006480 w 7415104"/>
                    <a:gd name="connsiteY314" fmla="*/ 806060 h 1609071"/>
                    <a:gd name="connsiteX315" fmla="*/ 2036815 w 7415104"/>
                    <a:gd name="connsiteY315" fmla="*/ 836395 h 1609071"/>
                    <a:gd name="connsiteX316" fmla="*/ 2049816 w 7415104"/>
                    <a:gd name="connsiteY316" fmla="*/ 836395 h 1609071"/>
                    <a:gd name="connsiteX317" fmla="*/ 2106154 w 7415104"/>
                    <a:gd name="connsiteY317" fmla="*/ 836395 h 1609071"/>
                    <a:gd name="connsiteX318" fmla="*/ 2106154 w 7415104"/>
                    <a:gd name="connsiteY318" fmla="*/ 862396 h 1609071"/>
                    <a:gd name="connsiteX319" fmla="*/ 2119155 w 7415104"/>
                    <a:gd name="connsiteY319" fmla="*/ 862396 h 1609071"/>
                    <a:gd name="connsiteX320" fmla="*/ 2136489 w 7415104"/>
                    <a:gd name="connsiteY320" fmla="*/ 862396 h 1609071"/>
                    <a:gd name="connsiteX321" fmla="*/ 2184159 w 7415104"/>
                    <a:gd name="connsiteY321" fmla="*/ 862396 h 1609071"/>
                    <a:gd name="connsiteX322" fmla="*/ 2184159 w 7415104"/>
                    <a:gd name="connsiteY322" fmla="*/ 888398 h 1609071"/>
                    <a:gd name="connsiteX323" fmla="*/ 2200254 w 7415104"/>
                    <a:gd name="connsiteY323" fmla="*/ 883636 h 1609071"/>
                    <a:gd name="connsiteX324" fmla="*/ 2240733 w 7415104"/>
                    <a:gd name="connsiteY324" fmla="*/ 881254 h 1609071"/>
                    <a:gd name="connsiteX325" fmla="*/ 2240102 w 7415104"/>
                    <a:gd name="connsiteY325" fmla="*/ 914626 h 1609071"/>
                    <a:gd name="connsiteX326" fmla="*/ 2265640 w 7415104"/>
                    <a:gd name="connsiteY326" fmla="*/ 915879 h 1609071"/>
                    <a:gd name="connsiteX327" fmla="*/ 2266296 w 7415104"/>
                    <a:gd name="connsiteY327" fmla="*/ 886052 h 1609071"/>
                    <a:gd name="connsiteX328" fmla="*/ 2301168 w 7415104"/>
                    <a:gd name="connsiteY328" fmla="*/ 880160 h 1609071"/>
                    <a:gd name="connsiteX329" fmla="*/ 2301168 w 7415104"/>
                    <a:gd name="connsiteY329" fmla="*/ 914400 h 1609071"/>
                    <a:gd name="connsiteX330" fmla="*/ 2335837 w 7415104"/>
                    <a:gd name="connsiteY330" fmla="*/ 914400 h 1609071"/>
                    <a:gd name="connsiteX331" fmla="*/ 2335837 w 7415104"/>
                    <a:gd name="connsiteY331" fmla="*/ 923068 h 1609071"/>
                    <a:gd name="connsiteX332" fmla="*/ 2400842 w 7415104"/>
                    <a:gd name="connsiteY332" fmla="*/ 923068 h 1609071"/>
                    <a:gd name="connsiteX333" fmla="*/ 2400842 w 7415104"/>
                    <a:gd name="connsiteY333" fmla="*/ 936069 h 1609071"/>
                    <a:gd name="connsiteX334" fmla="*/ 2439845 w 7415104"/>
                    <a:gd name="connsiteY334" fmla="*/ 936069 h 1609071"/>
                    <a:gd name="connsiteX335" fmla="*/ 2452846 w 7415104"/>
                    <a:gd name="connsiteY335" fmla="*/ 949070 h 1609071"/>
                    <a:gd name="connsiteX336" fmla="*/ 2500516 w 7415104"/>
                    <a:gd name="connsiteY336" fmla="*/ 949070 h 1609071"/>
                    <a:gd name="connsiteX337" fmla="*/ 2513517 w 7415104"/>
                    <a:gd name="connsiteY337" fmla="*/ 962071 h 1609071"/>
                    <a:gd name="connsiteX338" fmla="*/ 2543852 w 7415104"/>
                    <a:gd name="connsiteY338" fmla="*/ 962071 h 1609071"/>
                    <a:gd name="connsiteX339" fmla="*/ 2543852 w 7415104"/>
                    <a:gd name="connsiteY339" fmla="*/ 979405 h 1609071"/>
                    <a:gd name="connsiteX340" fmla="*/ 2591522 w 7415104"/>
                    <a:gd name="connsiteY340" fmla="*/ 979405 h 1609071"/>
                    <a:gd name="connsiteX341" fmla="*/ 2591522 w 7415104"/>
                    <a:gd name="connsiteY341" fmla="*/ 1001073 h 1609071"/>
                    <a:gd name="connsiteX342" fmla="*/ 2639192 w 7415104"/>
                    <a:gd name="connsiteY342" fmla="*/ 1001073 h 1609071"/>
                    <a:gd name="connsiteX343" fmla="*/ 2639192 w 7415104"/>
                    <a:gd name="connsiteY343" fmla="*/ 1022742 h 1609071"/>
                    <a:gd name="connsiteX344" fmla="*/ 2699864 w 7415104"/>
                    <a:gd name="connsiteY344" fmla="*/ 1022742 h 1609071"/>
                    <a:gd name="connsiteX345" fmla="*/ 2699864 w 7415104"/>
                    <a:gd name="connsiteY345" fmla="*/ 1040076 h 1609071"/>
                    <a:gd name="connsiteX346" fmla="*/ 2808205 w 7415104"/>
                    <a:gd name="connsiteY346" fmla="*/ 1040076 h 1609071"/>
                    <a:gd name="connsiteX347" fmla="*/ 2816872 w 7415104"/>
                    <a:gd name="connsiteY347" fmla="*/ 1048743 h 1609071"/>
                    <a:gd name="connsiteX348" fmla="*/ 2825540 w 7415104"/>
                    <a:gd name="connsiteY348" fmla="*/ 1057411 h 1609071"/>
                    <a:gd name="connsiteX349" fmla="*/ 2864542 w 7415104"/>
                    <a:gd name="connsiteY349" fmla="*/ 1057411 h 1609071"/>
                    <a:gd name="connsiteX350" fmla="*/ 2886210 w 7415104"/>
                    <a:gd name="connsiteY350" fmla="*/ 1057411 h 1609071"/>
                    <a:gd name="connsiteX351" fmla="*/ 2899211 w 7415104"/>
                    <a:gd name="connsiteY351" fmla="*/ 1057411 h 1609071"/>
                    <a:gd name="connsiteX352" fmla="*/ 2916546 w 7415104"/>
                    <a:gd name="connsiteY352" fmla="*/ 1074746 h 1609071"/>
                    <a:gd name="connsiteX353" fmla="*/ 2968550 w 7415104"/>
                    <a:gd name="connsiteY353" fmla="*/ 1074746 h 1609071"/>
                    <a:gd name="connsiteX354" fmla="*/ 2968550 w 7415104"/>
                    <a:gd name="connsiteY354" fmla="*/ 1092080 h 1609071"/>
                    <a:gd name="connsiteX355" fmla="*/ 3141896 w 7415104"/>
                    <a:gd name="connsiteY355" fmla="*/ 1092080 h 1609071"/>
                    <a:gd name="connsiteX356" fmla="*/ 3141896 w 7415104"/>
                    <a:gd name="connsiteY356" fmla="*/ 1122415 h 1609071"/>
                    <a:gd name="connsiteX357" fmla="*/ 3211234 w 7415104"/>
                    <a:gd name="connsiteY357" fmla="*/ 1122415 h 1609071"/>
                    <a:gd name="connsiteX358" fmla="*/ 3215568 w 7415104"/>
                    <a:gd name="connsiteY358" fmla="*/ 1122415 h 1609071"/>
                    <a:gd name="connsiteX359" fmla="*/ 3302241 w 7415104"/>
                    <a:gd name="connsiteY359" fmla="*/ 1122415 h 1609071"/>
                    <a:gd name="connsiteX360" fmla="*/ 3302241 w 7415104"/>
                    <a:gd name="connsiteY360" fmla="*/ 1148417 h 1609071"/>
                    <a:gd name="connsiteX361" fmla="*/ 3388914 w 7415104"/>
                    <a:gd name="connsiteY361" fmla="*/ 1148417 h 1609071"/>
                    <a:gd name="connsiteX362" fmla="*/ 3388914 w 7415104"/>
                    <a:gd name="connsiteY362" fmla="*/ 1157085 h 1609071"/>
                    <a:gd name="connsiteX363" fmla="*/ 3445251 w 7415104"/>
                    <a:gd name="connsiteY363" fmla="*/ 1157085 h 1609071"/>
                    <a:gd name="connsiteX364" fmla="*/ 3453919 w 7415104"/>
                    <a:gd name="connsiteY364" fmla="*/ 1165753 h 1609071"/>
                    <a:gd name="connsiteX365" fmla="*/ 3596929 w 7415104"/>
                    <a:gd name="connsiteY365" fmla="*/ 1165753 h 1609071"/>
                    <a:gd name="connsiteX366" fmla="*/ 3596929 w 7415104"/>
                    <a:gd name="connsiteY366" fmla="*/ 1178753 h 1609071"/>
                    <a:gd name="connsiteX367" fmla="*/ 3705270 w 7415104"/>
                    <a:gd name="connsiteY367" fmla="*/ 1178753 h 1609071"/>
                    <a:gd name="connsiteX368" fmla="*/ 3709604 w 7415104"/>
                    <a:gd name="connsiteY368" fmla="*/ 1183087 h 1609071"/>
                    <a:gd name="connsiteX369" fmla="*/ 3960956 w 7415104"/>
                    <a:gd name="connsiteY369" fmla="*/ 1183087 h 1609071"/>
                    <a:gd name="connsiteX370" fmla="*/ 3960956 w 7415104"/>
                    <a:gd name="connsiteY370" fmla="*/ 1204755 h 1609071"/>
                    <a:gd name="connsiteX371" fmla="*/ 3991291 w 7415104"/>
                    <a:gd name="connsiteY371" fmla="*/ 1204755 h 1609071"/>
                    <a:gd name="connsiteX372" fmla="*/ 3991291 w 7415104"/>
                    <a:gd name="connsiteY372" fmla="*/ 1178753 h 1609071"/>
                    <a:gd name="connsiteX373" fmla="*/ 4030294 w 7415104"/>
                    <a:gd name="connsiteY373" fmla="*/ 1178753 h 1609071"/>
                    <a:gd name="connsiteX374" fmla="*/ 4030294 w 7415104"/>
                    <a:gd name="connsiteY374" fmla="*/ 1213422 h 1609071"/>
                    <a:gd name="connsiteX375" fmla="*/ 4043295 w 7415104"/>
                    <a:gd name="connsiteY375" fmla="*/ 1213422 h 1609071"/>
                    <a:gd name="connsiteX376" fmla="*/ 4043295 w 7415104"/>
                    <a:gd name="connsiteY376" fmla="*/ 1222089 h 1609071"/>
                    <a:gd name="connsiteX377" fmla="*/ 4164637 w 7415104"/>
                    <a:gd name="connsiteY377" fmla="*/ 1222089 h 1609071"/>
                    <a:gd name="connsiteX378" fmla="*/ 4164637 w 7415104"/>
                    <a:gd name="connsiteY378" fmla="*/ 1243758 h 1609071"/>
                    <a:gd name="connsiteX379" fmla="*/ 4320648 w 7415104"/>
                    <a:gd name="connsiteY379" fmla="*/ 1243758 h 1609071"/>
                    <a:gd name="connsiteX380" fmla="*/ 4320648 w 7415104"/>
                    <a:gd name="connsiteY380" fmla="*/ 1261092 h 1609071"/>
                    <a:gd name="connsiteX381" fmla="*/ 4398654 w 7415104"/>
                    <a:gd name="connsiteY381" fmla="*/ 1261092 h 1609071"/>
                    <a:gd name="connsiteX382" fmla="*/ 4398654 w 7415104"/>
                    <a:gd name="connsiteY382" fmla="*/ 1287094 h 1609071"/>
                    <a:gd name="connsiteX383" fmla="*/ 4450658 w 7415104"/>
                    <a:gd name="connsiteY383" fmla="*/ 1287094 h 1609071"/>
                    <a:gd name="connsiteX384" fmla="*/ 4476660 w 7415104"/>
                    <a:gd name="connsiteY384" fmla="*/ 1287094 h 1609071"/>
                    <a:gd name="connsiteX385" fmla="*/ 4498328 w 7415104"/>
                    <a:gd name="connsiteY385" fmla="*/ 1308762 h 1609071"/>
                    <a:gd name="connsiteX386" fmla="*/ 4593668 w 7415104"/>
                    <a:gd name="connsiteY386" fmla="*/ 1308762 h 1609071"/>
                    <a:gd name="connsiteX387" fmla="*/ 4597573 w 7415104"/>
                    <a:gd name="connsiteY387" fmla="*/ 1317430 h 1609071"/>
                    <a:gd name="connsiteX388" fmla="*/ 4663007 w 7415104"/>
                    <a:gd name="connsiteY388" fmla="*/ 1317430 h 1609071"/>
                    <a:gd name="connsiteX389" fmla="*/ 4663007 w 7415104"/>
                    <a:gd name="connsiteY389" fmla="*/ 1339098 h 1609071"/>
                    <a:gd name="connsiteX390" fmla="*/ 4706343 w 7415104"/>
                    <a:gd name="connsiteY390" fmla="*/ 1339098 h 1609071"/>
                    <a:gd name="connsiteX391" fmla="*/ 4710677 w 7415104"/>
                    <a:gd name="connsiteY391" fmla="*/ 1343432 h 1609071"/>
                    <a:gd name="connsiteX392" fmla="*/ 4767014 w 7415104"/>
                    <a:gd name="connsiteY392" fmla="*/ 1343432 h 1609071"/>
                    <a:gd name="connsiteX393" fmla="*/ 4765727 w 7415104"/>
                    <a:gd name="connsiteY393" fmla="*/ 1358814 h 1609071"/>
                    <a:gd name="connsiteX394" fmla="*/ 5005365 w 7415104"/>
                    <a:gd name="connsiteY394" fmla="*/ 1356433 h 1609071"/>
                    <a:gd name="connsiteX395" fmla="*/ 5018366 w 7415104"/>
                    <a:gd name="connsiteY395" fmla="*/ 1369434 h 1609071"/>
                    <a:gd name="connsiteX396" fmla="*/ 5152709 w 7415104"/>
                    <a:gd name="connsiteY396" fmla="*/ 1369434 h 1609071"/>
                    <a:gd name="connsiteX397" fmla="*/ 5152709 w 7415104"/>
                    <a:gd name="connsiteY397" fmla="*/ 1391102 h 1609071"/>
                    <a:gd name="connsiteX398" fmla="*/ 5282719 w 7415104"/>
                    <a:gd name="connsiteY398" fmla="*/ 1391102 h 1609071"/>
                    <a:gd name="connsiteX399" fmla="*/ 5291386 w 7415104"/>
                    <a:gd name="connsiteY399" fmla="*/ 1399769 h 1609071"/>
                    <a:gd name="connsiteX400" fmla="*/ 5356391 w 7415104"/>
                    <a:gd name="connsiteY400" fmla="*/ 1399769 h 1609071"/>
                    <a:gd name="connsiteX401" fmla="*/ 5369392 w 7415104"/>
                    <a:gd name="connsiteY401" fmla="*/ 1399769 h 1609071"/>
                    <a:gd name="connsiteX402" fmla="*/ 5369392 w 7415104"/>
                    <a:gd name="connsiteY402" fmla="*/ 1421437 h 1609071"/>
                    <a:gd name="connsiteX403" fmla="*/ 5473399 w 7415104"/>
                    <a:gd name="connsiteY403" fmla="*/ 1421437 h 1609071"/>
                    <a:gd name="connsiteX404" fmla="*/ 5473399 w 7415104"/>
                    <a:gd name="connsiteY404" fmla="*/ 1399769 h 1609071"/>
                    <a:gd name="connsiteX405" fmla="*/ 5512402 w 7415104"/>
                    <a:gd name="connsiteY405" fmla="*/ 1399769 h 1609071"/>
                    <a:gd name="connsiteX406" fmla="*/ 5512402 w 7415104"/>
                    <a:gd name="connsiteY406" fmla="*/ 1425771 h 1609071"/>
                    <a:gd name="connsiteX407" fmla="*/ 5607742 w 7415104"/>
                    <a:gd name="connsiteY407" fmla="*/ 1425771 h 1609071"/>
                    <a:gd name="connsiteX408" fmla="*/ 5607742 w 7415104"/>
                    <a:gd name="connsiteY408" fmla="*/ 1399769 h 1609071"/>
                    <a:gd name="connsiteX409" fmla="*/ 5664080 w 7415104"/>
                    <a:gd name="connsiteY409" fmla="*/ 1399769 h 1609071"/>
                    <a:gd name="connsiteX410" fmla="*/ 5664080 w 7415104"/>
                    <a:gd name="connsiteY410" fmla="*/ 1434438 h 1609071"/>
                    <a:gd name="connsiteX411" fmla="*/ 5685748 w 7415104"/>
                    <a:gd name="connsiteY411" fmla="*/ 1434438 h 1609071"/>
                    <a:gd name="connsiteX412" fmla="*/ 5685748 w 7415104"/>
                    <a:gd name="connsiteY412" fmla="*/ 1443106 h 1609071"/>
                    <a:gd name="connsiteX413" fmla="*/ 5716083 w 7415104"/>
                    <a:gd name="connsiteY413" fmla="*/ 1443106 h 1609071"/>
                    <a:gd name="connsiteX414" fmla="*/ 5716083 w 7415104"/>
                    <a:gd name="connsiteY414" fmla="*/ 1456106 h 1609071"/>
                    <a:gd name="connsiteX415" fmla="*/ 5794089 w 7415104"/>
                    <a:gd name="connsiteY415" fmla="*/ 1456106 h 1609071"/>
                    <a:gd name="connsiteX416" fmla="*/ 5794089 w 7415104"/>
                    <a:gd name="connsiteY416" fmla="*/ 1421437 h 1609071"/>
                    <a:gd name="connsiteX417" fmla="*/ 5837426 w 7415104"/>
                    <a:gd name="connsiteY417" fmla="*/ 1421437 h 1609071"/>
                    <a:gd name="connsiteX418" fmla="*/ 5837426 w 7415104"/>
                    <a:gd name="connsiteY418" fmla="*/ 1456106 h 1609071"/>
                    <a:gd name="connsiteX419" fmla="*/ 5902430 w 7415104"/>
                    <a:gd name="connsiteY419" fmla="*/ 1456106 h 1609071"/>
                    <a:gd name="connsiteX420" fmla="*/ 5928432 w 7415104"/>
                    <a:gd name="connsiteY420" fmla="*/ 1456106 h 1609071"/>
                    <a:gd name="connsiteX421" fmla="*/ 5928432 w 7415104"/>
                    <a:gd name="connsiteY421" fmla="*/ 1473441 h 1609071"/>
                    <a:gd name="connsiteX422" fmla="*/ 5945767 w 7415104"/>
                    <a:gd name="connsiteY422" fmla="*/ 1473441 h 1609071"/>
                    <a:gd name="connsiteX423" fmla="*/ 5950101 w 7415104"/>
                    <a:gd name="connsiteY423" fmla="*/ 1477775 h 1609071"/>
                    <a:gd name="connsiteX424" fmla="*/ 6019439 w 7415104"/>
                    <a:gd name="connsiteY424" fmla="*/ 1477775 h 1609071"/>
                    <a:gd name="connsiteX425" fmla="*/ 6019439 w 7415104"/>
                    <a:gd name="connsiteY425" fmla="*/ 1456106 h 1609071"/>
                    <a:gd name="connsiteX426" fmla="*/ 6058442 w 7415104"/>
                    <a:gd name="connsiteY426" fmla="*/ 1456106 h 1609071"/>
                    <a:gd name="connsiteX427" fmla="*/ 6058442 w 7415104"/>
                    <a:gd name="connsiteY427" fmla="*/ 1499443 h 1609071"/>
                    <a:gd name="connsiteX428" fmla="*/ 6110446 w 7415104"/>
                    <a:gd name="connsiteY428" fmla="*/ 1499443 h 1609071"/>
                    <a:gd name="connsiteX429" fmla="*/ 6110446 w 7415104"/>
                    <a:gd name="connsiteY429" fmla="*/ 1508110 h 1609071"/>
                    <a:gd name="connsiteX430" fmla="*/ 6188451 w 7415104"/>
                    <a:gd name="connsiteY430" fmla="*/ 1508110 h 1609071"/>
                    <a:gd name="connsiteX431" fmla="*/ 6188451 w 7415104"/>
                    <a:gd name="connsiteY431" fmla="*/ 1464774 h 1609071"/>
                    <a:gd name="connsiteX432" fmla="*/ 6227454 w 7415104"/>
                    <a:gd name="connsiteY432" fmla="*/ 1464774 h 1609071"/>
                    <a:gd name="connsiteX433" fmla="*/ 6227454 w 7415104"/>
                    <a:gd name="connsiteY433" fmla="*/ 1516778 h 1609071"/>
                    <a:gd name="connsiteX434" fmla="*/ 6353130 w 7415104"/>
                    <a:gd name="connsiteY434" fmla="*/ 1516778 h 1609071"/>
                    <a:gd name="connsiteX435" fmla="*/ 6353130 w 7415104"/>
                    <a:gd name="connsiteY435" fmla="*/ 1477775 h 1609071"/>
                    <a:gd name="connsiteX436" fmla="*/ 6397561 w 7415104"/>
                    <a:gd name="connsiteY436" fmla="*/ 1475394 h 1609071"/>
                    <a:gd name="connsiteX437" fmla="*/ 6399942 w 7415104"/>
                    <a:gd name="connsiteY437" fmla="*/ 1529778 h 1609071"/>
                    <a:gd name="connsiteX438" fmla="*/ 6447614 w 7415104"/>
                    <a:gd name="connsiteY438" fmla="*/ 1529778 h 1609071"/>
                    <a:gd name="connsiteX439" fmla="*/ 6447611 w 7415104"/>
                    <a:gd name="connsiteY439" fmla="*/ 1479728 h 1609071"/>
                    <a:gd name="connsiteX440" fmla="*/ 6487473 w 7415104"/>
                    <a:gd name="connsiteY440" fmla="*/ 1482108 h 1609071"/>
                    <a:gd name="connsiteX441" fmla="*/ 6487473 w 7415104"/>
                    <a:gd name="connsiteY441" fmla="*/ 1529778 h 1609071"/>
                    <a:gd name="connsiteX442" fmla="*/ 6561145 w 7415104"/>
                    <a:gd name="connsiteY442" fmla="*/ 1529778 h 1609071"/>
                    <a:gd name="connsiteX443" fmla="*/ 6565479 w 7415104"/>
                    <a:gd name="connsiteY443" fmla="*/ 1534112 h 1609071"/>
                    <a:gd name="connsiteX444" fmla="*/ 6674249 w 7415104"/>
                    <a:gd name="connsiteY444" fmla="*/ 1536493 h 1609071"/>
                    <a:gd name="connsiteX445" fmla="*/ 6676630 w 7415104"/>
                    <a:gd name="connsiteY445" fmla="*/ 1499443 h 1609071"/>
                    <a:gd name="connsiteX446" fmla="*/ 6738825 w 7415104"/>
                    <a:gd name="connsiteY446" fmla="*/ 1499443 h 1609071"/>
                    <a:gd name="connsiteX447" fmla="*/ 6738825 w 7415104"/>
                    <a:gd name="connsiteY447" fmla="*/ 1542779 h 1609071"/>
                    <a:gd name="connsiteX448" fmla="*/ 6795162 w 7415104"/>
                    <a:gd name="connsiteY448" fmla="*/ 1542779 h 1609071"/>
                    <a:gd name="connsiteX449" fmla="*/ 6795162 w 7415104"/>
                    <a:gd name="connsiteY449" fmla="*/ 1499443 h 1609071"/>
                    <a:gd name="connsiteX450" fmla="*/ 6829831 w 7415104"/>
                    <a:gd name="connsiteY450" fmla="*/ 1499443 h 1609071"/>
                    <a:gd name="connsiteX451" fmla="*/ 6829831 w 7415104"/>
                    <a:gd name="connsiteY451" fmla="*/ 1529778 h 1609071"/>
                    <a:gd name="connsiteX452" fmla="*/ 6847166 w 7415104"/>
                    <a:gd name="connsiteY452" fmla="*/ 1529778 h 1609071"/>
                    <a:gd name="connsiteX453" fmla="*/ 6847166 w 7415104"/>
                    <a:gd name="connsiteY453" fmla="*/ 1555780 h 1609071"/>
                    <a:gd name="connsiteX454" fmla="*/ 7050847 w 7415104"/>
                    <a:gd name="connsiteY454" fmla="*/ 1555780 h 1609071"/>
                    <a:gd name="connsiteX455" fmla="*/ 7063848 w 7415104"/>
                    <a:gd name="connsiteY455" fmla="*/ 1568781 h 1609071"/>
                    <a:gd name="connsiteX456" fmla="*/ 7133187 w 7415104"/>
                    <a:gd name="connsiteY456" fmla="*/ 1568781 h 1609071"/>
                    <a:gd name="connsiteX457" fmla="*/ 7133187 w 7415104"/>
                    <a:gd name="connsiteY457" fmla="*/ 1586116 h 1609071"/>
                    <a:gd name="connsiteX458" fmla="*/ 7284865 w 7415104"/>
                    <a:gd name="connsiteY458" fmla="*/ 1586116 h 1609071"/>
                    <a:gd name="connsiteX459" fmla="*/ 7284865 w 7415104"/>
                    <a:gd name="connsiteY459" fmla="*/ 1607784 h 1609071"/>
                    <a:gd name="connsiteX460" fmla="*/ 7414876 w 7415104"/>
                    <a:gd name="connsiteY460"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28471 w 7415104"/>
                    <a:gd name="connsiteY78" fmla="*/ 1174183 h 1609071"/>
                    <a:gd name="connsiteX79" fmla="*/ 4411655 w 7415104"/>
                    <a:gd name="connsiteY79" fmla="*/ 1173562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26090 w 7415104"/>
                    <a:gd name="connsiteY78" fmla="*/ 1186089 h 1609071"/>
                    <a:gd name="connsiteX79" fmla="*/ 4411655 w 7415104"/>
                    <a:gd name="connsiteY79" fmla="*/ 1173562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26090 w 7415104"/>
                    <a:gd name="connsiteY78" fmla="*/ 1186089 h 1609071"/>
                    <a:gd name="connsiteX79" fmla="*/ 4416418 w 7415104"/>
                    <a:gd name="connsiteY79" fmla="*/ 1171180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6324 w 7415104"/>
                    <a:gd name="connsiteY77" fmla="*/ 1183087 h 1609071"/>
                    <a:gd name="connsiteX78" fmla="*/ 4421328 w 7415104"/>
                    <a:gd name="connsiteY78" fmla="*/ 1193233 h 1609071"/>
                    <a:gd name="connsiteX79" fmla="*/ 4416418 w 7415104"/>
                    <a:gd name="connsiteY79" fmla="*/ 1171180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3233 h 1609071"/>
                    <a:gd name="connsiteX79" fmla="*/ 4416418 w 7415104"/>
                    <a:gd name="connsiteY79" fmla="*/ 1171180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3233 h 1609071"/>
                    <a:gd name="connsiteX79" fmla="*/ 4423562 w 7415104"/>
                    <a:gd name="connsiteY79" fmla="*/ 1171180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6273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18272 w 7415104"/>
                    <a:gd name="connsiteY99" fmla="*/ 1083413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27797 w 7415104"/>
                    <a:gd name="connsiteY99" fmla="*/ 1078650 h 1609071"/>
                    <a:gd name="connsiteX100" fmla="*/ 3592595 w 7415104"/>
                    <a:gd name="connsiteY100" fmla="*/ 1083413 h 1609071"/>
                    <a:gd name="connsiteX101" fmla="*/ 3575261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27797 w 7415104"/>
                    <a:gd name="connsiteY99" fmla="*/ 1078650 h 1609071"/>
                    <a:gd name="connsiteX100" fmla="*/ 3592595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27797 w 7415104"/>
                    <a:gd name="connsiteY99" fmla="*/ 1078650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4963 w 7415104"/>
                    <a:gd name="connsiteY88" fmla="*/ 1139749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32559 w 7415104"/>
                    <a:gd name="connsiteY99" fmla="*/ 1083412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47302 w 7415104"/>
                    <a:gd name="connsiteY87" fmla="*/ 1139749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32559 w 7415104"/>
                    <a:gd name="connsiteY99" fmla="*/ 1083412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2288 w 7415104"/>
                    <a:gd name="connsiteY97" fmla="*/ 1100747 h 1609071"/>
                    <a:gd name="connsiteX98" fmla="*/ 3735606 w 7415104"/>
                    <a:gd name="connsiteY98" fmla="*/ 1100747 h 1609071"/>
                    <a:gd name="connsiteX99" fmla="*/ 3732559 w 7415104"/>
                    <a:gd name="connsiteY99" fmla="*/ 1083412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5606 w 7415104"/>
                    <a:gd name="connsiteY98" fmla="*/ 1100747 h 1609071"/>
                    <a:gd name="connsiteX99" fmla="*/ 3732559 w 7415104"/>
                    <a:gd name="connsiteY99" fmla="*/ 1083412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5606 w 7415104"/>
                    <a:gd name="connsiteY98" fmla="*/ 1095985 h 1609071"/>
                    <a:gd name="connsiteX99" fmla="*/ 3732559 w 7415104"/>
                    <a:gd name="connsiteY99" fmla="*/ 1083412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5606 w 7415104"/>
                    <a:gd name="connsiteY98" fmla="*/ 1095985 h 1609071"/>
                    <a:gd name="connsiteX99" fmla="*/ 3732559 w 7415104"/>
                    <a:gd name="connsiteY99" fmla="*/ 1081031 h 1609071"/>
                    <a:gd name="connsiteX100" fmla="*/ 3585451 w 7415104"/>
                    <a:gd name="connsiteY100" fmla="*/ 1083413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5606 w 7415104"/>
                    <a:gd name="connsiteY98" fmla="*/ 1095985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0956 w 7415104"/>
                    <a:gd name="connsiteY370" fmla="*/ 1183087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92612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5407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5407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2080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9224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41896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2415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8417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297479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53919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61063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22415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4753 w 7415104"/>
                    <a:gd name="connsiteY357" fmla="*/ 1117652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41896 w 7415104"/>
                    <a:gd name="connsiteY356" fmla="*/ 1094461 h 1609071"/>
                    <a:gd name="connsiteX357" fmla="*/ 3137134 w 7415104"/>
                    <a:gd name="connsiteY357" fmla="*/ 1117652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89699 h 1609071"/>
                    <a:gd name="connsiteX357" fmla="*/ 3137134 w 7415104"/>
                    <a:gd name="connsiteY357" fmla="*/ 1117652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89699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88914 w 7415104"/>
                    <a:gd name="connsiteY363" fmla="*/ 1157085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88914 w 7415104"/>
                    <a:gd name="connsiteY362" fmla="*/ 1148417 h 1609071"/>
                    <a:gd name="connsiteX363" fmla="*/ 3398439 w 7415104"/>
                    <a:gd name="connsiteY363" fmla="*/ 1228522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8439 w 7415104"/>
                    <a:gd name="connsiteY363" fmla="*/ 1228522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88914 w 7415104"/>
                    <a:gd name="connsiteY363" fmla="*/ 1166610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3676 w 7415104"/>
                    <a:gd name="connsiteY363" fmla="*/ 1168991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64228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0160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86052 h 1609071"/>
                    <a:gd name="connsiteX329" fmla="*/ 2301168 w 7415104"/>
                    <a:gd name="connsiteY329" fmla="*/ 887304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1168 w 7415104"/>
                    <a:gd name="connsiteY329" fmla="*/ 887304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1168 w 7415104"/>
                    <a:gd name="connsiteY329" fmla="*/ 882542 h 1609071"/>
                    <a:gd name="connsiteX330" fmla="*/ 2301168 w 7415104"/>
                    <a:gd name="connsiteY330" fmla="*/ 914400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1168 w 7415104"/>
                    <a:gd name="connsiteY329" fmla="*/ 882542 h 1609071"/>
                    <a:gd name="connsiteX330" fmla="*/ 2294025 w 7415104"/>
                    <a:gd name="connsiteY330" fmla="*/ 909637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09637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53498 w 7415104"/>
                    <a:gd name="connsiteY139" fmla="*/ 810393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66499 w 7415104"/>
                    <a:gd name="connsiteY138" fmla="*/ 823394 h 1609071"/>
                    <a:gd name="connsiteX139" fmla="*/ 2274930 w 7415104"/>
                    <a:gd name="connsiteY139" fmla="*/ 798486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73643 w 7415104"/>
                    <a:gd name="connsiteY138" fmla="*/ 828156 h 1609071"/>
                    <a:gd name="connsiteX139" fmla="*/ 2274930 w 7415104"/>
                    <a:gd name="connsiteY139" fmla="*/ 798486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296834 w 7415104"/>
                    <a:gd name="connsiteY137" fmla="*/ 823394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303549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6406 w 7415104"/>
                    <a:gd name="connsiteY329" fmla="*/ 880161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1054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5138 w 7415104"/>
                    <a:gd name="connsiteY313" fmla="*/ 806060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3143 w 7415104"/>
                    <a:gd name="connsiteY314" fmla="*/ 806060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06060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36815 w 7415104"/>
                    <a:gd name="connsiteY316" fmla="*/ 836395 h 1609071"/>
                    <a:gd name="connsiteX317" fmla="*/ 2049816 w 7415104"/>
                    <a:gd name="connsiteY317" fmla="*/ 8363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36815 w 7415104"/>
                    <a:gd name="connsiteY316" fmla="*/ 836395 h 1609071"/>
                    <a:gd name="connsiteX317" fmla="*/ 2068866 w 7415104"/>
                    <a:gd name="connsiteY317" fmla="*/ 9506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41577 w 7415104"/>
                    <a:gd name="connsiteY316" fmla="*/ 905452 h 1609071"/>
                    <a:gd name="connsiteX317" fmla="*/ 2068866 w 7415104"/>
                    <a:gd name="connsiteY317" fmla="*/ 950695 h 1609071"/>
                    <a:gd name="connsiteX318" fmla="*/ 2106154 w 7415104"/>
                    <a:gd name="connsiteY318" fmla="*/ 836395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16264 w 7415104"/>
                    <a:gd name="connsiteY316" fmla="*/ 843190 h 1609071"/>
                    <a:gd name="connsiteX317" fmla="*/ 2041577 w 7415104"/>
                    <a:gd name="connsiteY317" fmla="*/ 905452 h 1609071"/>
                    <a:gd name="connsiteX318" fmla="*/ 2068866 w 7415104"/>
                    <a:gd name="connsiteY318" fmla="*/ 950695 h 1609071"/>
                    <a:gd name="connsiteX319" fmla="*/ 2106154 w 7415104"/>
                    <a:gd name="connsiteY319" fmla="*/ 836395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1577 w 7415104"/>
                    <a:gd name="connsiteY317" fmla="*/ 905452 h 1609071"/>
                    <a:gd name="connsiteX318" fmla="*/ 2068866 w 7415104"/>
                    <a:gd name="connsiteY318" fmla="*/ 950695 h 1609071"/>
                    <a:gd name="connsiteX319" fmla="*/ 2106154 w 7415104"/>
                    <a:gd name="connsiteY319" fmla="*/ 836395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16264 w 7415104"/>
                    <a:gd name="connsiteY317" fmla="*/ 859858 h 1609071"/>
                    <a:gd name="connsiteX318" fmla="*/ 2041577 w 7415104"/>
                    <a:gd name="connsiteY318" fmla="*/ 905452 h 1609071"/>
                    <a:gd name="connsiteX319" fmla="*/ 2068866 w 7415104"/>
                    <a:gd name="connsiteY319" fmla="*/ 950695 h 1609071"/>
                    <a:gd name="connsiteX320" fmla="*/ 2106154 w 7415104"/>
                    <a:gd name="connsiteY320" fmla="*/ 836395 h 1609071"/>
                    <a:gd name="connsiteX321" fmla="*/ 2106154 w 7415104"/>
                    <a:gd name="connsiteY321" fmla="*/ 862396 h 1609071"/>
                    <a:gd name="connsiteX322" fmla="*/ 2119155 w 7415104"/>
                    <a:gd name="connsiteY322" fmla="*/ 862396 h 1609071"/>
                    <a:gd name="connsiteX323" fmla="*/ 2136489 w 7415104"/>
                    <a:gd name="connsiteY323" fmla="*/ 862396 h 1609071"/>
                    <a:gd name="connsiteX324" fmla="*/ 2184159 w 7415104"/>
                    <a:gd name="connsiteY324" fmla="*/ 862396 h 1609071"/>
                    <a:gd name="connsiteX325" fmla="*/ 2184159 w 7415104"/>
                    <a:gd name="connsiteY325" fmla="*/ 888398 h 1609071"/>
                    <a:gd name="connsiteX326" fmla="*/ 2200254 w 7415104"/>
                    <a:gd name="connsiteY326" fmla="*/ 883636 h 1609071"/>
                    <a:gd name="connsiteX327" fmla="*/ 2240733 w 7415104"/>
                    <a:gd name="connsiteY327" fmla="*/ 881254 h 1609071"/>
                    <a:gd name="connsiteX328" fmla="*/ 2240102 w 7415104"/>
                    <a:gd name="connsiteY328" fmla="*/ 914626 h 1609071"/>
                    <a:gd name="connsiteX329" fmla="*/ 2265640 w 7415104"/>
                    <a:gd name="connsiteY329" fmla="*/ 915879 h 1609071"/>
                    <a:gd name="connsiteX330" fmla="*/ 2266296 w 7415104"/>
                    <a:gd name="connsiteY330" fmla="*/ 878908 h 1609071"/>
                    <a:gd name="connsiteX331" fmla="*/ 2294025 w 7415104"/>
                    <a:gd name="connsiteY331" fmla="*/ 877780 h 1609071"/>
                    <a:gd name="connsiteX332" fmla="*/ 2294025 w 7415104"/>
                    <a:gd name="connsiteY332" fmla="*/ 912018 h 1609071"/>
                    <a:gd name="connsiteX333" fmla="*/ 2335837 w 7415104"/>
                    <a:gd name="connsiteY333" fmla="*/ 914400 h 1609071"/>
                    <a:gd name="connsiteX334" fmla="*/ 2335837 w 7415104"/>
                    <a:gd name="connsiteY334" fmla="*/ 923068 h 1609071"/>
                    <a:gd name="connsiteX335" fmla="*/ 2400842 w 7415104"/>
                    <a:gd name="connsiteY335" fmla="*/ 923068 h 1609071"/>
                    <a:gd name="connsiteX336" fmla="*/ 2400842 w 7415104"/>
                    <a:gd name="connsiteY336" fmla="*/ 936069 h 1609071"/>
                    <a:gd name="connsiteX337" fmla="*/ 2439845 w 7415104"/>
                    <a:gd name="connsiteY337" fmla="*/ 936069 h 1609071"/>
                    <a:gd name="connsiteX338" fmla="*/ 2452846 w 7415104"/>
                    <a:gd name="connsiteY338" fmla="*/ 949070 h 1609071"/>
                    <a:gd name="connsiteX339" fmla="*/ 2500516 w 7415104"/>
                    <a:gd name="connsiteY339" fmla="*/ 949070 h 1609071"/>
                    <a:gd name="connsiteX340" fmla="*/ 2513517 w 7415104"/>
                    <a:gd name="connsiteY340" fmla="*/ 962071 h 1609071"/>
                    <a:gd name="connsiteX341" fmla="*/ 2543852 w 7415104"/>
                    <a:gd name="connsiteY341" fmla="*/ 962071 h 1609071"/>
                    <a:gd name="connsiteX342" fmla="*/ 2543852 w 7415104"/>
                    <a:gd name="connsiteY342" fmla="*/ 979405 h 1609071"/>
                    <a:gd name="connsiteX343" fmla="*/ 2591522 w 7415104"/>
                    <a:gd name="connsiteY343" fmla="*/ 979405 h 1609071"/>
                    <a:gd name="connsiteX344" fmla="*/ 2591522 w 7415104"/>
                    <a:gd name="connsiteY344" fmla="*/ 1001073 h 1609071"/>
                    <a:gd name="connsiteX345" fmla="*/ 2639192 w 7415104"/>
                    <a:gd name="connsiteY345" fmla="*/ 1001073 h 1609071"/>
                    <a:gd name="connsiteX346" fmla="*/ 2639192 w 7415104"/>
                    <a:gd name="connsiteY346" fmla="*/ 1022742 h 1609071"/>
                    <a:gd name="connsiteX347" fmla="*/ 2699864 w 7415104"/>
                    <a:gd name="connsiteY347" fmla="*/ 1022742 h 1609071"/>
                    <a:gd name="connsiteX348" fmla="*/ 2699864 w 7415104"/>
                    <a:gd name="connsiteY348" fmla="*/ 1040076 h 1609071"/>
                    <a:gd name="connsiteX349" fmla="*/ 2808205 w 7415104"/>
                    <a:gd name="connsiteY349" fmla="*/ 1040076 h 1609071"/>
                    <a:gd name="connsiteX350" fmla="*/ 2816872 w 7415104"/>
                    <a:gd name="connsiteY350" fmla="*/ 1048743 h 1609071"/>
                    <a:gd name="connsiteX351" fmla="*/ 2825540 w 7415104"/>
                    <a:gd name="connsiteY351" fmla="*/ 1057411 h 1609071"/>
                    <a:gd name="connsiteX352" fmla="*/ 2864542 w 7415104"/>
                    <a:gd name="connsiteY352" fmla="*/ 1057411 h 1609071"/>
                    <a:gd name="connsiteX353" fmla="*/ 2886210 w 7415104"/>
                    <a:gd name="connsiteY353" fmla="*/ 1057411 h 1609071"/>
                    <a:gd name="connsiteX354" fmla="*/ 2899211 w 7415104"/>
                    <a:gd name="connsiteY354" fmla="*/ 1057411 h 1609071"/>
                    <a:gd name="connsiteX355" fmla="*/ 2916546 w 7415104"/>
                    <a:gd name="connsiteY355" fmla="*/ 1074746 h 1609071"/>
                    <a:gd name="connsiteX356" fmla="*/ 2968550 w 7415104"/>
                    <a:gd name="connsiteY356" fmla="*/ 1074746 h 1609071"/>
                    <a:gd name="connsiteX357" fmla="*/ 2968550 w 7415104"/>
                    <a:gd name="connsiteY357" fmla="*/ 1092080 h 1609071"/>
                    <a:gd name="connsiteX358" fmla="*/ 3134752 w 7415104"/>
                    <a:gd name="connsiteY358" fmla="*/ 1094462 h 1609071"/>
                    <a:gd name="connsiteX359" fmla="*/ 3134753 w 7415104"/>
                    <a:gd name="connsiteY359" fmla="*/ 1122414 h 1609071"/>
                    <a:gd name="connsiteX360" fmla="*/ 3211234 w 7415104"/>
                    <a:gd name="connsiteY360" fmla="*/ 1122415 h 1609071"/>
                    <a:gd name="connsiteX361" fmla="*/ 3215568 w 7415104"/>
                    <a:gd name="connsiteY361" fmla="*/ 1122415 h 1609071"/>
                    <a:gd name="connsiteX362" fmla="*/ 3302241 w 7415104"/>
                    <a:gd name="connsiteY362" fmla="*/ 1124796 h 1609071"/>
                    <a:gd name="connsiteX363" fmla="*/ 3302241 w 7415104"/>
                    <a:gd name="connsiteY363" fmla="*/ 1141273 h 1609071"/>
                    <a:gd name="connsiteX364" fmla="*/ 3396058 w 7415104"/>
                    <a:gd name="connsiteY364" fmla="*/ 1141273 h 1609071"/>
                    <a:gd name="connsiteX365" fmla="*/ 3396057 w 7415104"/>
                    <a:gd name="connsiteY365" fmla="*/ 1154703 h 1609071"/>
                    <a:gd name="connsiteX366" fmla="*/ 3445251 w 7415104"/>
                    <a:gd name="connsiteY366" fmla="*/ 1157085 h 1609071"/>
                    <a:gd name="connsiteX367" fmla="*/ 3444395 w 7415104"/>
                    <a:gd name="connsiteY367" fmla="*/ 1165753 h 1609071"/>
                    <a:gd name="connsiteX368" fmla="*/ 3596929 w 7415104"/>
                    <a:gd name="connsiteY368" fmla="*/ 1165753 h 1609071"/>
                    <a:gd name="connsiteX369" fmla="*/ 3596929 w 7415104"/>
                    <a:gd name="connsiteY369" fmla="*/ 1178753 h 1609071"/>
                    <a:gd name="connsiteX370" fmla="*/ 3705270 w 7415104"/>
                    <a:gd name="connsiteY370" fmla="*/ 1178753 h 1609071"/>
                    <a:gd name="connsiteX371" fmla="*/ 3709604 w 7415104"/>
                    <a:gd name="connsiteY371" fmla="*/ 1183087 h 1609071"/>
                    <a:gd name="connsiteX372" fmla="*/ 3963337 w 7415104"/>
                    <a:gd name="connsiteY372" fmla="*/ 1187849 h 1609071"/>
                    <a:gd name="connsiteX373" fmla="*/ 3960956 w 7415104"/>
                    <a:gd name="connsiteY373" fmla="*/ 1204755 h 1609071"/>
                    <a:gd name="connsiteX374" fmla="*/ 3991291 w 7415104"/>
                    <a:gd name="connsiteY374" fmla="*/ 1204755 h 1609071"/>
                    <a:gd name="connsiteX375" fmla="*/ 3991291 w 7415104"/>
                    <a:gd name="connsiteY375" fmla="*/ 1178753 h 1609071"/>
                    <a:gd name="connsiteX376" fmla="*/ 4030294 w 7415104"/>
                    <a:gd name="connsiteY376" fmla="*/ 1178753 h 1609071"/>
                    <a:gd name="connsiteX377" fmla="*/ 4030294 w 7415104"/>
                    <a:gd name="connsiteY377" fmla="*/ 1213422 h 1609071"/>
                    <a:gd name="connsiteX378" fmla="*/ 4043295 w 7415104"/>
                    <a:gd name="connsiteY378" fmla="*/ 1213422 h 1609071"/>
                    <a:gd name="connsiteX379" fmla="*/ 4043295 w 7415104"/>
                    <a:gd name="connsiteY379" fmla="*/ 1222089 h 1609071"/>
                    <a:gd name="connsiteX380" fmla="*/ 4164637 w 7415104"/>
                    <a:gd name="connsiteY380" fmla="*/ 1222089 h 1609071"/>
                    <a:gd name="connsiteX381" fmla="*/ 4164637 w 7415104"/>
                    <a:gd name="connsiteY381" fmla="*/ 1243758 h 1609071"/>
                    <a:gd name="connsiteX382" fmla="*/ 4320648 w 7415104"/>
                    <a:gd name="connsiteY382" fmla="*/ 1243758 h 1609071"/>
                    <a:gd name="connsiteX383" fmla="*/ 4320648 w 7415104"/>
                    <a:gd name="connsiteY383" fmla="*/ 1261092 h 1609071"/>
                    <a:gd name="connsiteX384" fmla="*/ 4398654 w 7415104"/>
                    <a:gd name="connsiteY384" fmla="*/ 1261092 h 1609071"/>
                    <a:gd name="connsiteX385" fmla="*/ 4398654 w 7415104"/>
                    <a:gd name="connsiteY385" fmla="*/ 1287094 h 1609071"/>
                    <a:gd name="connsiteX386" fmla="*/ 4450658 w 7415104"/>
                    <a:gd name="connsiteY386" fmla="*/ 1287094 h 1609071"/>
                    <a:gd name="connsiteX387" fmla="*/ 4476660 w 7415104"/>
                    <a:gd name="connsiteY387" fmla="*/ 1287094 h 1609071"/>
                    <a:gd name="connsiteX388" fmla="*/ 4498328 w 7415104"/>
                    <a:gd name="connsiteY388" fmla="*/ 1308762 h 1609071"/>
                    <a:gd name="connsiteX389" fmla="*/ 4593668 w 7415104"/>
                    <a:gd name="connsiteY389" fmla="*/ 1308762 h 1609071"/>
                    <a:gd name="connsiteX390" fmla="*/ 4597573 w 7415104"/>
                    <a:gd name="connsiteY390" fmla="*/ 1317430 h 1609071"/>
                    <a:gd name="connsiteX391" fmla="*/ 4663007 w 7415104"/>
                    <a:gd name="connsiteY391" fmla="*/ 1317430 h 1609071"/>
                    <a:gd name="connsiteX392" fmla="*/ 4663007 w 7415104"/>
                    <a:gd name="connsiteY392" fmla="*/ 1339098 h 1609071"/>
                    <a:gd name="connsiteX393" fmla="*/ 4706343 w 7415104"/>
                    <a:gd name="connsiteY393" fmla="*/ 1339098 h 1609071"/>
                    <a:gd name="connsiteX394" fmla="*/ 4710677 w 7415104"/>
                    <a:gd name="connsiteY394" fmla="*/ 1343432 h 1609071"/>
                    <a:gd name="connsiteX395" fmla="*/ 4767014 w 7415104"/>
                    <a:gd name="connsiteY395" fmla="*/ 1343432 h 1609071"/>
                    <a:gd name="connsiteX396" fmla="*/ 4765727 w 7415104"/>
                    <a:gd name="connsiteY396" fmla="*/ 1358814 h 1609071"/>
                    <a:gd name="connsiteX397" fmla="*/ 5005365 w 7415104"/>
                    <a:gd name="connsiteY397" fmla="*/ 1356433 h 1609071"/>
                    <a:gd name="connsiteX398" fmla="*/ 5018366 w 7415104"/>
                    <a:gd name="connsiteY398" fmla="*/ 1369434 h 1609071"/>
                    <a:gd name="connsiteX399" fmla="*/ 5152709 w 7415104"/>
                    <a:gd name="connsiteY399" fmla="*/ 1369434 h 1609071"/>
                    <a:gd name="connsiteX400" fmla="*/ 5152709 w 7415104"/>
                    <a:gd name="connsiteY400" fmla="*/ 1391102 h 1609071"/>
                    <a:gd name="connsiteX401" fmla="*/ 5282719 w 7415104"/>
                    <a:gd name="connsiteY401" fmla="*/ 1391102 h 1609071"/>
                    <a:gd name="connsiteX402" fmla="*/ 5291386 w 7415104"/>
                    <a:gd name="connsiteY402" fmla="*/ 1399769 h 1609071"/>
                    <a:gd name="connsiteX403" fmla="*/ 5356391 w 7415104"/>
                    <a:gd name="connsiteY403" fmla="*/ 1399769 h 1609071"/>
                    <a:gd name="connsiteX404" fmla="*/ 5369392 w 7415104"/>
                    <a:gd name="connsiteY404" fmla="*/ 1399769 h 1609071"/>
                    <a:gd name="connsiteX405" fmla="*/ 5369392 w 7415104"/>
                    <a:gd name="connsiteY405" fmla="*/ 1421437 h 1609071"/>
                    <a:gd name="connsiteX406" fmla="*/ 5473399 w 7415104"/>
                    <a:gd name="connsiteY406" fmla="*/ 1421437 h 1609071"/>
                    <a:gd name="connsiteX407" fmla="*/ 5473399 w 7415104"/>
                    <a:gd name="connsiteY407" fmla="*/ 1399769 h 1609071"/>
                    <a:gd name="connsiteX408" fmla="*/ 5512402 w 7415104"/>
                    <a:gd name="connsiteY408" fmla="*/ 1399769 h 1609071"/>
                    <a:gd name="connsiteX409" fmla="*/ 5512402 w 7415104"/>
                    <a:gd name="connsiteY409" fmla="*/ 1425771 h 1609071"/>
                    <a:gd name="connsiteX410" fmla="*/ 5607742 w 7415104"/>
                    <a:gd name="connsiteY410" fmla="*/ 1425771 h 1609071"/>
                    <a:gd name="connsiteX411" fmla="*/ 5607742 w 7415104"/>
                    <a:gd name="connsiteY411" fmla="*/ 1399769 h 1609071"/>
                    <a:gd name="connsiteX412" fmla="*/ 5664080 w 7415104"/>
                    <a:gd name="connsiteY412" fmla="*/ 1399769 h 1609071"/>
                    <a:gd name="connsiteX413" fmla="*/ 5664080 w 7415104"/>
                    <a:gd name="connsiteY413" fmla="*/ 1434438 h 1609071"/>
                    <a:gd name="connsiteX414" fmla="*/ 5685748 w 7415104"/>
                    <a:gd name="connsiteY414" fmla="*/ 1434438 h 1609071"/>
                    <a:gd name="connsiteX415" fmla="*/ 5685748 w 7415104"/>
                    <a:gd name="connsiteY415" fmla="*/ 1443106 h 1609071"/>
                    <a:gd name="connsiteX416" fmla="*/ 5716083 w 7415104"/>
                    <a:gd name="connsiteY416" fmla="*/ 1443106 h 1609071"/>
                    <a:gd name="connsiteX417" fmla="*/ 5716083 w 7415104"/>
                    <a:gd name="connsiteY417" fmla="*/ 1456106 h 1609071"/>
                    <a:gd name="connsiteX418" fmla="*/ 5794089 w 7415104"/>
                    <a:gd name="connsiteY418" fmla="*/ 1456106 h 1609071"/>
                    <a:gd name="connsiteX419" fmla="*/ 5794089 w 7415104"/>
                    <a:gd name="connsiteY419" fmla="*/ 1421437 h 1609071"/>
                    <a:gd name="connsiteX420" fmla="*/ 5837426 w 7415104"/>
                    <a:gd name="connsiteY420" fmla="*/ 1421437 h 1609071"/>
                    <a:gd name="connsiteX421" fmla="*/ 5837426 w 7415104"/>
                    <a:gd name="connsiteY421" fmla="*/ 1456106 h 1609071"/>
                    <a:gd name="connsiteX422" fmla="*/ 5902430 w 7415104"/>
                    <a:gd name="connsiteY422" fmla="*/ 1456106 h 1609071"/>
                    <a:gd name="connsiteX423" fmla="*/ 5928432 w 7415104"/>
                    <a:gd name="connsiteY423" fmla="*/ 1456106 h 1609071"/>
                    <a:gd name="connsiteX424" fmla="*/ 5928432 w 7415104"/>
                    <a:gd name="connsiteY424" fmla="*/ 1473441 h 1609071"/>
                    <a:gd name="connsiteX425" fmla="*/ 5945767 w 7415104"/>
                    <a:gd name="connsiteY425" fmla="*/ 1473441 h 1609071"/>
                    <a:gd name="connsiteX426" fmla="*/ 5950101 w 7415104"/>
                    <a:gd name="connsiteY426" fmla="*/ 1477775 h 1609071"/>
                    <a:gd name="connsiteX427" fmla="*/ 6019439 w 7415104"/>
                    <a:gd name="connsiteY427" fmla="*/ 1477775 h 1609071"/>
                    <a:gd name="connsiteX428" fmla="*/ 6019439 w 7415104"/>
                    <a:gd name="connsiteY428" fmla="*/ 1456106 h 1609071"/>
                    <a:gd name="connsiteX429" fmla="*/ 6058442 w 7415104"/>
                    <a:gd name="connsiteY429" fmla="*/ 1456106 h 1609071"/>
                    <a:gd name="connsiteX430" fmla="*/ 6058442 w 7415104"/>
                    <a:gd name="connsiteY430" fmla="*/ 1499443 h 1609071"/>
                    <a:gd name="connsiteX431" fmla="*/ 6110446 w 7415104"/>
                    <a:gd name="connsiteY431" fmla="*/ 1499443 h 1609071"/>
                    <a:gd name="connsiteX432" fmla="*/ 6110446 w 7415104"/>
                    <a:gd name="connsiteY432" fmla="*/ 1508110 h 1609071"/>
                    <a:gd name="connsiteX433" fmla="*/ 6188451 w 7415104"/>
                    <a:gd name="connsiteY433" fmla="*/ 1508110 h 1609071"/>
                    <a:gd name="connsiteX434" fmla="*/ 6188451 w 7415104"/>
                    <a:gd name="connsiteY434" fmla="*/ 1464774 h 1609071"/>
                    <a:gd name="connsiteX435" fmla="*/ 6227454 w 7415104"/>
                    <a:gd name="connsiteY435" fmla="*/ 1464774 h 1609071"/>
                    <a:gd name="connsiteX436" fmla="*/ 6227454 w 7415104"/>
                    <a:gd name="connsiteY436" fmla="*/ 1516778 h 1609071"/>
                    <a:gd name="connsiteX437" fmla="*/ 6353130 w 7415104"/>
                    <a:gd name="connsiteY437" fmla="*/ 1516778 h 1609071"/>
                    <a:gd name="connsiteX438" fmla="*/ 6353130 w 7415104"/>
                    <a:gd name="connsiteY438" fmla="*/ 1477775 h 1609071"/>
                    <a:gd name="connsiteX439" fmla="*/ 6397561 w 7415104"/>
                    <a:gd name="connsiteY439" fmla="*/ 1475394 h 1609071"/>
                    <a:gd name="connsiteX440" fmla="*/ 6399942 w 7415104"/>
                    <a:gd name="connsiteY440" fmla="*/ 1529778 h 1609071"/>
                    <a:gd name="connsiteX441" fmla="*/ 6447614 w 7415104"/>
                    <a:gd name="connsiteY441" fmla="*/ 1529778 h 1609071"/>
                    <a:gd name="connsiteX442" fmla="*/ 6447611 w 7415104"/>
                    <a:gd name="connsiteY442" fmla="*/ 1479728 h 1609071"/>
                    <a:gd name="connsiteX443" fmla="*/ 6487473 w 7415104"/>
                    <a:gd name="connsiteY443" fmla="*/ 1482108 h 1609071"/>
                    <a:gd name="connsiteX444" fmla="*/ 6487473 w 7415104"/>
                    <a:gd name="connsiteY444" fmla="*/ 1529778 h 1609071"/>
                    <a:gd name="connsiteX445" fmla="*/ 6561145 w 7415104"/>
                    <a:gd name="connsiteY445" fmla="*/ 1529778 h 1609071"/>
                    <a:gd name="connsiteX446" fmla="*/ 6565479 w 7415104"/>
                    <a:gd name="connsiteY446" fmla="*/ 1534112 h 1609071"/>
                    <a:gd name="connsiteX447" fmla="*/ 6674249 w 7415104"/>
                    <a:gd name="connsiteY447" fmla="*/ 1536493 h 1609071"/>
                    <a:gd name="connsiteX448" fmla="*/ 6676630 w 7415104"/>
                    <a:gd name="connsiteY448" fmla="*/ 1499443 h 1609071"/>
                    <a:gd name="connsiteX449" fmla="*/ 6738825 w 7415104"/>
                    <a:gd name="connsiteY449" fmla="*/ 1499443 h 1609071"/>
                    <a:gd name="connsiteX450" fmla="*/ 6738825 w 7415104"/>
                    <a:gd name="connsiteY450" fmla="*/ 1542779 h 1609071"/>
                    <a:gd name="connsiteX451" fmla="*/ 6795162 w 7415104"/>
                    <a:gd name="connsiteY451" fmla="*/ 1542779 h 1609071"/>
                    <a:gd name="connsiteX452" fmla="*/ 6795162 w 7415104"/>
                    <a:gd name="connsiteY452" fmla="*/ 1499443 h 1609071"/>
                    <a:gd name="connsiteX453" fmla="*/ 6829831 w 7415104"/>
                    <a:gd name="connsiteY453" fmla="*/ 1499443 h 1609071"/>
                    <a:gd name="connsiteX454" fmla="*/ 6829831 w 7415104"/>
                    <a:gd name="connsiteY454" fmla="*/ 1529778 h 1609071"/>
                    <a:gd name="connsiteX455" fmla="*/ 6847166 w 7415104"/>
                    <a:gd name="connsiteY455" fmla="*/ 1529778 h 1609071"/>
                    <a:gd name="connsiteX456" fmla="*/ 6847166 w 7415104"/>
                    <a:gd name="connsiteY456" fmla="*/ 1555780 h 1609071"/>
                    <a:gd name="connsiteX457" fmla="*/ 7050847 w 7415104"/>
                    <a:gd name="connsiteY457" fmla="*/ 1555780 h 1609071"/>
                    <a:gd name="connsiteX458" fmla="*/ 7063848 w 7415104"/>
                    <a:gd name="connsiteY458" fmla="*/ 1568781 h 1609071"/>
                    <a:gd name="connsiteX459" fmla="*/ 7133187 w 7415104"/>
                    <a:gd name="connsiteY459" fmla="*/ 1568781 h 1609071"/>
                    <a:gd name="connsiteX460" fmla="*/ 7133187 w 7415104"/>
                    <a:gd name="connsiteY460" fmla="*/ 1586116 h 1609071"/>
                    <a:gd name="connsiteX461" fmla="*/ 7284865 w 7415104"/>
                    <a:gd name="connsiteY461" fmla="*/ 1586116 h 1609071"/>
                    <a:gd name="connsiteX462" fmla="*/ 7284865 w 7415104"/>
                    <a:gd name="connsiteY462" fmla="*/ 1607784 h 1609071"/>
                    <a:gd name="connsiteX463" fmla="*/ 7414876 w 7415104"/>
                    <a:gd name="connsiteY463"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1577 w 7415104"/>
                    <a:gd name="connsiteY318" fmla="*/ 905452 h 1609071"/>
                    <a:gd name="connsiteX319" fmla="*/ 2068866 w 7415104"/>
                    <a:gd name="connsiteY319" fmla="*/ 950695 h 1609071"/>
                    <a:gd name="connsiteX320" fmla="*/ 2106154 w 7415104"/>
                    <a:gd name="connsiteY320" fmla="*/ 836395 h 1609071"/>
                    <a:gd name="connsiteX321" fmla="*/ 2106154 w 7415104"/>
                    <a:gd name="connsiteY321" fmla="*/ 862396 h 1609071"/>
                    <a:gd name="connsiteX322" fmla="*/ 2119155 w 7415104"/>
                    <a:gd name="connsiteY322" fmla="*/ 862396 h 1609071"/>
                    <a:gd name="connsiteX323" fmla="*/ 2136489 w 7415104"/>
                    <a:gd name="connsiteY323" fmla="*/ 862396 h 1609071"/>
                    <a:gd name="connsiteX324" fmla="*/ 2184159 w 7415104"/>
                    <a:gd name="connsiteY324" fmla="*/ 862396 h 1609071"/>
                    <a:gd name="connsiteX325" fmla="*/ 2184159 w 7415104"/>
                    <a:gd name="connsiteY325" fmla="*/ 888398 h 1609071"/>
                    <a:gd name="connsiteX326" fmla="*/ 2200254 w 7415104"/>
                    <a:gd name="connsiteY326" fmla="*/ 883636 h 1609071"/>
                    <a:gd name="connsiteX327" fmla="*/ 2240733 w 7415104"/>
                    <a:gd name="connsiteY327" fmla="*/ 881254 h 1609071"/>
                    <a:gd name="connsiteX328" fmla="*/ 2240102 w 7415104"/>
                    <a:gd name="connsiteY328" fmla="*/ 914626 h 1609071"/>
                    <a:gd name="connsiteX329" fmla="*/ 2265640 w 7415104"/>
                    <a:gd name="connsiteY329" fmla="*/ 915879 h 1609071"/>
                    <a:gd name="connsiteX330" fmla="*/ 2266296 w 7415104"/>
                    <a:gd name="connsiteY330" fmla="*/ 878908 h 1609071"/>
                    <a:gd name="connsiteX331" fmla="*/ 2294025 w 7415104"/>
                    <a:gd name="connsiteY331" fmla="*/ 877780 h 1609071"/>
                    <a:gd name="connsiteX332" fmla="*/ 2294025 w 7415104"/>
                    <a:gd name="connsiteY332" fmla="*/ 912018 h 1609071"/>
                    <a:gd name="connsiteX333" fmla="*/ 2335837 w 7415104"/>
                    <a:gd name="connsiteY333" fmla="*/ 914400 h 1609071"/>
                    <a:gd name="connsiteX334" fmla="*/ 2335837 w 7415104"/>
                    <a:gd name="connsiteY334" fmla="*/ 923068 h 1609071"/>
                    <a:gd name="connsiteX335" fmla="*/ 2400842 w 7415104"/>
                    <a:gd name="connsiteY335" fmla="*/ 923068 h 1609071"/>
                    <a:gd name="connsiteX336" fmla="*/ 2400842 w 7415104"/>
                    <a:gd name="connsiteY336" fmla="*/ 936069 h 1609071"/>
                    <a:gd name="connsiteX337" fmla="*/ 2439845 w 7415104"/>
                    <a:gd name="connsiteY337" fmla="*/ 936069 h 1609071"/>
                    <a:gd name="connsiteX338" fmla="*/ 2452846 w 7415104"/>
                    <a:gd name="connsiteY338" fmla="*/ 949070 h 1609071"/>
                    <a:gd name="connsiteX339" fmla="*/ 2500516 w 7415104"/>
                    <a:gd name="connsiteY339" fmla="*/ 949070 h 1609071"/>
                    <a:gd name="connsiteX340" fmla="*/ 2513517 w 7415104"/>
                    <a:gd name="connsiteY340" fmla="*/ 962071 h 1609071"/>
                    <a:gd name="connsiteX341" fmla="*/ 2543852 w 7415104"/>
                    <a:gd name="connsiteY341" fmla="*/ 962071 h 1609071"/>
                    <a:gd name="connsiteX342" fmla="*/ 2543852 w 7415104"/>
                    <a:gd name="connsiteY342" fmla="*/ 979405 h 1609071"/>
                    <a:gd name="connsiteX343" fmla="*/ 2591522 w 7415104"/>
                    <a:gd name="connsiteY343" fmla="*/ 979405 h 1609071"/>
                    <a:gd name="connsiteX344" fmla="*/ 2591522 w 7415104"/>
                    <a:gd name="connsiteY344" fmla="*/ 1001073 h 1609071"/>
                    <a:gd name="connsiteX345" fmla="*/ 2639192 w 7415104"/>
                    <a:gd name="connsiteY345" fmla="*/ 1001073 h 1609071"/>
                    <a:gd name="connsiteX346" fmla="*/ 2639192 w 7415104"/>
                    <a:gd name="connsiteY346" fmla="*/ 1022742 h 1609071"/>
                    <a:gd name="connsiteX347" fmla="*/ 2699864 w 7415104"/>
                    <a:gd name="connsiteY347" fmla="*/ 1022742 h 1609071"/>
                    <a:gd name="connsiteX348" fmla="*/ 2699864 w 7415104"/>
                    <a:gd name="connsiteY348" fmla="*/ 1040076 h 1609071"/>
                    <a:gd name="connsiteX349" fmla="*/ 2808205 w 7415104"/>
                    <a:gd name="connsiteY349" fmla="*/ 1040076 h 1609071"/>
                    <a:gd name="connsiteX350" fmla="*/ 2816872 w 7415104"/>
                    <a:gd name="connsiteY350" fmla="*/ 1048743 h 1609071"/>
                    <a:gd name="connsiteX351" fmla="*/ 2825540 w 7415104"/>
                    <a:gd name="connsiteY351" fmla="*/ 1057411 h 1609071"/>
                    <a:gd name="connsiteX352" fmla="*/ 2864542 w 7415104"/>
                    <a:gd name="connsiteY352" fmla="*/ 1057411 h 1609071"/>
                    <a:gd name="connsiteX353" fmla="*/ 2886210 w 7415104"/>
                    <a:gd name="connsiteY353" fmla="*/ 1057411 h 1609071"/>
                    <a:gd name="connsiteX354" fmla="*/ 2899211 w 7415104"/>
                    <a:gd name="connsiteY354" fmla="*/ 1057411 h 1609071"/>
                    <a:gd name="connsiteX355" fmla="*/ 2916546 w 7415104"/>
                    <a:gd name="connsiteY355" fmla="*/ 1074746 h 1609071"/>
                    <a:gd name="connsiteX356" fmla="*/ 2968550 w 7415104"/>
                    <a:gd name="connsiteY356" fmla="*/ 1074746 h 1609071"/>
                    <a:gd name="connsiteX357" fmla="*/ 2968550 w 7415104"/>
                    <a:gd name="connsiteY357" fmla="*/ 1092080 h 1609071"/>
                    <a:gd name="connsiteX358" fmla="*/ 3134752 w 7415104"/>
                    <a:gd name="connsiteY358" fmla="*/ 1094462 h 1609071"/>
                    <a:gd name="connsiteX359" fmla="*/ 3134753 w 7415104"/>
                    <a:gd name="connsiteY359" fmla="*/ 1122414 h 1609071"/>
                    <a:gd name="connsiteX360" fmla="*/ 3211234 w 7415104"/>
                    <a:gd name="connsiteY360" fmla="*/ 1122415 h 1609071"/>
                    <a:gd name="connsiteX361" fmla="*/ 3215568 w 7415104"/>
                    <a:gd name="connsiteY361" fmla="*/ 1122415 h 1609071"/>
                    <a:gd name="connsiteX362" fmla="*/ 3302241 w 7415104"/>
                    <a:gd name="connsiteY362" fmla="*/ 1124796 h 1609071"/>
                    <a:gd name="connsiteX363" fmla="*/ 3302241 w 7415104"/>
                    <a:gd name="connsiteY363" fmla="*/ 1141273 h 1609071"/>
                    <a:gd name="connsiteX364" fmla="*/ 3396058 w 7415104"/>
                    <a:gd name="connsiteY364" fmla="*/ 1141273 h 1609071"/>
                    <a:gd name="connsiteX365" fmla="*/ 3396057 w 7415104"/>
                    <a:gd name="connsiteY365" fmla="*/ 1154703 h 1609071"/>
                    <a:gd name="connsiteX366" fmla="*/ 3445251 w 7415104"/>
                    <a:gd name="connsiteY366" fmla="*/ 1157085 h 1609071"/>
                    <a:gd name="connsiteX367" fmla="*/ 3444395 w 7415104"/>
                    <a:gd name="connsiteY367" fmla="*/ 1165753 h 1609071"/>
                    <a:gd name="connsiteX368" fmla="*/ 3596929 w 7415104"/>
                    <a:gd name="connsiteY368" fmla="*/ 1165753 h 1609071"/>
                    <a:gd name="connsiteX369" fmla="*/ 3596929 w 7415104"/>
                    <a:gd name="connsiteY369" fmla="*/ 1178753 h 1609071"/>
                    <a:gd name="connsiteX370" fmla="*/ 3705270 w 7415104"/>
                    <a:gd name="connsiteY370" fmla="*/ 1178753 h 1609071"/>
                    <a:gd name="connsiteX371" fmla="*/ 3709604 w 7415104"/>
                    <a:gd name="connsiteY371" fmla="*/ 1183087 h 1609071"/>
                    <a:gd name="connsiteX372" fmla="*/ 3963337 w 7415104"/>
                    <a:gd name="connsiteY372" fmla="*/ 1187849 h 1609071"/>
                    <a:gd name="connsiteX373" fmla="*/ 3960956 w 7415104"/>
                    <a:gd name="connsiteY373" fmla="*/ 1204755 h 1609071"/>
                    <a:gd name="connsiteX374" fmla="*/ 3991291 w 7415104"/>
                    <a:gd name="connsiteY374" fmla="*/ 1204755 h 1609071"/>
                    <a:gd name="connsiteX375" fmla="*/ 3991291 w 7415104"/>
                    <a:gd name="connsiteY375" fmla="*/ 1178753 h 1609071"/>
                    <a:gd name="connsiteX376" fmla="*/ 4030294 w 7415104"/>
                    <a:gd name="connsiteY376" fmla="*/ 1178753 h 1609071"/>
                    <a:gd name="connsiteX377" fmla="*/ 4030294 w 7415104"/>
                    <a:gd name="connsiteY377" fmla="*/ 1213422 h 1609071"/>
                    <a:gd name="connsiteX378" fmla="*/ 4043295 w 7415104"/>
                    <a:gd name="connsiteY378" fmla="*/ 1213422 h 1609071"/>
                    <a:gd name="connsiteX379" fmla="*/ 4043295 w 7415104"/>
                    <a:gd name="connsiteY379" fmla="*/ 1222089 h 1609071"/>
                    <a:gd name="connsiteX380" fmla="*/ 4164637 w 7415104"/>
                    <a:gd name="connsiteY380" fmla="*/ 1222089 h 1609071"/>
                    <a:gd name="connsiteX381" fmla="*/ 4164637 w 7415104"/>
                    <a:gd name="connsiteY381" fmla="*/ 1243758 h 1609071"/>
                    <a:gd name="connsiteX382" fmla="*/ 4320648 w 7415104"/>
                    <a:gd name="connsiteY382" fmla="*/ 1243758 h 1609071"/>
                    <a:gd name="connsiteX383" fmla="*/ 4320648 w 7415104"/>
                    <a:gd name="connsiteY383" fmla="*/ 1261092 h 1609071"/>
                    <a:gd name="connsiteX384" fmla="*/ 4398654 w 7415104"/>
                    <a:gd name="connsiteY384" fmla="*/ 1261092 h 1609071"/>
                    <a:gd name="connsiteX385" fmla="*/ 4398654 w 7415104"/>
                    <a:gd name="connsiteY385" fmla="*/ 1287094 h 1609071"/>
                    <a:gd name="connsiteX386" fmla="*/ 4450658 w 7415104"/>
                    <a:gd name="connsiteY386" fmla="*/ 1287094 h 1609071"/>
                    <a:gd name="connsiteX387" fmla="*/ 4476660 w 7415104"/>
                    <a:gd name="connsiteY387" fmla="*/ 1287094 h 1609071"/>
                    <a:gd name="connsiteX388" fmla="*/ 4498328 w 7415104"/>
                    <a:gd name="connsiteY388" fmla="*/ 1308762 h 1609071"/>
                    <a:gd name="connsiteX389" fmla="*/ 4593668 w 7415104"/>
                    <a:gd name="connsiteY389" fmla="*/ 1308762 h 1609071"/>
                    <a:gd name="connsiteX390" fmla="*/ 4597573 w 7415104"/>
                    <a:gd name="connsiteY390" fmla="*/ 1317430 h 1609071"/>
                    <a:gd name="connsiteX391" fmla="*/ 4663007 w 7415104"/>
                    <a:gd name="connsiteY391" fmla="*/ 1317430 h 1609071"/>
                    <a:gd name="connsiteX392" fmla="*/ 4663007 w 7415104"/>
                    <a:gd name="connsiteY392" fmla="*/ 1339098 h 1609071"/>
                    <a:gd name="connsiteX393" fmla="*/ 4706343 w 7415104"/>
                    <a:gd name="connsiteY393" fmla="*/ 1339098 h 1609071"/>
                    <a:gd name="connsiteX394" fmla="*/ 4710677 w 7415104"/>
                    <a:gd name="connsiteY394" fmla="*/ 1343432 h 1609071"/>
                    <a:gd name="connsiteX395" fmla="*/ 4767014 w 7415104"/>
                    <a:gd name="connsiteY395" fmla="*/ 1343432 h 1609071"/>
                    <a:gd name="connsiteX396" fmla="*/ 4765727 w 7415104"/>
                    <a:gd name="connsiteY396" fmla="*/ 1358814 h 1609071"/>
                    <a:gd name="connsiteX397" fmla="*/ 5005365 w 7415104"/>
                    <a:gd name="connsiteY397" fmla="*/ 1356433 h 1609071"/>
                    <a:gd name="connsiteX398" fmla="*/ 5018366 w 7415104"/>
                    <a:gd name="connsiteY398" fmla="*/ 1369434 h 1609071"/>
                    <a:gd name="connsiteX399" fmla="*/ 5152709 w 7415104"/>
                    <a:gd name="connsiteY399" fmla="*/ 1369434 h 1609071"/>
                    <a:gd name="connsiteX400" fmla="*/ 5152709 w 7415104"/>
                    <a:gd name="connsiteY400" fmla="*/ 1391102 h 1609071"/>
                    <a:gd name="connsiteX401" fmla="*/ 5282719 w 7415104"/>
                    <a:gd name="connsiteY401" fmla="*/ 1391102 h 1609071"/>
                    <a:gd name="connsiteX402" fmla="*/ 5291386 w 7415104"/>
                    <a:gd name="connsiteY402" fmla="*/ 1399769 h 1609071"/>
                    <a:gd name="connsiteX403" fmla="*/ 5356391 w 7415104"/>
                    <a:gd name="connsiteY403" fmla="*/ 1399769 h 1609071"/>
                    <a:gd name="connsiteX404" fmla="*/ 5369392 w 7415104"/>
                    <a:gd name="connsiteY404" fmla="*/ 1399769 h 1609071"/>
                    <a:gd name="connsiteX405" fmla="*/ 5369392 w 7415104"/>
                    <a:gd name="connsiteY405" fmla="*/ 1421437 h 1609071"/>
                    <a:gd name="connsiteX406" fmla="*/ 5473399 w 7415104"/>
                    <a:gd name="connsiteY406" fmla="*/ 1421437 h 1609071"/>
                    <a:gd name="connsiteX407" fmla="*/ 5473399 w 7415104"/>
                    <a:gd name="connsiteY407" fmla="*/ 1399769 h 1609071"/>
                    <a:gd name="connsiteX408" fmla="*/ 5512402 w 7415104"/>
                    <a:gd name="connsiteY408" fmla="*/ 1399769 h 1609071"/>
                    <a:gd name="connsiteX409" fmla="*/ 5512402 w 7415104"/>
                    <a:gd name="connsiteY409" fmla="*/ 1425771 h 1609071"/>
                    <a:gd name="connsiteX410" fmla="*/ 5607742 w 7415104"/>
                    <a:gd name="connsiteY410" fmla="*/ 1425771 h 1609071"/>
                    <a:gd name="connsiteX411" fmla="*/ 5607742 w 7415104"/>
                    <a:gd name="connsiteY411" fmla="*/ 1399769 h 1609071"/>
                    <a:gd name="connsiteX412" fmla="*/ 5664080 w 7415104"/>
                    <a:gd name="connsiteY412" fmla="*/ 1399769 h 1609071"/>
                    <a:gd name="connsiteX413" fmla="*/ 5664080 w 7415104"/>
                    <a:gd name="connsiteY413" fmla="*/ 1434438 h 1609071"/>
                    <a:gd name="connsiteX414" fmla="*/ 5685748 w 7415104"/>
                    <a:gd name="connsiteY414" fmla="*/ 1434438 h 1609071"/>
                    <a:gd name="connsiteX415" fmla="*/ 5685748 w 7415104"/>
                    <a:gd name="connsiteY415" fmla="*/ 1443106 h 1609071"/>
                    <a:gd name="connsiteX416" fmla="*/ 5716083 w 7415104"/>
                    <a:gd name="connsiteY416" fmla="*/ 1443106 h 1609071"/>
                    <a:gd name="connsiteX417" fmla="*/ 5716083 w 7415104"/>
                    <a:gd name="connsiteY417" fmla="*/ 1456106 h 1609071"/>
                    <a:gd name="connsiteX418" fmla="*/ 5794089 w 7415104"/>
                    <a:gd name="connsiteY418" fmla="*/ 1456106 h 1609071"/>
                    <a:gd name="connsiteX419" fmla="*/ 5794089 w 7415104"/>
                    <a:gd name="connsiteY419" fmla="*/ 1421437 h 1609071"/>
                    <a:gd name="connsiteX420" fmla="*/ 5837426 w 7415104"/>
                    <a:gd name="connsiteY420" fmla="*/ 1421437 h 1609071"/>
                    <a:gd name="connsiteX421" fmla="*/ 5837426 w 7415104"/>
                    <a:gd name="connsiteY421" fmla="*/ 1456106 h 1609071"/>
                    <a:gd name="connsiteX422" fmla="*/ 5902430 w 7415104"/>
                    <a:gd name="connsiteY422" fmla="*/ 1456106 h 1609071"/>
                    <a:gd name="connsiteX423" fmla="*/ 5928432 w 7415104"/>
                    <a:gd name="connsiteY423" fmla="*/ 1456106 h 1609071"/>
                    <a:gd name="connsiteX424" fmla="*/ 5928432 w 7415104"/>
                    <a:gd name="connsiteY424" fmla="*/ 1473441 h 1609071"/>
                    <a:gd name="connsiteX425" fmla="*/ 5945767 w 7415104"/>
                    <a:gd name="connsiteY425" fmla="*/ 1473441 h 1609071"/>
                    <a:gd name="connsiteX426" fmla="*/ 5950101 w 7415104"/>
                    <a:gd name="connsiteY426" fmla="*/ 1477775 h 1609071"/>
                    <a:gd name="connsiteX427" fmla="*/ 6019439 w 7415104"/>
                    <a:gd name="connsiteY427" fmla="*/ 1477775 h 1609071"/>
                    <a:gd name="connsiteX428" fmla="*/ 6019439 w 7415104"/>
                    <a:gd name="connsiteY428" fmla="*/ 1456106 h 1609071"/>
                    <a:gd name="connsiteX429" fmla="*/ 6058442 w 7415104"/>
                    <a:gd name="connsiteY429" fmla="*/ 1456106 h 1609071"/>
                    <a:gd name="connsiteX430" fmla="*/ 6058442 w 7415104"/>
                    <a:gd name="connsiteY430" fmla="*/ 1499443 h 1609071"/>
                    <a:gd name="connsiteX431" fmla="*/ 6110446 w 7415104"/>
                    <a:gd name="connsiteY431" fmla="*/ 1499443 h 1609071"/>
                    <a:gd name="connsiteX432" fmla="*/ 6110446 w 7415104"/>
                    <a:gd name="connsiteY432" fmla="*/ 1508110 h 1609071"/>
                    <a:gd name="connsiteX433" fmla="*/ 6188451 w 7415104"/>
                    <a:gd name="connsiteY433" fmla="*/ 1508110 h 1609071"/>
                    <a:gd name="connsiteX434" fmla="*/ 6188451 w 7415104"/>
                    <a:gd name="connsiteY434" fmla="*/ 1464774 h 1609071"/>
                    <a:gd name="connsiteX435" fmla="*/ 6227454 w 7415104"/>
                    <a:gd name="connsiteY435" fmla="*/ 1464774 h 1609071"/>
                    <a:gd name="connsiteX436" fmla="*/ 6227454 w 7415104"/>
                    <a:gd name="connsiteY436" fmla="*/ 1516778 h 1609071"/>
                    <a:gd name="connsiteX437" fmla="*/ 6353130 w 7415104"/>
                    <a:gd name="connsiteY437" fmla="*/ 1516778 h 1609071"/>
                    <a:gd name="connsiteX438" fmla="*/ 6353130 w 7415104"/>
                    <a:gd name="connsiteY438" fmla="*/ 1477775 h 1609071"/>
                    <a:gd name="connsiteX439" fmla="*/ 6397561 w 7415104"/>
                    <a:gd name="connsiteY439" fmla="*/ 1475394 h 1609071"/>
                    <a:gd name="connsiteX440" fmla="*/ 6399942 w 7415104"/>
                    <a:gd name="connsiteY440" fmla="*/ 1529778 h 1609071"/>
                    <a:gd name="connsiteX441" fmla="*/ 6447614 w 7415104"/>
                    <a:gd name="connsiteY441" fmla="*/ 1529778 h 1609071"/>
                    <a:gd name="connsiteX442" fmla="*/ 6447611 w 7415104"/>
                    <a:gd name="connsiteY442" fmla="*/ 1479728 h 1609071"/>
                    <a:gd name="connsiteX443" fmla="*/ 6487473 w 7415104"/>
                    <a:gd name="connsiteY443" fmla="*/ 1482108 h 1609071"/>
                    <a:gd name="connsiteX444" fmla="*/ 6487473 w 7415104"/>
                    <a:gd name="connsiteY444" fmla="*/ 1529778 h 1609071"/>
                    <a:gd name="connsiteX445" fmla="*/ 6561145 w 7415104"/>
                    <a:gd name="connsiteY445" fmla="*/ 1529778 h 1609071"/>
                    <a:gd name="connsiteX446" fmla="*/ 6565479 w 7415104"/>
                    <a:gd name="connsiteY446" fmla="*/ 1534112 h 1609071"/>
                    <a:gd name="connsiteX447" fmla="*/ 6674249 w 7415104"/>
                    <a:gd name="connsiteY447" fmla="*/ 1536493 h 1609071"/>
                    <a:gd name="connsiteX448" fmla="*/ 6676630 w 7415104"/>
                    <a:gd name="connsiteY448" fmla="*/ 1499443 h 1609071"/>
                    <a:gd name="connsiteX449" fmla="*/ 6738825 w 7415104"/>
                    <a:gd name="connsiteY449" fmla="*/ 1499443 h 1609071"/>
                    <a:gd name="connsiteX450" fmla="*/ 6738825 w 7415104"/>
                    <a:gd name="connsiteY450" fmla="*/ 1542779 h 1609071"/>
                    <a:gd name="connsiteX451" fmla="*/ 6795162 w 7415104"/>
                    <a:gd name="connsiteY451" fmla="*/ 1542779 h 1609071"/>
                    <a:gd name="connsiteX452" fmla="*/ 6795162 w 7415104"/>
                    <a:gd name="connsiteY452" fmla="*/ 1499443 h 1609071"/>
                    <a:gd name="connsiteX453" fmla="*/ 6829831 w 7415104"/>
                    <a:gd name="connsiteY453" fmla="*/ 1499443 h 1609071"/>
                    <a:gd name="connsiteX454" fmla="*/ 6829831 w 7415104"/>
                    <a:gd name="connsiteY454" fmla="*/ 1529778 h 1609071"/>
                    <a:gd name="connsiteX455" fmla="*/ 6847166 w 7415104"/>
                    <a:gd name="connsiteY455" fmla="*/ 1529778 h 1609071"/>
                    <a:gd name="connsiteX456" fmla="*/ 6847166 w 7415104"/>
                    <a:gd name="connsiteY456" fmla="*/ 1555780 h 1609071"/>
                    <a:gd name="connsiteX457" fmla="*/ 7050847 w 7415104"/>
                    <a:gd name="connsiteY457" fmla="*/ 1555780 h 1609071"/>
                    <a:gd name="connsiteX458" fmla="*/ 7063848 w 7415104"/>
                    <a:gd name="connsiteY458" fmla="*/ 1568781 h 1609071"/>
                    <a:gd name="connsiteX459" fmla="*/ 7133187 w 7415104"/>
                    <a:gd name="connsiteY459" fmla="*/ 1568781 h 1609071"/>
                    <a:gd name="connsiteX460" fmla="*/ 7133187 w 7415104"/>
                    <a:gd name="connsiteY460" fmla="*/ 1586116 h 1609071"/>
                    <a:gd name="connsiteX461" fmla="*/ 7284865 w 7415104"/>
                    <a:gd name="connsiteY461" fmla="*/ 1586116 h 1609071"/>
                    <a:gd name="connsiteX462" fmla="*/ 7284865 w 7415104"/>
                    <a:gd name="connsiteY462" fmla="*/ 1607784 h 1609071"/>
                    <a:gd name="connsiteX463" fmla="*/ 7414876 w 7415104"/>
                    <a:gd name="connsiteY463"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1 w 7415104"/>
                    <a:gd name="connsiteY318" fmla="*/ 848302 h 1609071"/>
                    <a:gd name="connsiteX319" fmla="*/ 2068866 w 7415104"/>
                    <a:gd name="connsiteY319" fmla="*/ 950695 h 1609071"/>
                    <a:gd name="connsiteX320" fmla="*/ 2106154 w 7415104"/>
                    <a:gd name="connsiteY320" fmla="*/ 836395 h 1609071"/>
                    <a:gd name="connsiteX321" fmla="*/ 2106154 w 7415104"/>
                    <a:gd name="connsiteY321" fmla="*/ 862396 h 1609071"/>
                    <a:gd name="connsiteX322" fmla="*/ 2119155 w 7415104"/>
                    <a:gd name="connsiteY322" fmla="*/ 862396 h 1609071"/>
                    <a:gd name="connsiteX323" fmla="*/ 2136489 w 7415104"/>
                    <a:gd name="connsiteY323" fmla="*/ 862396 h 1609071"/>
                    <a:gd name="connsiteX324" fmla="*/ 2184159 w 7415104"/>
                    <a:gd name="connsiteY324" fmla="*/ 862396 h 1609071"/>
                    <a:gd name="connsiteX325" fmla="*/ 2184159 w 7415104"/>
                    <a:gd name="connsiteY325" fmla="*/ 888398 h 1609071"/>
                    <a:gd name="connsiteX326" fmla="*/ 2200254 w 7415104"/>
                    <a:gd name="connsiteY326" fmla="*/ 883636 h 1609071"/>
                    <a:gd name="connsiteX327" fmla="*/ 2240733 w 7415104"/>
                    <a:gd name="connsiteY327" fmla="*/ 881254 h 1609071"/>
                    <a:gd name="connsiteX328" fmla="*/ 2240102 w 7415104"/>
                    <a:gd name="connsiteY328" fmla="*/ 914626 h 1609071"/>
                    <a:gd name="connsiteX329" fmla="*/ 2265640 w 7415104"/>
                    <a:gd name="connsiteY329" fmla="*/ 915879 h 1609071"/>
                    <a:gd name="connsiteX330" fmla="*/ 2266296 w 7415104"/>
                    <a:gd name="connsiteY330" fmla="*/ 878908 h 1609071"/>
                    <a:gd name="connsiteX331" fmla="*/ 2294025 w 7415104"/>
                    <a:gd name="connsiteY331" fmla="*/ 877780 h 1609071"/>
                    <a:gd name="connsiteX332" fmla="*/ 2294025 w 7415104"/>
                    <a:gd name="connsiteY332" fmla="*/ 912018 h 1609071"/>
                    <a:gd name="connsiteX333" fmla="*/ 2335837 w 7415104"/>
                    <a:gd name="connsiteY333" fmla="*/ 914400 h 1609071"/>
                    <a:gd name="connsiteX334" fmla="*/ 2335837 w 7415104"/>
                    <a:gd name="connsiteY334" fmla="*/ 923068 h 1609071"/>
                    <a:gd name="connsiteX335" fmla="*/ 2400842 w 7415104"/>
                    <a:gd name="connsiteY335" fmla="*/ 923068 h 1609071"/>
                    <a:gd name="connsiteX336" fmla="*/ 2400842 w 7415104"/>
                    <a:gd name="connsiteY336" fmla="*/ 936069 h 1609071"/>
                    <a:gd name="connsiteX337" fmla="*/ 2439845 w 7415104"/>
                    <a:gd name="connsiteY337" fmla="*/ 936069 h 1609071"/>
                    <a:gd name="connsiteX338" fmla="*/ 2452846 w 7415104"/>
                    <a:gd name="connsiteY338" fmla="*/ 949070 h 1609071"/>
                    <a:gd name="connsiteX339" fmla="*/ 2500516 w 7415104"/>
                    <a:gd name="connsiteY339" fmla="*/ 949070 h 1609071"/>
                    <a:gd name="connsiteX340" fmla="*/ 2513517 w 7415104"/>
                    <a:gd name="connsiteY340" fmla="*/ 962071 h 1609071"/>
                    <a:gd name="connsiteX341" fmla="*/ 2543852 w 7415104"/>
                    <a:gd name="connsiteY341" fmla="*/ 962071 h 1609071"/>
                    <a:gd name="connsiteX342" fmla="*/ 2543852 w 7415104"/>
                    <a:gd name="connsiteY342" fmla="*/ 979405 h 1609071"/>
                    <a:gd name="connsiteX343" fmla="*/ 2591522 w 7415104"/>
                    <a:gd name="connsiteY343" fmla="*/ 979405 h 1609071"/>
                    <a:gd name="connsiteX344" fmla="*/ 2591522 w 7415104"/>
                    <a:gd name="connsiteY344" fmla="*/ 1001073 h 1609071"/>
                    <a:gd name="connsiteX345" fmla="*/ 2639192 w 7415104"/>
                    <a:gd name="connsiteY345" fmla="*/ 1001073 h 1609071"/>
                    <a:gd name="connsiteX346" fmla="*/ 2639192 w 7415104"/>
                    <a:gd name="connsiteY346" fmla="*/ 1022742 h 1609071"/>
                    <a:gd name="connsiteX347" fmla="*/ 2699864 w 7415104"/>
                    <a:gd name="connsiteY347" fmla="*/ 1022742 h 1609071"/>
                    <a:gd name="connsiteX348" fmla="*/ 2699864 w 7415104"/>
                    <a:gd name="connsiteY348" fmla="*/ 1040076 h 1609071"/>
                    <a:gd name="connsiteX349" fmla="*/ 2808205 w 7415104"/>
                    <a:gd name="connsiteY349" fmla="*/ 1040076 h 1609071"/>
                    <a:gd name="connsiteX350" fmla="*/ 2816872 w 7415104"/>
                    <a:gd name="connsiteY350" fmla="*/ 1048743 h 1609071"/>
                    <a:gd name="connsiteX351" fmla="*/ 2825540 w 7415104"/>
                    <a:gd name="connsiteY351" fmla="*/ 1057411 h 1609071"/>
                    <a:gd name="connsiteX352" fmla="*/ 2864542 w 7415104"/>
                    <a:gd name="connsiteY352" fmla="*/ 1057411 h 1609071"/>
                    <a:gd name="connsiteX353" fmla="*/ 2886210 w 7415104"/>
                    <a:gd name="connsiteY353" fmla="*/ 1057411 h 1609071"/>
                    <a:gd name="connsiteX354" fmla="*/ 2899211 w 7415104"/>
                    <a:gd name="connsiteY354" fmla="*/ 1057411 h 1609071"/>
                    <a:gd name="connsiteX355" fmla="*/ 2916546 w 7415104"/>
                    <a:gd name="connsiteY355" fmla="*/ 1074746 h 1609071"/>
                    <a:gd name="connsiteX356" fmla="*/ 2968550 w 7415104"/>
                    <a:gd name="connsiteY356" fmla="*/ 1074746 h 1609071"/>
                    <a:gd name="connsiteX357" fmla="*/ 2968550 w 7415104"/>
                    <a:gd name="connsiteY357" fmla="*/ 1092080 h 1609071"/>
                    <a:gd name="connsiteX358" fmla="*/ 3134752 w 7415104"/>
                    <a:gd name="connsiteY358" fmla="*/ 1094462 h 1609071"/>
                    <a:gd name="connsiteX359" fmla="*/ 3134753 w 7415104"/>
                    <a:gd name="connsiteY359" fmla="*/ 1122414 h 1609071"/>
                    <a:gd name="connsiteX360" fmla="*/ 3211234 w 7415104"/>
                    <a:gd name="connsiteY360" fmla="*/ 1122415 h 1609071"/>
                    <a:gd name="connsiteX361" fmla="*/ 3215568 w 7415104"/>
                    <a:gd name="connsiteY361" fmla="*/ 1122415 h 1609071"/>
                    <a:gd name="connsiteX362" fmla="*/ 3302241 w 7415104"/>
                    <a:gd name="connsiteY362" fmla="*/ 1124796 h 1609071"/>
                    <a:gd name="connsiteX363" fmla="*/ 3302241 w 7415104"/>
                    <a:gd name="connsiteY363" fmla="*/ 1141273 h 1609071"/>
                    <a:gd name="connsiteX364" fmla="*/ 3396058 w 7415104"/>
                    <a:gd name="connsiteY364" fmla="*/ 1141273 h 1609071"/>
                    <a:gd name="connsiteX365" fmla="*/ 3396057 w 7415104"/>
                    <a:gd name="connsiteY365" fmla="*/ 1154703 h 1609071"/>
                    <a:gd name="connsiteX366" fmla="*/ 3445251 w 7415104"/>
                    <a:gd name="connsiteY366" fmla="*/ 1157085 h 1609071"/>
                    <a:gd name="connsiteX367" fmla="*/ 3444395 w 7415104"/>
                    <a:gd name="connsiteY367" fmla="*/ 1165753 h 1609071"/>
                    <a:gd name="connsiteX368" fmla="*/ 3596929 w 7415104"/>
                    <a:gd name="connsiteY368" fmla="*/ 1165753 h 1609071"/>
                    <a:gd name="connsiteX369" fmla="*/ 3596929 w 7415104"/>
                    <a:gd name="connsiteY369" fmla="*/ 1178753 h 1609071"/>
                    <a:gd name="connsiteX370" fmla="*/ 3705270 w 7415104"/>
                    <a:gd name="connsiteY370" fmla="*/ 1178753 h 1609071"/>
                    <a:gd name="connsiteX371" fmla="*/ 3709604 w 7415104"/>
                    <a:gd name="connsiteY371" fmla="*/ 1183087 h 1609071"/>
                    <a:gd name="connsiteX372" fmla="*/ 3963337 w 7415104"/>
                    <a:gd name="connsiteY372" fmla="*/ 1187849 h 1609071"/>
                    <a:gd name="connsiteX373" fmla="*/ 3960956 w 7415104"/>
                    <a:gd name="connsiteY373" fmla="*/ 1204755 h 1609071"/>
                    <a:gd name="connsiteX374" fmla="*/ 3991291 w 7415104"/>
                    <a:gd name="connsiteY374" fmla="*/ 1204755 h 1609071"/>
                    <a:gd name="connsiteX375" fmla="*/ 3991291 w 7415104"/>
                    <a:gd name="connsiteY375" fmla="*/ 1178753 h 1609071"/>
                    <a:gd name="connsiteX376" fmla="*/ 4030294 w 7415104"/>
                    <a:gd name="connsiteY376" fmla="*/ 1178753 h 1609071"/>
                    <a:gd name="connsiteX377" fmla="*/ 4030294 w 7415104"/>
                    <a:gd name="connsiteY377" fmla="*/ 1213422 h 1609071"/>
                    <a:gd name="connsiteX378" fmla="*/ 4043295 w 7415104"/>
                    <a:gd name="connsiteY378" fmla="*/ 1213422 h 1609071"/>
                    <a:gd name="connsiteX379" fmla="*/ 4043295 w 7415104"/>
                    <a:gd name="connsiteY379" fmla="*/ 1222089 h 1609071"/>
                    <a:gd name="connsiteX380" fmla="*/ 4164637 w 7415104"/>
                    <a:gd name="connsiteY380" fmla="*/ 1222089 h 1609071"/>
                    <a:gd name="connsiteX381" fmla="*/ 4164637 w 7415104"/>
                    <a:gd name="connsiteY381" fmla="*/ 1243758 h 1609071"/>
                    <a:gd name="connsiteX382" fmla="*/ 4320648 w 7415104"/>
                    <a:gd name="connsiteY382" fmla="*/ 1243758 h 1609071"/>
                    <a:gd name="connsiteX383" fmla="*/ 4320648 w 7415104"/>
                    <a:gd name="connsiteY383" fmla="*/ 1261092 h 1609071"/>
                    <a:gd name="connsiteX384" fmla="*/ 4398654 w 7415104"/>
                    <a:gd name="connsiteY384" fmla="*/ 1261092 h 1609071"/>
                    <a:gd name="connsiteX385" fmla="*/ 4398654 w 7415104"/>
                    <a:gd name="connsiteY385" fmla="*/ 1287094 h 1609071"/>
                    <a:gd name="connsiteX386" fmla="*/ 4450658 w 7415104"/>
                    <a:gd name="connsiteY386" fmla="*/ 1287094 h 1609071"/>
                    <a:gd name="connsiteX387" fmla="*/ 4476660 w 7415104"/>
                    <a:gd name="connsiteY387" fmla="*/ 1287094 h 1609071"/>
                    <a:gd name="connsiteX388" fmla="*/ 4498328 w 7415104"/>
                    <a:gd name="connsiteY388" fmla="*/ 1308762 h 1609071"/>
                    <a:gd name="connsiteX389" fmla="*/ 4593668 w 7415104"/>
                    <a:gd name="connsiteY389" fmla="*/ 1308762 h 1609071"/>
                    <a:gd name="connsiteX390" fmla="*/ 4597573 w 7415104"/>
                    <a:gd name="connsiteY390" fmla="*/ 1317430 h 1609071"/>
                    <a:gd name="connsiteX391" fmla="*/ 4663007 w 7415104"/>
                    <a:gd name="connsiteY391" fmla="*/ 1317430 h 1609071"/>
                    <a:gd name="connsiteX392" fmla="*/ 4663007 w 7415104"/>
                    <a:gd name="connsiteY392" fmla="*/ 1339098 h 1609071"/>
                    <a:gd name="connsiteX393" fmla="*/ 4706343 w 7415104"/>
                    <a:gd name="connsiteY393" fmla="*/ 1339098 h 1609071"/>
                    <a:gd name="connsiteX394" fmla="*/ 4710677 w 7415104"/>
                    <a:gd name="connsiteY394" fmla="*/ 1343432 h 1609071"/>
                    <a:gd name="connsiteX395" fmla="*/ 4767014 w 7415104"/>
                    <a:gd name="connsiteY395" fmla="*/ 1343432 h 1609071"/>
                    <a:gd name="connsiteX396" fmla="*/ 4765727 w 7415104"/>
                    <a:gd name="connsiteY396" fmla="*/ 1358814 h 1609071"/>
                    <a:gd name="connsiteX397" fmla="*/ 5005365 w 7415104"/>
                    <a:gd name="connsiteY397" fmla="*/ 1356433 h 1609071"/>
                    <a:gd name="connsiteX398" fmla="*/ 5018366 w 7415104"/>
                    <a:gd name="connsiteY398" fmla="*/ 1369434 h 1609071"/>
                    <a:gd name="connsiteX399" fmla="*/ 5152709 w 7415104"/>
                    <a:gd name="connsiteY399" fmla="*/ 1369434 h 1609071"/>
                    <a:gd name="connsiteX400" fmla="*/ 5152709 w 7415104"/>
                    <a:gd name="connsiteY400" fmla="*/ 1391102 h 1609071"/>
                    <a:gd name="connsiteX401" fmla="*/ 5282719 w 7415104"/>
                    <a:gd name="connsiteY401" fmla="*/ 1391102 h 1609071"/>
                    <a:gd name="connsiteX402" fmla="*/ 5291386 w 7415104"/>
                    <a:gd name="connsiteY402" fmla="*/ 1399769 h 1609071"/>
                    <a:gd name="connsiteX403" fmla="*/ 5356391 w 7415104"/>
                    <a:gd name="connsiteY403" fmla="*/ 1399769 h 1609071"/>
                    <a:gd name="connsiteX404" fmla="*/ 5369392 w 7415104"/>
                    <a:gd name="connsiteY404" fmla="*/ 1399769 h 1609071"/>
                    <a:gd name="connsiteX405" fmla="*/ 5369392 w 7415104"/>
                    <a:gd name="connsiteY405" fmla="*/ 1421437 h 1609071"/>
                    <a:gd name="connsiteX406" fmla="*/ 5473399 w 7415104"/>
                    <a:gd name="connsiteY406" fmla="*/ 1421437 h 1609071"/>
                    <a:gd name="connsiteX407" fmla="*/ 5473399 w 7415104"/>
                    <a:gd name="connsiteY407" fmla="*/ 1399769 h 1609071"/>
                    <a:gd name="connsiteX408" fmla="*/ 5512402 w 7415104"/>
                    <a:gd name="connsiteY408" fmla="*/ 1399769 h 1609071"/>
                    <a:gd name="connsiteX409" fmla="*/ 5512402 w 7415104"/>
                    <a:gd name="connsiteY409" fmla="*/ 1425771 h 1609071"/>
                    <a:gd name="connsiteX410" fmla="*/ 5607742 w 7415104"/>
                    <a:gd name="connsiteY410" fmla="*/ 1425771 h 1609071"/>
                    <a:gd name="connsiteX411" fmla="*/ 5607742 w 7415104"/>
                    <a:gd name="connsiteY411" fmla="*/ 1399769 h 1609071"/>
                    <a:gd name="connsiteX412" fmla="*/ 5664080 w 7415104"/>
                    <a:gd name="connsiteY412" fmla="*/ 1399769 h 1609071"/>
                    <a:gd name="connsiteX413" fmla="*/ 5664080 w 7415104"/>
                    <a:gd name="connsiteY413" fmla="*/ 1434438 h 1609071"/>
                    <a:gd name="connsiteX414" fmla="*/ 5685748 w 7415104"/>
                    <a:gd name="connsiteY414" fmla="*/ 1434438 h 1609071"/>
                    <a:gd name="connsiteX415" fmla="*/ 5685748 w 7415104"/>
                    <a:gd name="connsiteY415" fmla="*/ 1443106 h 1609071"/>
                    <a:gd name="connsiteX416" fmla="*/ 5716083 w 7415104"/>
                    <a:gd name="connsiteY416" fmla="*/ 1443106 h 1609071"/>
                    <a:gd name="connsiteX417" fmla="*/ 5716083 w 7415104"/>
                    <a:gd name="connsiteY417" fmla="*/ 1456106 h 1609071"/>
                    <a:gd name="connsiteX418" fmla="*/ 5794089 w 7415104"/>
                    <a:gd name="connsiteY418" fmla="*/ 1456106 h 1609071"/>
                    <a:gd name="connsiteX419" fmla="*/ 5794089 w 7415104"/>
                    <a:gd name="connsiteY419" fmla="*/ 1421437 h 1609071"/>
                    <a:gd name="connsiteX420" fmla="*/ 5837426 w 7415104"/>
                    <a:gd name="connsiteY420" fmla="*/ 1421437 h 1609071"/>
                    <a:gd name="connsiteX421" fmla="*/ 5837426 w 7415104"/>
                    <a:gd name="connsiteY421" fmla="*/ 1456106 h 1609071"/>
                    <a:gd name="connsiteX422" fmla="*/ 5902430 w 7415104"/>
                    <a:gd name="connsiteY422" fmla="*/ 1456106 h 1609071"/>
                    <a:gd name="connsiteX423" fmla="*/ 5928432 w 7415104"/>
                    <a:gd name="connsiteY423" fmla="*/ 1456106 h 1609071"/>
                    <a:gd name="connsiteX424" fmla="*/ 5928432 w 7415104"/>
                    <a:gd name="connsiteY424" fmla="*/ 1473441 h 1609071"/>
                    <a:gd name="connsiteX425" fmla="*/ 5945767 w 7415104"/>
                    <a:gd name="connsiteY425" fmla="*/ 1473441 h 1609071"/>
                    <a:gd name="connsiteX426" fmla="*/ 5950101 w 7415104"/>
                    <a:gd name="connsiteY426" fmla="*/ 1477775 h 1609071"/>
                    <a:gd name="connsiteX427" fmla="*/ 6019439 w 7415104"/>
                    <a:gd name="connsiteY427" fmla="*/ 1477775 h 1609071"/>
                    <a:gd name="connsiteX428" fmla="*/ 6019439 w 7415104"/>
                    <a:gd name="connsiteY428" fmla="*/ 1456106 h 1609071"/>
                    <a:gd name="connsiteX429" fmla="*/ 6058442 w 7415104"/>
                    <a:gd name="connsiteY429" fmla="*/ 1456106 h 1609071"/>
                    <a:gd name="connsiteX430" fmla="*/ 6058442 w 7415104"/>
                    <a:gd name="connsiteY430" fmla="*/ 1499443 h 1609071"/>
                    <a:gd name="connsiteX431" fmla="*/ 6110446 w 7415104"/>
                    <a:gd name="connsiteY431" fmla="*/ 1499443 h 1609071"/>
                    <a:gd name="connsiteX432" fmla="*/ 6110446 w 7415104"/>
                    <a:gd name="connsiteY432" fmla="*/ 1508110 h 1609071"/>
                    <a:gd name="connsiteX433" fmla="*/ 6188451 w 7415104"/>
                    <a:gd name="connsiteY433" fmla="*/ 1508110 h 1609071"/>
                    <a:gd name="connsiteX434" fmla="*/ 6188451 w 7415104"/>
                    <a:gd name="connsiteY434" fmla="*/ 1464774 h 1609071"/>
                    <a:gd name="connsiteX435" fmla="*/ 6227454 w 7415104"/>
                    <a:gd name="connsiteY435" fmla="*/ 1464774 h 1609071"/>
                    <a:gd name="connsiteX436" fmla="*/ 6227454 w 7415104"/>
                    <a:gd name="connsiteY436" fmla="*/ 1516778 h 1609071"/>
                    <a:gd name="connsiteX437" fmla="*/ 6353130 w 7415104"/>
                    <a:gd name="connsiteY437" fmla="*/ 1516778 h 1609071"/>
                    <a:gd name="connsiteX438" fmla="*/ 6353130 w 7415104"/>
                    <a:gd name="connsiteY438" fmla="*/ 1477775 h 1609071"/>
                    <a:gd name="connsiteX439" fmla="*/ 6397561 w 7415104"/>
                    <a:gd name="connsiteY439" fmla="*/ 1475394 h 1609071"/>
                    <a:gd name="connsiteX440" fmla="*/ 6399942 w 7415104"/>
                    <a:gd name="connsiteY440" fmla="*/ 1529778 h 1609071"/>
                    <a:gd name="connsiteX441" fmla="*/ 6447614 w 7415104"/>
                    <a:gd name="connsiteY441" fmla="*/ 1529778 h 1609071"/>
                    <a:gd name="connsiteX442" fmla="*/ 6447611 w 7415104"/>
                    <a:gd name="connsiteY442" fmla="*/ 1479728 h 1609071"/>
                    <a:gd name="connsiteX443" fmla="*/ 6487473 w 7415104"/>
                    <a:gd name="connsiteY443" fmla="*/ 1482108 h 1609071"/>
                    <a:gd name="connsiteX444" fmla="*/ 6487473 w 7415104"/>
                    <a:gd name="connsiteY444" fmla="*/ 1529778 h 1609071"/>
                    <a:gd name="connsiteX445" fmla="*/ 6561145 w 7415104"/>
                    <a:gd name="connsiteY445" fmla="*/ 1529778 h 1609071"/>
                    <a:gd name="connsiteX446" fmla="*/ 6565479 w 7415104"/>
                    <a:gd name="connsiteY446" fmla="*/ 1534112 h 1609071"/>
                    <a:gd name="connsiteX447" fmla="*/ 6674249 w 7415104"/>
                    <a:gd name="connsiteY447" fmla="*/ 1536493 h 1609071"/>
                    <a:gd name="connsiteX448" fmla="*/ 6676630 w 7415104"/>
                    <a:gd name="connsiteY448" fmla="*/ 1499443 h 1609071"/>
                    <a:gd name="connsiteX449" fmla="*/ 6738825 w 7415104"/>
                    <a:gd name="connsiteY449" fmla="*/ 1499443 h 1609071"/>
                    <a:gd name="connsiteX450" fmla="*/ 6738825 w 7415104"/>
                    <a:gd name="connsiteY450" fmla="*/ 1542779 h 1609071"/>
                    <a:gd name="connsiteX451" fmla="*/ 6795162 w 7415104"/>
                    <a:gd name="connsiteY451" fmla="*/ 1542779 h 1609071"/>
                    <a:gd name="connsiteX452" fmla="*/ 6795162 w 7415104"/>
                    <a:gd name="connsiteY452" fmla="*/ 1499443 h 1609071"/>
                    <a:gd name="connsiteX453" fmla="*/ 6829831 w 7415104"/>
                    <a:gd name="connsiteY453" fmla="*/ 1499443 h 1609071"/>
                    <a:gd name="connsiteX454" fmla="*/ 6829831 w 7415104"/>
                    <a:gd name="connsiteY454" fmla="*/ 1529778 h 1609071"/>
                    <a:gd name="connsiteX455" fmla="*/ 6847166 w 7415104"/>
                    <a:gd name="connsiteY455" fmla="*/ 1529778 h 1609071"/>
                    <a:gd name="connsiteX456" fmla="*/ 6847166 w 7415104"/>
                    <a:gd name="connsiteY456" fmla="*/ 1555780 h 1609071"/>
                    <a:gd name="connsiteX457" fmla="*/ 7050847 w 7415104"/>
                    <a:gd name="connsiteY457" fmla="*/ 1555780 h 1609071"/>
                    <a:gd name="connsiteX458" fmla="*/ 7063848 w 7415104"/>
                    <a:gd name="connsiteY458" fmla="*/ 1568781 h 1609071"/>
                    <a:gd name="connsiteX459" fmla="*/ 7133187 w 7415104"/>
                    <a:gd name="connsiteY459" fmla="*/ 1568781 h 1609071"/>
                    <a:gd name="connsiteX460" fmla="*/ 7133187 w 7415104"/>
                    <a:gd name="connsiteY460" fmla="*/ 1586116 h 1609071"/>
                    <a:gd name="connsiteX461" fmla="*/ 7284865 w 7415104"/>
                    <a:gd name="connsiteY461" fmla="*/ 1586116 h 1609071"/>
                    <a:gd name="connsiteX462" fmla="*/ 7284865 w 7415104"/>
                    <a:gd name="connsiteY462" fmla="*/ 1607784 h 1609071"/>
                    <a:gd name="connsiteX463" fmla="*/ 7414876 w 7415104"/>
                    <a:gd name="connsiteY463"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1 w 7415104"/>
                    <a:gd name="connsiteY318" fmla="*/ 848302 h 1609071"/>
                    <a:gd name="connsiteX319" fmla="*/ 2073629 w 7415104"/>
                    <a:gd name="connsiteY319" fmla="*/ 867351 h 1609071"/>
                    <a:gd name="connsiteX320" fmla="*/ 2106154 w 7415104"/>
                    <a:gd name="connsiteY320" fmla="*/ 836395 h 1609071"/>
                    <a:gd name="connsiteX321" fmla="*/ 2106154 w 7415104"/>
                    <a:gd name="connsiteY321" fmla="*/ 862396 h 1609071"/>
                    <a:gd name="connsiteX322" fmla="*/ 2119155 w 7415104"/>
                    <a:gd name="connsiteY322" fmla="*/ 862396 h 1609071"/>
                    <a:gd name="connsiteX323" fmla="*/ 2136489 w 7415104"/>
                    <a:gd name="connsiteY323" fmla="*/ 862396 h 1609071"/>
                    <a:gd name="connsiteX324" fmla="*/ 2184159 w 7415104"/>
                    <a:gd name="connsiteY324" fmla="*/ 862396 h 1609071"/>
                    <a:gd name="connsiteX325" fmla="*/ 2184159 w 7415104"/>
                    <a:gd name="connsiteY325" fmla="*/ 888398 h 1609071"/>
                    <a:gd name="connsiteX326" fmla="*/ 2200254 w 7415104"/>
                    <a:gd name="connsiteY326" fmla="*/ 883636 h 1609071"/>
                    <a:gd name="connsiteX327" fmla="*/ 2240733 w 7415104"/>
                    <a:gd name="connsiteY327" fmla="*/ 881254 h 1609071"/>
                    <a:gd name="connsiteX328" fmla="*/ 2240102 w 7415104"/>
                    <a:gd name="connsiteY328" fmla="*/ 914626 h 1609071"/>
                    <a:gd name="connsiteX329" fmla="*/ 2265640 w 7415104"/>
                    <a:gd name="connsiteY329" fmla="*/ 915879 h 1609071"/>
                    <a:gd name="connsiteX330" fmla="*/ 2266296 w 7415104"/>
                    <a:gd name="connsiteY330" fmla="*/ 878908 h 1609071"/>
                    <a:gd name="connsiteX331" fmla="*/ 2294025 w 7415104"/>
                    <a:gd name="connsiteY331" fmla="*/ 877780 h 1609071"/>
                    <a:gd name="connsiteX332" fmla="*/ 2294025 w 7415104"/>
                    <a:gd name="connsiteY332" fmla="*/ 912018 h 1609071"/>
                    <a:gd name="connsiteX333" fmla="*/ 2335837 w 7415104"/>
                    <a:gd name="connsiteY333" fmla="*/ 914400 h 1609071"/>
                    <a:gd name="connsiteX334" fmla="*/ 2335837 w 7415104"/>
                    <a:gd name="connsiteY334" fmla="*/ 923068 h 1609071"/>
                    <a:gd name="connsiteX335" fmla="*/ 2400842 w 7415104"/>
                    <a:gd name="connsiteY335" fmla="*/ 923068 h 1609071"/>
                    <a:gd name="connsiteX336" fmla="*/ 2400842 w 7415104"/>
                    <a:gd name="connsiteY336" fmla="*/ 936069 h 1609071"/>
                    <a:gd name="connsiteX337" fmla="*/ 2439845 w 7415104"/>
                    <a:gd name="connsiteY337" fmla="*/ 936069 h 1609071"/>
                    <a:gd name="connsiteX338" fmla="*/ 2452846 w 7415104"/>
                    <a:gd name="connsiteY338" fmla="*/ 949070 h 1609071"/>
                    <a:gd name="connsiteX339" fmla="*/ 2500516 w 7415104"/>
                    <a:gd name="connsiteY339" fmla="*/ 949070 h 1609071"/>
                    <a:gd name="connsiteX340" fmla="*/ 2513517 w 7415104"/>
                    <a:gd name="connsiteY340" fmla="*/ 962071 h 1609071"/>
                    <a:gd name="connsiteX341" fmla="*/ 2543852 w 7415104"/>
                    <a:gd name="connsiteY341" fmla="*/ 962071 h 1609071"/>
                    <a:gd name="connsiteX342" fmla="*/ 2543852 w 7415104"/>
                    <a:gd name="connsiteY342" fmla="*/ 979405 h 1609071"/>
                    <a:gd name="connsiteX343" fmla="*/ 2591522 w 7415104"/>
                    <a:gd name="connsiteY343" fmla="*/ 979405 h 1609071"/>
                    <a:gd name="connsiteX344" fmla="*/ 2591522 w 7415104"/>
                    <a:gd name="connsiteY344" fmla="*/ 1001073 h 1609071"/>
                    <a:gd name="connsiteX345" fmla="*/ 2639192 w 7415104"/>
                    <a:gd name="connsiteY345" fmla="*/ 1001073 h 1609071"/>
                    <a:gd name="connsiteX346" fmla="*/ 2639192 w 7415104"/>
                    <a:gd name="connsiteY346" fmla="*/ 1022742 h 1609071"/>
                    <a:gd name="connsiteX347" fmla="*/ 2699864 w 7415104"/>
                    <a:gd name="connsiteY347" fmla="*/ 1022742 h 1609071"/>
                    <a:gd name="connsiteX348" fmla="*/ 2699864 w 7415104"/>
                    <a:gd name="connsiteY348" fmla="*/ 1040076 h 1609071"/>
                    <a:gd name="connsiteX349" fmla="*/ 2808205 w 7415104"/>
                    <a:gd name="connsiteY349" fmla="*/ 1040076 h 1609071"/>
                    <a:gd name="connsiteX350" fmla="*/ 2816872 w 7415104"/>
                    <a:gd name="connsiteY350" fmla="*/ 1048743 h 1609071"/>
                    <a:gd name="connsiteX351" fmla="*/ 2825540 w 7415104"/>
                    <a:gd name="connsiteY351" fmla="*/ 1057411 h 1609071"/>
                    <a:gd name="connsiteX352" fmla="*/ 2864542 w 7415104"/>
                    <a:gd name="connsiteY352" fmla="*/ 1057411 h 1609071"/>
                    <a:gd name="connsiteX353" fmla="*/ 2886210 w 7415104"/>
                    <a:gd name="connsiteY353" fmla="*/ 1057411 h 1609071"/>
                    <a:gd name="connsiteX354" fmla="*/ 2899211 w 7415104"/>
                    <a:gd name="connsiteY354" fmla="*/ 1057411 h 1609071"/>
                    <a:gd name="connsiteX355" fmla="*/ 2916546 w 7415104"/>
                    <a:gd name="connsiteY355" fmla="*/ 1074746 h 1609071"/>
                    <a:gd name="connsiteX356" fmla="*/ 2968550 w 7415104"/>
                    <a:gd name="connsiteY356" fmla="*/ 1074746 h 1609071"/>
                    <a:gd name="connsiteX357" fmla="*/ 2968550 w 7415104"/>
                    <a:gd name="connsiteY357" fmla="*/ 1092080 h 1609071"/>
                    <a:gd name="connsiteX358" fmla="*/ 3134752 w 7415104"/>
                    <a:gd name="connsiteY358" fmla="*/ 1094462 h 1609071"/>
                    <a:gd name="connsiteX359" fmla="*/ 3134753 w 7415104"/>
                    <a:gd name="connsiteY359" fmla="*/ 1122414 h 1609071"/>
                    <a:gd name="connsiteX360" fmla="*/ 3211234 w 7415104"/>
                    <a:gd name="connsiteY360" fmla="*/ 1122415 h 1609071"/>
                    <a:gd name="connsiteX361" fmla="*/ 3215568 w 7415104"/>
                    <a:gd name="connsiteY361" fmla="*/ 1122415 h 1609071"/>
                    <a:gd name="connsiteX362" fmla="*/ 3302241 w 7415104"/>
                    <a:gd name="connsiteY362" fmla="*/ 1124796 h 1609071"/>
                    <a:gd name="connsiteX363" fmla="*/ 3302241 w 7415104"/>
                    <a:gd name="connsiteY363" fmla="*/ 1141273 h 1609071"/>
                    <a:gd name="connsiteX364" fmla="*/ 3396058 w 7415104"/>
                    <a:gd name="connsiteY364" fmla="*/ 1141273 h 1609071"/>
                    <a:gd name="connsiteX365" fmla="*/ 3396057 w 7415104"/>
                    <a:gd name="connsiteY365" fmla="*/ 1154703 h 1609071"/>
                    <a:gd name="connsiteX366" fmla="*/ 3445251 w 7415104"/>
                    <a:gd name="connsiteY366" fmla="*/ 1157085 h 1609071"/>
                    <a:gd name="connsiteX367" fmla="*/ 3444395 w 7415104"/>
                    <a:gd name="connsiteY367" fmla="*/ 1165753 h 1609071"/>
                    <a:gd name="connsiteX368" fmla="*/ 3596929 w 7415104"/>
                    <a:gd name="connsiteY368" fmla="*/ 1165753 h 1609071"/>
                    <a:gd name="connsiteX369" fmla="*/ 3596929 w 7415104"/>
                    <a:gd name="connsiteY369" fmla="*/ 1178753 h 1609071"/>
                    <a:gd name="connsiteX370" fmla="*/ 3705270 w 7415104"/>
                    <a:gd name="connsiteY370" fmla="*/ 1178753 h 1609071"/>
                    <a:gd name="connsiteX371" fmla="*/ 3709604 w 7415104"/>
                    <a:gd name="connsiteY371" fmla="*/ 1183087 h 1609071"/>
                    <a:gd name="connsiteX372" fmla="*/ 3963337 w 7415104"/>
                    <a:gd name="connsiteY372" fmla="*/ 1187849 h 1609071"/>
                    <a:gd name="connsiteX373" fmla="*/ 3960956 w 7415104"/>
                    <a:gd name="connsiteY373" fmla="*/ 1204755 h 1609071"/>
                    <a:gd name="connsiteX374" fmla="*/ 3991291 w 7415104"/>
                    <a:gd name="connsiteY374" fmla="*/ 1204755 h 1609071"/>
                    <a:gd name="connsiteX375" fmla="*/ 3991291 w 7415104"/>
                    <a:gd name="connsiteY375" fmla="*/ 1178753 h 1609071"/>
                    <a:gd name="connsiteX376" fmla="*/ 4030294 w 7415104"/>
                    <a:gd name="connsiteY376" fmla="*/ 1178753 h 1609071"/>
                    <a:gd name="connsiteX377" fmla="*/ 4030294 w 7415104"/>
                    <a:gd name="connsiteY377" fmla="*/ 1213422 h 1609071"/>
                    <a:gd name="connsiteX378" fmla="*/ 4043295 w 7415104"/>
                    <a:gd name="connsiteY378" fmla="*/ 1213422 h 1609071"/>
                    <a:gd name="connsiteX379" fmla="*/ 4043295 w 7415104"/>
                    <a:gd name="connsiteY379" fmla="*/ 1222089 h 1609071"/>
                    <a:gd name="connsiteX380" fmla="*/ 4164637 w 7415104"/>
                    <a:gd name="connsiteY380" fmla="*/ 1222089 h 1609071"/>
                    <a:gd name="connsiteX381" fmla="*/ 4164637 w 7415104"/>
                    <a:gd name="connsiteY381" fmla="*/ 1243758 h 1609071"/>
                    <a:gd name="connsiteX382" fmla="*/ 4320648 w 7415104"/>
                    <a:gd name="connsiteY382" fmla="*/ 1243758 h 1609071"/>
                    <a:gd name="connsiteX383" fmla="*/ 4320648 w 7415104"/>
                    <a:gd name="connsiteY383" fmla="*/ 1261092 h 1609071"/>
                    <a:gd name="connsiteX384" fmla="*/ 4398654 w 7415104"/>
                    <a:gd name="connsiteY384" fmla="*/ 1261092 h 1609071"/>
                    <a:gd name="connsiteX385" fmla="*/ 4398654 w 7415104"/>
                    <a:gd name="connsiteY385" fmla="*/ 1287094 h 1609071"/>
                    <a:gd name="connsiteX386" fmla="*/ 4450658 w 7415104"/>
                    <a:gd name="connsiteY386" fmla="*/ 1287094 h 1609071"/>
                    <a:gd name="connsiteX387" fmla="*/ 4476660 w 7415104"/>
                    <a:gd name="connsiteY387" fmla="*/ 1287094 h 1609071"/>
                    <a:gd name="connsiteX388" fmla="*/ 4498328 w 7415104"/>
                    <a:gd name="connsiteY388" fmla="*/ 1308762 h 1609071"/>
                    <a:gd name="connsiteX389" fmla="*/ 4593668 w 7415104"/>
                    <a:gd name="connsiteY389" fmla="*/ 1308762 h 1609071"/>
                    <a:gd name="connsiteX390" fmla="*/ 4597573 w 7415104"/>
                    <a:gd name="connsiteY390" fmla="*/ 1317430 h 1609071"/>
                    <a:gd name="connsiteX391" fmla="*/ 4663007 w 7415104"/>
                    <a:gd name="connsiteY391" fmla="*/ 1317430 h 1609071"/>
                    <a:gd name="connsiteX392" fmla="*/ 4663007 w 7415104"/>
                    <a:gd name="connsiteY392" fmla="*/ 1339098 h 1609071"/>
                    <a:gd name="connsiteX393" fmla="*/ 4706343 w 7415104"/>
                    <a:gd name="connsiteY393" fmla="*/ 1339098 h 1609071"/>
                    <a:gd name="connsiteX394" fmla="*/ 4710677 w 7415104"/>
                    <a:gd name="connsiteY394" fmla="*/ 1343432 h 1609071"/>
                    <a:gd name="connsiteX395" fmla="*/ 4767014 w 7415104"/>
                    <a:gd name="connsiteY395" fmla="*/ 1343432 h 1609071"/>
                    <a:gd name="connsiteX396" fmla="*/ 4765727 w 7415104"/>
                    <a:gd name="connsiteY396" fmla="*/ 1358814 h 1609071"/>
                    <a:gd name="connsiteX397" fmla="*/ 5005365 w 7415104"/>
                    <a:gd name="connsiteY397" fmla="*/ 1356433 h 1609071"/>
                    <a:gd name="connsiteX398" fmla="*/ 5018366 w 7415104"/>
                    <a:gd name="connsiteY398" fmla="*/ 1369434 h 1609071"/>
                    <a:gd name="connsiteX399" fmla="*/ 5152709 w 7415104"/>
                    <a:gd name="connsiteY399" fmla="*/ 1369434 h 1609071"/>
                    <a:gd name="connsiteX400" fmla="*/ 5152709 w 7415104"/>
                    <a:gd name="connsiteY400" fmla="*/ 1391102 h 1609071"/>
                    <a:gd name="connsiteX401" fmla="*/ 5282719 w 7415104"/>
                    <a:gd name="connsiteY401" fmla="*/ 1391102 h 1609071"/>
                    <a:gd name="connsiteX402" fmla="*/ 5291386 w 7415104"/>
                    <a:gd name="connsiteY402" fmla="*/ 1399769 h 1609071"/>
                    <a:gd name="connsiteX403" fmla="*/ 5356391 w 7415104"/>
                    <a:gd name="connsiteY403" fmla="*/ 1399769 h 1609071"/>
                    <a:gd name="connsiteX404" fmla="*/ 5369392 w 7415104"/>
                    <a:gd name="connsiteY404" fmla="*/ 1399769 h 1609071"/>
                    <a:gd name="connsiteX405" fmla="*/ 5369392 w 7415104"/>
                    <a:gd name="connsiteY405" fmla="*/ 1421437 h 1609071"/>
                    <a:gd name="connsiteX406" fmla="*/ 5473399 w 7415104"/>
                    <a:gd name="connsiteY406" fmla="*/ 1421437 h 1609071"/>
                    <a:gd name="connsiteX407" fmla="*/ 5473399 w 7415104"/>
                    <a:gd name="connsiteY407" fmla="*/ 1399769 h 1609071"/>
                    <a:gd name="connsiteX408" fmla="*/ 5512402 w 7415104"/>
                    <a:gd name="connsiteY408" fmla="*/ 1399769 h 1609071"/>
                    <a:gd name="connsiteX409" fmla="*/ 5512402 w 7415104"/>
                    <a:gd name="connsiteY409" fmla="*/ 1425771 h 1609071"/>
                    <a:gd name="connsiteX410" fmla="*/ 5607742 w 7415104"/>
                    <a:gd name="connsiteY410" fmla="*/ 1425771 h 1609071"/>
                    <a:gd name="connsiteX411" fmla="*/ 5607742 w 7415104"/>
                    <a:gd name="connsiteY411" fmla="*/ 1399769 h 1609071"/>
                    <a:gd name="connsiteX412" fmla="*/ 5664080 w 7415104"/>
                    <a:gd name="connsiteY412" fmla="*/ 1399769 h 1609071"/>
                    <a:gd name="connsiteX413" fmla="*/ 5664080 w 7415104"/>
                    <a:gd name="connsiteY413" fmla="*/ 1434438 h 1609071"/>
                    <a:gd name="connsiteX414" fmla="*/ 5685748 w 7415104"/>
                    <a:gd name="connsiteY414" fmla="*/ 1434438 h 1609071"/>
                    <a:gd name="connsiteX415" fmla="*/ 5685748 w 7415104"/>
                    <a:gd name="connsiteY415" fmla="*/ 1443106 h 1609071"/>
                    <a:gd name="connsiteX416" fmla="*/ 5716083 w 7415104"/>
                    <a:gd name="connsiteY416" fmla="*/ 1443106 h 1609071"/>
                    <a:gd name="connsiteX417" fmla="*/ 5716083 w 7415104"/>
                    <a:gd name="connsiteY417" fmla="*/ 1456106 h 1609071"/>
                    <a:gd name="connsiteX418" fmla="*/ 5794089 w 7415104"/>
                    <a:gd name="connsiteY418" fmla="*/ 1456106 h 1609071"/>
                    <a:gd name="connsiteX419" fmla="*/ 5794089 w 7415104"/>
                    <a:gd name="connsiteY419" fmla="*/ 1421437 h 1609071"/>
                    <a:gd name="connsiteX420" fmla="*/ 5837426 w 7415104"/>
                    <a:gd name="connsiteY420" fmla="*/ 1421437 h 1609071"/>
                    <a:gd name="connsiteX421" fmla="*/ 5837426 w 7415104"/>
                    <a:gd name="connsiteY421" fmla="*/ 1456106 h 1609071"/>
                    <a:gd name="connsiteX422" fmla="*/ 5902430 w 7415104"/>
                    <a:gd name="connsiteY422" fmla="*/ 1456106 h 1609071"/>
                    <a:gd name="connsiteX423" fmla="*/ 5928432 w 7415104"/>
                    <a:gd name="connsiteY423" fmla="*/ 1456106 h 1609071"/>
                    <a:gd name="connsiteX424" fmla="*/ 5928432 w 7415104"/>
                    <a:gd name="connsiteY424" fmla="*/ 1473441 h 1609071"/>
                    <a:gd name="connsiteX425" fmla="*/ 5945767 w 7415104"/>
                    <a:gd name="connsiteY425" fmla="*/ 1473441 h 1609071"/>
                    <a:gd name="connsiteX426" fmla="*/ 5950101 w 7415104"/>
                    <a:gd name="connsiteY426" fmla="*/ 1477775 h 1609071"/>
                    <a:gd name="connsiteX427" fmla="*/ 6019439 w 7415104"/>
                    <a:gd name="connsiteY427" fmla="*/ 1477775 h 1609071"/>
                    <a:gd name="connsiteX428" fmla="*/ 6019439 w 7415104"/>
                    <a:gd name="connsiteY428" fmla="*/ 1456106 h 1609071"/>
                    <a:gd name="connsiteX429" fmla="*/ 6058442 w 7415104"/>
                    <a:gd name="connsiteY429" fmla="*/ 1456106 h 1609071"/>
                    <a:gd name="connsiteX430" fmla="*/ 6058442 w 7415104"/>
                    <a:gd name="connsiteY430" fmla="*/ 1499443 h 1609071"/>
                    <a:gd name="connsiteX431" fmla="*/ 6110446 w 7415104"/>
                    <a:gd name="connsiteY431" fmla="*/ 1499443 h 1609071"/>
                    <a:gd name="connsiteX432" fmla="*/ 6110446 w 7415104"/>
                    <a:gd name="connsiteY432" fmla="*/ 1508110 h 1609071"/>
                    <a:gd name="connsiteX433" fmla="*/ 6188451 w 7415104"/>
                    <a:gd name="connsiteY433" fmla="*/ 1508110 h 1609071"/>
                    <a:gd name="connsiteX434" fmla="*/ 6188451 w 7415104"/>
                    <a:gd name="connsiteY434" fmla="*/ 1464774 h 1609071"/>
                    <a:gd name="connsiteX435" fmla="*/ 6227454 w 7415104"/>
                    <a:gd name="connsiteY435" fmla="*/ 1464774 h 1609071"/>
                    <a:gd name="connsiteX436" fmla="*/ 6227454 w 7415104"/>
                    <a:gd name="connsiteY436" fmla="*/ 1516778 h 1609071"/>
                    <a:gd name="connsiteX437" fmla="*/ 6353130 w 7415104"/>
                    <a:gd name="connsiteY437" fmla="*/ 1516778 h 1609071"/>
                    <a:gd name="connsiteX438" fmla="*/ 6353130 w 7415104"/>
                    <a:gd name="connsiteY438" fmla="*/ 1477775 h 1609071"/>
                    <a:gd name="connsiteX439" fmla="*/ 6397561 w 7415104"/>
                    <a:gd name="connsiteY439" fmla="*/ 1475394 h 1609071"/>
                    <a:gd name="connsiteX440" fmla="*/ 6399942 w 7415104"/>
                    <a:gd name="connsiteY440" fmla="*/ 1529778 h 1609071"/>
                    <a:gd name="connsiteX441" fmla="*/ 6447614 w 7415104"/>
                    <a:gd name="connsiteY441" fmla="*/ 1529778 h 1609071"/>
                    <a:gd name="connsiteX442" fmla="*/ 6447611 w 7415104"/>
                    <a:gd name="connsiteY442" fmla="*/ 1479728 h 1609071"/>
                    <a:gd name="connsiteX443" fmla="*/ 6487473 w 7415104"/>
                    <a:gd name="connsiteY443" fmla="*/ 1482108 h 1609071"/>
                    <a:gd name="connsiteX444" fmla="*/ 6487473 w 7415104"/>
                    <a:gd name="connsiteY444" fmla="*/ 1529778 h 1609071"/>
                    <a:gd name="connsiteX445" fmla="*/ 6561145 w 7415104"/>
                    <a:gd name="connsiteY445" fmla="*/ 1529778 h 1609071"/>
                    <a:gd name="connsiteX446" fmla="*/ 6565479 w 7415104"/>
                    <a:gd name="connsiteY446" fmla="*/ 1534112 h 1609071"/>
                    <a:gd name="connsiteX447" fmla="*/ 6674249 w 7415104"/>
                    <a:gd name="connsiteY447" fmla="*/ 1536493 h 1609071"/>
                    <a:gd name="connsiteX448" fmla="*/ 6676630 w 7415104"/>
                    <a:gd name="connsiteY448" fmla="*/ 1499443 h 1609071"/>
                    <a:gd name="connsiteX449" fmla="*/ 6738825 w 7415104"/>
                    <a:gd name="connsiteY449" fmla="*/ 1499443 h 1609071"/>
                    <a:gd name="connsiteX450" fmla="*/ 6738825 w 7415104"/>
                    <a:gd name="connsiteY450" fmla="*/ 1542779 h 1609071"/>
                    <a:gd name="connsiteX451" fmla="*/ 6795162 w 7415104"/>
                    <a:gd name="connsiteY451" fmla="*/ 1542779 h 1609071"/>
                    <a:gd name="connsiteX452" fmla="*/ 6795162 w 7415104"/>
                    <a:gd name="connsiteY452" fmla="*/ 1499443 h 1609071"/>
                    <a:gd name="connsiteX453" fmla="*/ 6829831 w 7415104"/>
                    <a:gd name="connsiteY453" fmla="*/ 1499443 h 1609071"/>
                    <a:gd name="connsiteX454" fmla="*/ 6829831 w 7415104"/>
                    <a:gd name="connsiteY454" fmla="*/ 1529778 h 1609071"/>
                    <a:gd name="connsiteX455" fmla="*/ 6847166 w 7415104"/>
                    <a:gd name="connsiteY455" fmla="*/ 1529778 h 1609071"/>
                    <a:gd name="connsiteX456" fmla="*/ 6847166 w 7415104"/>
                    <a:gd name="connsiteY456" fmla="*/ 1555780 h 1609071"/>
                    <a:gd name="connsiteX457" fmla="*/ 7050847 w 7415104"/>
                    <a:gd name="connsiteY457" fmla="*/ 1555780 h 1609071"/>
                    <a:gd name="connsiteX458" fmla="*/ 7063848 w 7415104"/>
                    <a:gd name="connsiteY458" fmla="*/ 1568781 h 1609071"/>
                    <a:gd name="connsiteX459" fmla="*/ 7133187 w 7415104"/>
                    <a:gd name="connsiteY459" fmla="*/ 1568781 h 1609071"/>
                    <a:gd name="connsiteX460" fmla="*/ 7133187 w 7415104"/>
                    <a:gd name="connsiteY460" fmla="*/ 1586116 h 1609071"/>
                    <a:gd name="connsiteX461" fmla="*/ 7284865 w 7415104"/>
                    <a:gd name="connsiteY461" fmla="*/ 1586116 h 1609071"/>
                    <a:gd name="connsiteX462" fmla="*/ 7284865 w 7415104"/>
                    <a:gd name="connsiteY462" fmla="*/ 1607784 h 1609071"/>
                    <a:gd name="connsiteX463" fmla="*/ 7414876 w 7415104"/>
                    <a:gd name="connsiteY463"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1 w 7415104"/>
                    <a:gd name="connsiteY318" fmla="*/ 848302 h 1609071"/>
                    <a:gd name="connsiteX319" fmla="*/ 2106154 w 7415104"/>
                    <a:gd name="connsiteY319" fmla="*/ 836395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1 w 7415104"/>
                    <a:gd name="connsiteY318" fmla="*/ 848302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1578 w 7415104"/>
                    <a:gd name="connsiteY318" fmla="*/ 845921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45921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798465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5119 w 7415104"/>
                    <a:gd name="connsiteY301" fmla="*/ 702052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7500 w 7415104"/>
                    <a:gd name="connsiteY301" fmla="*/ 709196 h 1609071"/>
                    <a:gd name="connsiteX302" fmla="*/ 1677122 w 7415104"/>
                    <a:gd name="connsiteY302" fmla="*/ 702052 h 1609071"/>
                    <a:gd name="connsiteX303" fmla="*/ 1685790 w 7415104"/>
                    <a:gd name="connsiteY303" fmla="*/ 710720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12118 w 7415104"/>
                    <a:gd name="connsiteY300" fmla="*/ 689051 h 1609071"/>
                    <a:gd name="connsiteX301" fmla="*/ 1627500 w 7415104"/>
                    <a:gd name="connsiteY301" fmla="*/ 709196 h 1609071"/>
                    <a:gd name="connsiteX302" fmla="*/ 1677122 w 7415104"/>
                    <a:gd name="connsiteY302" fmla="*/ 702052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09737 w 7415104"/>
                    <a:gd name="connsiteY300" fmla="*/ 689051 h 1609071"/>
                    <a:gd name="connsiteX301" fmla="*/ 1627500 w 7415104"/>
                    <a:gd name="connsiteY301" fmla="*/ 709196 h 1609071"/>
                    <a:gd name="connsiteX302" fmla="*/ 1677122 w 7415104"/>
                    <a:gd name="connsiteY302" fmla="*/ 702052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68781 w 7415104"/>
                    <a:gd name="connsiteY299" fmla="*/ 689051 h 1609071"/>
                    <a:gd name="connsiteX300" fmla="*/ 1609737 w 7415104"/>
                    <a:gd name="connsiteY300" fmla="*/ 689051 h 1609071"/>
                    <a:gd name="connsiteX301" fmla="*/ 1627500 w 7415104"/>
                    <a:gd name="connsiteY301" fmla="*/ 709196 h 1609071"/>
                    <a:gd name="connsiteX302" fmla="*/ 1677122 w 7415104"/>
                    <a:gd name="connsiteY302" fmla="*/ 709196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71162 w 7415104"/>
                    <a:gd name="connsiteY299" fmla="*/ 693814 h 1609071"/>
                    <a:gd name="connsiteX300" fmla="*/ 1609737 w 7415104"/>
                    <a:gd name="connsiteY300" fmla="*/ 689051 h 1609071"/>
                    <a:gd name="connsiteX301" fmla="*/ 1627500 w 7415104"/>
                    <a:gd name="connsiteY301" fmla="*/ 709196 h 1609071"/>
                    <a:gd name="connsiteX302" fmla="*/ 1677122 w 7415104"/>
                    <a:gd name="connsiteY302" fmla="*/ 709196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7075 w 7415104"/>
                    <a:gd name="connsiteY278" fmla="*/ 537373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71162 w 7415104"/>
                    <a:gd name="connsiteY299" fmla="*/ 693814 h 1609071"/>
                    <a:gd name="connsiteX300" fmla="*/ 1609737 w 7415104"/>
                    <a:gd name="connsiteY300" fmla="*/ 696194 h 1609071"/>
                    <a:gd name="connsiteX301" fmla="*/ 1627500 w 7415104"/>
                    <a:gd name="connsiteY301" fmla="*/ 709196 h 1609071"/>
                    <a:gd name="connsiteX302" fmla="*/ 1677122 w 7415104"/>
                    <a:gd name="connsiteY302" fmla="*/ 709196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2312 w 7415104"/>
                    <a:gd name="connsiteY278" fmla="*/ 544516 h 1609071"/>
                    <a:gd name="connsiteX279" fmla="*/ 1057410 w 7415104"/>
                    <a:gd name="connsiteY279" fmla="*/ 537373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71162 w 7415104"/>
                    <a:gd name="connsiteY299" fmla="*/ 693814 h 1609071"/>
                    <a:gd name="connsiteX300" fmla="*/ 1609737 w 7415104"/>
                    <a:gd name="connsiteY300" fmla="*/ 696194 h 1609071"/>
                    <a:gd name="connsiteX301" fmla="*/ 1627500 w 7415104"/>
                    <a:gd name="connsiteY301" fmla="*/ 709196 h 1609071"/>
                    <a:gd name="connsiteX302" fmla="*/ 1677122 w 7415104"/>
                    <a:gd name="connsiteY302" fmla="*/ 709196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2312 w 7415104"/>
                    <a:gd name="connsiteY278" fmla="*/ 544516 h 1609071"/>
                    <a:gd name="connsiteX279" fmla="*/ 1062172 w 7415104"/>
                    <a:gd name="connsiteY279" fmla="*/ 546898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71162 w 7415104"/>
                    <a:gd name="connsiteY299" fmla="*/ 693814 h 1609071"/>
                    <a:gd name="connsiteX300" fmla="*/ 1609737 w 7415104"/>
                    <a:gd name="connsiteY300" fmla="*/ 696194 h 1609071"/>
                    <a:gd name="connsiteX301" fmla="*/ 1627500 w 7415104"/>
                    <a:gd name="connsiteY301" fmla="*/ 709196 h 1609071"/>
                    <a:gd name="connsiteX302" fmla="*/ 1677122 w 7415104"/>
                    <a:gd name="connsiteY302" fmla="*/ 709196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8667 w 7415104"/>
                    <a:gd name="connsiteY232" fmla="*/ 52004 h 1609071"/>
                    <a:gd name="connsiteX233" fmla="*/ 21668 w 7415104"/>
                    <a:gd name="connsiteY233" fmla="*/ 52004 h 1609071"/>
                    <a:gd name="connsiteX234" fmla="*/ 21668 w 7415104"/>
                    <a:gd name="connsiteY234" fmla="*/ 65005 h 1609071"/>
                    <a:gd name="connsiteX235" fmla="*/ 52004 w 7415104"/>
                    <a:gd name="connsiteY235" fmla="*/ 65005 h 1609071"/>
                    <a:gd name="connsiteX236" fmla="*/ 52004 w 7415104"/>
                    <a:gd name="connsiteY236" fmla="*/ 86673 h 1609071"/>
                    <a:gd name="connsiteX237" fmla="*/ 78006 w 7415104"/>
                    <a:gd name="connsiteY237" fmla="*/ 86673 h 1609071"/>
                    <a:gd name="connsiteX238" fmla="*/ 78006 w 7415104"/>
                    <a:gd name="connsiteY238" fmla="*/ 125676 h 1609071"/>
                    <a:gd name="connsiteX239" fmla="*/ 138677 w 7415104"/>
                    <a:gd name="connsiteY239" fmla="*/ 125676 h 1609071"/>
                    <a:gd name="connsiteX240" fmla="*/ 147344 w 7415104"/>
                    <a:gd name="connsiteY240" fmla="*/ 134343 h 1609071"/>
                    <a:gd name="connsiteX241" fmla="*/ 164679 w 7415104"/>
                    <a:gd name="connsiteY241" fmla="*/ 134343 h 1609071"/>
                    <a:gd name="connsiteX242" fmla="*/ 164679 w 7415104"/>
                    <a:gd name="connsiteY242" fmla="*/ 156012 h 1609071"/>
                    <a:gd name="connsiteX243" fmla="*/ 182013 w 7415104"/>
                    <a:gd name="connsiteY243" fmla="*/ 156012 h 1609071"/>
                    <a:gd name="connsiteX244" fmla="*/ 195014 w 7415104"/>
                    <a:gd name="connsiteY244" fmla="*/ 169013 h 1609071"/>
                    <a:gd name="connsiteX245" fmla="*/ 225350 w 7415104"/>
                    <a:gd name="connsiteY245" fmla="*/ 169013 h 1609071"/>
                    <a:gd name="connsiteX246" fmla="*/ 225350 w 7415104"/>
                    <a:gd name="connsiteY246" fmla="*/ 208015 h 1609071"/>
                    <a:gd name="connsiteX247" fmla="*/ 251352 w 7415104"/>
                    <a:gd name="connsiteY247" fmla="*/ 208015 h 1609071"/>
                    <a:gd name="connsiteX248" fmla="*/ 260019 w 7415104"/>
                    <a:gd name="connsiteY248" fmla="*/ 216682 h 1609071"/>
                    <a:gd name="connsiteX249" fmla="*/ 273021 w 7415104"/>
                    <a:gd name="connsiteY249" fmla="*/ 229684 h 1609071"/>
                    <a:gd name="connsiteX250" fmla="*/ 273021 w 7415104"/>
                    <a:gd name="connsiteY250" fmla="*/ 251352 h 1609071"/>
                    <a:gd name="connsiteX251" fmla="*/ 303356 w 7415104"/>
                    <a:gd name="connsiteY251" fmla="*/ 251352 h 1609071"/>
                    <a:gd name="connsiteX252" fmla="*/ 303356 w 7415104"/>
                    <a:gd name="connsiteY252" fmla="*/ 268687 h 1609071"/>
                    <a:gd name="connsiteX253" fmla="*/ 342358 w 7415104"/>
                    <a:gd name="connsiteY253" fmla="*/ 268687 h 1609071"/>
                    <a:gd name="connsiteX254" fmla="*/ 342358 w 7415104"/>
                    <a:gd name="connsiteY254" fmla="*/ 286021 h 1609071"/>
                    <a:gd name="connsiteX255" fmla="*/ 385695 w 7415104"/>
                    <a:gd name="connsiteY255" fmla="*/ 286021 h 1609071"/>
                    <a:gd name="connsiteX256" fmla="*/ 385695 w 7415104"/>
                    <a:gd name="connsiteY256" fmla="*/ 286021 h 1609071"/>
                    <a:gd name="connsiteX257" fmla="*/ 407363 w 7415104"/>
                    <a:gd name="connsiteY257" fmla="*/ 307689 h 1609071"/>
                    <a:gd name="connsiteX258" fmla="*/ 424698 w 7415104"/>
                    <a:gd name="connsiteY258" fmla="*/ 325024 h 1609071"/>
                    <a:gd name="connsiteX259" fmla="*/ 472368 w 7415104"/>
                    <a:gd name="connsiteY259" fmla="*/ 325024 h 1609071"/>
                    <a:gd name="connsiteX260" fmla="*/ 472368 w 7415104"/>
                    <a:gd name="connsiteY260" fmla="*/ 355360 h 1609071"/>
                    <a:gd name="connsiteX261" fmla="*/ 511371 w 7415104"/>
                    <a:gd name="connsiteY261" fmla="*/ 355360 h 1609071"/>
                    <a:gd name="connsiteX262" fmla="*/ 511371 w 7415104"/>
                    <a:gd name="connsiteY262" fmla="*/ 377028 h 1609071"/>
                    <a:gd name="connsiteX263" fmla="*/ 559041 w 7415104"/>
                    <a:gd name="connsiteY263" fmla="*/ 377028 h 1609071"/>
                    <a:gd name="connsiteX264" fmla="*/ 559041 w 7415104"/>
                    <a:gd name="connsiteY264" fmla="*/ 398696 h 1609071"/>
                    <a:gd name="connsiteX265" fmla="*/ 589376 w 7415104"/>
                    <a:gd name="connsiteY265" fmla="*/ 398696 h 1609071"/>
                    <a:gd name="connsiteX266" fmla="*/ 602377 w 7415104"/>
                    <a:gd name="connsiteY266" fmla="*/ 411697 h 1609071"/>
                    <a:gd name="connsiteX267" fmla="*/ 650047 w 7415104"/>
                    <a:gd name="connsiteY267" fmla="*/ 411697 h 1609071"/>
                    <a:gd name="connsiteX268" fmla="*/ 650047 w 7415104"/>
                    <a:gd name="connsiteY268" fmla="*/ 450700 h 1609071"/>
                    <a:gd name="connsiteX269" fmla="*/ 758389 w 7415104"/>
                    <a:gd name="connsiteY269" fmla="*/ 450700 h 1609071"/>
                    <a:gd name="connsiteX270" fmla="*/ 758389 w 7415104"/>
                    <a:gd name="connsiteY270" fmla="*/ 481035 h 1609071"/>
                    <a:gd name="connsiteX271" fmla="*/ 875397 w 7415104"/>
                    <a:gd name="connsiteY271" fmla="*/ 481035 h 1609071"/>
                    <a:gd name="connsiteX272" fmla="*/ 875397 w 7415104"/>
                    <a:gd name="connsiteY272" fmla="*/ 507037 h 1609071"/>
                    <a:gd name="connsiteX273" fmla="*/ 927401 w 7415104"/>
                    <a:gd name="connsiteY273" fmla="*/ 507037 h 1609071"/>
                    <a:gd name="connsiteX274" fmla="*/ 927401 w 7415104"/>
                    <a:gd name="connsiteY274" fmla="*/ 524372 h 1609071"/>
                    <a:gd name="connsiteX275" fmla="*/ 979405 w 7415104"/>
                    <a:gd name="connsiteY275" fmla="*/ 524372 h 1609071"/>
                    <a:gd name="connsiteX276" fmla="*/ 992406 w 7415104"/>
                    <a:gd name="connsiteY276" fmla="*/ 524372 h 1609071"/>
                    <a:gd name="connsiteX277" fmla="*/ 1005407 w 7415104"/>
                    <a:gd name="connsiteY277" fmla="*/ 537373 h 1609071"/>
                    <a:gd name="connsiteX278" fmla="*/ 1022312 w 7415104"/>
                    <a:gd name="connsiteY278" fmla="*/ 544516 h 1609071"/>
                    <a:gd name="connsiteX279" fmla="*/ 1057410 w 7415104"/>
                    <a:gd name="connsiteY279" fmla="*/ 549279 h 1609071"/>
                    <a:gd name="connsiteX280" fmla="*/ 1057410 w 7415104"/>
                    <a:gd name="connsiteY280" fmla="*/ 563375 h 1609071"/>
                    <a:gd name="connsiteX281" fmla="*/ 1079079 w 7415104"/>
                    <a:gd name="connsiteY281" fmla="*/ 563375 h 1609071"/>
                    <a:gd name="connsiteX282" fmla="*/ 1079079 w 7415104"/>
                    <a:gd name="connsiteY282" fmla="*/ 576376 h 1609071"/>
                    <a:gd name="connsiteX283" fmla="*/ 1157084 w 7415104"/>
                    <a:gd name="connsiteY283" fmla="*/ 576376 h 1609071"/>
                    <a:gd name="connsiteX284" fmla="*/ 1157084 w 7415104"/>
                    <a:gd name="connsiteY284" fmla="*/ 589377 h 1609071"/>
                    <a:gd name="connsiteX285" fmla="*/ 1196087 w 7415104"/>
                    <a:gd name="connsiteY285" fmla="*/ 589377 h 1609071"/>
                    <a:gd name="connsiteX286" fmla="*/ 1196087 w 7415104"/>
                    <a:gd name="connsiteY286" fmla="*/ 598044 h 1609071"/>
                    <a:gd name="connsiteX287" fmla="*/ 1243757 w 7415104"/>
                    <a:gd name="connsiteY287" fmla="*/ 598044 h 1609071"/>
                    <a:gd name="connsiteX288" fmla="*/ 1256758 w 7415104"/>
                    <a:gd name="connsiteY288" fmla="*/ 611045 h 1609071"/>
                    <a:gd name="connsiteX289" fmla="*/ 1269759 w 7415104"/>
                    <a:gd name="connsiteY289" fmla="*/ 624046 h 1609071"/>
                    <a:gd name="connsiteX290" fmla="*/ 1334764 w 7415104"/>
                    <a:gd name="connsiteY290" fmla="*/ 624046 h 1609071"/>
                    <a:gd name="connsiteX291" fmla="*/ 1334764 w 7415104"/>
                    <a:gd name="connsiteY291" fmla="*/ 645714 h 1609071"/>
                    <a:gd name="connsiteX292" fmla="*/ 1425771 w 7415104"/>
                    <a:gd name="connsiteY292" fmla="*/ 645714 h 1609071"/>
                    <a:gd name="connsiteX293" fmla="*/ 1434438 w 7415104"/>
                    <a:gd name="connsiteY293" fmla="*/ 654381 h 1609071"/>
                    <a:gd name="connsiteX294" fmla="*/ 1456106 w 7415104"/>
                    <a:gd name="connsiteY294" fmla="*/ 654381 h 1609071"/>
                    <a:gd name="connsiteX295" fmla="*/ 1456106 w 7415104"/>
                    <a:gd name="connsiteY295" fmla="*/ 667382 h 1609071"/>
                    <a:gd name="connsiteX296" fmla="*/ 1508110 w 7415104"/>
                    <a:gd name="connsiteY296" fmla="*/ 667382 h 1609071"/>
                    <a:gd name="connsiteX297" fmla="*/ 1508110 w 7415104"/>
                    <a:gd name="connsiteY297" fmla="*/ 684717 h 1609071"/>
                    <a:gd name="connsiteX298" fmla="*/ 1564447 w 7415104"/>
                    <a:gd name="connsiteY298" fmla="*/ 684717 h 1609071"/>
                    <a:gd name="connsiteX299" fmla="*/ 1571162 w 7415104"/>
                    <a:gd name="connsiteY299" fmla="*/ 693814 h 1609071"/>
                    <a:gd name="connsiteX300" fmla="*/ 1609737 w 7415104"/>
                    <a:gd name="connsiteY300" fmla="*/ 696194 h 1609071"/>
                    <a:gd name="connsiteX301" fmla="*/ 1627500 w 7415104"/>
                    <a:gd name="connsiteY301" fmla="*/ 709196 h 1609071"/>
                    <a:gd name="connsiteX302" fmla="*/ 1677122 w 7415104"/>
                    <a:gd name="connsiteY302" fmla="*/ 709196 h 1609071"/>
                    <a:gd name="connsiteX303" fmla="*/ 1678646 w 7415104"/>
                    <a:gd name="connsiteY303" fmla="*/ 722627 h 1609071"/>
                    <a:gd name="connsiteX304" fmla="*/ 1703123 w 7415104"/>
                    <a:gd name="connsiteY304" fmla="*/ 728053 h 1609071"/>
                    <a:gd name="connsiteX305" fmla="*/ 1716124 w 7415104"/>
                    <a:gd name="connsiteY305" fmla="*/ 741054 h 1609071"/>
                    <a:gd name="connsiteX306" fmla="*/ 1750794 w 7415104"/>
                    <a:gd name="connsiteY306" fmla="*/ 745816 h 1609071"/>
                    <a:gd name="connsiteX307" fmla="*/ 1750794 w 7415104"/>
                    <a:gd name="connsiteY307" fmla="*/ 767056 h 1609071"/>
                    <a:gd name="connsiteX308" fmla="*/ 1798465 w 7415104"/>
                    <a:gd name="connsiteY308" fmla="*/ 767056 h 1609071"/>
                    <a:gd name="connsiteX309" fmla="*/ 1798465 w 7415104"/>
                    <a:gd name="connsiteY309" fmla="*/ 780057 h 1609071"/>
                    <a:gd name="connsiteX310" fmla="*/ 1841801 w 7415104"/>
                    <a:gd name="connsiteY310" fmla="*/ 780057 h 1609071"/>
                    <a:gd name="connsiteX311" fmla="*/ 1841801 w 7415104"/>
                    <a:gd name="connsiteY311" fmla="*/ 797392 h 1609071"/>
                    <a:gd name="connsiteX312" fmla="*/ 1876470 w 7415104"/>
                    <a:gd name="connsiteY312" fmla="*/ 797392 h 1609071"/>
                    <a:gd name="connsiteX313" fmla="*/ 1887520 w 7415104"/>
                    <a:gd name="connsiteY313" fmla="*/ 813204 h 1609071"/>
                    <a:gd name="connsiteX314" fmla="*/ 1960762 w 7415104"/>
                    <a:gd name="connsiteY314" fmla="*/ 813204 h 1609071"/>
                    <a:gd name="connsiteX315" fmla="*/ 2006480 w 7415104"/>
                    <a:gd name="connsiteY315" fmla="*/ 813204 h 1609071"/>
                    <a:gd name="connsiteX316" fmla="*/ 2006739 w 7415104"/>
                    <a:gd name="connsiteY316" fmla="*/ 826521 h 1609071"/>
                    <a:gd name="connsiteX317" fmla="*/ 2044839 w 7415104"/>
                    <a:gd name="connsiteY317" fmla="*/ 828902 h 1609071"/>
                    <a:gd name="connsiteX318" fmla="*/ 2048722 w 7415104"/>
                    <a:gd name="connsiteY318" fmla="*/ 850683 h 1609071"/>
                    <a:gd name="connsiteX319" fmla="*/ 2108535 w 7415104"/>
                    <a:gd name="connsiteY319" fmla="*/ 848301 h 1609071"/>
                    <a:gd name="connsiteX320" fmla="*/ 2106154 w 7415104"/>
                    <a:gd name="connsiteY320" fmla="*/ 862396 h 1609071"/>
                    <a:gd name="connsiteX321" fmla="*/ 2119155 w 7415104"/>
                    <a:gd name="connsiteY321" fmla="*/ 862396 h 1609071"/>
                    <a:gd name="connsiteX322" fmla="*/ 2136489 w 7415104"/>
                    <a:gd name="connsiteY322" fmla="*/ 862396 h 1609071"/>
                    <a:gd name="connsiteX323" fmla="*/ 2184159 w 7415104"/>
                    <a:gd name="connsiteY323" fmla="*/ 862396 h 1609071"/>
                    <a:gd name="connsiteX324" fmla="*/ 2184159 w 7415104"/>
                    <a:gd name="connsiteY324" fmla="*/ 888398 h 1609071"/>
                    <a:gd name="connsiteX325" fmla="*/ 2200254 w 7415104"/>
                    <a:gd name="connsiteY325" fmla="*/ 883636 h 1609071"/>
                    <a:gd name="connsiteX326" fmla="*/ 2240733 w 7415104"/>
                    <a:gd name="connsiteY326" fmla="*/ 881254 h 1609071"/>
                    <a:gd name="connsiteX327" fmla="*/ 2240102 w 7415104"/>
                    <a:gd name="connsiteY327" fmla="*/ 914626 h 1609071"/>
                    <a:gd name="connsiteX328" fmla="*/ 2265640 w 7415104"/>
                    <a:gd name="connsiteY328" fmla="*/ 915879 h 1609071"/>
                    <a:gd name="connsiteX329" fmla="*/ 2266296 w 7415104"/>
                    <a:gd name="connsiteY329" fmla="*/ 878908 h 1609071"/>
                    <a:gd name="connsiteX330" fmla="*/ 2294025 w 7415104"/>
                    <a:gd name="connsiteY330" fmla="*/ 877780 h 1609071"/>
                    <a:gd name="connsiteX331" fmla="*/ 2294025 w 7415104"/>
                    <a:gd name="connsiteY331" fmla="*/ 912018 h 1609071"/>
                    <a:gd name="connsiteX332" fmla="*/ 2335837 w 7415104"/>
                    <a:gd name="connsiteY332" fmla="*/ 914400 h 1609071"/>
                    <a:gd name="connsiteX333" fmla="*/ 2335837 w 7415104"/>
                    <a:gd name="connsiteY333" fmla="*/ 923068 h 1609071"/>
                    <a:gd name="connsiteX334" fmla="*/ 2400842 w 7415104"/>
                    <a:gd name="connsiteY334" fmla="*/ 923068 h 1609071"/>
                    <a:gd name="connsiteX335" fmla="*/ 2400842 w 7415104"/>
                    <a:gd name="connsiteY335" fmla="*/ 936069 h 1609071"/>
                    <a:gd name="connsiteX336" fmla="*/ 2439845 w 7415104"/>
                    <a:gd name="connsiteY336" fmla="*/ 936069 h 1609071"/>
                    <a:gd name="connsiteX337" fmla="*/ 2452846 w 7415104"/>
                    <a:gd name="connsiteY337" fmla="*/ 949070 h 1609071"/>
                    <a:gd name="connsiteX338" fmla="*/ 2500516 w 7415104"/>
                    <a:gd name="connsiteY338" fmla="*/ 949070 h 1609071"/>
                    <a:gd name="connsiteX339" fmla="*/ 2513517 w 7415104"/>
                    <a:gd name="connsiteY339" fmla="*/ 962071 h 1609071"/>
                    <a:gd name="connsiteX340" fmla="*/ 2543852 w 7415104"/>
                    <a:gd name="connsiteY340" fmla="*/ 962071 h 1609071"/>
                    <a:gd name="connsiteX341" fmla="*/ 2543852 w 7415104"/>
                    <a:gd name="connsiteY341" fmla="*/ 979405 h 1609071"/>
                    <a:gd name="connsiteX342" fmla="*/ 2591522 w 7415104"/>
                    <a:gd name="connsiteY342" fmla="*/ 979405 h 1609071"/>
                    <a:gd name="connsiteX343" fmla="*/ 2591522 w 7415104"/>
                    <a:gd name="connsiteY343" fmla="*/ 1001073 h 1609071"/>
                    <a:gd name="connsiteX344" fmla="*/ 2639192 w 7415104"/>
                    <a:gd name="connsiteY344" fmla="*/ 1001073 h 1609071"/>
                    <a:gd name="connsiteX345" fmla="*/ 2639192 w 7415104"/>
                    <a:gd name="connsiteY345" fmla="*/ 1022742 h 1609071"/>
                    <a:gd name="connsiteX346" fmla="*/ 2699864 w 7415104"/>
                    <a:gd name="connsiteY346" fmla="*/ 1022742 h 1609071"/>
                    <a:gd name="connsiteX347" fmla="*/ 2699864 w 7415104"/>
                    <a:gd name="connsiteY347" fmla="*/ 1040076 h 1609071"/>
                    <a:gd name="connsiteX348" fmla="*/ 2808205 w 7415104"/>
                    <a:gd name="connsiteY348" fmla="*/ 1040076 h 1609071"/>
                    <a:gd name="connsiteX349" fmla="*/ 2816872 w 7415104"/>
                    <a:gd name="connsiteY349" fmla="*/ 1048743 h 1609071"/>
                    <a:gd name="connsiteX350" fmla="*/ 2825540 w 7415104"/>
                    <a:gd name="connsiteY350" fmla="*/ 1057411 h 1609071"/>
                    <a:gd name="connsiteX351" fmla="*/ 2864542 w 7415104"/>
                    <a:gd name="connsiteY351" fmla="*/ 1057411 h 1609071"/>
                    <a:gd name="connsiteX352" fmla="*/ 2886210 w 7415104"/>
                    <a:gd name="connsiteY352" fmla="*/ 1057411 h 1609071"/>
                    <a:gd name="connsiteX353" fmla="*/ 2899211 w 7415104"/>
                    <a:gd name="connsiteY353" fmla="*/ 1057411 h 1609071"/>
                    <a:gd name="connsiteX354" fmla="*/ 2916546 w 7415104"/>
                    <a:gd name="connsiteY354" fmla="*/ 1074746 h 1609071"/>
                    <a:gd name="connsiteX355" fmla="*/ 2968550 w 7415104"/>
                    <a:gd name="connsiteY355" fmla="*/ 1074746 h 1609071"/>
                    <a:gd name="connsiteX356" fmla="*/ 2968550 w 7415104"/>
                    <a:gd name="connsiteY356" fmla="*/ 1092080 h 1609071"/>
                    <a:gd name="connsiteX357" fmla="*/ 3134752 w 7415104"/>
                    <a:gd name="connsiteY357" fmla="*/ 1094462 h 1609071"/>
                    <a:gd name="connsiteX358" fmla="*/ 3134753 w 7415104"/>
                    <a:gd name="connsiteY358" fmla="*/ 1122414 h 1609071"/>
                    <a:gd name="connsiteX359" fmla="*/ 3211234 w 7415104"/>
                    <a:gd name="connsiteY359" fmla="*/ 1122415 h 1609071"/>
                    <a:gd name="connsiteX360" fmla="*/ 3215568 w 7415104"/>
                    <a:gd name="connsiteY360" fmla="*/ 1122415 h 1609071"/>
                    <a:gd name="connsiteX361" fmla="*/ 3302241 w 7415104"/>
                    <a:gd name="connsiteY361" fmla="*/ 1124796 h 1609071"/>
                    <a:gd name="connsiteX362" fmla="*/ 3302241 w 7415104"/>
                    <a:gd name="connsiteY362" fmla="*/ 1141273 h 1609071"/>
                    <a:gd name="connsiteX363" fmla="*/ 3396058 w 7415104"/>
                    <a:gd name="connsiteY363" fmla="*/ 1141273 h 1609071"/>
                    <a:gd name="connsiteX364" fmla="*/ 3396057 w 7415104"/>
                    <a:gd name="connsiteY364" fmla="*/ 1154703 h 1609071"/>
                    <a:gd name="connsiteX365" fmla="*/ 3445251 w 7415104"/>
                    <a:gd name="connsiteY365" fmla="*/ 1157085 h 1609071"/>
                    <a:gd name="connsiteX366" fmla="*/ 3444395 w 7415104"/>
                    <a:gd name="connsiteY366" fmla="*/ 1165753 h 1609071"/>
                    <a:gd name="connsiteX367" fmla="*/ 3596929 w 7415104"/>
                    <a:gd name="connsiteY367" fmla="*/ 1165753 h 1609071"/>
                    <a:gd name="connsiteX368" fmla="*/ 3596929 w 7415104"/>
                    <a:gd name="connsiteY368" fmla="*/ 1178753 h 1609071"/>
                    <a:gd name="connsiteX369" fmla="*/ 3705270 w 7415104"/>
                    <a:gd name="connsiteY369" fmla="*/ 1178753 h 1609071"/>
                    <a:gd name="connsiteX370" fmla="*/ 3709604 w 7415104"/>
                    <a:gd name="connsiteY370" fmla="*/ 1183087 h 1609071"/>
                    <a:gd name="connsiteX371" fmla="*/ 3963337 w 7415104"/>
                    <a:gd name="connsiteY371" fmla="*/ 1187849 h 1609071"/>
                    <a:gd name="connsiteX372" fmla="*/ 3960956 w 7415104"/>
                    <a:gd name="connsiteY372" fmla="*/ 1204755 h 1609071"/>
                    <a:gd name="connsiteX373" fmla="*/ 3991291 w 7415104"/>
                    <a:gd name="connsiteY373" fmla="*/ 1204755 h 1609071"/>
                    <a:gd name="connsiteX374" fmla="*/ 3991291 w 7415104"/>
                    <a:gd name="connsiteY374" fmla="*/ 1178753 h 1609071"/>
                    <a:gd name="connsiteX375" fmla="*/ 4030294 w 7415104"/>
                    <a:gd name="connsiteY375" fmla="*/ 1178753 h 1609071"/>
                    <a:gd name="connsiteX376" fmla="*/ 4030294 w 7415104"/>
                    <a:gd name="connsiteY376" fmla="*/ 1213422 h 1609071"/>
                    <a:gd name="connsiteX377" fmla="*/ 4043295 w 7415104"/>
                    <a:gd name="connsiteY377" fmla="*/ 1213422 h 1609071"/>
                    <a:gd name="connsiteX378" fmla="*/ 4043295 w 7415104"/>
                    <a:gd name="connsiteY378" fmla="*/ 1222089 h 1609071"/>
                    <a:gd name="connsiteX379" fmla="*/ 4164637 w 7415104"/>
                    <a:gd name="connsiteY379" fmla="*/ 1222089 h 1609071"/>
                    <a:gd name="connsiteX380" fmla="*/ 4164637 w 7415104"/>
                    <a:gd name="connsiteY380" fmla="*/ 1243758 h 1609071"/>
                    <a:gd name="connsiteX381" fmla="*/ 4320648 w 7415104"/>
                    <a:gd name="connsiteY381" fmla="*/ 1243758 h 1609071"/>
                    <a:gd name="connsiteX382" fmla="*/ 4320648 w 7415104"/>
                    <a:gd name="connsiteY382" fmla="*/ 1261092 h 1609071"/>
                    <a:gd name="connsiteX383" fmla="*/ 4398654 w 7415104"/>
                    <a:gd name="connsiteY383" fmla="*/ 1261092 h 1609071"/>
                    <a:gd name="connsiteX384" fmla="*/ 4398654 w 7415104"/>
                    <a:gd name="connsiteY384" fmla="*/ 1287094 h 1609071"/>
                    <a:gd name="connsiteX385" fmla="*/ 4450658 w 7415104"/>
                    <a:gd name="connsiteY385" fmla="*/ 1287094 h 1609071"/>
                    <a:gd name="connsiteX386" fmla="*/ 4476660 w 7415104"/>
                    <a:gd name="connsiteY386" fmla="*/ 1287094 h 1609071"/>
                    <a:gd name="connsiteX387" fmla="*/ 4498328 w 7415104"/>
                    <a:gd name="connsiteY387" fmla="*/ 1308762 h 1609071"/>
                    <a:gd name="connsiteX388" fmla="*/ 4593668 w 7415104"/>
                    <a:gd name="connsiteY388" fmla="*/ 1308762 h 1609071"/>
                    <a:gd name="connsiteX389" fmla="*/ 4597573 w 7415104"/>
                    <a:gd name="connsiteY389" fmla="*/ 1317430 h 1609071"/>
                    <a:gd name="connsiteX390" fmla="*/ 4663007 w 7415104"/>
                    <a:gd name="connsiteY390" fmla="*/ 1317430 h 1609071"/>
                    <a:gd name="connsiteX391" fmla="*/ 4663007 w 7415104"/>
                    <a:gd name="connsiteY391" fmla="*/ 1339098 h 1609071"/>
                    <a:gd name="connsiteX392" fmla="*/ 4706343 w 7415104"/>
                    <a:gd name="connsiteY392" fmla="*/ 1339098 h 1609071"/>
                    <a:gd name="connsiteX393" fmla="*/ 4710677 w 7415104"/>
                    <a:gd name="connsiteY393" fmla="*/ 1343432 h 1609071"/>
                    <a:gd name="connsiteX394" fmla="*/ 4767014 w 7415104"/>
                    <a:gd name="connsiteY394" fmla="*/ 1343432 h 1609071"/>
                    <a:gd name="connsiteX395" fmla="*/ 4765727 w 7415104"/>
                    <a:gd name="connsiteY395" fmla="*/ 1358814 h 1609071"/>
                    <a:gd name="connsiteX396" fmla="*/ 5005365 w 7415104"/>
                    <a:gd name="connsiteY396" fmla="*/ 1356433 h 1609071"/>
                    <a:gd name="connsiteX397" fmla="*/ 5018366 w 7415104"/>
                    <a:gd name="connsiteY397" fmla="*/ 1369434 h 1609071"/>
                    <a:gd name="connsiteX398" fmla="*/ 5152709 w 7415104"/>
                    <a:gd name="connsiteY398" fmla="*/ 1369434 h 1609071"/>
                    <a:gd name="connsiteX399" fmla="*/ 5152709 w 7415104"/>
                    <a:gd name="connsiteY399" fmla="*/ 1391102 h 1609071"/>
                    <a:gd name="connsiteX400" fmla="*/ 5282719 w 7415104"/>
                    <a:gd name="connsiteY400" fmla="*/ 1391102 h 1609071"/>
                    <a:gd name="connsiteX401" fmla="*/ 5291386 w 7415104"/>
                    <a:gd name="connsiteY401" fmla="*/ 1399769 h 1609071"/>
                    <a:gd name="connsiteX402" fmla="*/ 5356391 w 7415104"/>
                    <a:gd name="connsiteY402" fmla="*/ 1399769 h 1609071"/>
                    <a:gd name="connsiteX403" fmla="*/ 5369392 w 7415104"/>
                    <a:gd name="connsiteY403" fmla="*/ 1399769 h 1609071"/>
                    <a:gd name="connsiteX404" fmla="*/ 5369392 w 7415104"/>
                    <a:gd name="connsiteY404" fmla="*/ 1421437 h 1609071"/>
                    <a:gd name="connsiteX405" fmla="*/ 5473399 w 7415104"/>
                    <a:gd name="connsiteY405" fmla="*/ 1421437 h 1609071"/>
                    <a:gd name="connsiteX406" fmla="*/ 5473399 w 7415104"/>
                    <a:gd name="connsiteY406" fmla="*/ 1399769 h 1609071"/>
                    <a:gd name="connsiteX407" fmla="*/ 5512402 w 7415104"/>
                    <a:gd name="connsiteY407" fmla="*/ 1399769 h 1609071"/>
                    <a:gd name="connsiteX408" fmla="*/ 5512402 w 7415104"/>
                    <a:gd name="connsiteY408" fmla="*/ 1425771 h 1609071"/>
                    <a:gd name="connsiteX409" fmla="*/ 5607742 w 7415104"/>
                    <a:gd name="connsiteY409" fmla="*/ 1425771 h 1609071"/>
                    <a:gd name="connsiteX410" fmla="*/ 5607742 w 7415104"/>
                    <a:gd name="connsiteY410" fmla="*/ 1399769 h 1609071"/>
                    <a:gd name="connsiteX411" fmla="*/ 5664080 w 7415104"/>
                    <a:gd name="connsiteY411" fmla="*/ 1399769 h 1609071"/>
                    <a:gd name="connsiteX412" fmla="*/ 5664080 w 7415104"/>
                    <a:gd name="connsiteY412" fmla="*/ 1434438 h 1609071"/>
                    <a:gd name="connsiteX413" fmla="*/ 5685748 w 7415104"/>
                    <a:gd name="connsiteY413" fmla="*/ 1434438 h 1609071"/>
                    <a:gd name="connsiteX414" fmla="*/ 5685748 w 7415104"/>
                    <a:gd name="connsiteY414" fmla="*/ 1443106 h 1609071"/>
                    <a:gd name="connsiteX415" fmla="*/ 5716083 w 7415104"/>
                    <a:gd name="connsiteY415" fmla="*/ 1443106 h 1609071"/>
                    <a:gd name="connsiteX416" fmla="*/ 5716083 w 7415104"/>
                    <a:gd name="connsiteY416" fmla="*/ 1456106 h 1609071"/>
                    <a:gd name="connsiteX417" fmla="*/ 5794089 w 7415104"/>
                    <a:gd name="connsiteY417" fmla="*/ 1456106 h 1609071"/>
                    <a:gd name="connsiteX418" fmla="*/ 5794089 w 7415104"/>
                    <a:gd name="connsiteY418" fmla="*/ 1421437 h 1609071"/>
                    <a:gd name="connsiteX419" fmla="*/ 5837426 w 7415104"/>
                    <a:gd name="connsiteY419" fmla="*/ 1421437 h 1609071"/>
                    <a:gd name="connsiteX420" fmla="*/ 5837426 w 7415104"/>
                    <a:gd name="connsiteY420" fmla="*/ 1456106 h 1609071"/>
                    <a:gd name="connsiteX421" fmla="*/ 5902430 w 7415104"/>
                    <a:gd name="connsiteY421" fmla="*/ 1456106 h 1609071"/>
                    <a:gd name="connsiteX422" fmla="*/ 5928432 w 7415104"/>
                    <a:gd name="connsiteY422" fmla="*/ 1456106 h 1609071"/>
                    <a:gd name="connsiteX423" fmla="*/ 5928432 w 7415104"/>
                    <a:gd name="connsiteY423" fmla="*/ 1473441 h 1609071"/>
                    <a:gd name="connsiteX424" fmla="*/ 5945767 w 7415104"/>
                    <a:gd name="connsiteY424" fmla="*/ 1473441 h 1609071"/>
                    <a:gd name="connsiteX425" fmla="*/ 5950101 w 7415104"/>
                    <a:gd name="connsiteY425" fmla="*/ 1477775 h 1609071"/>
                    <a:gd name="connsiteX426" fmla="*/ 6019439 w 7415104"/>
                    <a:gd name="connsiteY426" fmla="*/ 1477775 h 1609071"/>
                    <a:gd name="connsiteX427" fmla="*/ 6019439 w 7415104"/>
                    <a:gd name="connsiteY427" fmla="*/ 1456106 h 1609071"/>
                    <a:gd name="connsiteX428" fmla="*/ 6058442 w 7415104"/>
                    <a:gd name="connsiteY428" fmla="*/ 1456106 h 1609071"/>
                    <a:gd name="connsiteX429" fmla="*/ 6058442 w 7415104"/>
                    <a:gd name="connsiteY429" fmla="*/ 1499443 h 1609071"/>
                    <a:gd name="connsiteX430" fmla="*/ 6110446 w 7415104"/>
                    <a:gd name="connsiteY430" fmla="*/ 1499443 h 1609071"/>
                    <a:gd name="connsiteX431" fmla="*/ 6110446 w 7415104"/>
                    <a:gd name="connsiteY431" fmla="*/ 1508110 h 1609071"/>
                    <a:gd name="connsiteX432" fmla="*/ 6188451 w 7415104"/>
                    <a:gd name="connsiteY432" fmla="*/ 1508110 h 1609071"/>
                    <a:gd name="connsiteX433" fmla="*/ 6188451 w 7415104"/>
                    <a:gd name="connsiteY433" fmla="*/ 1464774 h 1609071"/>
                    <a:gd name="connsiteX434" fmla="*/ 6227454 w 7415104"/>
                    <a:gd name="connsiteY434" fmla="*/ 1464774 h 1609071"/>
                    <a:gd name="connsiteX435" fmla="*/ 6227454 w 7415104"/>
                    <a:gd name="connsiteY435" fmla="*/ 1516778 h 1609071"/>
                    <a:gd name="connsiteX436" fmla="*/ 6353130 w 7415104"/>
                    <a:gd name="connsiteY436" fmla="*/ 1516778 h 1609071"/>
                    <a:gd name="connsiteX437" fmla="*/ 6353130 w 7415104"/>
                    <a:gd name="connsiteY437" fmla="*/ 1477775 h 1609071"/>
                    <a:gd name="connsiteX438" fmla="*/ 6397561 w 7415104"/>
                    <a:gd name="connsiteY438" fmla="*/ 1475394 h 1609071"/>
                    <a:gd name="connsiteX439" fmla="*/ 6399942 w 7415104"/>
                    <a:gd name="connsiteY439" fmla="*/ 1529778 h 1609071"/>
                    <a:gd name="connsiteX440" fmla="*/ 6447614 w 7415104"/>
                    <a:gd name="connsiteY440" fmla="*/ 1529778 h 1609071"/>
                    <a:gd name="connsiteX441" fmla="*/ 6447611 w 7415104"/>
                    <a:gd name="connsiteY441" fmla="*/ 1479728 h 1609071"/>
                    <a:gd name="connsiteX442" fmla="*/ 6487473 w 7415104"/>
                    <a:gd name="connsiteY442" fmla="*/ 1482108 h 1609071"/>
                    <a:gd name="connsiteX443" fmla="*/ 6487473 w 7415104"/>
                    <a:gd name="connsiteY443" fmla="*/ 1529778 h 1609071"/>
                    <a:gd name="connsiteX444" fmla="*/ 6561145 w 7415104"/>
                    <a:gd name="connsiteY444" fmla="*/ 1529778 h 1609071"/>
                    <a:gd name="connsiteX445" fmla="*/ 6565479 w 7415104"/>
                    <a:gd name="connsiteY445" fmla="*/ 1534112 h 1609071"/>
                    <a:gd name="connsiteX446" fmla="*/ 6674249 w 7415104"/>
                    <a:gd name="connsiteY446" fmla="*/ 1536493 h 1609071"/>
                    <a:gd name="connsiteX447" fmla="*/ 6676630 w 7415104"/>
                    <a:gd name="connsiteY447" fmla="*/ 1499443 h 1609071"/>
                    <a:gd name="connsiteX448" fmla="*/ 6738825 w 7415104"/>
                    <a:gd name="connsiteY448" fmla="*/ 1499443 h 1609071"/>
                    <a:gd name="connsiteX449" fmla="*/ 6738825 w 7415104"/>
                    <a:gd name="connsiteY449" fmla="*/ 1542779 h 1609071"/>
                    <a:gd name="connsiteX450" fmla="*/ 6795162 w 7415104"/>
                    <a:gd name="connsiteY450" fmla="*/ 1542779 h 1609071"/>
                    <a:gd name="connsiteX451" fmla="*/ 6795162 w 7415104"/>
                    <a:gd name="connsiteY451" fmla="*/ 1499443 h 1609071"/>
                    <a:gd name="connsiteX452" fmla="*/ 6829831 w 7415104"/>
                    <a:gd name="connsiteY452" fmla="*/ 1499443 h 1609071"/>
                    <a:gd name="connsiteX453" fmla="*/ 6829831 w 7415104"/>
                    <a:gd name="connsiteY453" fmla="*/ 1529778 h 1609071"/>
                    <a:gd name="connsiteX454" fmla="*/ 6847166 w 7415104"/>
                    <a:gd name="connsiteY454" fmla="*/ 1529778 h 1609071"/>
                    <a:gd name="connsiteX455" fmla="*/ 6847166 w 7415104"/>
                    <a:gd name="connsiteY455" fmla="*/ 1555780 h 1609071"/>
                    <a:gd name="connsiteX456" fmla="*/ 7050847 w 7415104"/>
                    <a:gd name="connsiteY456" fmla="*/ 1555780 h 1609071"/>
                    <a:gd name="connsiteX457" fmla="*/ 7063848 w 7415104"/>
                    <a:gd name="connsiteY457" fmla="*/ 1568781 h 1609071"/>
                    <a:gd name="connsiteX458" fmla="*/ 7133187 w 7415104"/>
                    <a:gd name="connsiteY458" fmla="*/ 1568781 h 1609071"/>
                    <a:gd name="connsiteX459" fmla="*/ 7133187 w 7415104"/>
                    <a:gd name="connsiteY459" fmla="*/ 1586116 h 1609071"/>
                    <a:gd name="connsiteX460" fmla="*/ 7284865 w 7415104"/>
                    <a:gd name="connsiteY460" fmla="*/ 1586116 h 1609071"/>
                    <a:gd name="connsiteX461" fmla="*/ 7284865 w 7415104"/>
                    <a:gd name="connsiteY461" fmla="*/ 1607784 h 1609071"/>
                    <a:gd name="connsiteX462" fmla="*/ 7414876 w 7415104"/>
                    <a:gd name="connsiteY462" fmla="*/ 1609071 h 1609071"/>
                    <a:gd name="connsiteX0" fmla="*/ 7418115 w 7418343"/>
                    <a:gd name="connsiteY0" fmla="*/ 1609071 h 1609071"/>
                    <a:gd name="connsiteX1" fmla="*/ 7418113 w 7418343"/>
                    <a:gd name="connsiteY1" fmla="*/ 1508110 h 1609071"/>
                    <a:gd name="connsiteX2" fmla="*/ 7275103 w 7418343"/>
                    <a:gd name="connsiteY2" fmla="*/ 1508110 h 1609071"/>
                    <a:gd name="connsiteX3" fmla="*/ 7274009 w 7418343"/>
                    <a:gd name="connsiteY3" fmla="*/ 1495109 h 1609071"/>
                    <a:gd name="connsiteX4" fmla="*/ 7157666 w 7418343"/>
                    <a:gd name="connsiteY4" fmla="*/ 1492728 h 1609071"/>
                    <a:gd name="connsiteX5" fmla="*/ 7154619 w 7418343"/>
                    <a:gd name="connsiteY5" fmla="*/ 1465868 h 1609071"/>
                    <a:gd name="connsiteX6" fmla="*/ 7041086 w 7418343"/>
                    <a:gd name="connsiteY6" fmla="*/ 1461106 h 1609071"/>
                    <a:gd name="connsiteX7" fmla="*/ 7041086 w 7418343"/>
                    <a:gd name="connsiteY7" fmla="*/ 1451773 h 1609071"/>
                    <a:gd name="connsiteX8" fmla="*/ 6876407 w 7418343"/>
                    <a:gd name="connsiteY8" fmla="*/ 1451773 h 1609071"/>
                    <a:gd name="connsiteX9" fmla="*/ 6876835 w 7418343"/>
                    <a:gd name="connsiteY9" fmla="*/ 1437915 h 1609071"/>
                    <a:gd name="connsiteX10" fmla="*/ 6828737 w 7418343"/>
                    <a:gd name="connsiteY10" fmla="*/ 1440295 h 1609071"/>
                    <a:gd name="connsiteX11" fmla="*/ 6828737 w 7418343"/>
                    <a:gd name="connsiteY11" fmla="*/ 1495109 h 1609071"/>
                    <a:gd name="connsiteX12" fmla="*/ 6789734 w 7418343"/>
                    <a:gd name="connsiteY12" fmla="*/ 1495109 h 1609071"/>
                    <a:gd name="connsiteX13" fmla="*/ 6789734 w 7418343"/>
                    <a:gd name="connsiteY13" fmla="*/ 1443106 h 1609071"/>
                    <a:gd name="connsiteX14" fmla="*/ 6742064 w 7418343"/>
                    <a:gd name="connsiteY14" fmla="*/ 1443106 h 1609071"/>
                    <a:gd name="connsiteX15" fmla="*/ 6742063 w 7418343"/>
                    <a:gd name="connsiteY15" fmla="*/ 1477775 h 1609071"/>
                    <a:gd name="connsiteX16" fmla="*/ 6681393 w 7418343"/>
                    <a:gd name="connsiteY16" fmla="*/ 1477775 h 1609071"/>
                    <a:gd name="connsiteX17" fmla="*/ 6681393 w 7418343"/>
                    <a:gd name="connsiteY17" fmla="*/ 1438772 h 1609071"/>
                    <a:gd name="connsiteX18" fmla="*/ 6564384 w 7418343"/>
                    <a:gd name="connsiteY18" fmla="*/ 1438772 h 1609071"/>
                    <a:gd name="connsiteX19" fmla="*/ 6558526 w 7418343"/>
                    <a:gd name="connsiteY19" fmla="*/ 1428152 h 1609071"/>
                    <a:gd name="connsiteX20" fmla="*/ 6486378 w 7418343"/>
                    <a:gd name="connsiteY20" fmla="*/ 1425771 h 1609071"/>
                    <a:gd name="connsiteX21" fmla="*/ 6486378 w 7418343"/>
                    <a:gd name="connsiteY21" fmla="*/ 1482108 h 1609071"/>
                    <a:gd name="connsiteX22" fmla="*/ 6454519 w 7418343"/>
                    <a:gd name="connsiteY22" fmla="*/ 1479727 h 1609071"/>
                    <a:gd name="connsiteX23" fmla="*/ 6452139 w 7418343"/>
                    <a:gd name="connsiteY23" fmla="*/ 1427295 h 1609071"/>
                    <a:gd name="connsiteX24" fmla="*/ 6401230 w 7418343"/>
                    <a:gd name="connsiteY24" fmla="*/ 1424913 h 1609071"/>
                    <a:gd name="connsiteX25" fmla="*/ 6401229 w 7418343"/>
                    <a:gd name="connsiteY25" fmla="*/ 1477775 h 1609071"/>
                    <a:gd name="connsiteX26" fmla="*/ 6360703 w 7418343"/>
                    <a:gd name="connsiteY26" fmla="*/ 1477775 h 1609071"/>
                    <a:gd name="connsiteX27" fmla="*/ 6360703 w 7418343"/>
                    <a:gd name="connsiteY27" fmla="*/ 1430105 h 1609071"/>
                    <a:gd name="connsiteX28" fmla="*/ 6226359 w 7418343"/>
                    <a:gd name="connsiteY28" fmla="*/ 1430105 h 1609071"/>
                    <a:gd name="connsiteX29" fmla="*/ 6226359 w 7418343"/>
                    <a:gd name="connsiteY29" fmla="*/ 1443106 h 1609071"/>
                    <a:gd name="connsiteX30" fmla="*/ 6196024 w 7418343"/>
                    <a:gd name="connsiteY30" fmla="*/ 1443106 h 1609071"/>
                    <a:gd name="connsiteX31" fmla="*/ 6196024 w 7418343"/>
                    <a:gd name="connsiteY31" fmla="*/ 1412770 h 1609071"/>
                    <a:gd name="connsiteX32" fmla="*/ 6122352 w 7418343"/>
                    <a:gd name="connsiteY32" fmla="*/ 1412770 h 1609071"/>
                    <a:gd name="connsiteX33" fmla="*/ 6122352 w 7418343"/>
                    <a:gd name="connsiteY33" fmla="*/ 1399769 h 1609071"/>
                    <a:gd name="connsiteX34" fmla="*/ 6074682 w 7418343"/>
                    <a:gd name="connsiteY34" fmla="*/ 1399769 h 1609071"/>
                    <a:gd name="connsiteX35" fmla="*/ 6074682 w 7418343"/>
                    <a:gd name="connsiteY35" fmla="*/ 1382434 h 1609071"/>
                    <a:gd name="connsiteX36" fmla="*/ 6053013 w 7418343"/>
                    <a:gd name="connsiteY36" fmla="*/ 1382434 h 1609071"/>
                    <a:gd name="connsiteX37" fmla="*/ 6053013 w 7418343"/>
                    <a:gd name="connsiteY37" fmla="*/ 1421437 h 1609071"/>
                    <a:gd name="connsiteX38" fmla="*/ 6022678 w 7418343"/>
                    <a:gd name="connsiteY38" fmla="*/ 1421437 h 1609071"/>
                    <a:gd name="connsiteX39" fmla="*/ 6022678 w 7418343"/>
                    <a:gd name="connsiteY39" fmla="*/ 1391102 h 1609071"/>
                    <a:gd name="connsiteX40" fmla="*/ 5962007 w 7418343"/>
                    <a:gd name="connsiteY40" fmla="*/ 1391102 h 1609071"/>
                    <a:gd name="connsiteX41" fmla="*/ 5962007 w 7418343"/>
                    <a:gd name="connsiteY41" fmla="*/ 1373767 h 1609071"/>
                    <a:gd name="connsiteX42" fmla="*/ 5923004 w 7418343"/>
                    <a:gd name="connsiteY42" fmla="*/ 1373767 h 1609071"/>
                    <a:gd name="connsiteX43" fmla="*/ 5923004 w 7418343"/>
                    <a:gd name="connsiteY43" fmla="*/ 1352099 h 1609071"/>
                    <a:gd name="connsiteX44" fmla="*/ 5827664 w 7418343"/>
                    <a:gd name="connsiteY44" fmla="*/ 1352099 h 1609071"/>
                    <a:gd name="connsiteX45" fmla="*/ 5827664 w 7418343"/>
                    <a:gd name="connsiteY45" fmla="*/ 1399769 h 1609071"/>
                    <a:gd name="connsiteX46" fmla="*/ 5792995 w 7418343"/>
                    <a:gd name="connsiteY46" fmla="*/ 1399769 h 1609071"/>
                    <a:gd name="connsiteX47" fmla="*/ 5792995 w 7418343"/>
                    <a:gd name="connsiteY47" fmla="*/ 1365100 h 1609071"/>
                    <a:gd name="connsiteX48" fmla="*/ 5701988 w 7418343"/>
                    <a:gd name="connsiteY48" fmla="*/ 1365100 h 1609071"/>
                    <a:gd name="connsiteX49" fmla="*/ 5701988 w 7418343"/>
                    <a:gd name="connsiteY49" fmla="*/ 1326097 h 1609071"/>
                    <a:gd name="connsiteX50" fmla="*/ 5658651 w 7418343"/>
                    <a:gd name="connsiteY50" fmla="*/ 1326097 h 1609071"/>
                    <a:gd name="connsiteX51" fmla="*/ 5658651 w 7418343"/>
                    <a:gd name="connsiteY51" fmla="*/ 1373767 h 1609071"/>
                    <a:gd name="connsiteX52" fmla="*/ 5615315 w 7418343"/>
                    <a:gd name="connsiteY52" fmla="*/ 1373767 h 1609071"/>
                    <a:gd name="connsiteX53" fmla="*/ 5615315 w 7418343"/>
                    <a:gd name="connsiteY53" fmla="*/ 1334764 h 1609071"/>
                    <a:gd name="connsiteX54" fmla="*/ 5515641 w 7418343"/>
                    <a:gd name="connsiteY54" fmla="*/ 1334764 h 1609071"/>
                    <a:gd name="connsiteX55" fmla="*/ 5515641 w 7418343"/>
                    <a:gd name="connsiteY55" fmla="*/ 1360766 h 1609071"/>
                    <a:gd name="connsiteX56" fmla="*/ 5472304 w 7418343"/>
                    <a:gd name="connsiteY56" fmla="*/ 1360766 h 1609071"/>
                    <a:gd name="connsiteX57" fmla="*/ 5472304 w 7418343"/>
                    <a:gd name="connsiteY57" fmla="*/ 1321763 h 1609071"/>
                    <a:gd name="connsiteX58" fmla="*/ 5363963 w 7418343"/>
                    <a:gd name="connsiteY58" fmla="*/ 1321763 h 1609071"/>
                    <a:gd name="connsiteX59" fmla="*/ 5363963 w 7418343"/>
                    <a:gd name="connsiteY59" fmla="*/ 1304429 h 1609071"/>
                    <a:gd name="connsiteX60" fmla="*/ 5303292 w 7418343"/>
                    <a:gd name="connsiteY60" fmla="*/ 1304429 h 1609071"/>
                    <a:gd name="connsiteX61" fmla="*/ 5294625 w 7418343"/>
                    <a:gd name="connsiteY61" fmla="*/ 1295762 h 1609071"/>
                    <a:gd name="connsiteX62" fmla="*/ 5190617 w 7418343"/>
                    <a:gd name="connsiteY62" fmla="*/ 1295762 h 1609071"/>
                    <a:gd name="connsiteX63" fmla="*/ 5190617 w 7418343"/>
                    <a:gd name="connsiteY63" fmla="*/ 1278427 h 1609071"/>
                    <a:gd name="connsiteX64" fmla="*/ 5048702 w 7418343"/>
                    <a:gd name="connsiteY64" fmla="*/ 1278427 h 1609071"/>
                    <a:gd name="connsiteX65" fmla="*/ 5051940 w 7418343"/>
                    <a:gd name="connsiteY65" fmla="*/ 1269759 h 1609071"/>
                    <a:gd name="connsiteX66" fmla="*/ 4926265 w 7418343"/>
                    <a:gd name="connsiteY66" fmla="*/ 1269759 h 1609071"/>
                    <a:gd name="connsiteX67" fmla="*/ 4929932 w 7418343"/>
                    <a:gd name="connsiteY67" fmla="*/ 1256758 h 1609071"/>
                    <a:gd name="connsiteX68" fmla="*/ 4705678 w 7418343"/>
                    <a:gd name="connsiteY68" fmla="*/ 1254376 h 1609071"/>
                    <a:gd name="connsiteX69" fmla="*/ 4697439 w 7418343"/>
                    <a:gd name="connsiteY69" fmla="*/ 1241375 h 1609071"/>
                    <a:gd name="connsiteX70" fmla="*/ 4678153 w 7418343"/>
                    <a:gd name="connsiteY70" fmla="*/ 1238995 h 1609071"/>
                    <a:gd name="connsiteX71" fmla="*/ 4665072 w 7418343"/>
                    <a:gd name="connsiteY71" fmla="*/ 1226572 h 1609071"/>
                    <a:gd name="connsiteX72" fmla="*/ 4658437 w 7418343"/>
                    <a:gd name="connsiteY72" fmla="*/ 1224042 h 1609071"/>
                    <a:gd name="connsiteX73" fmla="*/ 4635911 w 7418343"/>
                    <a:gd name="connsiteY73" fmla="*/ 1213422 h 1609071"/>
                    <a:gd name="connsiteX74" fmla="*/ 4492900 w 7418343"/>
                    <a:gd name="connsiteY74" fmla="*/ 1213422 h 1609071"/>
                    <a:gd name="connsiteX75" fmla="*/ 4492900 w 7418343"/>
                    <a:gd name="connsiteY75" fmla="*/ 1200421 h 1609071"/>
                    <a:gd name="connsiteX76" fmla="*/ 4449563 w 7418343"/>
                    <a:gd name="connsiteY76" fmla="*/ 1200421 h 1609071"/>
                    <a:gd name="connsiteX77" fmla="*/ 4447182 w 7418343"/>
                    <a:gd name="connsiteY77" fmla="*/ 1192612 h 1609071"/>
                    <a:gd name="connsiteX78" fmla="*/ 4424567 w 7418343"/>
                    <a:gd name="connsiteY78" fmla="*/ 1195615 h 1609071"/>
                    <a:gd name="connsiteX79" fmla="*/ 4426801 w 7418343"/>
                    <a:gd name="connsiteY79" fmla="*/ 1171180 h 1609071"/>
                    <a:gd name="connsiteX80" fmla="*/ 4397131 w 7418343"/>
                    <a:gd name="connsiteY80" fmla="*/ 1172467 h 1609071"/>
                    <a:gd name="connsiteX81" fmla="*/ 4397560 w 7418343"/>
                    <a:gd name="connsiteY81" fmla="*/ 1200421 h 1609071"/>
                    <a:gd name="connsiteX82" fmla="*/ 4362890 w 7418343"/>
                    <a:gd name="connsiteY82" fmla="*/ 1200421 h 1609071"/>
                    <a:gd name="connsiteX83" fmla="*/ 4362890 w 7418343"/>
                    <a:gd name="connsiteY83" fmla="*/ 1157085 h 1609071"/>
                    <a:gd name="connsiteX84" fmla="*/ 4332555 w 7418343"/>
                    <a:gd name="connsiteY84" fmla="*/ 1157085 h 1609071"/>
                    <a:gd name="connsiteX85" fmla="*/ 4323887 w 7418343"/>
                    <a:gd name="connsiteY85" fmla="*/ 1148417 h 1609071"/>
                    <a:gd name="connsiteX86" fmla="*/ 4159209 w 7418343"/>
                    <a:gd name="connsiteY86" fmla="*/ 1148417 h 1609071"/>
                    <a:gd name="connsiteX87" fmla="*/ 4157685 w 7418343"/>
                    <a:gd name="connsiteY87" fmla="*/ 1134986 h 1609071"/>
                    <a:gd name="connsiteX88" fmla="*/ 4070583 w 7418343"/>
                    <a:gd name="connsiteY88" fmla="*/ 1134987 h 1609071"/>
                    <a:gd name="connsiteX89" fmla="*/ 4068202 w 7418343"/>
                    <a:gd name="connsiteY89" fmla="*/ 1122415 h 1609071"/>
                    <a:gd name="connsiteX90" fmla="*/ 4050867 w 7418343"/>
                    <a:gd name="connsiteY90" fmla="*/ 1122415 h 1609071"/>
                    <a:gd name="connsiteX91" fmla="*/ 4050867 w 7418343"/>
                    <a:gd name="connsiteY91" fmla="*/ 1105081 h 1609071"/>
                    <a:gd name="connsiteX92" fmla="*/ 4029199 w 7418343"/>
                    <a:gd name="connsiteY92" fmla="*/ 1105081 h 1609071"/>
                    <a:gd name="connsiteX93" fmla="*/ 4029199 w 7418343"/>
                    <a:gd name="connsiteY93" fmla="*/ 1152751 h 1609071"/>
                    <a:gd name="connsiteX94" fmla="*/ 3994530 w 7418343"/>
                    <a:gd name="connsiteY94" fmla="*/ 1152751 h 1609071"/>
                    <a:gd name="connsiteX95" fmla="*/ 3994530 w 7418343"/>
                    <a:gd name="connsiteY95" fmla="*/ 1109415 h 1609071"/>
                    <a:gd name="connsiteX96" fmla="*/ 3964195 w 7418343"/>
                    <a:gd name="connsiteY96" fmla="*/ 1109415 h 1609071"/>
                    <a:gd name="connsiteX97" fmla="*/ 3957909 w 7418343"/>
                    <a:gd name="connsiteY97" fmla="*/ 1091222 h 1609071"/>
                    <a:gd name="connsiteX98" fmla="*/ 3734083 w 7418343"/>
                    <a:gd name="connsiteY98" fmla="*/ 1093604 h 1609071"/>
                    <a:gd name="connsiteX99" fmla="*/ 3735798 w 7418343"/>
                    <a:gd name="connsiteY99" fmla="*/ 1081031 h 1609071"/>
                    <a:gd name="connsiteX100" fmla="*/ 3588690 w 7418343"/>
                    <a:gd name="connsiteY100" fmla="*/ 1078650 h 1609071"/>
                    <a:gd name="connsiteX101" fmla="*/ 3588025 w 7418343"/>
                    <a:gd name="connsiteY101" fmla="*/ 1066079 h 1609071"/>
                    <a:gd name="connsiteX102" fmla="*/ 3444157 w 7418343"/>
                    <a:gd name="connsiteY102" fmla="*/ 1066079 h 1609071"/>
                    <a:gd name="connsiteX103" fmla="*/ 3444157 w 7418343"/>
                    <a:gd name="connsiteY103" fmla="*/ 1040076 h 1609071"/>
                    <a:gd name="connsiteX104" fmla="*/ 3322814 w 7418343"/>
                    <a:gd name="connsiteY104" fmla="*/ 1040076 h 1609071"/>
                    <a:gd name="connsiteX105" fmla="*/ 3322814 w 7418343"/>
                    <a:gd name="connsiteY105" fmla="*/ 1027075 h 1609071"/>
                    <a:gd name="connsiteX106" fmla="*/ 3184138 w 7418343"/>
                    <a:gd name="connsiteY106" fmla="*/ 1027075 h 1609071"/>
                    <a:gd name="connsiteX107" fmla="*/ 3184138 w 7418343"/>
                    <a:gd name="connsiteY107" fmla="*/ 1020123 h 1609071"/>
                    <a:gd name="connsiteX108" fmla="*/ 3166803 w 7418343"/>
                    <a:gd name="connsiteY108" fmla="*/ 1018408 h 1609071"/>
                    <a:gd name="connsiteX109" fmla="*/ 3153802 w 7418343"/>
                    <a:gd name="connsiteY109" fmla="*/ 1000645 h 1609071"/>
                    <a:gd name="connsiteX110" fmla="*/ 2993457 w 7418343"/>
                    <a:gd name="connsiteY110" fmla="*/ 1003026 h 1609071"/>
                    <a:gd name="connsiteX111" fmla="*/ 2993457 w 7418343"/>
                    <a:gd name="connsiteY111" fmla="*/ 988072 h 1609071"/>
                    <a:gd name="connsiteX112" fmla="*/ 2911118 w 7418343"/>
                    <a:gd name="connsiteY112" fmla="*/ 988072 h 1609071"/>
                    <a:gd name="connsiteX113" fmla="*/ 2902450 w 7418343"/>
                    <a:gd name="connsiteY113" fmla="*/ 979404 h 1609071"/>
                    <a:gd name="connsiteX114" fmla="*/ 2872115 w 7418343"/>
                    <a:gd name="connsiteY114" fmla="*/ 979404 h 1609071"/>
                    <a:gd name="connsiteX115" fmla="*/ 2872115 w 7418343"/>
                    <a:gd name="connsiteY115" fmla="*/ 953403 h 1609071"/>
                    <a:gd name="connsiteX116" fmla="*/ 2846113 w 7418343"/>
                    <a:gd name="connsiteY116" fmla="*/ 953403 h 1609071"/>
                    <a:gd name="connsiteX117" fmla="*/ 2837446 w 7418343"/>
                    <a:gd name="connsiteY117" fmla="*/ 944736 h 1609071"/>
                    <a:gd name="connsiteX118" fmla="*/ 2759440 w 7418343"/>
                    <a:gd name="connsiteY118" fmla="*/ 944736 h 1609071"/>
                    <a:gd name="connsiteX119" fmla="*/ 2750773 w 7418343"/>
                    <a:gd name="connsiteY119" fmla="*/ 936069 h 1609071"/>
                    <a:gd name="connsiteX120" fmla="*/ 2703103 w 7418343"/>
                    <a:gd name="connsiteY120" fmla="*/ 936069 h 1609071"/>
                    <a:gd name="connsiteX121" fmla="*/ 2692054 w 7418343"/>
                    <a:gd name="connsiteY121" fmla="*/ 925019 h 1609071"/>
                    <a:gd name="connsiteX122" fmla="*/ 2646765 w 7418343"/>
                    <a:gd name="connsiteY122" fmla="*/ 927401 h 1609071"/>
                    <a:gd name="connsiteX123" fmla="*/ 2641338 w 7418343"/>
                    <a:gd name="connsiteY123" fmla="*/ 910067 h 1609071"/>
                    <a:gd name="connsiteX124" fmla="*/ 2619240 w 7418343"/>
                    <a:gd name="connsiteY124" fmla="*/ 899876 h 1609071"/>
                    <a:gd name="connsiteX125" fmla="*/ 2594761 w 7418343"/>
                    <a:gd name="connsiteY125" fmla="*/ 875397 h 1609071"/>
                    <a:gd name="connsiteX126" fmla="*/ 2564426 w 7418343"/>
                    <a:gd name="connsiteY126" fmla="*/ 875397 h 1609071"/>
                    <a:gd name="connsiteX127" fmla="*/ 2555758 w 7418343"/>
                    <a:gd name="connsiteY127" fmla="*/ 866729 h 1609071"/>
                    <a:gd name="connsiteX128" fmla="*/ 2503755 w 7418343"/>
                    <a:gd name="connsiteY128" fmla="*/ 866729 h 1609071"/>
                    <a:gd name="connsiteX129" fmla="*/ 2503755 w 7418343"/>
                    <a:gd name="connsiteY129" fmla="*/ 849396 h 1609071"/>
                    <a:gd name="connsiteX130" fmla="*/ 2447417 w 7418343"/>
                    <a:gd name="connsiteY130" fmla="*/ 849396 h 1609071"/>
                    <a:gd name="connsiteX131" fmla="*/ 2438749 w 7418343"/>
                    <a:gd name="connsiteY131" fmla="*/ 840728 h 1609071"/>
                    <a:gd name="connsiteX132" fmla="*/ 2417082 w 7418343"/>
                    <a:gd name="connsiteY132" fmla="*/ 840728 h 1609071"/>
                    <a:gd name="connsiteX133" fmla="*/ 2404081 w 7418343"/>
                    <a:gd name="connsiteY133" fmla="*/ 827727 h 1609071"/>
                    <a:gd name="connsiteX134" fmla="*/ 2352077 w 7418343"/>
                    <a:gd name="connsiteY134" fmla="*/ 827727 h 1609071"/>
                    <a:gd name="connsiteX135" fmla="*/ 2352077 w 7418343"/>
                    <a:gd name="connsiteY135" fmla="*/ 810393 h 1609071"/>
                    <a:gd name="connsiteX136" fmla="*/ 2313074 w 7418343"/>
                    <a:gd name="connsiteY136" fmla="*/ 810393 h 1609071"/>
                    <a:gd name="connsiteX137" fmla="*/ 2307216 w 7418343"/>
                    <a:gd name="connsiteY137" fmla="*/ 830537 h 1609071"/>
                    <a:gd name="connsiteX138" fmla="*/ 2276882 w 7418343"/>
                    <a:gd name="connsiteY138" fmla="*/ 828156 h 1609071"/>
                    <a:gd name="connsiteX139" fmla="*/ 2275787 w 7418343"/>
                    <a:gd name="connsiteY139" fmla="*/ 800867 h 1609071"/>
                    <a:gd name="connsiteX140" fmla="*/ 2248069 w 7418343"/>
                    <a:gd name="connsiteY140" fmla="*/ 801725 h 1609071"/>
                    <a:gd name="connsiteX141" fmla="*/ 2248069 w 7418343"/>
                    <a:gd name="connsiteY141" fmla="*/ 775724 h 1609071"/>
                    <a:gd name="connsiteX142" fmla="*/ 2126727 w 7418343"/>
                    <a:gd name="connsiteY142" fmla="*/ 775724 h 1609071"/>
                    <a:gd name="connsiteX143" fmla="*/ 2126727 w 7418343"/>
                    <a:gd name="connsiteY143" fmla="*/ 745388 h 1609071"/>
                    <a:gd name="connsiteX144" fmla="*/ 2074723 w 7418343"/>
                    <a:gd name="connsiteY144" fmla="*/ 745388 h 1609071"/>
                    <a:gd name="connsiteX145" fmla="*/ 2066056 w 7418343"/>
                    <a:gd name="connsiteY145" fmla="*/ 736721 h 1609071"/>
                    <a:gd name="connsiteX146" fmla="*/ 2009719 w 7418343"/>
                    <a:gd name="connsiteY146" fmla="*/ 736721 h 1609071"/>
                    <a:gd name="connsiteX147" fmla="*/ 2009719 w 7418343"/>
                    <a:gd name="connsiteY147" fmla="*/ 715052 h 1609071"/>
                    <a:gd name="connsiteX148" fmla="*/ 1910045 w 7418343"/>
                    <a:gd name="connsiteY148" fmla="*/ 715052 h 1609071"/>
                    <a:gd name="connsiteX149" fmla="*/ 1905712 w 7418343"/>
                    <a:gd name="connsiteY149" fmla="*/ 710719 h 1609071"/>
                    <a:gd name="connsiteX150" fmla="*/ 1866708 w 7418343"/>
                    <a:gd name="connsiteY150" fmla="*/ 710719 h 1609071"/>
                    <a:gd name="connsiteX151" fmla="*/ 1866708 w 7418343"/>
                    <a:gd name="connsiteY151" fmla="*/ 680383 h 1609071"/>
                    <a:gd name="connsiteX152" fmla="*/ 1810371 w 7418343"/>
                    <a:gd name="connsiteY152" fmla="*/ 680383 h 1609071"/>
                    <a:gd name="connsiteX153" fmla="*/ 1811229 w 7418343"/>
                    <a:gd name="connsiteY153" fmla="*/ 671716 h 1609071"/>
                    <a:gd name="connsiteX154" fmla="*/ 1788703 w 7418343"/>
                    <a:gd name="connsiteY154" fmla="*/ 671716 h 1609071"/>
                    <a:gd name="connsiteX155" fmla="*/ 1788703 w 7418343"/>
                    <a:gd name="connsiteY155" fmla="*/ 658715 h 1609071"/>
                    <a:gd name="connsiteX156" fmla="*/ 1754033 w 7418343"/>
                    <a:gd name="connsiteY156" fmla="*/ 658715 h 1609071"/>
                    <a:gd name="connsiteX157" fmla="*/ 1754033 w 7418343"/>
                    <a:gd name="connsiteY157" fmla="*/ 637047 h 1609071"/>
                    <a:gd name="connsiteX158" fmla="*/ 1702030 w 7418343"/>
                    <a:gd name="connsiteY158" fmla="*/ 637047 h 1609071"/>
                    <a:gd name="connsiteX159" fmla="*/ 1702030 w 7418343"/>
                    <a:gd name="connsiteY159" fmla="*/ 611045 h 1609071"/>
                    <a:gd name="connsiteX160" fmla="*/ 1619690 w 7418343"/>
                    <a:gd name="connsiteY160" fmla="*/ 611045 h 1609071"/>
                    <a:gd name="connsiteX161" fmla="*/ 1606689 w 7418343"/>
                    <a:gd name="connsiteY161" fmla="*/ 598044 h 1609071"/>
                    <a:gd name="connsiteX162" fmla="*/ 1593688 w 7418343"/>
                    <a:gd name="connsiteY162" fmla="*/ 598044 h 1609071"/>
                    <a:gd name="connsiteX163" fmla="*/ 1580687 w 7418343"/>
                    <a:gd name="connsiteY163" fmla="*/ 585043 h 1609071"/>
                    <a:gd name="connsiteX164" fmla="*/ 1533017 w 7418343"/>
                    <a:gd name="connsiteY164" fmla="*/ 585043 h 1609071"/>
                    <a:gd name="connsiteX165" fmla="*/ 1533017 w 7418343"/>
                    <a:gd name="connsiteY165" fmla="*/ 576376 h 1609071"/>
                    <a:gd name="connsiteX166" fmla="*/ 1481013 w 7418343"/>
                    <a:gd name="connsiteY166" fmla="*/ 576376 h 1609071"/>
                    <a:gd name="connsiteX167" fmla="*/ 1481013 w 7418343"/>
                    <a:gd name="connsiteY167" fmla="*/ 559041 h 1609071"/>
                    <a:gd name="connsiteX168" fmla="*/ 1411675 w 7418343"/>
                    <a:gd name="connsiteY168" fmla="*/ 559041 h 1609071"/>
                    <a:gd name="connsiteX169" fmla="*/ 1398674 w 7418343"/>
                    <a:gd name="connsiteY169" fmla="*/ 546040 h 1609071"/>
                    <a:gd name="connsiteX170" fmla="*/ 1333669 w 7418343"/>
                    <a:gd name="connsiteY170" fmla="*/ 546040 h 1609071"/>
                    <a:gd name="connsiteX171" fmla="*/ 1333669 w 7418343"/>
                    <a:gd name="connsiteY171" fmla="*/ 528706 h 1609071"/>
                    <a:gd name="connsiteX172" fmla="*/ 1277332 w 7418343"/>
                    <a:gd name="connsiteY172" fmla="*/ 528706 h 1609071"/>
                    <a:gd name="connsiteX173" fmla="*/ 1277332 w 7418343"/>
                    <a:gd name="connsiteY173" fmla="*/ 507037 h 1609071"/>
                    <a:gd name="connsiteX174" fmla="*/ 1194993 w 7418343"/>
                    <a:gd name="connsiteY174" fmla="*/ 507037 h 1609071"/>
                    <a:gd name="connsiteX175" fmla="*/ 1177658 w 7418343"/>
                    <a:gd name="connsiteY175" fmla="*/ 507037 h 1609071"/>
                    <a:gd name="connsiteX176" fmla="*/ 1151656 w 7418343"/>
                    <a:gd name="connsiteY176" fmla="*/ 507037 h 1609071"/>
                    <a:gd name="connsiteX177" fmla="*/ 1151656 w 7418343"/>
                    <a:gd name="connsiteY177" fmla="*/ 481035 h 1609071"/>
                    <a:gd name="connsiteX178" fmla="*/ 1095319 w 7418343"/>
                    <a:gd name="connsiteY178" fmla="*/ 481035 h 1609071"/>
                    <a:gd name="connsiteX179" fmla="*/ 1095319 w 7418343"/>
                    <a:gd name="connsiteY179" fmla="*/ 468034 h 1609071"/>
                    <a:gd name="connsiteX180" fmla="*/ 1047649 w 7418343"/>
                    <a:gd name="connsiteY180" fmla="*/ 468034 h 1609071"/>
                    <a:gd name="connsiteX181" fmla="*/ 1047649 w 7418343"/>
                    <a:gd name="connsiteY181" fmla="*/ 437699 h 1609071"/>
                    <a:gd name="connsiteX182" fmla="*/ 991311 w 7418343"/>
                    <a:gd name="connsiteY182" fmla="*/ 437699 h 1609071"/>
                    <a:gd name="connsiteX183" fmla="*/ 978310 w 7418343"/>
                    <a:gd name="connsiteY183" fmla="*/ 424698 h 1609071"/>
                    <a:gd name="connsiteX184" fmla="*/ 956642 w 7418343"/>
                    <a:gd name="connsiteY184" fmla="*/ 424698 h 1609071"/>
                    <a:gd name="connsiteX185" fmla="*/ 947975 w 7418343"/>
                    <a:gd name="connsiteY185" fmla="*/ 416031 h 1609071"/>
                    <a:gd name="connsiteX186" fmla="*/ 895971 w 7418343"/>
                    <a:gd name="connsiteY186" fmla="*/ 416031 h 1609071"/>
                    <a:gd name="connsiteX187" fmla="*/ 895971 w 7418343"/>
                    <a:gd name="connsiteY187" fmla="*/ 394362 h 1609071"/>
                    <a:gd name="connsiteX188" fmla="*/ 869969 w 7418343"/>
                    <a:gd name="connsiteY188" fmla="*/ 394362 h 1609071"/>
                    <a:gd name="connsiteX189" fmla="*/ 861302 w 7418343"/>
                    <a:gd name="connsiteY189" fmla="*/ 385695 h 1609071"/>
                    <a:gd name="connsiteX190" fmla="*/ 757294 w 7418343"/>
                    <a:gd name="connsiteY190" fmla="*/ 385695 h 1609071"/>
                    <a:gd name="connsiteX191" fmla="*/ 757294 w 7418343"/>
                    <a:gd name="connsiteY191" fmla="*/ 359693 h 1609071"/>
                    <a:gd name="connsiteX192" fmla="*/ 726958 w 7418343"/>
                    <a:gd name="connsiteY192" fmla="*/ 359693 h 1609071"/>
                    <a:gd name="connsiteX193" fmla="*/ 726958 w 7418343"/>
                    <a:gd name="connsiteY193" fmla="*/ 342359 h 1609071"/>
                    <a:gd name="connsiteX194" fmla="*/ 661954 w 7418343"/>
                    <a:gd name="connsiteY194" fmla="*/ 342359 h 1609071"/>
                    <a:gd name="connsiteX195" fmla="*/ 653286 w 7418343"/>
                    <a:gd name="connsiteY195" fmla="*/ 333691 h 1609071"/>
                    <a:gd name="connsiteX196" fmla="*/ 631618 w 7418343"/>
                    <a:gd name="connsiteY196" fmla="*/ 333691 h 1609071"/>
                    <a:gd name="connsiteX197" fmla="*/ 631618 w 7418343"/>
                    <a:gd name="connsiteY197" fmla="*/ 316357 h 1609071"/>
                    <a:gd name="connsiteX198" fmla="*/ 601283 w 7418343"/>
                    <a:gd name="connsiteY198" fmla="*/ 316357 h 1609071"/>
                    <a:gd name="connsiteX199" fmla="*/ 601283 w 7418343"/>
                    <a:gd name="connsiteY199" fmla="*/ 294688 h 1609071"/>
                    <a:gd name="connsiteX200" fmla="*/ 579614 w 7418343"/>
                    <a:gd name="connsiteY200" fmla="*/ 294688 h 1609071"/>
                    <a:gd name="connsiteX201" fmla="*/ 579614 w 7418343"/>
                    <a:gd name="connsiteY201" fmla="*/ 281687 h 1609071"/>
                    <a:gd name="connsiteX202" fmla="*/ 557946 w 7418343"/>
                    <a:gd name="connsiteY202" fmla="*/ 281687 h 1609071"/>
                    <a:gd name="connsiteX203" fmla="*/ 557946 w 7418343"/>
                    <a:gd name="connsiteY203" fmla="*/ 268687 h 1609071"/>
                    <a:gd name="connsiteX204" fmla="*/ 492941 w 7418343"/>
                    <a:gd name="connsiteY204" fmla="*/ 268687 h 1609071"/>
                    <a:gd name="connsiteX205" fmla="*/ 492941 w 7418343"/>
                    <a:gd name="connsiteY205" fmla="*/ 242685 h 1609071"/>
                    <a:gd name="connsiteX206" fmla="*/ 458272 w 7418343"/>
                    <a:gd name="connsiteY206" fmla="*/ 242685 h 1609071"/>
                    <a:gd name="connsiteX207" fmla="*/ 458272 w 7418343"/>
                    <a:gd name="connsiteY207" fmla="*/ 216683 h 1609071"/>
                    <a:gd name="connsiteX208" fmla="*/ 440938 w 7418343"/>
                    <a:gd name="connsiteY208" fmla="*/ 216683 h 1609071"/>
                    <a:gd name="connsiteX209" fmla="*/ 440938 w 7418343"/>
                    <a:gd name="connsiteY209" fmla="*/ 186347 h 1609071"/>
                    <a:gd name="connsiteX210" fmla="*/ 410602 w 7418343"/>
                    <a:gd name="connsiteY210" fmla="*/ 186347 h 1609071"/>
                    <a:gd name="connsiteX211" fmla="*/ 410602 w 7418343"/>
                    <a:gd name="connsiteY211" fmla="*/ 173346 h 1609071"/>
                    <a:gd name="connsiteX212" fmla="*/ 375933 w 7418343"/>
                    <a:gd name="connsiteY212" fmla="*/ 173346 h 1609071"/>
                    <a:gd name="connsiteX213" fmla="*/ 375933 w 7418343"/>
                    <a:gd name="connsiteY213" fmla="*/ 151678 h 1609071"/>
                    <a:gd name="connsiteX214" fmla="*/ 358598 w 7418343"/>
                    <a:gd name="connsiteY214" fmla="*/ 151678 h 1609071"/>
                    <a:gd name="connsiteX215" fmla="*/ 358598 w 7418343"/>
                    <a:gd name="connsiteY215" fmla="*/ 138677 h 1609071"/>
                    <a:gd name="connsiteX216" fmla="*/ 306595 w 7418343"/>
                    <a:gd name="connsiteY216" fmla="*/ 138677 h 1609071"/>
                    <a:gd name="connsiteX217" fmla="*/ 306595 w 7418343"/>
                    <a:gd name="connsiteY217" fmla="*/ 95341 h 1609071"/>
                    <a:gd name="connsiteX218" fmla="*/ 271925 w 7418343"/>
                    <a:gd name="connsiteY218" fmla="*/ 95341 h 1609071"/>
                    <a:gd name="connsiteX219" fmla="*/ 271925 w 7418343"/>
                    <a:gd name="connsiteY219" fmla="*/ 82340 h 1609071"/>
                    <a:gd name="connsiteX220" fmla="*/ 237256 w 7418343"/>
                    <a:gd name="connsiteY220" fmla="*/ 82340 h 1609071"/>
                    <a:gd name="connsiteX221" fmla="*/ 237256 w 7418343"/>
                    <a:gd name="connsiteY221" fmla="*/ 47670 h 1609071"/>
                    <a:gd name="connsiteX222" fmla="*/ 211254 w 7418343"/>
                    <a:gd name="connsiteY222" fmla="*/ 47670 h 1609071"/>
                    <a:gd name="connsiteX223" fmla="*/ 211254 w 7418343"/>
                    <a:gd name="connsiteY223" fmla="*/ 39003 h 1609071"/>
                    <a:gd name="connsiteX224" fmla="*/ 159250 w 7418343"/>
                    <a:gd name="connsiteY224" fmla="*/ 39003 h 1609071"/>
                    <a:gd name="connsiteX225" fmla="*/ 159250 w 7418343"/>
                    <a:gd name="connsiteY225" fmla="*/ 26002 h 1609071"/>
                    <a:gd name="connsiteX226" fmla="*/ 124581 w 7418343"/>
                    <a:gd name="connsiteY226" fmla="*/ 26002 h 1609071"/>
                    <a:gd name="connsiteX227" fmla="*/ 124581 w 7418343"/>
                    <a:gd name="connsiteY227" fmla="*/ 0 h 1609071"/>
                    <a:gd name="connsiteX228" fmla="*/ 85578 w 7418343"/>
                    <a:gd name="connsiteY228" fmla="*/ 0 h 1609071"/>
                    <a:gd name="connsiteX229" fmla="*/ 85578 w 7418343"/>
                    <a:gd name="connsiteY229" fmla="*/ 43337 h 1609071"/>
                    <a:gd name="connsiteX230" fmla="*/ 3239 w 7418343"/>
                    <a:gd name="connsiteY230" fmla="*/ 43337 h 1609071"/>
                    <a:gd name="connsiteX231" fmla="*/ 11906 w 7418343"/>
                    <a:gd name="connsiteY231" fmla="*/ 34670 h 1609071"/>
                    <a:gd name="connsiteX232" fmla="*/ 0 w 7418343"/>
                    <a:gd name="connsiteY232" fmla="*/ 52004 h 1609071"/>
                    <a:gd name="connsiteX233" fmla="*/ 24907 w 7418343"/>
                    <a:gd name="connsiteY233" fmla="*/ 52004 h 1609071"/>
                    <a:gd name="connsiteX234" fmla="*/ 24907 w 7418343"/>
                    <a:gd name="connsiteY234" fmla="*/ 65005 h 1609071"/>
                    <a:gd name="connsiteX235" fmla="*/ 55243 w 7418343"/>
                    <a:gd name="connsiteY235" fmla="*/ 65005 h 1609071"/>
                    <a:gd name="connsiteX236" fmla="*/ 55243 w 7418343"/>
                    <a:gd name="connsiteY236" fmla="*/ 86673 h 1609071"/>
                    <a:gd name="connsiteX237" fmla="*/ 81245 w 7418343"/>
                    <a:gd name="connsiteY237" fmla="*/ 86673 h 1609071"/>
                    <a:gd name="connsiteX238" fmla="*/ 81245 w 7418343"/>
                    <a:gd name="connsiteY238" fmla="*/ 125676 h 1609071"/>
                    <a:gd name="connsiteX239" fmla="*/ 141916 w 7418343"/>
                    <a:gd name="connsiteY239" fmla="*/ 125676 h 1609071"/>
                    <a:gd name="connsiteX240" fmla="*/ 150583 w 7418343"/>
                    <a:gd name="connsiteY240" fmla="*/ 134343 h 1609071"/>
                    <a:gd name="connsiteX241" fmla="*/ 167918 w 7418343"/>
                    <a:gd name="connsiteY241" fmla="*/ 134343 h 1609071"/>
                    <a:gd name="connsiteX242" fmla="*/ 167918 w 7418343"/>
                    <a:gd name="connsiteY242" fmla="*/ 156012 h 1609071"/>
                    <a:gd name="connsiteX243" fmla="*/ 185252 w 7418343"/>
                    <a:gd name="connsiteY243" fmla="*/ 156012 h 1609071"/>
                    <a:gd name="connsiteX244" fmla="*/ 198253 w 7418343"/>
                    <a:gd name="connsiteY244" fmla="*/ 169013 h 1609071"/>
                    <a:gd name="connsiteX245" fmla="*/ 228589 w 7418343"/>
                    <a:gd name="connsiteY245" fmla="*/ 169013 h 1609071"/>
                    <a:gd name="connsiteX246" fmla="*/ 228589 w 7418343"/>
                    <a:gd name="connsiteY246" fmla="*/ 208015 h 1609071"/>
                    <a:gd name="connsiteX247" fmla="*/ 254591 w 7418343"/>
                    <a:gd name="connsiteY247" fmla="*/ 208015 h 1609071"/>
                    <a:gd name="connsiteX248" fmla="*/ 263258 w 7418343"/>
                    <a:gd name="connsiteY248" fmla="*/ 216682 h 1609071"/>
                    <a:gd name="connsiteX249" fmla="*/ 276260 w 7418343"/>
                    <a:gd name="connsiteY249" fmla="*/ 229684 h 1609071"/>
                    <a:gd name="connsiteX250" fmla="*/ 276260 w 7418343"/>
                    <a:gd name="connsiteY250" fmla="*/ 251352 h 1609071"/>
                    <a:gd name="connsiteX251" fmla="*/ 306595 w 7418343"/>
                    <a:gd name="connsiteY251" fmla="*/ 251352 h 1609071"/>
                    <a:gd name="connsiteX252" fmla="*/ 306595 w 7418343"/>
                    <a:gd name="connsiteY252" fmla="*/ 268687 h 1609071"/>
                    <a:gd name="connsiteX253" fmla="*/ 345597 w 7418343"/>
                    <a:gd name="connsiteY253" fmla="*/ 268687 h 1609071"/>
                    <a:gd name="connsiteX254" fmla="*/ 345597 w 7418343"/>
                    <a:gd name="connsiteY254" fmla="*/ 286021 h 1609071"/>
                    <a:gd name="connsiteX255" fmla="*/ 388934 w 7418343"/>
                    <a:gd name="connsiteY255" fmla="*/ 286021 h 1609071"/>
                    <a:gd name="connsiteX256" fmla="*/ 388934 w 7418343"/>
                    <a:gd name="connsiteY256" fmla="*/ 286021 h 1609071"/>
                    <a:gd name="connsiteX257" fmla="*/ 410602 w 7418343"/>
                    <a:gd name="connsiteY257" fmla="*/ 307689 h 1609071"/>
                    <a:gd name="connsiteX258" fmla="*/ 427937 w 7418343"/>
                    <a:gd name="connsiteY258" fmla="*/ 325024 h 1609071"/>
                    <a:gd name="connsiteX259" fmla="*/ 475607 w 7418343"/>
                    <a:gd name="connsiteY259" fmla="*/ 325024 h 1609071"/>
                    <a:gd name="connsiteX260" fmla="*/ 475607 w 7418343"/>
                    <a:gd name="connsiteY260" fmla="*/ 355360 h 1609071"/>
                    <a:gd name="connsiteX261" fmla="*/ 514610 w 7418343"/>
                    <a:gd name="connsiteY261" fmla="*/ 355360 h 1609071"/>
                    <a:gd name="connsiteX262" fmla="*/ 514610 w 7418343"/>
                    <a:gd name="connsiteY262" fmla="*/ 377028 h 1609071"/>
                    <a:gd name="connsiteX263" fmla="*/ 562280 w 7418343"/>
                    <a:gd name="connsiteY263" fmla="*/ 377028 h 1609071"/>
                    <a:gd name="connsiteX264" fmla="*/ 562280 w 7418343"/>
                    <a:gd name="connsiteY264" fmla="*/ 398696 h 1609071"/>
                    <a:gd name="connsiteX265" fmla="*/ 592615 w 7418343"/>
                    <a:gd name="connsiteY265" fmla="*/ 398696 h 1609071"/>
                    <a:gd name="connsiteX266" fmla="*/ 605616 w 7418343"/>
                    <a:gd name="connsiteY266" fmla="*/ 411697 h 1609071"/>
                    <a:gd name="connsiteX267" fmla="*/ 653286 w 7418343"/>
                    <a:gd name="connsiteY267" fmla="*/ 411697 h 1609071"/>
                    <a:gd name="connsiteX268" fmla="*/ 653286 w 7418343"/>
                    <a:gd name="connsiteY268" fmla="*/ 450700 h 1609071"/>
                    <a:gd name="connsiteX269" fmla="*/ 761628 w 7418343"/>
                    <a:gd name="connsiteY269" fmla="*/ 450700 h 1609071"/>
                    <a:gd name="connsiteX270" fmla="*/ 761628 w 7418343"/>
                    <a:gd name="connsiteY270" fmla="*/ 481035 h 1609071"/>
                    <a:gd name="connsiteX271" fmla="*/ 878636 w 7418343"/>
                    <a:gd name="connsiteY271" fmla="*/ 481035 h 1609071"/>
                    <a:gd name="connsiteX272" fmla="*/ 878636 w 7418343"/>
                    <a:gd name="connsiteY272" fmla="*/ 507037 h 1609071"/>
                    <a:gd name="connsiteX273" fmla="*/ 930640 w 7418343"/>
                    <a:gd name="connsiteY273" fmla="*/ 507037 h 1609071"/>
                    <a:gd name="connsiteX274" fmla="*/ 930640 w 7418343"/>
                    <a:gd name="connsiteY274" fmla="*/ 524372 h 1609071"/>
                    <a:gd name="connsiteX275" fmla="*/ 982644 w 7418343"/>
                    <a:gd name="connsiteY275" fmla="*/ 524372 h 1609071"/>
                    <a:gd name="connsiteX276" fmla="*/ 995645 w 7418343"/>
                    <a:gd name="connsiteY276" fmla="*/ 524372 h 1609071"/>
                    <a:gd name="connsiteX277" fmla="*/ 1008646 w 7418343"/>
                    <a:gd name="connsiteY277" fmla="*/ 537373 h 1609071"/>
                    <a:gd name="connsiteX278" fmla="*/ 1025551 w 7418343"/>
                    <a:gd name="connsiteY278" fmla="*/ 544516 h 1609071"/>
                    <a:gd name="connsiteX279" fmla="*/ 1060649 w 7418343"/>
                    <a:gd name="connsiteY279" fmla="*/ 549279 h 1609071"/>
                    <a:gd name="connsiteX280" fmla="*/ 1060649 w 7418343"/>
                    <a:gd name="connsiteY280" fmla="*/ 563375 h 1609071"/>
                    <a:gd name="connsiteX281" fmla="*/ 1082318 w 7418343"/>
                    <a:gd name="connsiteY281" fmla="*/ 563375 h 1609071"/>
                    <a:gd name="connsiteX282" fmla="*/ 1082318 w 7418343"/>
                    <a:gd name="connsiteY282" fmla="*/ 576376 h 1609071"/>
                    <a:gd name="connsiteX283" fmla="*/ 1160323 w 7418343"/>
                    <a:gd name="connsiteY283" fmla="*/ 576376 h 1609071"/>
                    <a:gd name="connsiteX284" fmla="*/ 1160323 w 7418343"/>
                    <a:gd name="connsiteY284" fmla="*/ 589377 h 1609071"/>
                    <a:gd name="connsiteX285" fmla="*/ 1199326 w 7418343"/>
                    <a:gd name="connsiteY285" fmla="*/ 589377 h 1609071"/>
                    <a:gd name="connsiteX286" fmla="*/ 1199326 w 7418343"/>
                    <a:gd name="connsiteY286" fmla="*/ 598044 h 1609071"/>
                    <a:gd name="connsiteX287" fmla="*/ 1246996 w 7418343"/>
                    <a:gd name="connsiteY287" fmla="*/ 598044 h 1609071"/>
                    <a:gd name="connsiteX288" fmla="*/ 1259997 w 7418343"/>
                    <a:gd name="connsiteY288" fmla="*/ 611045 h 1609071"/>
                    <a:gd name="connsiteX289" fmla="*/ 1272998 w 7418343"/>
                    <a:gd name="connsiteY289" fmla="*/ 624046 h 1609071"/>
                    <a:gd name="connsiteX290" fmla="*/ 1338003 w 7418343"/>
                    <a:gd name="connsiteY290" fmla="*/ 624046 h 1609071"/>
                    <a:gd name="connsiteX291" fmla="*/ 1338003 w 7418343"/>
                    <a:gd name="connsiteY291" fmla="*/ 645714 h 1609071"/>
                    <a:gd name="connsiteX292" fmla="*/ 1429010 w 7418343"/>
                    <a:gd name="connsiteY292" fmla="*/ 645714 h 1609071"/>
                    <a:gd name="connsiteX293" fmla="*/ 1437677 w 7418343"/>
                    <a:gd name="connsiteY293" fmla="*/ 654381 h 1609071"/>
                    <a:gd name="connsiteX294" fmla="*/ 1459345 w 7418343"/>
                    <a:gd name="connsiteY294" fmla="*/ 654381 h 1609071"/>
                    <a:gd name="connsiteX295" fmla="*/ 1459345 w 7418343"/>
                    <a:gd name="connsiteY295" fmla="*/ 667382 h 1609071"/>
                    <a:gd name="connsiteX296" fmla="*/ 1511349 w 7418343"/>
                    <a:gd name="connsiteY296" fmla="*/ 667382 h 1609071"/>
                    <a:gd name="connsiteX297" fmla="*/ 1511349 w 7418343"/>
                    <a:gd name="connsiteY297" fmla="*/ 684717 h 1609071"/>
                    <a:gd name="connsiteX298" fmla="*/ 1567686 w 7418343"/>
                    <a:gd name="connsiteY298" fmla="*/ 684717 h 1609071"/>
                    <a:gd name="connsiteX299" fmla="*/ 1574401 w 7418343"/>
                    <a:gd name="connsiteY299" fmla="*/ 693814 h 1609071"/>
                    <a:gd name="connsiteX300" fmla="*/ 1612976 w 7418343"/>
                    <a:gd name="connsiteY300" fmla="*/ 696194 h 1609071"/>
                    <a:gd name="connsiteX301" fmla="*/ 1630739 w 7418343"/>
                    <a:gd name="connsiteY301" fmla="*/ 709196 h 1609071"/>
                    <a:gd name="connsiteX302" fmla="*/ 1680361 w 7418343"/>
                    <a:gd name="connsiteY302" fmla="*/ 709196 h 1609071"/>
                    <a:gd name="connsiteX303" fmla="*/ 1681885 w 7418343"/>
                    <a:gd name="connsiteY303" fmla="*/ 722627 h 1609071"/>
                    <a:gd name="connsiteX304" fmla="*/ 1706362 w 7418343"/>
                    <a:gd name="connsiteY304" fmla="*/ 728053 h 1609071"/>
                    <a:gd name="connsiteX305" fmla="*/ 1719363 w 7418343"/>
                    <a:gd name="connsiteY305" fmla="*/ 741054 h 1609071"/>
                    <a:gd name="connsiteX306" fmla="*/ 1754033 w 7418343"/>
                    <a:gd name="connsiteY306" fmla="*/ 745816 h 1609071"/>
                    <a:gd name="connsiteX307" fmla="*/ 1754033 w 7418343"/>
                    <a:gd name="connsiteY307" fmla="*/ 767056 h 1609071"/>
                    <a:gd name="connsiteX308" fmla="*/ 1801704 w 7418343"/>
                    <a:gd name="connsiteY308" fmla="*/ 767056 h 1609071"/>
                    <a:gd name="connsiteX309" fmla="*/ 1801704 w 7418343"/>
                    <a:gd name="connsiteY309" fmla="*/ 780057 h 1609071"/>
                    <a:gd name="connsiteX310" fmla="*/ 1845040 w 7418343"/>
                    <a:gd name="connsiteY310" fmla="*/ 780057 h 1609071"/>
                    <a:gd name="connsiteX311" fmla="*/ 1845040 w 7418343"/>
                    <a:gd name="connsiteY311" fmla="*/ 797392 h 1609071"/>
                    <a:gd name="connsiteX312" fmla="*/ 1879709 w 7418343"/>
                    <a:gd name="connsiteY312" fmla="*/ 797392 h 1609071"/>
                    <a:gd name="connsiteX313" fmla="*/ 1890759 w 7418343"/>
                    <a:gd name="connsiteY313" fmla="*/ 813204 h 1609071"/>
                    <a:gd name="connsiteX314" fmla="*/ 1964001 w 7418343"/>
                    <a:gd name="connsiteY314" fmla="*/ 813204 h 1609071"/>
                    <a:gd name="connsiteX315" fmla="*/ 2009719 w 7418343"/>
                    <a:gd name="connsiteY315" fmla="*/ 813204 h 1609071"/>
                    <a:gd name="connsiteX316" fmla="*/ 2009978 w 7418343"/>
                    <a:gd name="connsiteY316" fmla="*/ 826521 h 1609071"/>
                    <a:gd name="connsiteX317" fmla="*/ 2048078 w 7418343"/>
                    <a:gd name="connsiteY317" fmla="*/ 828902 h 1609071"/>
                    <a:gd name="connsiteX318" fmla="*/ 2051961 w 7418343"/>
                    <a:gd name="connsiteY318" fmla="*/ 850683 h 1609071"/>
                    <a:gd name="connsiteX319" fmla="*/ 2111774 w 7418343"/>
                    <a:gd name="connsiteY319" fmla="*/ 848301 h 1609071"/>
                    <a:gd name="connsiteX320" fmla="*/ 2109393 w 7418343"/>
                    <a:gd name="connsiteY320" fmla="*/ 862396 h 1609071"/>
                    <a:gd name="connsiteX321" fmla="*/ 2122394 w 7418343"/>
                    <a:gd name="connsiteY321" fmla="*/ 862396 h 1609071"/>
                    <a:gd name="connsiteX322" fmla="*/ 2139728 w 7418343"/>
                    <a:gd name="connsiteY322" fmla="*/ 862396 h 1609071"/>
                    <a:gd name="connsiteX323" fmla="*/ 2187398 w 7418343"/>
                    <a:gd name="connsiteY323" fmla="*/ 862396 h 1609071"/>
                    <a:gd name="connsiteX324" fmla="*/ 2187398 w 7418343"/>
                    <a:gd name="connsiteY324" fmla="*/ 888398 h 1609071"/>
                    <a:gd name="connsiteX325" fmla="*/ 2203493 w 7418343"/>
                    <a:gd name="connsiteY325" fmla="*/ 883636 h 1609071"/>
                    <a:gd name="connsiteX326" fmla="*/ 2243972 w 7418343"/>
                    <a:gd name="connsiteY326" fmla="*/ 881254 h 1609071"/>
                    <a:gd name="connsiteX327" fmla="*/ 2243341 w 7418343"/>
                    <a:gd name="connsiteY327" fmla="*/ 914626 h 1609071"/>
                    <a:gd name="connsiteX328" fmla="*/ 2268879 w 7418343"/>
                    <a:gd name="connsiteY328" fmla="*/ 915879 h 1609071"/>
                    <a:gd name="connsiteX329" fmla="*/ 2269535 w 7418343"/>
                    <a:gd name="connsiteY329" fmla="*/ 878908 h 1609071"/>
                    <a:gd name="connsiteX330" fmla="*/ 2297264 w 7418343"/>
                    <a:gd name="connsiteY330" fmla="*/ 877780 h 1609071"/>
                    <a:gd name="connsiteX331" fmla="*/ 2297264 w 7418343"/>
                    <a:gd name="connsiteY331" fmla="*/ 912018 h 1609071"/>
                    <a:gd name="connsiteX332" fmla="*/ 2339076 w 7418343"/>
                    <a:gd name="connsiteY332" fmla="*/ 914400 h 1609071"/>
                    <a:gd name="connsiteX333" fmla="*/ 2339076 w 7418343"/>
                    <a:gd name="connsiteY333" fmla="*/ 923068 h 1609071"/>
                    <a:gd name="connsiteX334" fmla="*/ 2404081 w 7418343"/>
                    <a:gd name="connsiteY334" fmla="*/ 923068 h 1609071"/>
                    <a:gd name="connsiteX335" fmla="*/ 2404081 w 7418343"/>
                    <a:gd name="connsiteY335" fmla="*/ 936069 h 1609071"/>
                    <a:gd name="connsiteX336" fmla="*/ 2443084 w 7418343"/>
                    <a:gd name="connsiteY336" fmla="*/ 936069 h 1609071"/>
                    <a:gd name="connsiteX337" fmla="*/ 2456085 w 7418343"/>
                    <a:gd name="connsiteY337" fmla="*/ 949070 h 1609071"/>
                    <a:gd name="connsiteX338" fmla="*/ 2503755 w 7418343"/>
                    <a:gd name="connsiteY338" fmla="*/ 949070 h 1609071"/>
                    <a:gd name="connsiteX339" fmla="*/ 2516756 w 7418343"/>
                    <a:gd name="connsiteY339" fmla="*/ 962071 h 1609071"/>
                    <a:gd name="connsiteX340" fmla="*/ 2547091 w 7418343"/>
                    <a:gd name="connsiteY340" fmla="*/ 962071 h 1609071"/>
                    <a:gd name="connsiteX341" fmla="*/ 2547091 w 7418343"/>
                    <a:gd name="connsiteY341" fmla="*/ 979405 h 1609071"/>
                    <a:gd name="connsiteX342" fmla="*/ 2594761 w 7418343"/>
                    <a:gd name="connsiteY342" fmla="*/ 979405 h 1609071"/>
                    <a:gd name="connsiteX343" fmla="*/ 2594761 w 7418343"/>
                    <a:gd name="connsiteY343" fmla="*/ 1001073 h 1609071"/>
                    <a:gd name="connsiteX344" fmla="*/ 2642431 w 7418343"/>
                    <a:gd name="connsiteY344" fmla="*/ 1001073 h 1609071"/>
                    <a:gd name="connsiteX345" fmla="*/ 2642431 w 7418343"/>
                    <a:gd name="connsiteY345" fmla="*/ 1022742 h 1609071"/>
                    <a:gd name="connsiteX346" fmla="*/ 2703103 w 7418343"/>
                    <a:gd name="connsiteY346" fmla="*/ 1022742 h 1609071"/>
                    <a:gd name="connsiteX347" fmla="*/ 2703103 w 7418343"/>
                    <a:gd name="connsiteY347" fmla="*/ 1040076 h 1609071"/>
                    <a:gd name="connsiteX348" fmla="*/ 2811444 w 7418343"/>
                    <a:gd name="connsiteY348" fmla="*/ 1040076 h 1609071"/>
                    <a:gd name="connsiteX349" fmla="*/ 2820111 w 7418343"/>
                    <a:gd name="connsiteY349" fmla="*/ 1048743 h 1609071"/>
                    <a:gd name="connsiteX350" fmla="*/ 2828779 w 7418343"/>
                    <a:gd name="connsiteY350" fmla="*/ 1057411 h 1609071"/>
                    <a:gd name="connsiteX351" fmla="*/ 2867781 w 7418343"/>
                    <a:gd name="connsiteY351" fmla="*/ 1057411 h 1609071"/>
                    <a:gd name="connsiteX352" fmla="*/ 2889449 w 7418343"/>
                    <a:gd name="connsiteY352" fmla="*/ 1057411 h 1609071"/>
                    <a:gd name="connsiteX353" fmla="*/ 2902450 w 7418343"/>
                    <a:gd name="connsiteY353" fmla="*/ 1057411 h 1609071"/>
                    <a:gd name="connsiteX354" fmla="*/ 2919785 w 7418343"/>
                    <a:gd name="connsiteY354" fmla="*/ 1074746 h 1609071"/>
                    <a:gd name="connsiteX355" fmla="*/ 2971789 w 7418343"/>
                    <a:gd name="connsiteY355" fmla="*/ 1074746 h 1609071"/>
                    <a:gd name="connsiteX356" fmla="*/ 2971789 w 7418343"/>
                    <a:gd name="connsiteY356" fmla="*/ 1092080 h 1609071"/>
                    <a:gd name="connsiteX357" fmla="*/ 3137991 w 7418343"/>
                    <a:gd name="connsiteY357" fmla="*/ 1094462 h 1609071"/>
                    <a:gd name="connsiteX358" fmla="*/ 3137992 w 7418343"/>
                    <a:gd name="connsiteY358" fmla="*/ 1122414 h 1609071"/>
                    <a:gd name="connsiteX359" fmla="*/ 3214473 w 7418343"/>
                    <a:gd name="connsiteY359" fmla="*/ 1122415 h 1609071"/>
                    <a:gd name="connsiteX360" fmla="*/ 3218807 w 7418343"/>
                    <a:gd name="connsiteY360" fmla="*/ 1122415 h 1609071"/>
                    <a:gd name="connsiteX361" fmla="*/ 3305480 w 7418343"/>
                    <a:gd name="connsiteY361" fmla="*/ 1124796 h 1609071"/>
                    <a:gd name="connsiteX362" fmla="*/ 3305480 w 7418343"/>
                    <a:gd name="connsiteY362" fmla="*/ 1141273 h 1609071"/>
                    <a:gd name="connsiteX363" fmla="*/ 3399297 w 7418343"/>
                    <a:gd name="connsiteY363" fmla="*/ 1141273 h 1609071"/>
                    <a:gd name="connsiteX364" fmla="*/ 3399296 w 7418343"/>
                    <a:gd name="connsiteY364" fmla="*/ 1154703 h 1609071"/>
                    <a:gd name="connsiteX365" fmla="*/ 3448490 w 7418343"/>
                    <a:gd name="connsiteY365" fmla="*/ 1157085 h 1609071"/>
                    <a:gd name="connsiteX366" fmla="*/ 3447634 w 7418343"/>
                    <a:gd name="connsiteY366" fmla="*/ 1165753 h 1609071"/>
                    <a:gd name="connsiteX367" fmla="*/ 3600168 w 7418343"/>
                    <a:gd name="connsiteY367" fmla="*/ 1165753 h 1609071"/>
                    <a:gd name="connsiteX368" fmla="*/ 3600168 w 7418343"/>
                    <a:gd name="connsiteY368" fmla="*/ 1178753 h 1609071"/>
                    <a:gd name="connsiteX369" fmla="*/ 3708509 w 7418343"/>
                    <a:gd name="connsiteY369" fmla="*/ 1178753 h 1609071"/>
                    <a:gd name="connsiteX370" fmla="*/ 3712843 w 7418343"/>
                    <a:gd name="connsiteY370" fmla="*/ 1183087 h 1609071"/>
                    <a:gd name="connsiteX371" fmla="*/ 3966576 w 7418343"/>
                    <a:gd name="connsiteY371" fmla="*/ 1187849 h 1609071"/>
                    <a:gd name="connsiteX372" fmla="*/ 3964195 w 7418343"/>
                    <a:gd name="connsiteY372" fmla="*/ 1204755 h 1609071"/>
                    <a:gd name="connsiteX373" fmla="*/ 3994530 w 7418343"/>
                    <a:gd name="connsiteY373" fmla="*/ 1204755 h 1609071"/>
                    <a:gd name="connsiteX374" fmla="*/ 3994530 w 7418343"/>
                    <a:gd name="connsiteY374" fmla="*/ 1178753 h 1609071"/>
                    <a:gd name="connsiteX375" fmla="*/ 4033533 w 7418343"/>
                    <a:gd name="connsiteY375" fmla="*/ 1178753 h 1609071"/>
                    <a:gd name="connsiteX376" fmla="*/ 4033533 w 7418343"/>
                    <a:gd name="connsiteY376" fmla="*/ 1213422 h 1609071"/>
                    <a:gd name="connsiteX377" fmla="*/ 4046534 w 7418343"/>
                    <a:gd name="connsiteY377" fmla="*/ 1213422 h 1609071"/>
                    <a:gd name="connsiteX378" fmla="*/ 4046534 w 7418343"/>
                    <a:gd name="connsiteY378" fmla="*/ 1222089 h 1609071"/>
                    <a:gd name="connsiteX379" fmla="*/ 4167876 w 7418343"/>
                    <a:gd name="connsiteY379" fmla="*/ 1222089 h 1609071"/>
                    <a:gd name="connsiteX380" fmla="*/ 4167876 w 7418343"/>
                    <a:gd name="connsiteY380" fmla="*/ 1243758 h 1609071"/>
                    <a:gd name="connsiteX381" fmla="*/ 4323887 w 7418343"/>
                    <a:gd name="connsiteY381" fmla="*/ 1243758 h 1609071"/>
                    <a:gd name="connsiteX382" fmla="*/ 4323887 w 7418343"/>
                    <a:gd name="connsiteY382" fmla="*/ 1261092 h 1609071"/>
                    <a:gd name="connsiteX383" fmla="*/ 4401893 w 7418343"/>
                    <a:gd name="connsiteY383" fmla="*/ 1261092 h 1609071"/>
                    <a:gd name="connsiteX384" fmla="*/ 4401893 w 7418343"/>
                    <a:gd name="connsiteY384" fmla="*/ 1287094 h 1609071"/>
                    <a:gd name="connsiteX385" fmla="*/ 4453897 w 7418343"/>
                    <a:gd name="connsiteY385" fmla="*/ 1287094 h 1609071"/>
                    <a:gd name="connsiteX386" fmla="*/ 4479899 w 7418343"/>
                    <a:gd name="connsiteY386" fmla="*/ 1287094 h 1609071"/>
                    <a:gd name="connsiteX387" fmla="*/ 4501567 w 7418343"/>
                    <a:gd name="connsiteY387" fmla="*/ 1308762 h 1609071"/>
                    <a:gd name="connsiteX388" fmla="*/ 4596907 w 7418343"/>
                    <a:gd name="connsiteY388" fmla="*/ 1308762 h 1609071"/>
                    <a:gd name="connsiteX389" fmla="*/ 4600812 w 7418343"/>
                    <a:gd name="connsiteY389" fmla="*/ 1317430 h 1609071"/>
                    <a:gd name="connsiteX390" fmla="*/ 4666246 w 7418343"/>
                    <a:gd name="connsiteY390" fmla="*/ 1317430 h 1609071"/>
                    <a:gd name="connsiteX391" fmla="*/ 4666246 w 7418343"/>
                    <a:gd name="connsiteY391" fmla="*/ 1339098 h 1609071"/>
                    <a:gd name="connsiteX392" fmla="*/ 4709582 w 7418343"/>
                    <a:gd name="connsiteY392" fmla="*/ 1339098 h 1609071"/>
                    <a:gd name="connsiteX393" fmla="*/ 4713916 w 7418343"/>
                    <a:gd name="connsiteY393" fmla="*/ 1343432 h 1609071"/>
                    <a:gd name="connsiteX394" fmla="*/ 4770253 w 7418343"/>
                    <a:gd name="connsiteY394" fmla="*/ 1343432 h 1609071"/>
                    <a:gd name="connsiteX395" fmla="*/ 4768966 w 7418343"/>
                    <a:gd name="connsiteY395" fmla="*/ 1358814 h 1609071"/>
                    <a:gd name="connsiteX396" fmla="*/ 5008604 w 7418343"/>
                    <a:gd name="connsiteY396" fmla="*/ 1356433 h 1609071"/>
                    <a:gd name="connsiteX397" fmla="*/ 5021605 w 7418343"/>
                    <a:gd name="connsiteY397" fmla="*/ 1369434 h 1609071"/>
                    <a:gd name="connsiteX398" fmla="*/ 5155948 w 7418343"/>
                    <a:gd name="connsiteY398" fmla="*/ 1369434 h 1609071"/>
                    <a:gd name="connsiteX399" fmla="*/ 5155948 w 7418343"/>
                    <a:gd name="connsiteY399" fmla="*/ 1391102 h 1609071"/>
                    <a:gd name="connsiteX400" fmla="*/ 5285958 w 7418343"/>
                    <a:gd name="connsiteY400" fmla="*/ 1391102 h 1609071"/>
                    <a:gd name="connsiteX401" fmla="*/ 5294625 w 7418343"/>
                    <a:gd name="connsiteY401" fmla="*/ 1399769 h 1609071"/>
                    <a:gd name="connsiteX402" fmla="*/ 5359630 w 7418343"/>
                    <a:gd name="connsiteY402" fmla="*/ 1399769 h 1609071"/>
                    <a:gd name="connsiteX403" fmla="*/ 5372631 w 7418343"/>
                    <a:gd name="connsiteY403" fmla="*/ 1399769 h 1609071"/>
                    <a:gd name="connsiteX404" fmla="*/ 5372631 w 7418343"/>
                    <a:gd name="connsiteY404" fmla="*/ 1421437 h 1609071"/>
                    <a:gd name="connsiteX405" fmla="*/ 5476638 w 7418343"/>
                    <a:gd name="connsiteY405" fmla="*/ 1421437 h 1609071"/>
                    <a:gd name="connsiteX406" fmla="*/ 5476638 w 7418343"/>
                    <a:gd name="connsiteY406" fmla="*/ 1399769 h 1609071"/>
                    <a:gd name="connsiteX407" fmla="*/ 5515641 w 7418343"/>
                    <a:gd name="connsiteY407" fmla="*/ 1399769 h 1609071"/>
                    <a:gd name="connsiteX408" fmla="*/ 5515641 w 7418343"/>
                    <a:gd name="connsiteY408" fmla="*/ 1425771 h 1609071"/>
                    <a:gd name="connsiteX409" fmla="*/ 5610981 w 7418343"/>
                    <a:gd name="connsiteY409" fmla="*/ 1425771 h 1609071"/>
                    <a:gd name="connsiteX410" fmla="*/ 5610981 w 7418343"/>
                    <a:gd name="connsiteY410" fmla="*/ 1399769 h 1609071"/>
                    <a:gd name="connsiteX411" fmla="*/ 5667319 w 7418343"/>
                    <a:gd name="connsiteY411" fmla="*/ 1399769 h 1609071"/>
                    <a:gd name="connsiteX412" fmla="*/ 5667319 w 7418343"/>
                    <a:gd name="connsiteY412" fmla="*/ 1434438 h 1609071"/>
                    <a:gd name="connsiteX413" fmla="*/ 5688987 w 7418343"/>
                    <a:gd name="connsiteY413" fmla="*/ 1434438 h 1609071"/>
                    <a:gd name="connsiteX414" fmla="*/ 5688987 w 7418343"/>
                    <a:gd name="connsiteY414" fmla="*/ 1443106 h 1609071"/>
                    <a:gd name="connsiteX415" fmla="*/ 5719322 w 7418343"/>
                    <a:gd name="connsiteY415" fmla="*/ 1443106 h 1609071"/>
                    <a:gd name="connsiteX416" fmla="*/ 5719322 w 7418343"/>
                    <a:gd name="connsiteY416" fmla="*/ 1456106 h 1609071"/>
                    <a:gd name="connsiteX417" fmla="*/ 5797328 w 7418343"/>
                    <a:gd name="connsiteY417" fmla="*/ 1456106 h 1609071"/>
                    <a:gd name="connsiteX418" fmla="*/ 5797328 w 7418343"/>
                    <a:gd name="connsiteY418" fmla="*/ 1421437 h 1609071"/>
                    <a:gd name="connsiteX419" fmla="*/ 5840665 w 7418343"/>
                    <a:gd name="connsiteY419" fmla="*/ 1421437 h 1609071"/>
                    <a:gd name="connsiteX420" fmla="*/ 5840665 w 7418343"/>
                    <a:gd name="connsiteY420" fmla="*/ 1456106 h 1609071"/>
                    <a:gd name="connsiteX421" fmla="*/ 5905669 w 7418343"/>
                    <a:gd name="connsiteY421" fmla="*/ 1456106 h 1609071"/>
                    <a:gd name="connsiteX422" fmla="*/ 5931671 w 7418343"/>
                    <a:gd name="connsiteY422" fmla="*/ 1456106 h 1609071"/>
                    <a:gd name="connsiteX423" fmla="*/ 5931671 w 7418343"/>
                    <a:gd name="connsiteY423" fmla="*/ 1473441 h 1609071"/>
                    <a:gd name="connsiteX424" fmla="*/ 5949006 w 7418343"/>
                    <a:gd name="connsiteY424" fmla="*/ 1473441 h 1609071"/>
                    <a:gd name="connsiteX425" fmla="*/ 5953340 w 7418343"/>
                    <a:gd name="connsiteY425" fmla="*/ 1477775 h 1609071"/>
                    <a:gd name="connsiteX426" fmla="*/ 6022678 w 7418343"/>
                    <a:gd name="connsiteY426" fmla="*/ 1477775 h 1609071"/>
                    <a:gd name="connsiteX427" fmla="*/ 6022678 w 7418343"/>
                    <a:gd name="connsiteY427" fmla="*/ 1456106 h 1609071"/>
                    <a:gd name="connsiteX428" fmla="*/ 6061681 w 7418343"/>
                    <a:gd name="connsiteY428" fmla="*/ 1456106 h 1609071"/>
                    <a:gd name="connsiteX429" fmla="*/ 6061681 w 7418343"/>
                    <a:gd name="connsiteY429" fmla="*/ 1499443 h 1609071"/>
                    <a:gd name="connsiteX430" fmla="*/ 6113685 w 7418343"/>
                    <a:gd name="connsiteY430" fmla="*/ 1499443 h 1609071"/>
                    <a:gd name="connsiteX431" fmla="*/ 6113685 w 7418343"/>
                    <a:gd name="connsiteY431" fmla="*/ 1508110 h 1609071"/>
                    <a:gd name="connsiteX432" fmla="*/ 6191690 w 7418343"/>
                    <a:gd name="connsiteY432" fmla="*/ 1508110 h 1609071"/>
                    <a:gd name="connsiteX433" fmla="*/ 6191690 w 7418343"/>
                    <a:gd name="connsiteY433" fmla="*/ 1464774 h 1609071"/>
                    <a:gd name="connsiteX434" fmla="*/ 6230693 w 7418343"/>
                    <a:gd name="connsiteY434" fmla="*/ 1464774 h 1609071"/>
                    <a:gd name="connsiteX435" fmla="*/ 6230693 w 7418343"/>
                    <a:gd name="connsiteY435" fmla="*/ 1516778 h 1609071"/>
                    <a:gd name="connsiteX436" fmla="*/ 6356369 w 7418343"/>
                    <a:gd name="connsiteY436" fmla="*/ 1516778 h 1609071"/>
                    <a:gd name="connsiteX437" fmla="*/ 6356369 w 7418343"/>
                    <a:gd name="connsiteY437" fmla="*/ 1477775 h 1609071"/>
                    <a:gd name="connsiteX438" fmla="*/ 6400800 w 7418343"/>
                    <a:gd name="connsiteY438" fmla="*/ 1475394 h 1609071"/>
                    <a:gd name="connsiteX439" fmla="*/ 6403181 w 7418343"/>
                    <a:gd name="connsiteY439" fmla="*/ 1529778 h 1609071"/>
                    <a:gd name="connsiteX440" fmla="*/ 6450853 w 7418343"/>
                    <a:gd name="connsiteY440" fmla="*/ 1529778 h 1609071"/>
                    <a:gd name="connsiteX441" fmla="*/ 6450850 w 7418343"/>
                    <a:gd name="connsiteY441" fmla="*/ 1479728 h 1609071"/>
                    <a:gd name="connsiteX442" fmla="*/ 6490712 w 7418343"/>
                    <a:gd name="connsiteY442" fmla="*/ 1482108 h 1609071"/>
                    <a:gd name="connsiteX443" fmla="*/ 6490712 w 7418343"/>
                    <a:gd name="connsiteY443" fmla="*/ 1529778 h 1609071"/>
                    <a:gd name="connsiteX444" fmla="*/ 6564384 w 7418343"/>
                    <a:gd name="connsiteY444" fmla="*/ 1529778 h 1609071"/>
                    <a:gd name="connsiteX445" fmla="*/ 6568718 w 7418343"/>
                    <a:gd name="connsiteY445" fmla="*/ 1534112 h 1609071"/>
                    <a:gd name="connsiteX446" fmla="*/ 6677488 w 7418343"/>
                    <a:gd name="connsiteY446" fmla="*/ 1536493 h 1609071"/>
                    <a:gd name="connsiteX447" fmla="*/ 6679869 w 7418343"/>
                    <a:gd name="connsiteY447" fmla="*/ 1499443 h 1609071"/>
                    <a:gd name="connsiteX448" fmla="*/ 6742064 w 7418343"/>
                    <a:gd name="connsiteY448" fmla="*/ 1499443 h 1609071"/>
                    <a:gd name="connsiteX449" fmla="*/ 6742064 w 7418343"/>
                    <a:gd name="connsiteY449" fmla="*/ 1542779 h 1609071"/>
                    <a:gd name="connsiteX450" fmla="*/ 6798401 w 7418343"/>
                    <a:gd name="connsiteY450" fmla="*/ 1542779 h 1609071"/>
                    <a:gd name="connsiteX451" fmla="*/ 6798401 w 7418343"/>
                    <a:gd name="connsiteY451" fmla="*/ 1499443 h 1609071"/>
                    <a:gd name="connsiteX452" fmla="*/ 6833070 w 7418343"/>
                    <a:gd name="connsiteY452" fmla="*/ 1499443 h 1609071"/>
                    <a:gd name="connsiteX453" fmla="*/ 6833070 w 7418343"/>
                    <a:gd name="connsiteY453" fmla="*/ 1529778 h 1609071"/>
                    <a:gd name="connsiteX454" fmla="*/ 6850405 w 7418343"/>
                    <a:gd name="connsiteY454" fmla="*/ 1529778 h 1609071"/>
                    <a:gd name="connsiteX455" fmla="*/ 6850405 w 7418343"/>
                    <a:gd name="connsiteY455" fmla="*/ 1555780 h 1609071"/>
                    <a:gd name="connsiteX456" fmla="*/ 7054086 w 7418343"/>
                    <a:gd name="connsiteY456" fmla="*/ 1555780 h 1609071"/>
                    <a:gd name="connsiteX457" fmla="*/ 7067087 w 7418343"/>
                    <a:gd name="connsiteY457" fmla="*/ 1568781 h 1609071"/>
                    <a:gd name="connsiteX458" fmla="*/ 7136426 w 7418343"/>
                    <a:gd name="connsiteY458" fmla="*/ 1568781 h 1609071"/>
                    <a:gd name="connsiteX459" fmla="*/ 7136426 w 7418343"/>
                    <a:gd name="connsiteY459" fmla="*/ 1586116 h 1609071"/>
                    <a:gd name="connsiteX460" fmla="*/ 7288104 w 7418343"/>
                    <a:gd name="connsiteY460" fmla="*/ 1586116 h 1609071"/>
                    <a:gd name="connsiteX461" fmla="*/ 7288104 w 7418343"/>
                    <a:gd name="connsiteY461" fmla="*/ 1607784 h 1609071"/>
                    <a:gd name="connsiteX462" fmla="*/ 7418115 w 7418343"/>
                    <a:gd name="connsiteY462"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4670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2312 w 7415104"/>
                    <a:gd name="connsiteY277" fmla="*/ 544516 h 1609071"/>
                    <a:gd name="connsiteX278" fmla="*/ 1057410 w 7415104"/>
                    <a:gd name="connsiteY278" fmla="*/ 549279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71162 w 7415104"/>
                    <a:gd name="connsiteY298" fmla="*/ 693814 h 1609071"/>
                    <a:gd name="connsiteX299" fmla="*/ 1609737 w 7415104"/>
                    <a:gd name="connsiteY299" fmla="*/ 696194 h 1609071"/>
                    <a:gd name="connsiteX300" fmla="*/ 1627500 w 7415104"/>
                    <a:gd name="connsiteY300" fmla="*/ 709196 h 1609071"/>
                    <a:gd name="connsiteX301" fmla="*/ 1677122 w 7415104"/>
                    <a:gd name="connsiteY301" fmla="*/ 709196 h 1609071"/>
                    <a:gd name="connsiteX302" fmla="*/ 1678646 w 7415104"/>
                    <a:gd name="connsiteY302" fmla="*/ 722627 h 1609071"/>
                    <a:gd name="connsiteX303" fmla="*/ 1703123 w 7415104"/>
                    <a:gd name="connsiteY303" fmla="*/ 728053 h 1609071"/>
                    <a:gd name="connsiteX304" fmla="*/ 1716124 w 7415104"/>
                    <a:gd name="connsiteY304" fmla="*/ 741054 h 1609071"/>
                    <a:gd name="connsiteX305" fmla="*/ 1750794 w 7415104"/>
                    <a:gd name="connsiteY305" fmla="*/ 745816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7520 w 7415104"/>
                    <a:gd name="connsiteY312" fmla="*/ 813204 h 1609071"/>
                    <a:gd name="connsiteX313" fmla="*/ 1960762 w 7415104"/>
                    <a:gd name="connsiteY313" fmla="*/ 813204 h 1609071"/>
                    <a:gd name="connsiteX314" fmla="*/ 2006480 w 7415104"/>
                    <a:gd name="connsiteY314" fmla="*/ 813204 h 1609071"/>
                    <a:gd name="connsiteX315" fmla="*/ 2006739 w 7415104"/>
                    <a:gd name="connsiteY315" fmla="*/ 826521 h 1609071"/>
                    <a:gd name="connsiteX316" fmla="*/ 2044839 w 7415104"/>
                    <a:gd name="connsiteY316" fmla="*/ 828902 h 1609071"/>
                    <a:gd name="connsiteX317" fmla="*/ 2048722 w 7415104"/>
                    <a:gd name="connsiteY317" fmla="*/ 850683 h 1609071"/>
                    <a:gd name="connsiteX318" fmla="*/ 2108535 w 7415104"/>
                    <a:gd name="connsiteY318" fmla="*/ 848301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4876 w 7415104"/>
                    <a:gd name="connsiteY0" fmla="*/ 1609071 h 1609071"/>
                    <a:gd name="connsiteX1" fmla="*/ 7414874 w 7415104"/>
                    <a:gd name="connsiteY1" fmla="*/ 1508110 h 1609071"/>
                    <a:gd name="connsiteX2" fmla="*/ 7271864 w 7415104"/>
                    <a:gd name="connsiteY2" fmla="*/ 1508110 h 1609071"/>
                    <a:gd name="connsiteX3" fmla="*/ 7270770 w 7415104"/>
                    <a:gd name="connsiteY3" fmla="*/ 1495109 h 1609071"/>
                    <a:gd name="connsiteX4" fmla="*/ 7154427 w 7415104"/>
                    <a:gd name="connsiteY4" fmla="*/ 1492728 h 1609071"/>
                    <a:gd name="connsiteX5" fmla="*/ 7151380 w 7415104"/>
                    <a:gd name="connsiteY5" fmla="*/ 1465868 h 1609071"/>
                    <a:gd name="connsiteX6" fmla="*/ 7037847 w 7415104"/>
                    <a:gd name="connsiteY6" fmla="*/ 1461106 h 1609071"/>
                    <a:gd name="connsiteX7" fmla="*/ 7037847 w 7415104"/>
                    <a:gd name="connsiteY7" fmla="*/ 1451773 h 1609071"/>
                    <a:gd name="connsiteX8" fmla="*/ 6873168 w 7415104"/>
                    <a:gd name="connsiteY8" fmla="*/ 1451773 h 1609071"/>
                    <a:gd name="connsiteX9" fmla="*/ 6873596 w 7415104"/>
                    <a:gd name="connsiteY9" fmla="*/ 1437915 h 1609071"/>
                    <a:gd name="connsiteX10" fmla="*/ 6825498 w 7415104"/>
                    <a:gd name="connsiteY10" fmla="*/ 1440295 h 1609071"/>
                    <a:gd name="connsiteX11" fmla="*/ 6825498 w 7415104"/>
                    <a:gd name="connsiteY11" fmla="*/ 1495109 h 1609071"/>
                    <a:gd name="connsiteX12" fmla="*/ 6786495 w 7415104"/>
                    <a:gd name="connsiteY12" fmla="*/ 1495109 h 1609071"/>
                    <a:gd name="connsiteX13" fmla="*/ 6786495 w 7415104"/>
                    <a:gd name="connsiteY13" fmla="*/ 1443106 h 1609071"/>
                    <a:gd name="connsiteX14" fmla="*/ 6738825 w 7415104"/>
                    <a:gd name="connsiteY14" fmla="*/ 1443106 h 1609071"/>
                    <a:gd name="connsiteX15" fmla="*/ 6738824 w 7415104"/>
                    <a:gd name="connsiteY15" fmla="*/ 1477775 h 1609071"/>
                    <a:gd name="connsiteX16" fmla="*/ 6678154 w 7415104"/>
                    <a:gd name="connsiteY16" fmla="*/ 1477775 h 1609071"/>
                    <a:gd name="connsiteX17" fmla="*/ 6678154 w 7415104"/>
                    <a:gd name="connsiteY17" fmla="*/ 1438772 h 1609071"/>
                    <a:gd name="connsiteX18" fmla="*/ 6561145 w 7415104"/>
                    <a:gd name="connsiteY18" fmla="*/ 1438772 h 1609071"/>
                    <a:gd name="connsiteX19" fmla="*/ 6555287 w 7415104"/>
                    <a:gd name="connsiteY19" fmla="*/ 1428152 h 1609071"/>
                    <a:gd name="connsiteX20" fmla="*/ 6483139 w 7415104"/>
                    <a:gd name="connsiteY20" fmla="*/ 1425771 h 1609071"/>
                    <a:gd name="connsiteX21" fmla="*/ 6483139 w 7415104"/>
                    <a:gd name="connsiteY21" fmla="*/ 1482108 h 1609071"/>
                    <a:gd name="connsiteX22" fmla="*/ 6451280 w 7415104"/>
                    <a:gd name="connsiteY22" fmla="*/ 1479727 h 1609071"/>
                    <a:gd name="connsiteX23" fmla="*/ 6448900 w 7415104"/>
                    <a:gd name="connsiteY23" fmla="*/ 1427295 h 1609071"/>
                    <a:gd name="connsiteX24" fmla="*/ 6397991 w 7415104"/>
                    <a:gd name="connsiteY24" fmla="*/ 1424913 h 1609071"/>
                    <a:gd name="connsiteX25" fmla="*/ 6397990 w 7415104"/>
                    <a:gd name="connsiteY25" fmla="*/ 1477775 h 1609071"/>
                    <a:gd name="connsiteX26" fmla="*/ 6357464 w 7415104"/>
                    <a:gd name="connsiteY26" fmla="*/ 1477775 h 1609071"/>
                    <a:gd name="connsiteX27" fmla="*/ 6357464 w 7415104"/>
                    <a:gd name="connsiteY27" fmla="*/ 1430105 h 1609071"/>
                    <a:gd name="connsiteX28" fmla="*/ 6223120 w 7415104"/>
                    <a:gd name="connsiteY28" fmla="*/ 1430105 h 1609071"/>
                    <a:gd name="connsiteX29" fmla="*/ 6223120 w 7415104"/>
                    <a:gd name="connsiteY29" fmla="*/ 1443106 h 1609071"/>
                    <a:gd name="connsiteX30" fmla="*/ 6192785 w 7415104"/>
                    <a:gd name="connsiteY30" fmla="*/ 1443106 h 1609071"/>
                    <a:gd name="connsiteX31" fmla="*/ 6192785 w 7415104"/>
                    <a:gd name="connsiteY31" fmla="*/ 1412770 h 1609071"/>
                    <a:gd name="connsiteX32" fmla="*/ 6119113 w 7415104"/>
                    <a:gd name="connsiteY32" fmla="*/ 1412770 h 1609071"/>
                    <a:gd name="connsiteX33" fmla="*/ 6119113 w 7415104"/>
                    <a:gd name="connsiteY33" fmla="*/ 1399769 h 1609071"/>
                    <a:gd name="connsiteX34" fmla="*/ 6071443 w 7415104"/>
                    <a:gd name="connsiteY34" fmla="*/ 1399769 h 1609071"/>
                    <a:gd name="connsiteX35" fmla="*/ 6071443 w 7415104"/>
                    <a:gd name="connsiteY35" fmla="*/ 1382434 h 1609071"/>
                    <a:gd name="connsiteX36" fmla="*/ 6049774 w 7415104"/>
                    <a:gd name="connsiteY36" fmla="*/ 1382434 h 1609071"/>
                    <a:gd name="connsiteX37" fmla="*/ 6049774 w 7415104"/>
                    <a:gd name="connsiteY37" fmla="*/ 1421437 h 1609071"/>
                    <a:gd name="connsiteX38" fmla="*/ 6019439 w 7415104"/>
                    <a:gd name="connsiteY38" fmla="*/ 1421437 h 1609071"/>
                    <a:gd name="connsiteX39" fmla="*/ 6019439 w 7415104"/>
                    <a:gd name="connsiteY39" fmla="*/ 1391102 h 1609071"/>
                    <a:gd name="connsiteX40" fmla="*/ 5958768 w 7415104"/>
                    <a:gd name="connsiteY40" fmla="*/ 1391102 h 1609071"/>
                    <a:gd name="connsiteX41" fmla="*/ 5958768 w 7415104"/>
                    <a:gd name="connsiteY41" fmla="*/ 1373767 h 1609071"/>
                    <a:gd name="connsiteX42" fmla="*/ 5919765 w 7415104"/>
                    <a:gd name="connsiteY42" fmla="*/ 1373767 h 1609071"/>
                    <a:gd name="connsiteX43" fmla="*/ 5919765 w 7415104"/>
                    <a:gd name="connsiteY43" fmla="*/ 1352099 h 1609071"/>
                    <a:gd name="connsiteX44" fmla="*/ 5824425 w 7415104"/>
                    <a:gd name="connsiteY44" fmla="*/ 1352099 h 1609071"/>
                    <a:gd name="connsiteX45" fmla="*/ 5824425 w 7415104"/>
                    <a:gd name="connsiteY45" fmla="*/ 1399769 h 1609071"/>
                    <a:gd name="connsiteX46" fmla="*/ 5789756 w 7415104"/>
                    <a:gd name="connsiteY46" fmla="*/ 1399769 h 1609071"/>
                    <a:gd name="connsiteX47" fmla="*/ 5789756 w 7415104"/>
                    <a:gd name="connsiteY47" fmla="*/ 1365100 h 1609071"/>
                    <a:gd name="connsiteX48" fmla="*/ 5698749 w 7415104"/>
                    <a:gd name="connsiteY48" fmla="*/ 1365100 h 1609071"/>
                    <a:gd name="connsiteX49" fmla="*/ 5698749 w 7415104"/>
                    <a:gd name="connsiteY49" fmla="*/ 1326097 h 1609071"/>
                    <a:gd name="connsiteX50" fmla="*/ 5655412 w 7415104"/>
                    <a:gd name="connsiteY50" fmla="*/ 1326097 h 1609071"/>
                    <a:gd name="connsiteX51" fmla="*/ 5655412 w 7415104"/>
                    <a:gd name="connsiteY51" fmla="*/ 1373767 h 1609071"/>
                    <a:gd name="connsiteX52" fmla="*/ 5612076 w 7415104"/>
                    <a:gd name="connsiteY52" fmla="*/ 1373767 h 1609071"/>
                    <a:gd name="connsiteX53" fmla="*/ 5612076 w 7415104"/>
                    <a:gd name="connsiteY53" fmla="*/ 1334764 h 1609071"/>
                    <a:gd name="connsiteX54" fmla="*/ 5512402 w 7415104"/>
                    <a:gd name="connsiteY54" fmla="*/ 1334764 h 1609071"/>
                    <a:gd name="connsiteX55" fmla="*/ 5512402 w 7415104"/>
                    <a:gd name="connsiteY55" fmla="*/ 1360766 h 1609071"/>
                    <a:gd name="connsiteX56" fmla="*/ 5469065 w 7415104"/>
                    <a:gd name="connsiteY56" fmla="*/ 1360766 h 1609071"/>
                    <a:gd name="connsiteX57" fmla="*/ 5469065 w 7415104"/>
                    <a:gd name="connsiteY57" fmla="*/ 1321763 h 1609071"/>
                    <a:gd name="connsiteX58" fmla="*/ 5360724 w 7415104"/>
                    <a:gd name="connsiteY58" fmla="*/ 1321763 h 1609071"/>
                    <a:gd name="connsiteX59" fmla="*/ 5360724 w 7415104"/>
                    <a:gd name="connsiteY59" fmla="*/ 1304429 h 1609071"/>
                    <a:gd name="connsiteX60" fmla="*/ 5300053 w 7415104"/>
                    <a:gd name="connsiteY60" fmla="*/ 1304429 h 1609071"/>
                    <a:gd name="connsiteX61" fmla="*/ 5291386 w 7415104"/>
                    <a:gd name="connsiteY61" fmla="*/ 1295762 h 1609071"/>
                    <a:gd name="connsiteX62" fmla="*/ 5187378 w 7415104"/>
                    <a:gd name="connsiteY62" fmla="*/ 1295762 h 1609071"/>
                    <a:gd name="connsiteX63" fmla="*/ 5187378 w 7415104"/>
                    <a:gd name="connsiteY63" fmla="*/ 1278427 h 1609071"/>
                    <a:gd name="connsiteX64" fmla="*/ 5045463 w 7415104"/>
                    <a:gd name="connsiteY64" fmla="*/ 1278427 h 1609071"/>
                    <a:gd name="connsiteX65" fmla="*/ 5048701 w 7415104"/>
                    <a:gd name="connsiteY65" fmla="*/ 1269759 h 1609071"/>
                    <a:gd name="connsiteX66" fmla="*/ 4923026 w 7415104"/>
                    <a:gd name="connsiteY66" fmla="*/ 1269759 h 1609071"/>
                    <a:gd name="connsiteX67" fmla="*/ 4926693 w 7415104"/>
                    <a:gd name="connsiteY67" fmla="*/ 1256758 h 1609071"/>
                    <a:gd name="connsiteX68" fmla="*/ 4702439 w 7415104"/>
                    <a:gd name="connsiteY68" fmla="*/ 1254376 h 1609071"/>
                    <a:gd name="connsiteX69" fmla="*/ 4694200 w 7415104"/>
                    <a:gd name="connsiteY69" fmla="*/ 1241375 h 1609071"/>
                    <a:gd name="connsiteX70" fmla="*/ 4674914 w 7415104"/>
                    <a:gd name="connsiteY70" fmla="*/ 1238995 h 1609071"/>
                    <a:gd name="connsiteX71" fmla="*/ 4661833 w 7415104"/>
                    <a:gd name="connsiteY71" fmla="*/ 1226572 h 1609071"/>
                    <a:gd name="connsiteX72" fmla="*/ 4655198 w 7415104"/>
                    <a:gd name="connsiteY72" fmla="*/ 1224042 h 1609071"/>
                    <a:gd name="connsiteX73" fmla="*/ 4632672 w 7415104"/>
                    <a:gd name="connsiteY73" fmla="*/ 1213422 h 1609071"/>
                    <a:gd name="connsiteX74" fmla="*/ 4489661 w 7415104"/>
                    <a:gd name="connsiteY74" fmla="*/ 1213422 h 1609071"/>
                    <a:gd name="connsiteX75" fmla="*/ 4489661 w 7415104"/>
                    <a:gd name="connsiteY75" fmla="*/ 1200421 h 1609071"/>
                    <a:gd name="connsiteX76" fmla="*/ 4446324 w 7415104"/>
                    <a:gd name="connsiteY76" fmla="*/ 1200421 h 1609071"/>
                    <a:gd name="connsiteX77" fmla="*/ 4443943 w 7415104"/>
                    <a:gd name="connsiteY77" fmla="*/ 1192612 h 1609071"/>
                    <a:gd name="connsiteX78" fmla="*/ 4421328 w 7415104"/>
                    <a:gd name="connsiteY78" fmla="*/ 1195615 h 1609071"/>
                    <a:gd name="connsiteX79" fmla="*/ 4423562 w 7415104"/>
                    <a:gd name="connsiteY79" fmla="*/ 1171180 h 1609071"/>
                    <a:gd name="connsiteX80" fmla="*/ 4393892 w 7415104"/>
                    <a:gd name="connsiteY80" fmla="*/ 1172467 h 1609071"/>
                    <a:gd name="connsiteX81" fmla="*/ 4394321 w 7415104"/>
                    <a:gd name="connsiteY81" fmla="*/ 1200421 h 1609071"/>
                    <a:gd name="connsiteX82" fmla="*/ 4359651 w 7415104"/>
                    <a:gd name="connsiteY82" fmla="*/ 1200421 h 1609071"/>
                    <a:gd name="connsiteX83" fmla="*/ 4359651 w 7415104"/>
                    <a:gd name="connsiteY83" fmla="*/ 1157085 h 1609071"/>
                    <a:gd name="connsiteX84" fmla="*/ 4329316 w 7415104"/>
                    <a:gd name="connsiteY84" fmla="*/ 1157085 h 1609071"/>
                    <a:gd name="connsiteX85" fmla="*/ 4320648 w 7415104"/>
                    <a:gd name="connsiteY85" fmla="*/ 1148417 h 1609071"/>
                    <a:gd name="connsiteX86" fmla="*/ 4155970 w 7415104"/>
                    <a:gd name="connsiteY86" fmla="*/ 1148417 h 1609071"/>
                    <a:gd name="connsiteX87" fmla="*/ 4154446 w 7415104"/>
                    <a:gd name="connsiteY87" fmla="*/ 1134986 h 1609071"/>
                    <a:gd name="connsiteX88" fmla="*/ 4067344 w 7415104"/>
                    <a:gd name="connsiteY88" fmla="*/ 1134987 h 1609071"/>
                    <a:gd name="connsiteX89" fmla="*/ 4064963 w 7415104"/>
                    <a:gd name="connsiteY89" fmla="*/ 1122415 h 1609071"/>
                    <a:gd name="connsiteX90" fmla="*/ 4047628 w 7415104"/>
                    <a:gd name="connsiteY90" fmla="*/ 1122415 h 1609071"/>
                    <a:gd name="connsiteX91" fmla="*/ 4047628 w 7415104"/>
                    <a:gd name="connsiteY91" fmla="*/ 1105081 h 1609071"/>
                    <a:gd name="connsiteX92" fmla="*/ 4025960 w 7415104"/>
                    <a:gd name="connsiteY92" fmla="*/ 1105081 h 1609071"/>
                    <a:gd name="connsiteX93" fmla="*/ 4025960 w 7415104"/>
                    <a:gd name="connsiteY93" fmla="*/ 1152751 h 1609071"/>
                    <a:gd name="connsiteX94" fmla="*/ 3991291 w 7415104"/>
                    <a:gd name="connsiteY94" fmla="*/ 1152751 h 1609071"/>
                    <a:gd name="connsiteX95" fmla="*/ 3991291 w 7415104"/>
                    <a:gd name="connsiteY95" fmla="*/ 1109415 h 1609071"/>
                    <a:gd name="connsiteX96" fmla="*/ 3960956 w 7415104"/>
                    <a:gd name="connsiteY96" fmla="*/ 1109415 h 1609071"/>
                    <a:gd name="connsiteX97" fmla="*/ 3954670 w 7415104"/>
                    <a:gd name="connsiteY97" fmla="*/ 1091222 h 1609071"/>
                    <a:gd name="connsiteX98" fmla="*/ 3730844 w 7415104"/>
                    <a:gd name="connsiteY98" fmla="*/ 1093604 h 1609071"/>
                    <a:gd name="connsiteX99" fmla="*/ 3732559 w 7415104"/>
                    <a:gd name="connsiteY99" fmla="*/ 1081031 h 1609071"/>
                    <a:gd name="connsiteX100" fmla="*/ 3585451 w 7415104"/>
                    <a:gd name="connsiteY100" fmla="*/ 1078650 h 1609071"/>
                    <a:gd name="connsiteX101" fmla="*/ 3584786 w 7415104"/>
                    <a:gd name="connsiteY101" fmla="*/ 1066079 h 1609071"/>
                    <a:gd name="connsiteX102" fmla="*/ 3440918 w 7415104"/>
                    <a:gd name="connsiteY102" fmla="*/ 1066079 h 1609071"/>
                    <a:gd name="connsiteX103" fmla="*/ 3440918 w 7415104"/>
                    <a:gd name="connsiteY103" fmla="*/ 1040076 h 1609071"/>
                    <a:gd name="connsiteX104" fmla="*/ 3319575 w 7415104"/>
                    <a:gd name="connsiteY104" fmla="*/ 1040076 h 1609071"/>
                    <a:gd name="connsiteX105" fmla="*/ 3319575 w 7415104"/>
                    <a:gd name="connsiteY105" fmla="*/ 1027075 h 1609071"/>
                    <a:gd name="connsiteX106" fmla="*/ 3180899 w 7415104"/>
                    <a:gd name="connsiteY106" fmla="*/ 1027075 h 1609071"/>
                    <a:gd name="connsiteX107" fmla="*/ 3180899 w 7415104"/>
                    <a:gd name="connsiteY107" fmla="*/ 1020123 h 1609071"/>
                    <a:gd name="connsiteX108" fmla="*/ 3163564 w 7415104"/>
                    <a:gd name="connsiteY108" fmla="*/ 1018408 h 1609071"/>
                    <a:gd name="connsiteX109" fmla="*/ 3150563 w 7415104"/>
                    <a:gd name="connsiteY109" fmla="*/ 1000645 h 1609071"/>
                    <a:gd name="connsiteX110" fmla="*/ 2990218 w 7415104"/>
                    <a:gd name="connsiteY110" fmla="*/ 1003026 h 1609071"/>
                    <a:gd name="connsiteX111" fmla="*/ 2990218 w 7415104"/>
                    <a:gd name="connsiteY111" fmla="*/ 988072 h 1609071"/>
                    <a:gd name="connsiteX112" fmla="*/ 2907879 w 7415104"/>
                    <a:gd name="connsiteY112" fmla="*/ 988072 h 1609071"/>
                    <a:gd name="connsiteX113" fmla="*/ 2899211 w 7415104"/>
                    <a:gd name="connsiteY113" fmla="*/ 979404 h 1609071"/>
                    <a:gd name="connsiteX114" fmla="*/ 2868876 w 7415104"/>
                    <a:gd name="connsiteY114" fmla="*/ 979404 h 1609071"/>
                    <a:gd name="connsiteX115" fmla="*/ 2868876 w 7415104"/>
                    <a:gd name="connsiteY115" fmla="*/ 953403 h 1609071"/>
                    <a:gd name="connsiteX116" fmla="*/ 2842874 w 7415104"/>
                    <a:gd name="connsiteY116" fmla="*/ 953403 h 1609071"/>
                    <a:gd name="connsiteX117" fmla="*/ 2834207 w 7415104"/>
                    <a:gd name="connsiteY117" fmla="*/ 944736 h 1609071"/>
                    <a:gd name="connsiteX118" fmla="*/ 2756201 w 7415104"/>
                    <a:gd name="connsiteY118" fmla="*/ 944736 h 1609071"/>
                    <a:gd name="connsiteX119" fmla="*/ 2747534 w 7415104"/>
                    <a:gd name="connsiteY119" fmla="*/ 936069 h 1609071"/>
                    <a:gd name="connsiteX120" fmla="*/ 2699864 w 7415104"/>
                    <a:gd name="connsiteY120" fmla="*/ 936069 h 1609071"/>
                    <a:gd name="connsiteX121" fmla="*/ 2688815 w 7415104"/>
                    <a:gd name="connsiteY121" fmla="*/ 925019 h 1609071"/>
                    <a:gd name="connsiteX122" fmla="*/ 2643526 w 7415104"/>
                    <a:gd name="connsiteY122" fmla="*/ 927401 h 1609071"/>
                    <a:gd name="connsiteX123" fmla="*/ 2638099 w 7415104"/>
                    <a:gd name="connsiteY123" fmla="*/ 910067 h 1609071"/>
                    <a:gd name="connsiteX124" fmla="*/ 2616001 w 7415104"/>
                    <a:gd name="connsiteY124" fmla="*/ 899876 h 1609071"/>
                    <a:gd name="connsiteX125" fmla="*/ 2591522 w 7415104"/>
                    <a:gd name="connsiteY125" fmla="*/ 875397 h 1609071"/>
                    <a:gd name="connsiteX126" fmla="*/ 2561187 w 7415104"/>
                    <a:gd name="connsiteY126" fmla="*/ 875397 h 1609071"/>
                    <a:gd name="connsiteX127" fmla="*/ 2552519 w 7415104"/>
                    <a:gd name="connsiteY127" fmla="*/ 866729 h 1609071"/>
                    <a:gd name="connsiteX128" fmla="*/ 2500516 w 7415104"/>
                    <a:gd name="connsiteY128" fmla="*/ 866729 h 1609071"/>
                    <a:gd name="connsiteX129" fmla="*/ 2500516 w 7415104"/>
                    <a:gd name="connsiteY129" fmla="*/ 849396 h 1609071"/>
                    <a:gd name="connsiteX130" fmla="*/ 2444178 w 7415104"/>
                    <a:gd name="connsiteY130" fmla="*/ 849396 h 1609071"/>
                    <a:gd name="connsiteX131" fmla="*/ 2435510 w 7415104"/>
                    <a:gd name="connsiteY131" fmla="*/ 840728 h 1609071"/>
                    <a:gd name="connsiteX132" fmla="*/ 2413843 w 7415104"/>
                    <a:gd name="connsiteY132" fmla="*/ 840728 h 1609071"/>
                    <a:gd name="connsiteX133" fmla="*/ 2400842 w 7415104"/>
                    <a:gd name="connsiteY133" fmla="*/ 827727 h 1609071"/>
                    <a:gd name="connsiteX134" fmla="*/ 2348838 w 7415104"/>
                    <a:gd name="connsiteY134" fmla="*/ 827727 h 1609071"/>
                    <a:gd name="connsiteX135" fmla="*/ 2348838 w 7415104"/>
                    <a:gd name="connsiteY135" fmla="*/ 810393 h 1609071"/>
                    <a:gd name="connsiteX136" fmla="*/ 2309835 w 7415104"/>
                    <a:gd name="connsiteY136" fmla="*/ 810393 h 1609071"/>
                    <a:gd name="connsiteX137" fmla="*/ 2303977 w 7415104"/>
                    <a:gd name="connsiteY137" fmla="*/ 830537 h 1609071"/>
                    <a:gd name="connsiteX138" fmla="*/ 2273643 w 7415104"/>
                    <a:gd name="connsiteY138" fmla="*/ 828156 h 1609071"/>
                    <a:gd name="connsiteX139" fmla="*/ 2272548 w 7415104"/>
                    <a:gd name="connsiteY139" fmla="*/ 800867 h 1609071"/>
                    <a:gd name="connsiteX140" fmla="*/ 2244830 w 7415104"/>
                    <a:gd name="connsiteY140" fmla="*/ 801725 h 1609071"/>
                    <a:gd name="connsiteX141" fmla="*/ 2244830 w 7415104"/>
                    <a:gd name="connsiteY141" fmla="*/ 775724 h 1609071"/>
                    <a:gd name="connsiteX142" fmla="*/ 2123488 w 7415104"/>
                    <a:gd name="connsiteY142" fmla="*/ 775724 h 1609071"/>
                    <a:gd name="connsiteX143" fmla="*/ 2123488 w 7415104"/>
                    <a:gd name="connsiteY143" fmla="*/ 745388 h 1609071"/>
                    <a:gd name="connsiteX144" fmla="*/ 2071484 w 7415104"/>
                    <a:gd name="connsiteY144" fmla="*/ 745388 h 1609071"/>
                    <a:gd name="connsiteX145" fmla="*/ 2062817 w 7415104"/>
                    <a:gd name="connsiteY145" fmla="*/ 736721 h 1609071"/>
                    <a:gd name="connsiteX146" fmla="*/ 2006480 w 7415104"/>
                    <a:gd name="connsiteY146" fmla="*/ 736721 h 1609071"/>
                    <a:gd name="connsiteX147" fmla="*/ 2006480 w 7415104"/>
                    <a:gd name="connsiteY147" fmla="*/ 715052 h 1609071"/>
                    <a:gd name="connsiteX148" fmla="*/ 1906806 w 7415104"/>
                    <a:gd name="connsiteY148" fmla="*/ 715052 h 1609071"/>
                    <a:gd name="connsiteX149" fmla="*/ 1902473 w 7415104"/>
                    <a:gd name="connsiteY149" fmla="*/ 710719 h 1609071"/>
                    <a:gd name="connsiteX150" fmla="*/ 1863469 w 7415104"/>
                    <a:gd name="connsiteY150" fmla="*/ 710719 h 1609071"/>
                    <a:gd name="connsiteX151" fmla="*/ 1863469 w 7415104"/>
                    <a:gd name="connsiteY151" fmla="*/ 680383 h 1609071"/>
                    <a:gd name="connsiteX152" fmla="*/ 1807132 w 7415104"/>
                    <a:gd name="connsiteY152" fmla="*/ 680383 h 1609071"/>
                    <a:gd name="connsiteX153" fmla="*/ 1807990 w 7415104"/>
                    <a:gd name="connsiteY153" fmla="*/ 671716 h 1609071"/>
                    <a:gd name="connsiteX154" fmla="*/ 1785464 w 7415104"/>
                    <a:gd name="connsiteY154" fmla="*/ 671716 h 1609071"/>
                    <a:gd name="connsiteX155" fmla="*/ 1785464 w 7415104"/>
                    <a:gd name="connsiteY155" fmla="*/ 658715 h 1609071"/>
                    <a:gd name="connsiteX156" fmla="*/ 1750794 w 7415104"/>
                    <a:gd name="connsiteY156" fmla="*/ 658715 h 1609071"/>
                    <a:gd name="connsiteX157" fmla="*/ 1750794 w 7415104"/>
                    <a:gd name="connsiteY157" fmla="*/ 637047 h 1609071"/>
                    <a:gd name="connsiteX158" fmla="*/ 1698791 w 7415104"/>
                    <a:gd name="connsiteY158" fmla="*/ 637047 h 1609071"/>
                    <a:gd name="connsiteX159" fmla="*/ 1698791 w 7415104"/>
                    <a:gd name="connsiteY159" fmla="*/ 611045 h 1609071"/>
                    <a:gd name="connsiteX160" fmla="*/ 1616451 w 7415104"/>
                    <a:gd name="connsiteY160" fmla="*/ 611045 h 1609071"/>
                    <a:gd name="connsiteX161" fmla="*/ 1603450 w 7415104"/>
                    <a:gd name="connsiteY161" fmla="*/ 598044 h 1609071"/>
                    <a:gd name="connsiteX162" fmla="*/ 1590449 w 7415104"/>
                    <a:gd name="connsiteY162" fmla="*/ 598044 h 1609071"/>
                    <a:gd name="connsiteX163" fmla="*/ 1577448 w 7415104"/>
                    <a:gd name="connsiteY163" fmla="*/ 585043 h 1609071"/>
                    <a:gd name="connsiteX164" fmla="*/ 1529778 w 7415104"/>
                    <a:gd name="connsiteY164" fmla="*/ 585043 h 1609071"/>
                    <a:gd name="connsiteX165" fmla="*/ 1529778 w 7415104"/>
                    <a:gd name="connsiteY165" fmla="*/ 576376 h 1609071"/>
                    <a:gd name="connsiteX166" fmla="*/ 1477774 w 7415104"/>
                    <a:gd name="connsiteY166" fmla="*/ 576376 h 1609071"/>
                    <a:gd name="connsiteX167" fmla="*/ 1477774 w 7415104"/>
                    <a:gd name="connsiteY167" fmla="*/ 559041 h 1609071"/>
                    <a:gd name="connsiteX168" fmla="*/ 1408436 w 7415104"/>
                    <a:gd name="connsiteY168" fmla="*/ 559041 h 1609071"/>
                    <a:gd name="connsiteX169" fmla="*/ 1395435 w 7415104"/>
                    <a:gd name="connsiteY169" fmla="*/ 546040 h 1609071"/>
                    <a:gd name="connsiteX170" fmla="*/ 1330430 w 7415104"/>
                    <a:gd name="connsiteY170" fmla="*/ 546040 h 1609071"/>
                    <a:gd name="connsiteX171" fmla="*/ 1330430 w 7415104"/>
                    <a:gd name="connsiteY171" fmla="*/ 528706 h 1609071"/>
                    <a:gd name="connsiteX172" fmla="*/ 1274093 w 7415104"/>
                    <a:gd name="connsiteY172" fmla="*/ 528706 h 1609071"/>
                    <a:gd name="connsiteX173" fmla="*/ 1274093 w 7415104"/>
                    <a:gd name="connsiteY173" fmla="*/ 507037 h 1609071"/>
                    <a:gd name="connsiteX174" fmla="*/ 1191754 w 7415104"/>
                    <a:gd name="connsiteY174" fmla="*/ 507037 h 1609071"/>
                    <a:gd name="connsiteX175" fmla="*/ 1174419 w 7415104"/>
                    <a:gd name="connsiteY175" fmla="*/ 507037 h 1609071"/>
                    <a:gd name="connsiteX176" fmla="*/ 1148417 w 7415104"/>
                    <a:gd name="connsiteY176" fmla="*/ 507037 h 1609071"/>
                    <a:gd name="connsiteX177" fmla="*/ 1148417 w 7415104"/>
                    <a:gd name="connsiteY177" fmla="*/ 481035 h 1609071"/>
                    <a:gd name="connsiteX178" fmla="*/ 1092080 w 7415104"/>
                    <a:gd name="connsiteY178" fmla="*/ 481035 h 1609071"/>
                    <a:gd name="connsiteX179" fmla="*/ 1092080 w 7415104"/>
                    <a:gd name="connsiteY179" fmla="*/ 468034 h 1609071"/>
                    <a:gd name="connsiteX180" fmla="*/ 1044410 w 7415104"/>
                    <a:gd name="connsiteY180" fmla="*/ 468034 h 1609071"/>
                    <a:gd name="connsiteX181" fmla="*/ 1044410 w 7415104"/>
                    <a:gd name="connsiteY181" fmla="*/ 437699 h 1609071"/>
                    <a:gd name="connsiteX182" fmla="*/ 988072 w 7415104"/>
                    <a:gd name="connsiteY182" fmla="*/ 437699 h 1609071"/>
                    <a:gd name="connsiteX183" fmla="*/ 975071 w 7415104"/>
                    <a:gd name="connsiteY183" fmla="*/ 424698 h 1609071"/>
                    <a:gd name="connsiteX184" fmla="*/ 953403 w 7415104"/>
                    <a:gd name="connsiteY184" fmla="*/ 424698 h 1609071"/>
                    <a:gd name="connsiteX185" fmla="*/ 944736 w 7415104"/>
                    <a:gd name="connsiteY185" fmla="*/ 416031 h 1609071"/>
                    <a:gd name="connsiteX186" fmla="*/ 892732 w 7415104"/>
                    <a:gd name="connsiteY186" fmla="*/ 416031 h 1609071"/>
                    <a:gd name="connsiteX187" fmla="*/ 892732 w 7415104"/>
                    <a:gd name="connsiteY187" fmla="*/ 394362 h 1609071"/>
                    <a:gd name="connsiteX188" fmla="*/ 866730 w 7415104"/>
                    <a:gd name="connsiteY188" fmla="*/ 394362 h 1609071"/>
                    <a:gd name="connsiteX189" fmla="*/ 858063 w 7415104"/>
                    <a:gd name="connsiteY189" fmla="*/ 385695 h 1609071"/>
                    <a:gd name="connsiteX190" fmla="*/ 754055 w 7415104"/>
                    <a:gd name="connsiteY190" fmla="*/ 385695 h 1609071"/>
                    <a:gd name="connsiteX191" fmla="*/ 754055 w 7415104"/>
                    <a:gd name="connsiteY191" fmla="*/ 359693 h 1609071"/>
                    <a:gd name="connsiteX192" fmla="*/ 723719 w 7415104"/>
                    <a:gd name="connsiteY192" fmla="*/ 359693 h 1609071"/>
                    <a:gd name="connsiteX193" fmla="*/ 723719 w 7415104"/>
                    <a:gd name="connsiteY193" fmla="*/ 342359 h 1609071"/>
                    <a:gd name="connsiteX194" fmla="*/ 658715 w 7415104"/>
                    <a:gd name="connsiteY194" fmla="*/ 342359 h 1609071"/>
                    <a:gd name="connsiteX195" fmla="*/ 650047 w 7415104"/>
                    <a:gd name="connsiteY195" fmla="*/ 333691 h 1609071"/>
                    <a:gd name="connsiteX196" fmla="*/ 628379 w 7415104"/>
                    <a:gd name="connsiteY196" fmla="*/ 333691 h 1609071"/>
                    <a:gd name="connsiteX197" fmla="*/ 628379 w 7415104"/>
                    <a:gd name="connsiteY197" fmla="*/ 316357 h 1609071"/>
                    <a:gd name="connsiteX198" fmla="*/ 598044 w 7415104"/>
                    <a:gd name="connsiteY198" fmla="*/ 316357 h 1609071"/>
                    <a:gd name="connsiteX199" fmla="*/ 598044 w 7415104"/>
                    <a:gd name="connsiteY199" fmla="*/ 294688 h 1609071"/>
                    <a:gd name="connsiteX200" fmla="*/ 576375 w 7415104"/>
                    <a:gd name="connsiteY200" fmla="*/ 294688 h 1609071"/>
                    <a:gd name="connsiteX201" fmla="*/ 576375 w 7415104"/>
                    <a:gd name="connsiteY201" fmla="*/ 281687 h 1609071"/>
                    <a:gd name="connsiteX202" fmla="*/ 554707 w 7415104"/>
                    <a:gd name="connsiteY202" fmla="*/ 281687 h 1609071"/>
                    <a:gd name="connsiteX203" fmla="*/ 554707 w 7415104"/>
                    <a:gd name="connsiteY203" fmla="*/ 268687 h 1609071"/>
                    <a:gd name="connsiteX204" fmla="*/ 489702 w 7415104"/>
                    <a:gd name="connsiteY204" fmla="*/ 268687 h 1609071"/>
                    <a:gd name="connsiteX205" fmla="*/ 489702 w 7415104"/>
                    <a:gd name="connsiteY205" fmla="*/ 242685 h 1609071"/>
                    <a:gd name="connsiteX206" fmla="*/ 455033 w 7415104"/>
                    <a:gd name="connsiteY206" fmla="*/ 242685 h 1609071"/>
                    <a:gd name="connsiteX207" fmla="*/ 455033 w 7415104"/>
                    <a:gd name="connsiteY207" fmla="*/ 216683 h 1609071"/>
                    <a:gd name="connsiteX208" fmla="*/ 437699 w 7415104"/>
                    <a:gd name="connsiteY208" fmla="*/ 216683 h 1609071"/>
                    <a:gd name="connsiteX209" fmla="*/ 437699 w 7415104"/>
                    <a:gd name="connsiteY209" fmla="*/ 186347 h 1609071"/>
                    <a:gd name="connsiteX210" fmla="*/ 407363 w 7415104"/>
                    <a:gd name="connsiteY210" fmla="*/ 186347 h 1609071"/>
                    <a:gd name="connsiteX211" fmla="*/ 407363 w 7415104"/>
                    <a:gd name="connsiteY211" fmla="*/ 173346 h 1609071"/>
                    <a:gd name="connsiteX212" fmla="*/ 372694 w 7415104"/>
                    <a:gd name="connsiteY212" fmla="*/ 173346 h 1609071"/>
                    <a:gd name="connsiteX213" fmla="*/ 372694 w 7415104"/>
                    <a:gd name="connsiteY213" fmla="*/ 151678 h 1609071"/>
                    <a:gd name="connsiteX214" fmla="*/ 355359 w 7415104"/>
                    <a:gd name="connsiteY214" fmla="*/ 151678 h 1609071"/>
                    <a:gd name="connsiteX215" fmla="*/ 355359 w 7415104"/>
                    <a:gd name="connsiteY215" fmla="*/ 138677 h 1609071"/>
                    <a:gd name="connsiteX216" fmla="*/ 303356 w 7415104"/>
                    <a:gd name="connsiteY216" fmla="*/ 138677 h 1609071"/>
                    <a:gd name="connsiteX217" fmla="*/ 303356 w 7415104"/>
                    <a:gd name="connsiteY217" fmla="*/ 95341 h 1609071"/>
                    <a:gd name="connsiteX218" fmla="*/ 268686 w 7415104"/>
                    <a:gd name="connsiteY218" fmla="*/ 95341 h 1609071"/>
                    <a:gd name="connsiteX219" fmla="*/ 268686 w 7415104"/>
                    <a:gd name="connsiteY219" fmla="*/ 82340 h 1609071"/>
                    <a:gd name="connsiteX220" fmla="*/ 234017 w 7415104"/>
                    <a:gd name="connsiteY220" fmla="*/ 82340 h 1609071"/>
                    <a:gd name="connsiteX221" fmla="*/ 234017 w 7415104"/>
                    <a:gd name="connsiteY221" fmla="*/ 47670 h 1609071"/>
                    <a:gd name="connsiteX222" fmla="*/ 208015 w 7415104"/>
                    <a:gd name="connsiteY222" fmla="*/ 47670 h 1609071"/>
                    <a:gd name="connsiteX223" fmla="*/ 208015 w 7415104"/>
                    <a:gd name="connsiteY223" fmla="*/ 39003 h 1609071"/>
                    <a:gd name="connsiteX224" fmla="*/ 156011 w 7415104"/>
                    <a:gd name="connsiteY224" fmla="*/ 39003 h 1609071"/>
                    <a:gd name="connsiteX225" fmla="*/ 156011 w 7415104"/>
                    <a:gd name="connsiteY225" fmla="*/ 26002 h 1609071"/>
                    <a:gd name="connsiteX226" fmla="*/ 121342 w 7415104"/>
                    <a:gd name="connsiteY226" fmla="*/ 26002 h 1609071"/>
                    <a:gd name="connsiteX227" fmla="*/ 121342 w 7415104"/>
                    <a:gd name="connsiteY227" fmla="*/ 0 h 1609071"/>
                    <a:gd name="connsiteX228" fmla="*/ 82339 w 7415104"/>
                    <a:gd name="connsiteY228" fmla="*/ 0 h 1609071"/>
                    <a:gd name="connsiteX229" fmla="*/ 82339 w 7415104"/>
                    <a:gd name="connsiteY229" fmla="*/ 43337 h 1609071"/>
                    <a:gd name="connsiteX230" fmla="*/ 0 w 7415104"/>
                    <a:gd name="connsiteY230" fmla="*/ 43337 h 1609071"/>
                    <a:gd name="connsiteX231" fmla="*/ 8667 w 7415104"/>
                    <a:gd name="connsiteY231" fmla="*/ 39432 h 1609071"/>
                    <a:gd name="connsiteX232" fmla="*/ 21668 w 7415104"/>
                    <a:gd name="connsiteY232" fmla="*/ 52004 h 1609071"/>
                    <a:gd name="connsiteX233" fmla="*/ 21668 w 7415104"/>
                    <a:gd name="connsiteY233" fmla="*/ 65005 h 1609071"/>
                    <a:gd name="connsiteX234" fmla="*/ 52004 w 7415104"/>
                    <a:gd name="connsiteY234" fmla="*/ 65005 h 1609071"/>
                    <a:gd name="connsiteX235" fmla="*/ 52004 w 7415104"/>
                    <a:gd name="connsiteY235" fmla="*/ 86673 h 1609071"/>
                    <a:gd name="connsiteX236" fmla="*/ 78006 w 7415104"/>
                    <a:gd name="connsiteY236" fmla="*/ 86673 h 1609071"/>
                    <a:gd name="connsiteX237" fmla="*/ 78006 w 7415104"/>
                    <a:gd name="connsiteY237" fmla="*/ 125676 h 1609071"/>
                    <a:gd name="connsiteX238" fmla="*/ 138677 w 7415104"/>
                    <a:gd name="connsiteY238" fmla="*/ 125676 h 1609071"/>
                    <a:gd name="connsiteX239" fmla="*/ 147344 w 7415104"/>
                    <a:gd name="connsiteY239" fmla="*/ 134343 h 1609071"/>
                    <a:gd name="connsiteX240" fmla="*/ 164679 w 7415104"/>
                    <a:gd name="connsiteY240" fmla="*/ 134343 h 1609071"/>
                    <a:gd name="connsiteX241" fmla="*/ 164679 w 7415104"/>
                    <a:gd name="connsiteY241" fmla="*/ 156012 h 1609071"/>
                    <a:gd name="connsiteX242" fmla="*/ 182013 w 7415104"/>
                    <a:gd name="connsiteY242" fmla="*/ 156012 h 1609071"/>
                    <a:gd name="connsiteX243" fmla="*/ 195014 w 7415104"/>
                    <a:gd name="connsiteY243" fmla="*/ 169013 h 1609071"/>
                    <a:gd name="connsiteX244" fmla="*/ 225350 w 7415104"/>
                    <a:gd name="connsiteY244" fmla="*/ 169013 h 1609071"/>
                    <a:gd name="connsiteX245" fmla="*/ 225350 w 7415104"/>
                    <a:gd name="connsiteY245" fmla="*/ 208015 h 1609071"/>
                    <a:gd name="connsiteX246" fmla="*/ 251352 w 7415104"/>
                    <a:gd name="connsiteY246" fmla="*/ 208015 h 1609071"/>
                    <a:gd name="connsiteX247" fmla="*/ 260019 w 7415104"/>
                    <a:gd name="connsiteY247" fmla="*/ 216682 h 1609071"/>
                    <a:gd name="connsiteX248" fmla="*/ 273021 w 7415104"/>
                    <a:gd name="connsiteY248" fmla="*/ 229684 h 1609071"/>
                    <a:gd name="connsiteX249" fmla="*/ 273021 w 7415104"/>
                    <a:gd name="connsiteY249" fmla="*/ 251352 h 1609071"/>
                    <a:gd name="connsiteX250" fmla="*/ 303356 w 7415104"/>
                    <a:gd name="connsiteY250" fmla="*/ 251352 h 1609071"/>
                    <a:gd name="connsiteX251" fmla="*/ 303356 w 7415104"/>
                    <a:gd name="connsiteY251" fmla="*/ 268687 h 1609071"/>
                    <a:gd name="connsiteX252" fmla="*/ 342358 w 7415104"/>
                    <a:gd name="connsiteY252" fmla="*/ 268687 h 1609071"/>
                    <a:gd name="connsiteX253" fmla="*/ 342358 w 7415104"/>
                    <a:gd name="connsiteY253" fmla="*/ 286021 h 1609071"/>
                    <a:gd name="connsiteX254" fmla="*/ 385695 w 7415104"/>
                    <a:gd name="connsiteY254" fmla="*/ 286021 h 1609071"/>
                    <a:gd name="connsiteX255" fmla="*/ 385695 w 7415104"/>
                    <a:gd name="connsiteY255" fmla="*/ 286021 h 1609071"/>
                    <a:gd name="connsiteX256" fmla="*/ 407363 w 7415104"/>
                    <a:gd name="connsiteY256" fmla="*/ 307689 h 1609071"/>
                    <a:gd name="connsiteX257" fmla="*/ 424698 w 7415104"/>
                    <a:gd name="connsiteY257" fmla="*/ 325024 h 1609071"/>
                    <a:gd name="connsiteX258" fmla="*/ 472368 w 7415104"/>
                    <a:gd name="connsiteY258" fmla="*/ 325024 h 1609071"/>
                    <a:gd name="connsiteX259" fmla="*/ 472368 w 7415104"/>
                    <a:gd name="connsiteY259" fmla="*/ 355360 h 1609071"/>
                    <a:gd name="connsiteX260" fmla="*/ 511371 w 7415104"/>
                    <a:gd name="connsiteY260" fmla="*/ 355360 h 1609071"/>
                    <a:gd name="connsiteX261" fmla="*/ 511371 w 7415104"/>
                    <a:gd name="connsiteY261" fmla="*/ 377028 h 1609071"/>
                    <a:gd name="connsiteX262" fmla="*/ 559041 w 7415104"/>
                    <a:gd name="connsiteY262" fmla="*/ 377028 h 1609071"/>
                    <a:gd name="connsiteX263" fmla="*/ 559041 w 7415104"/>
                    <a:gd name="connsiteY263" fmla="*/ 398696 h 1609071"/>
                    <a:gd name="connsiteX264" fmla="*/ 589376 w 7415104"/>
                    <a:gd name="connsiteY264" fmla="*/ 398696 h 1609071"/>
                    <a:gd name="connsiteX265" fmla="*/ 602377 w 7415104"/>
                    <a:gd name="connsiteY265" fmla="*/ 411697 h 1609071"/>
                    <a:gd name="connsiteX266" fmla="*/ 650047 w 7415104"/>
                    <a:gd name="connsiteY266" fmla="*/ 411697 h 1609071"/>
                    <a:gd name="connsiteX267" fmla="*/ 650047 w 7415104"/>
                    <a:gd name="connsiteY267" fmla="*/ 450700 h 1609071"/>
                    <a:gd name="connsiteX268" fmla="*/ 758389 w 7415104"/>
                    <a:gd name="connsiteY268" fmla="*/ 450700 h 1609071"/>
                    <a:gd name="connsiteX269" fmla="*/ 758389 w 7415104"/>
                    <a:gd name="connsiteY269" fmla="*/ 481035 h 1609071"/>
                    <a:gd name="connsiteX270" fmla="*/ 875397 w 7415104"/>
                    <a:gd name="connsiteY270" fmla="*/ 481035 h 1609071"/>
                    <a:gd name="connsiteX271" fmla="*/ 875397 w 7415104"/>
                    <a:gd name="connsiteY271" fmla="*/ 507037 h 1609071"/>
                    <a:gd name="connsiteX272" fmla="*/ 927401 w 7415104"/>
                    <a:gd name="connsiteY272" fmla="*/ 507037 h 1609071"/>
                    <a:gd name="connsiteX273" fmla="*/ 927401 w 7415104"/>
                    <a:gd name="connsiteY273" fmla="*/ 524372 h 1609071"/>
                    <a:gd name="connsiteX274" fmla="*/ 979405 w 7415104"/>
                    <a:gd name="connsiteY274" fmla="*/ 524372 h 1609071"/>
                    <a:gd name="connsiteX275" fmla="*/ 992406 w 7415104"/>
                    <a:gd name="connsiteY275" fmla="*/ 524372 h 1609071"/>
                    <a:gd name="connsiteX276" fmla="*/ 1005407 w 7415104"/>
                    <a:gd name="connsiteY276" fmla="*/ 537373 h 1609071"/>
                    <a:gd name="connsiteX277" fmla="*/ 1022312 w 7415104"/>
                    <a:gd name="connsiteY277" fmla="*/ 544516 h 1609071"/>
                    <a:gd name="connsiteX278" fmla="*/ 1057410 w 7415104"/>
                    <a:gd name="connsiteY278" fmla="*/ 549279 h 1609071"/>
                    <a:gd name="connsiteX279" fmla="*/ 1057410 w 7415104"/>
                    <a:gd name="connsiteY279" fmla="*/ 563375 h 1609071"/>
                    <a:gd name="connsiteX280" fmla="*/ 1079079 w 7415104"/>
                    <a:gd name="connsiteY280" fmla="*/ 563375 h 1609071"/>
                    <a:gd name="connsiteX281" fmla="*/ 1079079 w 7415104"/>
                    <a:gd name="connsiteY281" fmla="*/ 576376 h 1609071"/>
                    <a:gd name="connsiteX282" fmla="*/ 1157084 w 7415104"/>
                    <a:gd name="connsiteY282" fmla="*/ 576376 h 1609071"/>
                    <a:gd name="connsiteX283" fmla="*/ 1157084 w 7415104"/>
                    <a:gd name="connsiteY283" fmla="*/ 589377 h 1609071"/>
                    <a:gd name="connsiteX284" fmla="*/ 1196087 w 7415104"/>
                    <a:gd name="connsiteY284" fmla="*/ 589377 h 1609071"/>
                    <a:gd name="connsiteX285" fmla="*/ 1196087 w 7415104"/>
                    <a:gd name="connsiteY285" fmla="*/ 598044 h 1609071"/>
                    <a:gd name="connsiteX286" fmla="*/ 1243757 w 7415104"/>
                    <a:gd name="connsiteY286" fmla="*/ 598044 h 1609071"/>
                    <a:gd name="connsiteX287" fmla="*/ 1256758 w 7415104"/>
                    <a:gd name="connsiteY287" fmla="*/ 611045 h 1609071"/>
                    <a:gd name="connsiteX288" fmla="*/ 1269759 w 7415104"/>
                    <a:gd name="connsiteY288" fmla="*/ 624046 h 1609071"/>
                    <a:gd name="connsiteX289" fmla="*/ 1334764 w 7415104"/>
                    <a:gd name="connsiteY289" fmla="*/ 624046 h 1609071"/>
                    <a:gd name="connsiteX290" fmla="*/ 1334764 w 7415104"/>
                    <a:gd name="connsiteY290" fmla="*/ 645714 h 1609071"/>
                    <a:gd name="connsiteX291" fmla="*/ 1425771 w 7415104"/>
                    <a:gd name="connsiteY291" fmla="*/ 645714 h 1609071"/>
                    <a:gd name="connsiteX292" fmla="*/ 1434438 w 7415104"/>
                    <a:gd name="connsiteY292" fmla="*/ 654381 h 1609071"/>
                    <a:gd name="connsiteX293" fmla="*/ 1456106 w 7415104"/>
                    <a:gd name="connsiteY293" fmla="*/ 654381 h 1609071"/>
                    <a:gd name="connsiteX294" fmla="*/ 1456106 w 7415104"/>
                    <a:gd name="connsiteY294" fmla="*/ 667382 h 1609071"/>
                    <a:gd name="connsiteX295" fmla="*/ 1508110 w 7415104"/>
                    <a:gd name="connsiteY295" fmla="*/ 667382 h 1609071"/>
                    <a:gd name="connsiteX296" fmla="*/ 1508110 w 7415104"/>
                    <a:gd name="connsiteY296" fmla="*/ 684717 h 1609071"/>
                    <a:gd name="connsiteX297" fmla="*/ 1564447 w 7415104"/>
                    <a:gd name="connsiteY297" fmla="*/ 684717 h 1609071"/>
                    <a:gd name="connsiteX298" fmla="*/ 1571162 w 7415104"/>
                    <a:gd name="connsiteY298" fmla="*/ 693814 h 1609071"/>
                    <a:gd name="connsiteX299" fmla="*/ 1609737 w 7415104"/>
                    <a:gd name="connsiteY299" fmla="*/ 696194 h 1609071"/>
                    <a:gd name="connsiteX300" fmla="*/ 1627500 w 7415104"/>
                    <a:gd name="connsiteY300" fmla="*/ 709196 h 1609071"/>
                    <a:gd name="connsiteX301" fmla="*/ 1677122 w 7415104"/>
                    <a:gd name="connsiteY301" fmla="*/ 709196 h 1609071"/>
                    <a:gd name="connsiteX302" fmla="*/ 1678646 w 7415104"/>
                    <a:gd name="connsiteY302" fmla="*/ 722627 h 1609071"/>
                    <a:gd name="connsiteX303" fmla="*/ 1703123 w 7415104"/>
                    <a:gd name="connsiteY303" fmla="*/ 728053 h 1609071"/>
                    <a:gd name="connsiteX304" fmla="*/ 1716124 w 7415104"/>
                    <a:gd name="connsiteY304" fmla="*/ 741054 h 1609071"/>
                    <a:gd name="connsiteX305" fmla="*/ 1750794 w 7415104"/>
                    <a:gd name="connsiteY305" fmla="*/ 745816 h 1609071"/>
                    <a:gd name="connsiteX306" fmla="*/ 1750794 w 7415104"/>
                    <a:gd name="connsiteY306" fmla="*/ 767056 h 1609071"/>
                    <a:gd name="connsiteX307" fmla="*/ 1798465 w 7415104"/>
                    <a:gd name="connsiteY307" fmla="*/ 767056 h 1609071"/>
                    <a:gd name="connsiteX308" fmla="*/ 1798465 w 7415104"/>
                    <a:gd name="connsiteY308" fmla="*/ 780057 h 1609071"/>
                    <a:gd name="connsiteX309" fmla="*/ 1841801 w 7415104"/>
                    <a:gd name="connsiteY309" fmla="*/ 780057 h 1609071"/>
                    <a:gd name="connsiteX310" fmla="*/ 1841801 w 7415104"/>
                    <a:gd name="connsiteY310" fmla="*/ 797392 h 1609071"/>
                    <a:gd name="connsiteX311" fmla="*/ 1876470 w 7415104"/>
                    <a:gd name="connsiteY311" fmla="*/ 797392 h 1609071"/>
                    <a:gd name="connsiteX312" fmla="*/ 1887520 w 7415104"/>
                    <a:gd name="connsiteY312" fmla="*/ 813204 h 1609071"/>
                    <a:gd name="connsiteX313" fmla="*/ 1960762 w 7415104"/>
                    <a:gd name="connsiteY313" fmla="*/ 813204 h 1609071"/>
                    <a:gd name="connsiteX314" fmla="*/ 2006480 w 7415104"/>
                    <a:gd name="connsiteY314" fmla="*/ 813204 h 1609071"/>
                    <a:gd name="connsiteX315" fmla="*/ 2006739 w 7415104"/>
                    <a:gd name="connsiteY315" fmla="*/ 826521 h 1609071"/>
                    <a:gd name="connsiteX316" fmla="*/ 2044839 w 7415104"/>
                    <a:gd name="connsiteY316" fmla="*/ 828902 h 1609071"/>
                    <a:gd name="connsiteX317" fmla="*/ 2048722 w 7415104"/>
                    <a:gd name="connsiteY317" fmla="*/ 850683 h 1609071"/>
                    <a:gd name="connsiteX318" fmla="*/ 2108535 w 7415104"/>
                    <a:gd name="connsiteY318" fmla="*/ 848301 h 1609071"/>
                    <a:gd name="connsiteX319" fmla="*/ 2106154 w 7415104"/>
                    <a:gd name="connsiteY319" fmla="*/ 862396 h 1609071"/>
                    <a:gd name="connsiteX320" fmla="*/ 2119155 w 7415104"/>
                    <a:gd name="connsiteY320" fmla="*/ 862396 h 1609071"/>
                    <a:gd name="connsiteX321" fmla="*/ 2136489 w 7415104"/>
                    <a:gd name="connsiteY321" fmla="*/ 862396 h 1609071"/>
                    <a:gd name="connsiteX322" fmla="*/ 2184159 w 7415104"/>
                    <a:gd name="connsiteY322" fmla="*/ 862396 h 1609071"/>
                    <a:gd name="connsiteX323" fmla="*/ 2184159 w 7415104"/>
                    <a:gd name="connsiteY323" fmla="*/ 888398 h 1609071"/>
                    <a:gd name="connsiteX324" fmla="*/ 2200254 w 7415104"/>
                    <a:gd name="connsiteY324" fmla="*/ 883636 h 1609071"/>
                    <a:gd name="connsiteX325" fmla="*/ 2240733 w 7415104"/>
                    <a:gd name="connsiteY325" fmla="*/ 881254 h 1609071"/>
                    <a:gd name="connsiteX326" fmla="*/ 2240102 w 7415104"/>
                    <a:gd name="connsiteY326" fmla="*/ 914626 h 1609071"/>
                    <a:gd name="connsiteX327" fmla="*/ 2265640 w 7415104"/>
                    <a:gd name="connsiteY327" fmla="*/ 915879 h 1609071"/>
                    <a:gd name="connsiteX328" fmla="*/ 2266296 w 7415104"/>
                    <a:gd name="connsiteY328" fmla="*/ 878908 h 1609071"/>
                    <a:gd name="connsiteX329" fmla="*/ 2294025 w 7415104"/>
                    <a:gd name="connsiteY329" fmla="*/ 877780 h 1609071"/>
                    <a:gd name="connsiteX330" fmla="*/ 2294025 w 7415104"/>
                    <a:gd name="connsiteY330" fmla="*/ 912018 h 1609071"/>
                    <a:gd name="connsiteX331" fmla="*/ 2335837 w 7415104"/>
                    <a:gd name="connsiteY331" fmla="*/ 914400 h 1609071"/>
                    <a:gd name="connsiteX332" fmla="*/ 2335837 w 7415104"/>
                    <a:gd name="connsiteY332" fmla="*/ 923068 h 1609071"/>
                    <a:gd name="connsiteX333" fmla="*/ 2400842 w 7415104"/>
                    <a:gd name="connsiteY333" fmla="*/ 923068 h 1609071"/>
                    <a:gd name="connsiteX334" fmla="*/ 2400842 w 7415104"/>
                    <a:gd name="connsiteY334" fmla="*/ 936069 h 1609071"/>
                    <a:gd name="connsiteX335" fmla="*/ 2439845 w 7415104"/>
                    <a:gd name="connsiteY335" fmla="*/ 936069 h 1609071"/>
                    <a:gd name="connsiteX336" fmla="*/ 2452846 w 7415104"/>
                    <a:gd name="connsiteY336" fmla="*/ 949070 h 1609071"/>
                    <a:gd name="connsiteX337" fmla="*/ 2500516 w 7415104"/>
                    <a:gd name="connsiteY337" fmla="*/ 949070 h 1609071"/>
                    <a:gd name="connsiteX338" fmla="*/ 2513517 w 7415104"/>
                    <a:gd name="connsiteY338" fmla="*/ 962071 h 1609071"/>
                    <a:gd name="connsiteX339" fmla="*/ 2543852 w 7415104"/>
                    <a:gd name="connsiteY339" fmla="*/ 962071 h 1609071"/>
                    <a:gd name="connsiteX340" fmla="*/ 2543852 w 7415104"/>
                    <a:gd name="connsiteY340" fmla="*/ 979405 h 1609071"/>
                    <a:gd name="connsiteX341" fmla="*/ 2591522 w 7415104"/>
                    <a:gd name="connsiteY341" fmla="*/ 979405 h 1609071"/>
                    <a:gd name="connsiteX342" fmla="*/ 2591522 w 7415104"/>
                    <a:gd name="connsiteY342" fmla="*/ 1001073 h 1609071"/>
                    <a:gd name="connsiteX343" fmla="*/ 2639192 w 7415104"/>
                    <a:gd name="connsiteY343" fmla="*/ 1001073 h 1609071"/>
                    <a:gd name="connsiteX344" fmla="*/ 2639192 w 7415104"/>
                    <a:gd name="connsiteY344" fmla="*/ 1022742 h 1609071"/>
                    <a:gd name="connsiteX345" fmla="*/ 2699864 w 7415104"/>
                    <a:gd name="connsiteY345" fmla="*/ 1022742 h 1609071"/>
                    <a:gd name="connsiteX346" fmla="*/ 2699864 w 7415104"/>
                    <a:gd name="connsiteY346" fmla="*/ 1040076 h 1609071"/>
                    <a:gd name="connsiteX347" fmla="*/ 2808205 w 7415104"/>
                    <a:gd name="connsiteY347" fmla="*/ 1040076 h 1609071"/>
                    <a:gd name="connsiteX348" fmla="*/ 2816872 w 7415104"/>
                    <a:gd name="connsiteY348" fmla="*/ 1048743 h 1609071"/>
                    <a:gd name="connsiteX349" fmla="*/ 2825540 w 7415104"/>
                    <a:gd name="connsiteY349" fmla="*/ 1057411 h 1609071"/>
                    <a:gd name="connsiteX350" fmla="*/ 2864542 w 7415104"/>
                    <a:gd name="connsiteY350" fmla="*/ 1057411 h 1609071"/>
                    <a:gd name="connsiteX351" fmla="*/ 2886210 w 7415104"/>
                    <a:gd name="connsiteY351" fmla="*/ 1057411 h 1609071"/>
                    <a:gd name="connsiteX352" fmla="*/ 2899211 w 7415104"/>
                    <a:gd name="connsiteY352" fmla="*/ 1057411 h 1609071"/>
                    <a:gd name="connsiteX353" fmla="*/ 2916546 w 7415104"/>
                    <a:gd name="connsiteY353" fmla="*/ 1074746 h 1609071"/>
                    <a:gd name="connsiteX354" fmla="*/ 2968550 w 7415104"/>
                    <a:gd name="connsiteY354" fmla="*/ 1074746 h 1609071"/>
                    <a:gd name="connsiteX355" fmla="*/ 2968550 w 7415104"/>
                    <a:gd name="connsiteY355" fmla="*/ 1092080 h 1609071"/>
                    <a:gd name="connsiteX356" fmla="*/ 3134752 w 7415104"/>
                    <a:gd name="connsiteY356" fmla="*/ 1094462 h 1609071"/>
                    <a:gd name="connsiteX357" fmla="*/ 3134753 w 7415104"/>
                    <a:gd name="connsiteY357" fmla="*/ 1122414 h 1609071"/>
                    <a:gd name="connsiteX358" fmla="*/ 3211234 w 7415104"/>
                    <a:gd name="connsiteY358" fmla="*/ 1122415 h 1609071"/>
                    <a:gd name="connsiteX359" fmla="*/ 3215568 w 7415104"/>
                    <a:gd name="connsiteY359" fmla="*/ 1122415 h 1609071"/>
                    <a:gd name="connsiteX360" fmla="*/ 3302241 w 7415104"/>
                    <a:gd name="connsiteY360" fmla="*/ 1124796 h 1609071"/>
                    <a:gd name="connsiteX361" fmla="*/ 3302241 w 7415104"/>
                    <a:gd name="connsiteY361" fmla="*/ 1141273 h 1609071"/>
                    <a:gd name="connsiteX362" fmla="*/ 3396058 w 7415104"/>
                    <a:gd name="connsiteY362" fmla="*/ 1141273 h 1609071"/>
                    <a:gd name="connsiteX363" fmla="*/ 3396057 w 7415104"/>
                    <a:gd name="connsiteY363" fmla="*/ 1154703 h 1609071"/>
                    <a:gd name="connsiteX364" fmla="*/ 3445251 w 7415104"/>
                    <a:gd name="connsiteY364" fmla="*/ 1157085 h 1609071"/>
                    <a:gd name="connsiteX365" fmla="*/ 3444395 w 7415104"/>
                    <a:gd name="connsiteY365" fmla="*/ 1165753 h 1609071"/>
                    <a:gd name="connsiteX366" fmla="*/ 3596929 w 7415104"/>
                    <a:gd name="connsiteY366" fmla="*/ 1165753 h 1609071"/>
                    <a:gd name="connsiteX367" fmla="*/ 3596929 w 7415104"/>
                    <a:gd name="connsiteY367" fmla="*/ 1178753 h 1609071"/>
                    <a:gd name="connsiteX368" fmla="*/ 3705270 w 7415104"/>
                    <a:gd name="connsiteY368" fmla="*/ 1178753 h 1609071"/>
                    <a:gd name="connsiteX369" fmla="*/ 3709604 w 7415104"/>
                    <a:gd name="connsiteY369" fmla="*/ 1183087 h 1609071"/>
                    <a:gd name="connsiteX370" fmla="*/ 3963337 w 7415104"/>
                    <a:gd name="connsiteY370" fmla="*/ 1187849 h 1609071"/>
                    <a:gd name="connsiteX371" fmla="*/ 3960956 w 7415104"/>
                    <a:gd name="connsiteY371" fmla="*/ 1204755 h 1609071"/>
                    <a:gd name="connsiteX372" fmla="*/ 3991291 w 7415104"/>
                    <a:gd name="connsiteY372" fmla="*/ 1204755 h 1609071"/>
                    <a:gd name="connsiteX373" fmla="*/ 3991291 w 7415104"/>
                    <a:gd name="connsiteY373" fmla="*/ 1178753 h 1609071"/>
                    <a:gd name="connsiteX374" fmla="*/ 4030294 w 7415104"/>
                    <a:gd name="connsiteY374" fmla="*/ 1178753 h 1609071"/>
                    <a:gd name="connsiteX375" fmla="*/ 4030294 w 7415104"/>
                    <a:gd name="connsiteY375" fmla="*/ 1213422 h 1609071"/>
                    <a:gd name="connsiteX376" fmla="*/ 4043295 w 7415104"/>
                    <a:gd name="connsiteY376" fmla="*/ 1213422 h 1609071"/>
                    <a:gd name="connsiteX377" fmla="*/ 4043295 w 7415104"/>
                    <a:gd name="connsiteY377" fmla="*/ 1222089 h 1609071"/>
                    <a:gd name="connsiteX378" fmla="*/ 4164637 w 7415104"/>
                    <a:gd name="connsiteY378" fmla="*/ 1222089 h 1609071"/>
                    <a:gd name="connsiteX379" fmla="*/ 4164637 w 7415104"/>
                    <a:gd name="connsiteY379" fmla="*/ 1243758 h 1609071"/>
                    <a:gd name="connsiteX380" fmla="*/ 4320648 w 7415104"/>
                    <a:gd name="connsiteY380" fmla="*/ 1243758 h 1609071"/>
                    <a:gd name="connsiteX381" fmla="*/ 4320648 w 7415104"/>
                    <a:gd name="connsiteY381" fmla="*/ 1261092 h 1609071"/>
                    <a:gd name="connsiteX382" fmla="*/ 4398654 w 7415104"/>
                    <a:gd name="connsiteY382" fmla="*/ 1261092 h 1609071"/>
                    <a:gd name="connsiteX383" fmla="*/ 4398654 w 7415104"/>
                    <a:gd name="connsiteY383" fmla="*/ 1287094 h 1609071"/>
                    <a:gd name="connsiteX384" fmla="*/ 4450658 w 7415104"/>
                    <a:gd name="connsiteY384" fmla="*/ 1287094 h 1609071"/>
                    <a:gd name="connsiteX385" fmla="*/ 4476660 w 7415104"/>
                    <a:gd name="connsiteY385" fmla="*/ 1287094 h 1609071"/>
                    <a:gd name="connsiteX386" fmla="*/ 4498328 w 7415104"/>
                    <a:gd name="connsiteY386" fmla="*/ 1308762 h 1609071"/>
                    <a:gd name="connsiteX387" fmla="*/ 4593668 w 7415104"/>
                    <a:gd name="connsiteY387" fmla="*/ 1308762 h 1609071"/>
                    <a:gd name="connsiteX388" fmla="*/ 4597573 w 7415104"/>
                    <a:gd name="connsiteY388" fmla="*/ 1317430 h 1609071"/>
                    <a:gd name="connsiteX389" fmla="*/ 4663007 w 7415104"/>
                    <a:gd name="connsiteY389" fmla="*/ 1317430 h 1609071"/>
                    <a:gd name="connsiteX390" fmla="*/ 4663007 w 7415104"/>
                    <a:gd name="connsiteY390" fmla="*/ 1339098 h 1609071"/>
                    <a:gd name="connsiteX391" fmla="*/ 4706343 w 7415104"/>
                    <a:gd name="connsiteY391" fmla="*/ 1339098 h 1609071"/>
                    <a:gd name="connsiteX392" fmla="*/ 4710677 w 7415104"/>
                    <a:gd name="connsiteY392" fmla="*/ 1343432 h 1609071"/>
                    <a:gd name="connsiteX393" fmla="*/ 4767014 w 7415104"/>
                    <a:gd name="connsiteY393" fmla="*/ 1343432 h 1609071"/>
                    <a:gd name="connsiteX394" fmla="*/ 4765727 w 7415104"/>
                    <a:gd name="connsiteY394" fmla="*/ 1358814 h 1609071"/>
                    <a:gd name="connsiteX395" fmla="*/ 5005365 w 7415104"/>
                    <a:gd name="connsiteY395" fmla="*/ 1356433 h 1609071"/>
                    <a:gd name="connsiteX396" fmla="*/ 5018366 w 7415104"/>
                    <a:gd name="connsiteY396" fmla="*/ 1369434 h 1609071"/>
                    <a:gd name="connsiteX397" fmla="*/ 5152709 w 7415104"/>
                    <a:gd name="connsiteY397" fmla="*/ 1369434 h 1609071"/>
                    <a:gd name="connsiteX398" fmla="*/ 5152709 w 7415104"/>
                    <a:gd name="connsiteY398" fmla="*/ 1391102 h 1609071"/>
                    <a:gd name="connsiteX399" fmla="*/ 5282719 w 7415104"/>
                    <a:gd name="connsiteY399" fmla="*/ 1391102 h 1609071"/>
                    <a:gd name="connsiteX400" fmla="*/ 5291386 w 7415104"/>
                    <a:gd name="connsiteY400" fmla="*/ 1399769 h 1609071"/>
                    <a:gd name="connsiteX401" fmla="*/ 5356391 w 7415104"/>
                    <a:gd name="connsiteY401" fmla="*/ 1399769 h 1609071"/>
                    <a:gd name="connsiteX402" fmla="*/ 5369392 w 7415104"/>
                    <a:gd name="connsiteY402" fmla="*/ 1399769 h 1609071"/>
                    <a:gd name="connsiteX403" fmla="*/ 5369392 w 7415104"/>
                    <a:gd name="connsiteY403" fmla="*/ 1421437 h 1609071"/>
                    <a:gd name="connsiteX404" fmla="*/ 5473399 w 7415104"/>
                    <a:gd name="connsiteY404" fmla="*/ 1421437 h 1609071"/>
                    <a:gd name="connsiteX405" fmla="*/ 5473399 w 7415104"/>
                    <a:gd name="connsiteY405" fmla="*/ 1399769 h 1609071"/>
                    <a:gd name="connsiteX406" fmla="*/ 5512402 w 7415104"/>
                    <a:gd name="connsiteY406" fmla="*/ 1399769 h 1609071"/>
                    <a:gd name="connsiteX407" fmla="*/ 5512402 w 7415104"/>
                    <a:gd name="connsiteY407" fmla="*/ 1425771 h 1609071"/>
                    <a:gd name="connsiteX408" fmla="*/ 5607742 w 7415104"/>
                    <a:gd name="connsiteY408" fmla="*/ 1425771 h 1609071"/>
                    <a:gd name="connsiteX409" fmla="*/ 5607742 w 7415104"/>
                    <a:gd name="connsiteY409" fmla="*/ 1399769 h 1609071"/>
                    <a:gd name="connsiteX410" fmla="*/ 5664080 w 7415104"/>
                    <a:gd name="connsiteY410" fmla="*/ 1399769 h 1609071"/>
                    <a:gd name="connsiteX411" fmla="*/ 5664080 w 7415104"/>
                    <a:gd name="connsiteY411" fmla="*/ 1434438 h 1609071"/>
                    <a:gd name="connsiteX412" fmla="*/ 5685748 w 7415104"/>
                    <a:gd name="connsiteY412" fmla="*/ 1434438 h 1609071"/>
                    <a:gd name="connsiteX413" fmla="*/ 5685748 w 7415104"/>
                    <a:gd name="connsiteY413" fmla="*/ 1443106 h 1609071"/>
                    <a:gd name="connsiteX414" fmla="*/ 5716083 w 7415104"/>
                    <a:gd name="connsiteY414" fmla="*/ 1443106 h 1609071"/>
                    <a:gd name="connsiteX415" fmla="*/ 5716083 w 7415104"/>
                    <a:gd name="connsiteY415" fmla="*/ 1456106 h 1609071"/>
                    <a:gd name="connsiteX416" fmla="*/ 5794089 w 7415104"/>
                    <a:gd name="connsiteY416" fmla="*/ 1456106 h 1609071"/>
                    <a:gd name="connsiteX417" fmla="*/ 5794089 w 7415104"/>
                    <a:gd name="connsiteY417" fmla="*/ 1421437 h 1609071"/>
                    <a:gd name="connsiteX418" fmla="*/ 5837426 w 7415104"/>
                    <a:gd name="connsiteY418" fmla="*/ 1421437 h 1609071"/>
                    <a:gd name="connsiteX419" fmla="*/ 5837426 w 7415104"/>
                    <a:gd name="connsiteY419" fmla="*/ 1456106 h 1609071"/>
                    <a:gd name="connsiteX420" fmla="*/ 5902430 w 7415104"/>
                    <a:gd name="connsiteY420" fmla="*/ 1456106 h 1609071"/>
                    <a:gd name="connsiteX421" fmla="*/ 5928432 w 7415104"/>
                    <a:gd name="connsiteY421" fmla="*/ 1456106 h 1609071"/>
                    <a:gd name="connsiteX422" fmla="*/ 5928432 w 7415104"/>
                    <a:gd name="connsiteY422" fmla="*/ 1473441 h 1609071"/>
                    <a:gd name="connsiteX423" fmla="*/ 5945767 w 7415104"/>
                    <a:gd name="connsiteY423" fmla="*/ 1473441 h 1609071"/>
                    <a:gd name="connsiteX424" fmla="*/ 5950101 w 7415104"/>
                    <a:gd name="connsiteY424" fmla="*/ 1477775 h 1609071"/>
                    <a:gd name="connsiteX425" fmla="*/ 6019439 w 7415104"/>
                    <a:gd name="connsiteY425" fmla="*/ 1477775 h 1609071"/>
                    <a:gd name="connsiteX426" fmla="*/ 6019439 w 7415104"/>
                    <a:gd name="connsiteY426" fmla="*/ 1456106 h 1609071"/>
                    <a:gd name="connsiteX427" fmla="*/ 6058442 w 7415104"/>
                    <a:gd name="connsiteY427" fmla="*/ 1456106 h 1609071"/>
                    <a:gd name="connsiteX428" fmla="*/ 6058442 w 7415104"/>
                    <a:gd name="connsiteY428" fmla="*/ 1499443 h 1609071"/>
                    <a:gd name="connsiteX429" fmla="*/ 6110446 w 7415104"/>
                    <a:gd name="connsiteY429" fmla="*/ 1499443 h 1609071"/>
                    <a:gd name="connsiteX430" fmla="*/ 6110446 w 7415104"/>
                    <a:gd name="connsiteY430" fmla="*/ 1508110 h 1609071"/>
                    <a:gd name="connsiteX431" fmla="*/ 6188451 w 7415104"/>
                    <a:gd name="connsiteY431" fmla="*/ 1508110 h 1609071"/>
                    <a:gd name="connsiteX432" fmla="*/ 6188451 w 7415104"/>
                    <a:gd name="connsiteY432" fmla="*/ 1464774 h 1609071"/>
                    <a:gd name="connsiteX433" fmla="*/ 6227454 w 7415104"/>
                    <a:gd name="connsiteY433" fmla="*/ 1464774 h 1609071"/>
                    <a:gd name="connsiteX434" fmla="*/ 6227454 w 7415104"/>
                    <a:gd name="connsiteY434" fmla="*/ 1516778 h 1609071"/>
                    <a:gd name="connsiteX435" fmla="*/ 6353130 w 7415104"/>
                    <a:gd name="connsiteY435" fmla="*/ 1516778 h 1609071"/>
                    <a:gd name="connsiteX436" fmla="*/ 6353130 w 7415104"/>
                    <a:gd name="connsiteY436" fmla="*/ 1477775 h 1609071"/>
                    <a:gd name="connsiteX437" fmla="*/ 6397561 w 7415104"/>
                    <a:gd name="connsiteY437" fmla="*/ 1475394 h 1609071"/>
                    <a:gd name="connsiteX438" fmla="*/ 6399942 w 7415104"/>
                    <a:gd name="connsiteY438" fmla="*/ 1529778 h 1609071"/>
                    <a:gd name="connsiteX439" fmla="*/ 6447614 w 7415104"/>
                    <a:gd name="connsiteY439" fmla="*/ 1529778 h 1609071"/>
                    <a:gd name="connsiteX440" fmla="*/ 6447611 w 7415104"/>
                    <a:gd name="connsiteY440" fmla="*/ 1479728 h 1609071"/>
                    <a:gd name="connsiteX441" fmla="*/ 6487473 w 7415104"/>
                    <a:gd name="connsiteY441" fmla="*/ 1482108 h 1609071"/>
                    <a:gd name="connsiteX442" fmla="*/ 6487473 w 7415104"/>
                    <a:gd name="connsiteY442" fmla="*/ 1529778 h 1609071"/>
                    <a:gd name="connsiteX443" fmla="*/ 6561145 w 7415104"/>
                    <a:gd name="connsiteY443" fmla="*/ 1529778 h 1609071"/>
                    <a:gd name="connsiteX444" fmla="*/ 6565479 w 7415104"/>
                    <a:gd name="connsiteY444" fmla="*/ 1534112 h 1609071"/>
                    <a:gd name="connsiteX445" fmla="*/ 6674249 w 7415104"/>
                    <a:gd name="connsiteY445" fmla="*/ 1536493 h 1609071"/>
                    <a:gd name="connsiteX446" fmla="*/ 6676630 w 7415104"/>
                    <a:gd name="connsiteY446" fmla="*/ 1499443 h 1609071"/>
                    <a:gd name="connsiteX447" fmla="*/ 6738825 w 7415104"/>
                    <a:gd name="connsiteY447" fmla="*/ 1499443 h 1609071"/>
                    <a:gd name="connsiteX448" fmla="*/ 6738825 w 7415104"/>
                    <a:gd name="connsiteY448" fmla="*/ 1542779 h 1609071"/>
                    <a:gd name="connsiteX449" fmla="*/ 6795162 w 7415104"/>
                    <a:gd name="connsiteY449" fmla="*/ 1542779 h 1609071"/>
                    <a:gd name="connsiteX450" fmla="*/ 6795162 w 7415104"/>
                    <a:gd name="connsiteY450" fmla="*/ 1499443 h 1609071"/>
                    <a:gd name="connsiteX451" fmla="*/ 6829831 w 7415104"/>
                    <a:gd name="connsiteY451" fmla="*/ 1499443 h 1609071"/>
                    <a:gd name="connsiteX452" fmla="*/ 6829831 w 7415104"/>
                    <a:gd name="connsiteY452" fmla="*/ 1529778 h 1609071"/>
                    <a:gd name="connsiteX453" fmla="*/ 6847166 w 7415104"/>
                    <a:gd name="connsiteY453" fmla="*/ 1529778 h 1609071"/>
                    <a:gd name="connsiteX454" fmla="*/ 6847166 w 7415104"/>
                    <a:gd name="connsiteY454" fmla="*/ 1555780 h 1609071"/>
                    <a:gd name="connsiteX455" fmla="*/ 7050847 w 7415104"/>
                    <a:gd name="connsiteY455" fmla="*/ 1555780 h 1609071"/>
                    <a:gd name="connsiteX456" fmla="*/ 7063848 w 7415104"/>
                    <a:gd name="connsiteY456" fmla="*/ 1568781 h 1609071"/>
                    <a:gd name="connsiteX457" fmla="*/ 7133187 w 7415104"/>
                    <a:gd name="connsiteY457" fmla="*/ 1568781 h 1609071"/>
                    <a:gd name="connsiteX458" fmla="*/ 7133187 w 7415104"/>
                    <a:gd name="connsiteY458" fmla="*/ 1586116 h 1609071"/>
                    <a:gd name="connsiteX459" fmla="*/ 7284865 w 7415104"/>
                    <a:gd name="connsiteY459" fmla="*/ 1586116 h 1609071"/>
                    <a:gd name="connsiteX460" fmla="*/ 7284865 w 7415104"/>
                    <a:gd name="connsiteY460" fmla="*/ 1607784 h 1609071"/>
                    <a:gd name="connsiteX461" fmla="*/ 7414876 w 7415104"/>
                    <a:gd name="connsiteY461" fmla="*/ 1609071 h 1609071"/>
                    <a:gd name="connsiteX0" fmla="*/ 7415734 w 7415962"/>
                    <a:gd name="connsiteY0" fmla="*/ 1609071 h 1609071"/>
                    <a:gd name="connsiteX1" fmla="*/ 7415732 w 7415962"/>
                    <a:gd name="connsiteY1" fmla="*/ 1508110 h 1609071"/>
                    <a:gd name="connsiteX2" fmla="*/ 7272722 w 7415962"/>
                    <a:gd name="connsiteY2" fmla="*/ 1508110 h 1609071"/>
                    <a:gd name="connsiteX3" fmla="*/ 7271628 w 7415962"/>
                    <a:gd name="connsiteY3" fmla="*/ 1495109 h 1609071"/>
                    <a:gd name="connsiteX4" fmla="*/ 7155285 w 7415962"/>
                    <a:gd name="connsiteY4" fmla="*/ 1492728 h 1609071"/>
                    <a:gd name="connsiteX5" fmla="*/ 7152238 w 7415962"/>
                    <a:gd name="connsiteY5" fmla="*/ 1465868 h 1609071"/>
                    <a:gd name="connsiteX6" fmla="*/ 7038705 w 7415962"/>
                    <a:gd name="connsiteY6" fmla="*/ 1461106 h 1609071"/>
                    <a:gd name="connsiteX7" fmla="*/ 7038705 w 7415962"/>
                    <a:gd name="connsiteY7" fmla="*/ 1451773 h 1609071"/>
                    <a:gd name="connsiteX8" fmla="*/ 6874026 w 7415962"/>
                    <a:gd name="connsiteY8" fmla="*/ 1451773 h 1609071"/>
                    <a:gd name="connsiteX9" fmla="*/ 6874454 w 7415962"/>
                    <a:gd name="connsiteY9" fmla="*/ 1437915 h 1609071"/>
                    <a:gd name="connsiteX10" fmla="*/ 6826356 w 7415962"/>
                    <a:gd name="connsiteY10" fmla="*/ 1440295 h 1609071"/>
                    <a:gd name="connsiteX11" fmla="*/ 6826356 w 7415962"/>
                    <a:gd name="connsiteY11" fmla="*/ 1495109 h 1609071"/>
                    <a:gd name="connsiteX12" fmla="*/ 6787353 w 7415962"/>
                    <a:gd name="connsiteY12" fmla="*/ 1495109 h 1609071"/>
                    <a:gd name="connsiteX13" fmla="*/ 6787353 w 7415962"/>
                    <a:gd name="connsiteY13" fmla="*/ 1443106 h 1609071"/>
                    <a:gd name="connsiteX14" fmla="*/ 6739683 w 7415962"/>
                    <a:gd name="connsiteY14" fmla="*/ 1443106 h 1609071"/>
                    <a:gd name="connsiteX15" fmla="*/ 6739682 w 7415962"/>
                    <a:gd name="connsiteY15" fmla="*/ 1477775 h 1609071"/>
                    <a:gd name="connsiteX16" fmla="*/ 6679012 w 7415962"/>
                    <a:gd name="connsiteY16" fmla="*/ 1477775 h 1609071"/>
                    <a:gd name="connsiteX17" fmla="*/ 6679012 w 7415962"/>
                    <a:gd name="connsiteY17" fmla="*/ 1438772 h 1609071"/>
                    <a:gd name="connsiteX18" fmla="*/ 6562003 w 7415962"/>
                    <a:gd name="connsiteY18" fmla="*/ 1438772 h 1609071"/>
                    <a:gd name="connsiteX19" fmla="*/ 6556145 w 7415962"/>
                    <a:gd name="connsiteY19" fmla="*/ 1428152 h 1609071"/>
                    <a:gd name="connsiteX20" fmla="*/ 6483997 w 7415962"/>
                    <a:gd name="connsiteY20" fmla="*/ 1425771 h 1609071"/>
                    <a:gd name="connsiteX21" fmla="*/ 6483997 w 7415962"/>
                    <a:gd name="connsiteY21" fmla="*/ 1482108 h 1609071"/>
                    <a:gd name="connsiteX22" fmla="*/ 6452138 w 7415962"/>
                    <a:gd name="connsiteY22" fmla="*/ 1479727 h 1609071"/>
                    <a:gd name="connsiteX23" fmla="*/ 6449758 w 7415962"/>
                    <a:gd name="connsiteY23" fmla="*/ 1427295 h 1609071"/>
                    <a:gd name="connsiteX24" fmla="*/ 6398849 w 7415962"/>
                    <a:gd name="connsiteY24" fmla="*/ 1424913 h 1609071"/>
                    <a:gd name="connsiteX25" fmla="*/ 6398848 w 7415962"/>
                    <a:gd name="connsiteY25" fmla="*/ 1477775 h 1609071"/>
                    <a:gd name="connsiteX26" fmla="*/ 6358322 w 7415962"/>
                    <a:gd name="connsiteY26" fmla="*/ 1477775 h 1609071"/>
                    <a:gd name="connsiteX27" fmla="*/ 6358322 w 7415962"/>
                    <a:gd name="connsiteY27" fmla="*/ 1430105 h 1609071"/>
                    <a:gd name="connsiteX28" fmla="*/ 6223978 w 7415962"/>
                    <a:gd name="connsiteY28" fmla="*/ 1430105 h 1609071"/>
                    <a:gd name="connsiteX29" fmla="*/ 6223978 w 7415962"/>
                    <a:gd name="connsiteY29" fmla="*/ 1443106 h 1609071"/>
                    <a:gd name="connsiteX30" fmla="*/ 6193643 w 7415962"/>
                    <a:gd name="connsiteY30" fmla="*/ 1443106 h 1609071"/>
                    <a:gd name="connsiteX31" fmla="*/ 6193643 w 7415962"/>
                    <a:gd name="connsiteY31" fmla="*/ 1412770 h 1609071"/>
                    <a:gd name="connsiteX32" fmla="*/ 6119971 w 7415962"/>
                    <a:gd name="connsiteY32" fmla="*/ 1412770 h 1609071"/>
                    <a:gd name="connsiteX33" fmla="*/ 6119971 w 7415962"/>
                    <a:gd name="connsiteY33" fmla="*/ 1399769 h 1609071"/>
                    <a:gd name="connsiteX34" fmla="*/ 6072301 w 7415962"/>
                    <a:gd name="connsiteY34" fmla="*/ 1399769 h 1609071"/>
                    <a:gd name="connsiteX35" fmla="*/ 6072301 w 7415962"/>
                    <a:gd name="connsiteY35" fmla="*/ 1382434 h 1609071"/>
                    <a:gd name="connsiteX36" fmla="*/ 6050632 w 7415962"/>
                    <a:gd name="connsiteY36" fmla="*/ 1382434 h 1609071"/>
                    <a:gd name="connsiteX37" fmla="*/ 6050632 w 7415962"/>
                    <a:gd name="connsiteY37" fmla="*/ 1421437 h 1609071"/>
                    <a:gd name="connsiteX38" fmla="*/ 6020297 w 7415962"/>
                    <a:gd name="connsiteY38" fmla="*/ 1421437 h 1609071"/>
                    <a:gd name="connsiteX39" fmla="*/ 6020297 w 7415962"/>
                    <a:gd name="connsiteY39" fmla="*/ 1391102 h 1609071"/>
                    <a:gd name="connsiteX40" fmla="*/ 5959626 w 7415962"/>
                    <a:gd name="connsiteY40" fmla="*/ 1391102 h 1609071"/>
                    <a:gd name="connsiteX41" fmla="*/ 5959626 w 7415962"/>
                    <a:gd name="connsiteY41" fmla="*/ 1373767 h 1609071"/>
                    <a:gd name="connsiteX42" fmla="*/ 5920623 w 7415962"/>
                    <a:gd name="connsiteY42" fmla="*/ 1373767 h 1609071"/>
                    <a:gd name="connsiteX43" fmla="*/ 5920623 w 7415962"/>
                    <a:gd name="connsiteY43" fmla="*/ 1352099 h 1609071"/>
                    <a:gd name="connsiteX44" fmla="*/ 5825283 w 7415962"/>
                    <a:gd name="connsiteY44" fmla="*/ 1352099 h 1609071"/>
                    <a:gd name="connsiteX45" fmla="*/ 5825283 w 7415962"/>
                    <a:gd name="connsiteY45" fmla="*/ 1399769 h 1609071"/>
                    <a:gd name="connsiteX46" fmla="*/ 5790614 w 7415962"/>
                    <a:gd name="connsiteY46" fmla="*/ 1399769 h 1609071"/>
                    <a:gd name="connsiteX47" fmla="*/ 5790614 w 7415962"/>
                    <a:gd name="connsiteY47" fmla="*/ 1365100 h 1609071"/>
                    <a:gd name="connsiteX48" fmla="*/ 5699607 w 7415962"/>
                    <a:gd name="connsiteY48" fmla="*/ 1365100 h 1609071"/>
                    <a:gd name="connsiteX49" fmla="*/ 5699607 w 7415962"/>
                    <a:gd name="connsiteY49" fmla="*/ 1326097 h 1609071"/>
                    <a:gd name="connsiteX50" fmla="*/ 5656270 w 7415962"/>
                    <a:gd name="connsiteY50" fmla="*/ 1326097 h 1609071"/>
                    <a:gd name="connsiteX51" fmla="*/ 5656270 w 7415962"/>
                    <a:gd name="connsiteY51" fmla="*/ 1373767 h 1609071"/>
                    <a:gd name="connsiteX52" fmla="*/ 5612934 w 7415962"/>
                    <a:gd name="connsiteY52" fmla="*/ 1373767 h 1609071"/>
                    <a:gd name="connsiteX53" fmla="*/ 5612934 w 7415962"/>
                    <a:gd name="connsiteY53" fmla="*/ 1334764 h 1609071"/>
                    <a:gd name="connsiteX54" fmla="*/ 5513260 w 7415962"/>
                    <a:gd name="connsiteY54" fmla="*/ 1334764 h 1609071"/>
                    <a:gd name="connsiteX55" fmla="*/ 5513260 w 7415962"/>
                    <a:gd name="connsiteY55" fmla="*/ 1360766 h 1609071"/>
                    <a:gd name="connsiteX56" fmla="*/ 5469923 w 7415962"/>
                    <a:gd name="connsiteY56" fmla="*/ 1360766 h 1609071"/>
                    <a:gd name="connsiteX57" fmla="*/ 5469923 w 7415962"/>
                    <a:gd name="connsiteY57" fmla="*/ 1321763 h 1609071"/>
                    <a:gd name="connsiteX58" fmla="*/ 5361582 w 7415962"/>
                    <a:gd name="connsiteY58" fmla="*/ 1321763 h 1609071"/>
                    <a:gd name="connsiteX59" fmla="*/ 5361582 w 7415962"/>
                    <a:gd name="connsiteY59" fmla="*/ 1304429 h 1609071"/>
                    <a:gd name="connsiteX60" fmla="*/ 5300911 w 7415962"/>
                    <a:gd name="connsiteY60" fmla="*/ 1304429 h 1609071"/>
                    <a:gd name="connsiteX61" fmla="*/ 5292244 w 7415962"/>
                    <a:gd name="connsiteY61" fmla="*/ 1295762 h 1609071"/>
                    <a:gd name="connsiteX62" fmla="*/ 5188236 w 7415962"/>
                    <a:gd name="connsiteY62" fmla="*/ 1295762 h 1609071"/>
                    <a:gd name="connsiteX63" fmla="*/ 5188236 w 7415962"/>
                    <a:gd name="connsiteY63" fmla="*/ 1278427 h 1609071"/>
                    <a:gd name="connsiteX64" fmla="*/ 5046321 w 7415962"/>
                    <a:gd name="connsiteY64" fmla="*/ 1278427 h 1609071"/>
                    <a:gd name="connsiteX65" fmla="*/ 5049559 w 7415962"/>
                    <a:gd name="connsiteY65" fmla="*/ 1269759 h 1609071"/>
                    <a:gd name="connsiteX66" fmla="*/ 4923884 w 7415962"/>
                    <a:gd name="connsiteY66" fmla="*/ 1269759 h 1609071"/>
                    <a:gd name="connsiteX67" fmla="*/ 4927551 w 7415962"/>
                    <a:gd name="connsiteY67" fmla="*/ 1256758 h 1609071"/>
                    <a:gd name="connsiteX68" fmla="*/ 4703297 w 7415962"/>
                    <a:gd name="connsiteY68" fmla="*/ 1254376 h 1609071"/>
                    <a:gd name="connsiteX69" fmla="*/ 4695058 w 7415962"/>
                    <a:gd name="connsiteY69" fmla="*/ 1241375 h 1609071"/>
                    <a:gd name="connsiteX70" fmla="*/ 4675772 w 7415962"/>
                    <a:gd name="connsiteY70" fmla="*/ 1238995 h 1609071"/>
                    <a:gd name="connsiteX71" fmla="*/ 4662691 w 7415962"/>
                    <a:gd name="connsiteY71" fmla="*/ 1226572 h 1609071"/>
                    <a:gd name="connsiteX72" fmla="*/ 4656056 w 7415962"/>
                    <a:gd name="connsiteY72" fmla="*/ 1224042 h 1609071"/>
                    <a:gd name="connsiteX73" fmla="*/ 4633530 w 7415962"/>
                    <a:gd name="connsiteY73" fmla="*/ 1213422 h 1609071"/>
                    <a:gd name="connsiteX74" fmla="*/ 4490519 w 7415962"/>
                    <a:gd name="connsiteY74" fmla="*/ 1213422 h 1609071"/>
                    <a:gd name="connsiteX75" fmla="*/ 4490519 w 7415962"/>
                    <a:gd name="connsiteY75" fmla="*/ 1200421 h 1609071"/>
                    <a:gd name="connsiteX76" fmla="*/ 4447182 w 7415962"/>
                    <a:gd name="connsiteY76" fmla="*/ 1200421 h 1609071"/>
                    <a:gd name="connsiteX77" fmla="*/ 4444801 w 7415962"/>
                    <a:gd name="connsiteY77" fmla="*/ 1192612 h 1609071"/>
                    <a:gd name="connsiteX78" fmla="*/ 4422186 w 7415962"/>
                    <a:gd name="connsiteY78" fmla="*/ 1195615 h 1609071"/>
                    <a:gd name="connsiteX79" fmla="*/ 4424420 w 7415962"/>
                    <a:gd name="connsiteY79" fmla="*/ 1171180 h 1609071"/>
                    <a:gd name="connsiteX80" fmla="*/ 4394750 w 7415962"/>
                    <a:gd name="connsiteY80" fmla="*/ 1172467 h 1609071"/>
                    <a:gd name="connsiteX81" fmla="*/ 4395179 w 7415962"/>
                    <a:gd name="connsiteY81" fmla="*/ 1200421 h 1609071"/>
                    <a:gd name="connsiteX82" fmla="*/ 4360509 w 7415962"/>
                    <a:gd name="connsiteY82" fmla="*/ 1200421 h 1609071"/>
                    <a:gd name="connsiteX83" fmla="*/ 4360509 w 7415962"/>
                    <a:gd name="connsiteY83" fmla="*/ 1157085 h 1609071"/>
                    <a:gd name="connsiteX84" fmla="*/ 4330174 w 7415962"/>
                    <a:gd name="connsiteY84" fmla="*/ 1157085 h 1609071"/>
                    <a:gd name="connsiteX85" fmla="*/ 4321506 w 7415962"/>
                    <a:gd name="connsiteY85" fmla="*/ 1148417 h 1609071"/>
                    <a:gd name="connsiteX86" fmla="*/ 4156828 w 7415962"/>
                    <a:gd name="connsiteY86" fmla="*/ 1148417 h 1609071"/>
                    <a:gd name="connsiteX87" fmla="*/ 4155304 w 7415962"/>
                    <a:gd name="connsiteY87" fmla="*/ 1134986 h 1609071"/>
                    <a:gd name="connsiteX88" fmla="*/ 4068202 w 7415962"/>
                    <a:gd name="connsiteY88" fmla="*/ 1134987 h 1609071"/>
                    <a:gd name="connsiteX89" fmla="*/ 4065821 w 7415962"/>
                    <a:gd name="connsiteY89" fmla="*/ 1122415 h 1609071"/>
                    <a:gd name="connsiteX90" fmla="*/ 4048486 w 7415962"/>
                    <a:gd name="connsiteY90" fmla="*/ 1122415 h 1609071"/>
                    <a:gd name="connsiteX91" fmla="*/ 4048486 w 7415962"/>
                    <a:gd name="connsiteY91" fmla="*/ 1105081 h 1609071"/>
                    <a:gd name="connsiteX92" fmla="*/ 4026818 w 7415962"/>
                    <a:gd name="connsiteY92" fmla="*/ 1105081 h 1609071"/>
                    <a:gd name="connsiteX93" fmla="*/ 4026818 w 7415962"/>
                    <a:gd name="connsiteY93" fmla="*/ 1152751 h 1609071"/>
                    <a:gd name="connsiteX94" fmla="*/ 3992149 w 7415962"/>
                    <a:gd name="connsiteY94" fmla="*/ 1152751 h 1609071"/>
                    <a:gd name="connsiteX95" fmla="*/ 3992149 w 7415962"/>
                    <a:gd name="connsiteY95" fmla="*/ 1109415 h 1609071"/>
                    <a:gd name="connsiteX96" fmla="*/ 3961814 w 7415962"/>
                    <a:gd name="connsiteY96" fmla="*/ 1109415 h 1609071"/>
                    <a:gd name="connsiteX97" fmla="*/ 3955528 w 7415962"/>
                    <a:gd name="connsiteY97" fmla="*/ 1091222 h 1609071"/>
                    <a:gd name="connsiteX98" fmla="*/ 3731702 w 7415962"/>
                    <a:gd name="connsiteY98" fmla="*/ 1093604 h 1609071"/>
                    <a:gd name="connsiteX99" fmla="*/ 3733417 w 7415962"/>
                    <a:gd name="connsiteY99" fmla="*/ 1081031 h 1609071"/>
                    <a:gd name="connsiteX100" fmla="*/ 3586309 w 7415962"/>
                    <a:gd name="connsiteY100" fmla="*/ 1078650 h 1609071"/>
                    <a:gd name="connsiteX101" fmla="*/ 3585644 w 7415962"/>
                    <a:gd name="connsiteY101" fmla="*/ 1066079 h 1609071"/>
                    <a:gd name="connsiteX102" fmla="*/ 3441776 w 7415962"/>
                    <a:gd name="connsiteY102" fmla="*/ 1066079 h 1609071"/>
                    <a:gd name="connsiteX103" fmla="*/ 3441776 w 7415962"/>
                    <a:gd name="connsiteY103" fmla="*/ 1040076 h 1609071"/>
                    <a:gd name="connsiteX104" fmla="*/ 3320433 w 7415962"/>
                    <a:gd name="connsiteY104" fmla="*/ 1040076 h 1609071"/>
                    <a:gd name="connsiteX105" fmla="*/ 3320433 w 7415962"/>
                    <a:gd name="connsiteY105" fmla="*/ 1027075 h 1609071"/>
                    <a:gd name="connsiteX106" fmla="*/ 3181757 w 7415962"/>
                    <a:gd name="connsiteY106" fmla="*/ 1027075 h 1609071"/>
                    <a:gd name="connsiteX107" fmla="*/ 3181757 w 7415962"/>
                    <a:gd name="connsiteY107" fmla="*/ 1020123 h 1609071"/>
                    <a:gd name="connsiteX108" fmla="*/ 3164422 w 7415962"/>
                    <a:gd name="connsiteY108" fmla="*/ 1018408 h 1609071"/>
                    <a:gd name="connsiteX109" fmla="*/ 3151421 w 7415962"/>
                    <a:gd name="connsiteY109" fmla="*/ 1000645 h 1609071"/>
                    <a:gd name="connsiteX110" fmla="*/ 2991076 w 7415962"/>
                    <a:gd name="connsiteY110" fmla="*/ 1003026 h 1609071"/>
                    <a:gd name="connsiteX111" fmla="*/ 2991076 w 7415962"/>
                    <a:gd name="connsiteY111" fmla="*/ 988072 h 1609071"/>
                    <a:gd name="connsiteX112" fmla="*/ 2908737 w 7415962"/>
                    <a:gd name="connsiteY112" fmla="*/ 988072 h 1609071"/>
                    <a:gd name="connsiteX113" fmla="*/ 2900069 w 7415962"/>
                    <a:gd name="connsiteY113" fmla="*/ 979404 h 1609071"/>
                    <a:gd name="connsiteX114" fmla="*/ 2869734 w 7415962"/>
                    <a:gd name="connsiteY114" fmla="*/ 979404 h 1609071"/>
                    <a:gd name="connsiteX115" fmla="*/ 2869734 w 7415962"/>
                    <a:gd name="connsiteY115" fmla="*/ 953403 h 1609071"/>
                    <a:gd name="connsiteX116" fmla="*/ 2843732 w 7415962"/>
                    <a:gd name="connsiteY116" fmla="*/ 953403 h 1609071"/>
                    <a:gd name="connsiteX117" fmla="*/ 2835065 w 7415962"/>
                    <a:gd name="connsiteY117" fmla="*/ 944736 h 1609071"/>
                    <a:gd name="connsiteX118" fmla="*/ 2757059 w 7415962"/>
                    <a:gd name="connsiteY118" fmla="*/ 944736 h 1609071"/>
                    <a:gd name="connsiteX119" fmla="*/ 2748392 w 7415962"/>
                    <a:gd name="connsiteY119" fmla="*/ 936069 h 1609071"/>
                    <a:gd name="connsiteX120" fmla="*/ 2700722 w 7415962"/>
                    <a:gd name="connsiteY120" fmla="*/ 936069 h 1609071"/>
                    <a:gd name="connsiteX121" fmla="*/ 2689673 w 7415962"/>
                    <a:gd name="connsiteY121" fmla="*/ 925019 h 1609071"/>
                    <a:gd name="connsiteX122" fmla="*/ 2644384 w 7415962"/>
                    <a:gd name="connsiteY122" fmla="*/ 927401 h 1609071"/>
                    <a:gd name="connsiteX123" fmla="*/ 2638957 w 7415962"/>
                    <a:gd name="connsiteY123" fmla="*/ 910067 h 1609071"/>
                    <a:gd name="connsiteX124" fmla="*/ 2616859 w 7415962"/>
                    <a:gd name="connsiteY124" fmla="*/ 899876 h 1609071"/>
                    <a:gd name="connsiteX125" fmla="*/ 2592380 w 7415962"/>
                    <a:gd name="connsiteY125" fmla="*/ 875397 h 1609071"/>
                    <a:gd name="connsiteX126" fmla="*/ 2562045 w 7415962"/>
                    <a:gd name="connsiteY126" fmla="*/ 875397 h 1609071"/>
                    <a:gd name="connsiteX127" fmla="*/ 2553377 w 7415962"/>
                    <a:gd name="connsiteY127" fmla="*/ 866729 h 1609071"/>
                    <a:gd name="connsiteX128" fmla="*/ 2501374 w 7415962"/>
                    <a:gd name="connsiteY128" fmla="*/ 866729 h 1609071"/>
                    <a:gd name="connsiteX129" fmla="*/ 2501374 w 7415962"/>
                    <a:gd name="connsiteY129" fmla="*/ 849396 h 1609071"/>
                    <a:gd name="connsiteX130" fmla="*/ 2445036 w 7415962"/>
                    <a:gd name="connsiteY130" fmla="*/ 849396 h 1609071"/>
                    <a:gd name="connsiteX131" fmla="*/ 2436368 w 7415962"/>
                    <a:gd name="connsiteY131" fmla="*/ 840728 h 1609071"/>
                    <a:gd name="connsiteX132" fmla="*/ 2414701 w 7415962"/>
                    <a:gd name="connsiteY132" fmla="*/ 840728 h 1609071"/>
                    <a:gd name="connsiteX133" fmla="*/ 2401700 w 7415962"/>
                    <a:gd name="connsiteY133" fmla="*/ 827727 h 1609071"/>
                    <a:gd name="connsiteX134" fmla="*/ 2349696 w 7415962"/>
                    <a:gd name="connsiteY134" fmla="*/ 827727 h 1609071"/>
                    <a:gd name="connsiteX135" fmla="*/ 2349696 w 7415962"/>
                    <a:gd name="connsiteY135" fmla="*/ 810393 h 1609071"/>
                    <a:gd name="connsiteX136" fmla="*/ 2310693 w 7415962"/>
                    <a:gd name="connsiteY136" fmla="*/ 810393 h 1609071"/>
                    <a:gd name="connsiteX137" fmla="*/ 2304835 w 7415962"/>
                    <a:gd name="connsiteY137" fmla="*/ 830537 h 1609071"/>
                    <a:gd name="connsiteX138" fmla="*/ 2274501 w 7415962"/>
                    <a:gd name="connsiteY138" fmla="*/ 828156 h 1609071"/>
                    <a:gd name="connsiteX139" fmla="*/ 2273406 w 7415962"/>
                    <a:gd name="connsiteY139" fmla="*/ 800867 h 1609071"/>
                    <a:gd name="connsiteX140" fmla="*/ 2245688 w 7415962"/>
                    <a:gd name="connsiteY140" fmla="*/ 801725 h 1609071"/>
                    <a:gd name="connsiteX141" fmla="*/ 2245688 w 7415962"/>
                    <a:gd name="connsiteY141" fmla="*/ 775724 h 1609071"/>
                    <a:gd name="connsiteX142" fmla="*/ 2124346 w 7415962"/>
                    <a:gd name="connsiteY142" fmla="*/ 775724 h 1609071"/>
                    <a:gd name="connsiteX143" fmla="*/ 2124346 w 7415962"/>
                    <a:gd name="connsiteY143" fmla="*/ 745388 h 1609071"/>
                    <a:gd name="connsiteX144" fmla="*/ 2072342 w 7415962"/>
                    <a:gd name="connsiteY144" fmla="*/ 745388 h 1609071"/>
                    <a:gd name="connsiteX145" fmla="*/ 2063675 w 7415962"/>
                    <a:gd name="connsiteY145" fmla="*/ 736721 h 1609071"/>
                    <a:gd name="connsiteX146" fmla="*/ 2007338 w 7415962"/>
                    <a:gd name="connsiteY146" fmla="*/ 736721 h 1609071"/>
                    <a:gd name="connsiteX147" fmla="*/ 2007338 w 7415962"/>
                    <a:gd name="connsiteY147" fmla="*/ 715052 h 1609071"/>
                    <a:gd name="connsiteX148" fmla="*/ 1907664 w 7415962"/>
                    <a:gd name="connsiteY148" fmla="*/ 715052 h 1609071"/>
                    <a:gd name="connsiteX149" fmla="*/ 1903331 w 7415962"/>
                    <a:gd name="connsiteY149" fmla="*/ 710719 h 1609071"/>
                    <a:gd name="connsiteX150" fmla="*/ 1864327 w 7415962"/>
                    <a:gd name="connsiteY150" fmla="*/ 710719 h 1609071"/>
                    <a:gd name="connsiteX151" fmla="*/ 1864327 w 7415962"/>
                    <a:gd name="connsiteY151" fmla="*/ 680383 h 1609071"/>
                    <a:gd name="connsiteX152" fmla="*/ 1807990 w 7415962"/>
                    <a:gd name="connsiteY152" fmla="*/ 680383 h 1609071"/>
                    <a:gd name="connsiteX153" fmla="*/ 1808848 w 7415962"/>
                    <a:gd name="connsiteY153" fmla="*/ 671716 h 1609071"/>
                    <a:gd name="connsiteX154" fmla="*/ 1786322 w 7415962"/>
                    <a:gd name="connsiteY154" fmla="*/ 671716 h 1609071"/>
                    <a:gd name="connsiteX155" fmla="*/ 1786322 w 7415962"/>
                    <a:gd name="connsiteY155" fmla="*/ 658715 h 1609071"/>
                    <a:gd name="connsiteX156" fmla="*/ 1751652 w 7415962"/>
                    <a:gd name="connsiteY156" fmla="*/ 658715 h 1609071"/>
                    <a:gd name="connsiteX157" fmla="*/ 1751652 w 7415962"/>
                    <a:gd name="connsiteY157" fmla="*/ 637047 h 1609071"/>
                    <a:gd name="connsiteX158" fmla="*/ 1699649 w 7415962"/>
                    <a:gd name="connsiteY158" fmla="*/ 637047 h 1609071"/>
                    <a:gd name="connsiteX159" fmla="*/ 1699649 w 7415962"/>
                    <a:gd name="connsiteY159" fmla="*/ 611045 h 1609071"/>
                    <a:gd name="connsiteX160" fmla="*/ 1617309 w 7415962"/>
                    <a:gd name="connsiteY160" fmla="*/ 611045 h 1609071"/>
                    <a:gd name="connsiteX161" fmla="*/ 1604308 w 7415962"/>
                    <a:gd name="connsiteY161" fmla="*/ 598044 h 1609071"/>
                    <a:gd name="connsiteX162" fmla="*/ 1591307 w 7415962"/>
                    <a:gd name="connsiteY162" fmla="*/ 598044 h 1609071"/>
                    <a:gd name="connsiteX163" fmla="*/ 1578306 w 7415962"/>
                    <a:gd name="connsiteY163" fmla="*/ 585043 h 1609071"/>
                    <a:gd name="connsiteX164" fmla="*/ 1530636 w 7415962"/>
                    <a:gd name="connsiteY164" fmla="*/ 585043 h 1609071"/>
                    <a:gd name="connsiteX165" fmla="*/ 1530636 w 7415962"/>
                    <a:gd name="connsiteY165" fmla="*/ 576376 h 1609071"/>
                    <a:gd name="connsiteX166" fmla="*/ 1478632 w 7415962"/>
                    <a:gd name="connsiteY166" fmla="*/ 576376 h 1609071"/>
                    <a:gd name="connsiteX167" fmla="*/ 1478632 w 7415962"/>
                    <a:gd name="connsiteY167" fmla="*/ 559041 h 1609071"/>
                    <a:gd name="connsiteX168" fmla="*/ 1409294 w 7415962"/>
                    <a:gd name="connsiteY168" fmla="*/ 559041 h 1609071"/>
                    <a:gd name="connsiteX169" fmla="*/ 1396293 w 7415962"/>
                    <a:gd name="connsiteY169" fmla="*/ 546040 h 1609071"/>
                    <a:gd name="connsiteX170" fmla="*/ 1331288 w 7415962"/>
                    <a:gd name="connsiteY170" fmla="*/ 546040 h 1609071"/>
                    <a:gd name="connsiteX171" fmla="*/ 1331288 w 7415962"/>
                    <a:gd name="connsiteY171" fmla="*/ 528706 h 1609071"/>
                    <a:gd name="connsiteX172" fmla="*/ 1274951 w 7415962"/>
                    <a:gd name="connsiteY172" fmla="*/ 528706 h 1609071"/>
                    <a:gd name="connsiteX173" fmla="*/ 1274951 w 7415962"/>
                    <a:gd name="connsiteY173" fmla="*/ 507037 h 1609071"/>
                    <a:gd name="connsiteX174" fmla="*/ 1192612 w 7415962"/>
                    <a:gd name="connsiteY174" fmla="*/ 507037 h 1609071"/>
                    <a:gd name="connsiteX175" fmla="*/ 1175277 w 7415962"/>
                    <a:gd name="connsiteY175" fmla="*/ 507037 h 1609071"/>
                    <a:gd name="connsiteX176" fmla="*/ 1149275 w 7415962"/>
                    <a:gd name="connsiteY176" fmla="*/ 507037 h 1609071"/>
                    <a:gd name="connsiteX177" fmla="*/ 1149275 w 7415962"/>
                    <a:gd name="connsiteY177" fmla="*/ 481035 h 1609071"/>
                    <a:gd name="connsiteX178" fmla="*/ 1092938 w 7415962"/>
                    <a:gd name="connsiteY178" fmla="*/ 481035 h 1609071"/>
                    <a:gd name="connsiteX179" fmla="*/ 1092938 w 7415962"/>
                    <a:gd name="connsiteY179" fmla="*/ 468034 h 1609071"/>
                    <a:gd name="connsiteX180" fmla="*/ 1045268 w 7415962"/>
                    <a:gd name="connsiteY180" fmla="*/ 468034 h 1609071"/>
                    <a:gd name="connsiteX181" fmla="*/ 1045268 w 7415962"/>
                    <a:gd name="connsiteY181" fmla="*/ 437699 h 1609071"/>
                    <a:gd name="connsiteX182" fmla="*/ 988930 w 7415962"/>
                    <a:gd name="connsiteY182" fmla="*/ 437699 h 1609071"/>
                    <a:gd name="connsiteX183" fmla="*/ 975929 w 7415962"/>
                    <a:gd name="connsiteY183" fmla="*/ 424698 h 1609071"/>
                    <a:gd name="connsiteX184" fmla="*/ 954261 w 7415962"/>
                    <a:gd name="connsiteY184" fmla="*/ 424698 h 1609071"/>
                    <a:gd name="connsiteX185" fmla="*/ 945594 w 7415962"/>
                    <a:gd name="connsiteY185" fmla="*/ 416031 h 1609071"/>
                    <a:gd name="connsiteX186" fmla="*/ 893590 w 7415962"/>
                    <a:gd name="connsiteY186" fmla="*/ 416031 h 1609071"/>
                    <a:gd name="connsiteX187" fmla="*/ 893590 w 7415962"/>
                    <a:gd name="connsiteY187" fmla="*/ 394362 h 1609071"/>
                    <a:gd name="connsiteX188" fmla="*/ 867588 w 7415962"/>
                    <a:gd name="connsiteY188" fmla="*/ 394362 h 1609071"/>
                    <a:gd name="connsiteX189" fmla="*/ 858921 w 7415962"/>
                    <a:gd name="connsiteY189" fmla="*/ 385695 h 1609071"/>
                    <a:gd name="connsiteX190" fmla="*/ 754913 w 7415962"/>
                    <a:gd name="connsiteY190" fmla="*/ 385695 h 1609071"/>
                    <a:gd name="connsiteX191" fmla="*/ 754913 w 7415962"/>
                    <a:gd name="connsiteY191" fmla="*/ 359693 h 1609071"/>
                    <a:gd name="connsiteX192" fmla="*/ 724577 w 7415962"/>
                    <a:gd name="connsiteY192" fmla="*/ 359693 h 1609071"/>
                    <a:gd name="connsiteX193" fmla="*/ 724577 w 7415962"/>
                    <a:gd name="connsiteY193" fmla="*/ 342359 h 1609071"/>
                    <a:gd name="connsiteX194" fmla="*/ 659573 w 7415962"/>
                    <a:gd name="connsiteY194" fmla="*/ 342359 h 1609071"/>
                    <a:gd name="connsiteX195" fmla="*/ 650905 w 7415962"/>
                    <a:gd name="connsiteY195" fmla="*/ 333691 h 1609071"/>
                    <a:gd name="connsiteX196" fmla="*/ 629237 w 7415962"/>
                    <a:gd name="connsiteY196" fmla="*/ 333691 h 1609071"/>
                    <a:gd name="connsiteX197" fmla="*/ 629237 w 7415962"/>
                    <a:gd name="connsiteY197" fmla="*/ 316357 h 1609071"/>
                    <a:gd name="connsiteX198" fmla="*/ 598902 w 7415962"/>
                    <a:gd name="connsiteY198" fmla="*/ 316357 h 1609071"/>
                    <a:gd name="connsiteX199" fmla="*/ 598902 w 7415962"/>
                    <a:gd name="connsiteY199" fmla="*/ 294688 h 1609071"/>
                    <a:gd name="connsiteX200" fmla="*/ 577233 w 7415962"/>
                    <a:gd name="connsiteY200" fmla="*/ 294688 h 1609071"/>
                    <a:gd name="connsiteX201" fmla="*/ 577233 w 7415962"/>
                    <a:gd name="connsiteY201" fmla="*/ 281687 h 1609071"/>
                    <a:gd name="connsiteX202" fmla="*/ 555565 w 7415962"/>
                    <a:gd name="connsiteY202" fmla="*/ 281687 h 1609071"/>
                    <a:gd name="connsiteX203" fmla="*/ 555565 w 7415962"/>
                    <a:gd name="connsiteY203" fmla="*/ 268687 h 1609071"/>
                    <a:gd name="connsiteX204" fmla="*/ 490560 w 7415962"/>
                    <a:gd name="connsiteY204" fmla="*/ 268687 h 1609071"/>
                    <a:gd name="connsiteX205" fmla="*/ 490560 w 7415962"/>
                    <a:gd name="connsiteY205" fmla="*/ 242685 h 1609071"/>
                    <a:gd name="connsiteX206" fmla="*/ 455891 w 7415962"/>
                    <a:gd name="connsiteY206" fmla="*/ 242685 h 1609071"/>
                    <a:gd name="connsiteX207" fmla="*/ 455891 w 7415962"/>
                    <a:gd name="connsiteY207" fmla="*/ 216683 h 1609071"/>
                    <a:gd name="connsiteX208" fmla="*/ 438557 w 7415962"/>
                    <a:gd name="connsiteY208" fmla="*/ 216683 h 1609071"/>
                    <a:gd name="connsiteX209" fmla="*/ 438557 w 7415962"/>
                    <a:gd name="connsiteY209" fmla="*/ 186347 h 1609071"/>
                    <a:gd name="connsiteX210" fmla="*/ 408221 w 7415962"/>
                    <a:gd name="connsiteY210" fmla="*/ 186347 h 1609071"/>
                    <a:gd name="connsiteX211" fmla="*/ 408221 w 7415962"/>
                    <a:gd name="connsiteY211" fmla="*/ 173346 h 1609071"/>
                    <a:gd name="connsiteX212" fmla="*/ 373552 w 7415962"/>
                    <a:gd name="connsiteY212" fmla="*/ 173346 h 1609071"/>
                    <a:gd name="connsiteX213" fmla="*/ 373552 w 7415962"/>
                    <a:gd name="connsiteY213" fmla="*/ 151678 h 1609071"/>
                    <a:gd name="connsiteX214" fmla="*/ 356217 w 7415962"/>
                    <a:gd name="connsiteY214" fmla="*/ 151678 h 1609071"/>
                    <a:gd name="connsiteX215" fmla="*/ 356217 w 7415962"/>
                    <a:gd name="connsiteY215" fmla="*/ 138677 h 1609071"/>
                    <a:gd name="connsiteX216" fmla="*/ 304214 w 7415962"/>
                    <a:gd name="connsiteY216" fmla="*/ 138677 h 1609071"/>
                    <a:gd name="connsiteX217" fmla="*/ 304214 w 7415962"/>
                    <a:gd name="connsiteY217" fmla="*/ 95341 h 1609071"/>
                    <a:gd name="connsiteX218" fmla="*/ 269544 w 7415962"/>
                    <a:gd name="connsiteY218" fmla="*/ 95341 h 1609071"/>
                    <a:gd name="connsiteX219" fmla="*/ 269544 w 7415962"/>
                    <a:gd name="connsiteY219" fmla="*/ 82340 h 1609071"/>
                    <a:gd name="connsiteX220" fmla="*/ 234875 w 7415962"/>
                    <a:gd name="connsiteY220" fmla="*/ 82340 h 1609071"/>
                    <a:gd name="connsiteX221" fmla="*/ 234875 w 7415962"/>
                    <a:gd name="connsiteY221" fmla="*/ 47670 h 1609071"/>
                    <a:gd name="connsiteX222" fmla="*/ 208873 w 7415962"/>
                    <a:gd name="connsiteY222" fmla="*/ 47670 h 1609071"/>
                    <a:gd name="connsiteX223" fmla="*/ 208873 w 7415962"/>
                    <a:gd name="connsiteY223" fmla="*/ 39003 h 1609071"/>
                    <a:gd name="connsiteX224" fmla="*/ 156869 w 7415962"/>
                    <a:gd name="connsiteY224" fmla="*/ 39003 h 1609071"/>
                    <a:gd name="connsiteX225" fmla="*/ 156869 w 7415962"/>
                    <a:gd name="connsiteY225" fmla="*/ 26002 h 1609071"/>
                    <a:gd name="connsiteX226" fmla="*/ 122200 w 7415962"/>
                    <a:gd name="connsiteY226" fmla="*/ 26002 h 1609071"/>
                    <a:gd name="connsiteX227" fmla="*/ 122200 w 7415962"/>
                    <a:gd name="connsiteY227" fmla="*/ 0 h 1609071"/>
                    <a:gd name="connsiteX228" fmla="*/ 83197 w 7415962"/>
                    <a:gd name="connsiteY228" fmla="*/ 0 h 1609071"/>
                    <a:gd name="connsiteX229" fmla="*/ 83197 w 7415962"/>
                    <a:gd name="connsiteY229" fmla="*/ 43337 h 1609071"/>
                    <a:gd name="connsiteX230" fmla="*/ 858 w 7415962"/>
                    <a:gd name="connsiteY230" fmla="*/ 43337 h 1609071"/>
                    <a:gd name="connsiteX231" fmla="*/ 0 w 7415962"/>
                    <a:gd name="connsiteY231" fmla="*/ 39432 h 1609071"/>
                    <a:gd name="connsiteX232" fmla="*/ 22526 w 7415962"/>
                    <a:gd name="connsiteY232" fmla="*/ 52004 h 1609071"/>
                    <a:gd name="connsiteX233" fmla="*/ 22526 w 7415962"/>
                    <a:gd name="connsiteY233" fmla="*/ 65005 h 1609071"/>
                    <a:gd name="connsiteX234" fmla="*/ 52862 w 7415962"/>
                    <a:gd name="connsiteY234" fmla="*/ 65005 h 1609071"/>
                    <a:gd name="connsiteX235" fmla="*/ 52862 w 7415962"/>
                    <a:gd name="connsiteY235" fmla="*/ 86673 h 1609071"/>
                    <a:gd name="connsiteX236" fmla="*/ 78864 w 7415962"/>
                    <a:gd name="connsiteY236" fmla="*/ 86673 h 1609071"/>
                    <a:gd name="connsiteX237" fmla="*/ 78864 w 7415962"/>
                    <a:gd name="connsiteY237" fmla="*/ 125676 h 1609071"/>
                    <a:gd name="connsiteX238" fmla="*/ 139535 w 7415962"/>
                    <a:gd name="connsiteY238" fmla="*/ 125676 h 1609071"/>
                    <a:gd name="connsiteX239" fmla="*/ 148202 w 7415962"/>
                    <a:gd name="connsiteY239" fmla="*/ 134343 h 1609071"/>
                    <a:gd name="connsiteX240" fmla="*/ 165537 w 7415962"/>
                    <a:gd name="connsiteY240" fmla="*/ 134343 h 1609071"/>
                    <a:gd name="connsiteX241" fmla="*/ 165537 w 7415962"/>
                    <a:gd name="connsiteY241" fmla="*/ 156012 h 1609071"/>
                    <a:gd name="connsiteX242" fmla="*/ 182871 w 7415962"/>
                    <a:gd name="connsiteY242" fmla="*/ 156012 h 1609071"/>
                    <a:gd name="connsiteX243" fmla="*/ 195872 w 7415962"/>
                    <a:gd name="connsiteY243" fmla="*/ 169013 h 1609071"/>
                    <a:gd name="connsiteX244" fmla="*/ 226208 w 7415962"/>
                    <a:gd name="connsiteY244" fmla="*/ 169013 h 1609071"/>
                    <a:gd name="connsiteX245" fmla="*/ 226208 w 7415962"/>
                    <a:gd name="connsiteY245" fmla="*/ 208015 h 1609071"/>
                    <a:gd name="connsiteX246" fmla="*/ 252210 w 7415962"/>
                    <a:gd name="connsiteY246" fmla="*/ 208015 h 1609071"/>
                    <a:gd name="connsiteX247" fmla="*/ 260877 w 7415962"/>
                    <a:gd name="connsiteY247" fmla="*/ 216682 h 1609071"/>
                    <a:gd name="connsiteX248" fmla="*/ 273879 w 7415962"/>
                    <a:gd name="connsiteY248" fmla="*/ 229684 h 1609071"/>
                    <a:gd name="connsiteX249" fmla="*/ 273879 w 7415962"/>
                    <a:gd name="connsiteY249" fmla="*/ 251352 h 1609071"/>
                    <a:gd name="connsiteX250" fmla="*/ 304214 w 7415962"/>
                    <a:gd name="connsiteY250" fmla="*/ 251352 h 1609071"/>
                    <a:gd name="connsiteX251" fmla="*/ 304214 w 7415962"/>
                    <a:gd name="connsiteY251" fmla="*/ 268687 h 1609071"/>
                    <a:gd name="connsiteX252" fmla="*/ 343216 w 7415962"/>
                    <a:gd name="connsiteY252" fmla="*/ 268687 h 1609071"/>
                    <a:gd name="connsiteX253" fmla="*/ 343216 w 7415962"/>
                    <a:gd name="connsiteY253" fmla="*/ 286021 h 1609071"/>
                    <a:gd name="connsiteX254" fmla="*/ 386553 w 7415962"/>
                    <a:gd name="connsiteY254" fmla="*/ 286021 h 1609071"/>
                    <a:gd name="connsiteX255" fmla="*/ 386553 w 7415962"/>
                    <a:gd name="connsiteY255" fmla="*/ 286021 h 1609071"/>
                    <a:gd name="connsiteX256" fmla="*/ 408221 w 7415962"/>
                    <a:gd name="connsiteY256" fmla="*/ 307689 h 1609071"/>
                    <a:gd name="connsiteX257" fmla="*/ 425556 w 7415962"/>
                    <a:gd name="connsiteY257" fmla="*/ 325024 h 1609071"/>
                    <a:gd name="connsiteX258" fmla="*/ 473226 w 7415962"/>
                    <a:gd name="connsiteY258" fmla="*/ 325024 h 1609071"/>
                    <a:gd name="connsiteX259" fmla="*/ 473226 w 7415962"/>
                    <a:gd name="connsiteY259" fmla="*/ 355360 h 1609071"/>
                    <a:gd name="connsiteX260" fmla="*/ 512229 w 7415962"/>
                    <a:gd name="connsiteY260" fmla="*/ 355360 h 1609071"/>
                    <a:gd name="connsiteX261" fmla="*/ 512229 w 7415962"/>
                    <a:gd name="connsiteY261" fmla="*/ 377028 h 1609071"/>
                    <a:gd name="connsiteX262" fmla="*/ 559899 w 7415962"/>
                    <a:gd name="connsiteY262" fmla="*/ 377028 h 1609071"/>
                    <a:gd name="connsiteX263" fmla="*/ 559899 w 7415962"/>
                    <a:gd name="connsiteY263" fmla="*/ 398696 h 1609071"/>
                    <a:gd name="connsiteX264" fmla="*/ 590234 w 7415962"/>
                    <a:gd name="connsiteY264" fmla="*/ 398696 h 1609071"/>
                    <a:gd name="connsiteX265" fmla="*/ 603235 w 7415962"/>
                    <a:gd name="connsiteY265" fmla="*/ 411697 h 1609071"/>
                    <a:gd name="connsiteX266" fmla="*/ 650905 w 7415962"/>
                    <a:gd name="connsiteY266" fmla="*/ 411697 h 1609071"/>
                    <a:gd name="connsiteX267" fmla="*/ 650905 w 7415962"/>
                    <a:gd name="connsiteY267" fmla="*/ 450700 h 1609071"/>
                    <a:gd name="connsiteX268" fmla="*/ 759247 w 7415962"/>
                    <a:gd name="connsiteY268" fmla="*/ 450700 h 1609071"/>
                    <a:gd name="connsiteX269" fmla="*/ 759247 w 7415962"/>
                    <a:gd name="connsiteY269" fmla="*/ 481035 h 1609071"/>
                    <a:gd name="connsiteX270" fmla="*/ 876255 w 7415962"/>
                    <a:gd name="connsiteY270" fmla="*/ 481035 h 1609071"/>
                    <a:gd name="connsiteX271" fmla="*/ 876255 w 7415962"/>
                    <a:gd name="connsiteY271" fmla="*/ 507037 h 1609071"/>
                    <a:gd name="connsiteX272" fmla="*/ 928259 w 7415962"/>
                    <a:gd name="connsiteY272" fmla="*/ 507037 h 1609071"/>
                    <a:gd name="connsiteX273" fmla="*/ 928259 w 7415962"/>
                    <a:gd name="connsiteY273" fmla="*/ 524372 h 1609071"/>
                    <a:gd name="connsiteX274" fmla="*/ 980263 w 7415962"/>
                    <a:gd name="connsiteY274" fmla="*/ 524372 h 1609071"/>
                    <a:gd name="connsiteX275" fmla="*/ 993264 w 7415962"/>
                    <a:gd name="connsiteY275" fmla="*/ 524372 h 1609071"/>
                    <a:gd name="connsiteX276" fmla="*/ 1006265 w 7415962"/>
                    <a:gd name="connsiteY276" fmla="*/ 537373 h 1609071"/>
                    <a:gd name="connsiteX277" fmla="*/ 1023170 w 7415962"/>
                    <a:gd name="connsiteY277" fmla="*/ 544516 h 1609071"/>
                    <a:gd name="connsiteX278" fmla="*/ 1058268 w 7415962"/>
                    <a:gd name="connsiteY278" fmla="*/ 549279 h 1609071"/>
                    <a:gd name="connsiteX279" fmla="*/ 1058268 w 7415962"/>
                    <a:gd name="connsiteY279" fmla="*/ 563375 h 1609071"/>
                    <a:gd name="connsiteX280" fmla="*/ 1079937 w 7415962"/>
                    <a:gd name="connsiteY280" fmla="*/ 563375 h 1609071"/>
                    <a:gd name="connsiteX281" fmla="*/ 1079937 w 7415962"/>
                    <a:gd name="connsiteY281" fmla="*/ 576376 h 1609071"/>
                    <a:gd name="connsiteX282" fmla="*/ 1157942 w 7415962"/>
                    <a:gd name="connsiteY282" fmla="*/ 576376 h 1609071"/>
                    <a:gd name="connsiteX283" fmla="*/ 1157942 w 7415962"/>
                    <a:gd name="connsiteY283" fmla="*/ 589377 h 1609071"/>
                    <a:gd name="connsiteX284" fmla="*/ 1196945 w 7415962"/>
                    <a:gd name="connsiteY284" fmla="*/ 589377 h 1609071"/>
                    <a:gd name="connsiteX285" fmla="*/ 1196945 w 7415962"/>
                    <a:gd name="connsiteY285" fmla="*/ 598044 h 1609071"/>
                    <a:gd name="connsiteX286" fmla="*/ 1244615 w 7415962"/>
                    <a:gd name="connsiteY286" fmla="*/ 598044 h 1609071"/>
                    <a:gd name="connsiteX287" fmla="*/ 1257616 w 7415962"/>
                    <a:gd name="connsiteY287" fmla="*/ 611045 h 1609071"/>
                    <a:gd name="connsiteX288" fmla="*/ 1270617 w 7415962"/>
                    <a:gd name="connsiteY288" fmla="*/ 624046 h 1609071"/>
                    <a:gd name="connsiteX289" fmla="*/ 1335622 w 7415962"/>
                    <a:gd name="connsiteY289" fmla="*/ 624046 h 1609071"/>
                    <a:gd name="connsiteX290" fmla="*/ 1335622 w 7415962"/>
                    <a:gd name="connsiteY290" fmla="*/ 645714 h 1609071"/>
                    <a:gd name="connsiteX291" fmla="*/ 1426629 w 7415962"/>
                    <a:gd name="connsiteY291" fmla="*/ 645714 h 1609071"/>
                    <a:gd name="connsiteX292" fmla="*/ 1435296 w 7415962"/>
                    <a:gd name="connsiteY292" fmla="*/ 654381 h 1609071"/>
                    <a:gd name="connsiteX293" fmla="*/ 1456964 w 7415962"/>
                    <a:gd name="connsiteY293" fmla="*/ 654381 h 1609071"/>
                    <a:gd name="connsiteX294" fmla="*/ 1456964 w 7415962"/>
                    <a:gd name="connsiteY294" fmla="*/ 667382 h 1609071"/>
                    <a:gd name="connsiteX295" fmla="*/ 1508968 w 7415962"/>
                    <a:gd name="connsiteY295" fmla="*/ 667382 h 1609071"/>
                    <a:gd name="connsiteX296" fmla="*/ 1508968 w 7415962"/>
                    <a:gd name="connsiteY296" fmla="*/ 684717 h 1609071"/>
                    <a:gd name="connsiteX297" fmla="*/ 1565305 w 7415962"/>
                    <a:gd name="connsiteY297" fmla="*/ 684717 h 1609071"/>
                    <a:gd name="connsiteX298" fmla="*/ 1572020 w 7415962"/>
                    <a:gd name="connsiteY298" fmla="*/ 693814 h 1609071"/>
                    <a:gd name="connsiteX299" fmla="*/ 1610595 w 7415962"/>
                    <a:gd name="connsiteY299" fmla="*/ 696194 h 1609071"/>
                    <a:gd name="connsiteX300" fmla="*/ 1628358 w 7415962"/>
                    <a:gd name="connsiteY300" fmla="*/ 709196 h 1609071"/>
                    <a:gd name="connsiteX301" fmla="*/ 1677980 w 7415962"/>
                    <a:gd name="connsiteY301" fmla="*/ 709196 h 1609071"/>
                    <a:gd name="connsiteX302" fmla="*/ 1679504 w 7415962"/>
                    <a:gd name="connsiteY302" fmla="*/ 722627 h 1609071"/>
                    <a:gd name="connsiteX303" fmla="*/ 1703981 w 7415962"/>
                    <a:gd name="connsiteY303" fmla="*/ 728053 h 1609071"/>
                    <a:gd name="connsiteX304" fmla="*/ 1716982 w 7415962"/>
                    <a:gd name="connsiteY304" fmla="*/ 741054 h 1609071"/>
                    <a:gd name="connsiteX305" fmla="*/ 1751652 w 7415962"/>
                    <a:gd name="connsiteY305" fmla="*/ 745816 h 1609071"/>
                    <a:gd name="connsiteX306" fmla="*/ 1751652 w 7415962"/>
                    <a:gd name="connsiteY306" fmla="*/ 767056 h 1609071"/>
                    <a:gd name="connsiteX307" fmla="*/ 1799323 w 7415962"/>
                    <a:gd name="connsiteY307" fmla="*/ 767056 h 1609071"/>
                    <a:gd name="connsiteX308" fmla="*/ 1799323 w 7415962"/>
                    <a:gd name="connsiteY308" fmla="*/ 780057 h 1609071"/>
                    <a:gd name="connsiteX309" fmla="*/ 1842659 w 7415962"/>
                    <a:gd name="connsiteY309" fmla="*/ 780057 h 1609071"/>
                    <a:gd name="connsiteX310" fmla="*/ 1842659 w 7415962"/>
                    <a:gd name="connsiteY310" fmla="*/ 797392 h 1609071"/>
                    <a:gd name="connsiteX311" fmla="*/ 1877328 w 7415962"/>
                    <a:gd name="connsiteY311" fmla="*/ 797392 h 1609071"/>
                    <a:gd name="connsiteX312" fmla="*/ 1888378 w 7415962"/>
                    <a:gd name="connsiteY312" fmla="*/ 813204 h 1609071"/>
                    <a:gd name="connsiteX313" fmla="*/ 1961620 w 7415962"/>
                    <a:gd name="connsiteY313" fmla="*/ 813204 h 1609071"/>
                    <a:gd name="connsiteX314" fmla="*/ 2007338 w 7415962"/>
                    <a:gd name="connsiteY314" fmla="*/ 813204 h 1609071"/>
                    <a:gd name="connsiteX315" fmla="*/ 2007597 w 7415962"/>
                    <a:gd name="connsiteY315" fmla="*/ 826521 h 1609071"/>
                    <a:gd name="connsiteX316" fmla="*/ 2045697 w 7415962"/>
                    <a:gd name="connsiteY316" fmla="*/ 828902 h 1609071"/>
                    <a:gd name="connsiteX317" fmla="*/ 2049580 w 7415962"/>
                    <a:gd name="connsiteY317" fmla="*/ 850683 h 1609071"/>
                    <a:gd name="connsiteX318" fmla="*/ 2109393 w 7415962"/>
                    <a:gd name="connsiteY318" fmla="*/ 848301 h 1609071"/>
                    <a:gd name="connsiteX319" fmla="*/ 2107012 w 7415962"/>
                    <a:gd name="connsiteY319" fmla="*/ 862396 h 1609071"/>
                    <a:gd name="connsiteX320" fmla="*/ 2120013 w 7415962"/>
                    <a:gd name="connsiteY320" fmla="*/ 862396 h 1609071"/>
                    <a:gd name="connsiteX321" fmla="*/ 2137347 w 7415962"/>
                    <a:gd name="connsiteY321" fmla="*/ 862396 h 1609071"/>
                    <a:gd name="connsiteX322" fmla="*/ 2185017 w 7415962"/>
                    <a:gd name="connsiteY322" fmla="*/ 862396 h 1609071"/>
                    <a:gd name="connsiteX323" fmla="*/ 2185017 w 7415962"/>
                    <a:gd name="connsiteY323" fmla="*/ 888398 h 1609071"/>
                    <a:gd name="connsiteX324" fmla="*/ 2201112 w 7415962"/>
                    <a:gd name="connsiteY324" fmla="*/ 883636 h 1609071"/>
                    <a:gd name="connsiteX325" fmla="*/ 2241591 w 7415962"/>
                    <a:gd name="connsiteY325" fmla="*/ 881254 h 1609071"/>
                    <a:gd name="connsiteX326" fmla="*/ 2240960 w 7415962"/>
                    <a:gd name="connsiteY326" fmla="*/ 914626 h 1609071"/>
                    <a:gd name="connsiteX327" fmla="*/ 2266498 w 7415962"/>
                    <a:gd name="connsiteY327" fmla="*/ 915879 h 1609071"/>
                    <a:gd name="connsiteX328" fmla="*/ 2267154 w 7415962"/>
                    <a:gd name="connsiteY328" fmla="*/ 878908 h 1609071"/>
                    <a:gd name="connsiteX329" fmla="*/ 2294883 w 7415962"/>
                    <a:gd name="connsiteY329" fmla="*/ 877780 h 1609071"/>
                    <a:gd name="connsiteX330" fmla="*/ 2294883 w 7415962"/>
                    <a:gd name="connsiteY330" fmla="*/ 912018 h 1609071"/>
                    <a:gd name="connsiteX331" fmla="*/ 2336695 w 7415962"/>
                    <a:gd name="connsiteY331" fmla="*/ 914400 h 1609071"/>
                    <a:gd name="connsiteX332" fmla="*/ 2336695 w 7415962"/>
                    <a:gd name="connsiteY332" fmla="*/ 923068 h 1609071"/>
                    <a:gd name="connsiteX333" fmla="*/ 2401700 w 7415962"/>
                    <a:gd name="connsiteY333" fmla="*/ 923068 h 1609071"/>
                    <a:gd name="connsiteX334" fmla="*/ 2401700 w 7415962"/>
                    <a:gd name="connsiteY334" fmla="*/ 936069 h 1609071"/>
                    <a:gd name="connsiteX335" fmla="*/ 2440703 w 7415962"/>
                    <a:gd name="connsiteY335" fmla="*/ 936069 h 1609071"/>
                    <a:gd name="connsiteX336" fmla="*/ 2453704 w 7415962"/>
                    <a:gd name="connsiteY336" fmla="*/ 949070 h 1609071"/>
                    <a:gd name="connsiteX337" fmla="*/ 2501374 w 7415962"/>
                    <a:gd name="connsiteY337" fmla="*/ 949070 h 1609071"/>
                    <a:gd name="connsiteX338" fmla="*/ 2514375 w 7415962"/>
                    <a:gd name="connsiteY338" fmla="*/ 962071 h 1609071"/>
                    <a:gd name="connsiteX339" fmla="*/ 2544710 w 7415962"/>
                    <a:gd name="connsiteY339" fmla="*/ 962071 h 1609071"/>
                    <a:gd name="connsiteX340" fmla="*/ 2544710 w 7415962"/>
                    <a:gd name="connsiteY340" fmla="*/ 979405 h 1609071"/>
                    <a:gd name="connsiteX341" fmla="*/ 2592380 w 7415962"/>
                    <a:gd name="connsiteY341" fmla="*/ 979405 h 1609071"/>
                    <a:gd name="connsiteX342" fmla="*/ 2592380 w 7415962"/>
                    <a:gd name="connsiteY342" fmla="*/ 1001073 h 1609071"/>
                    <a:gd name="connsiteX343" fmla="*/ 2640050 w 7415962"/>
                    <a:gd name="connsiteY343" fmla="*/ 1001073 h 1609071"/>
                    <a:gd name="connsiteX344" fmla="*/ 2640050 w 7415962"/>
                    <a:gd name="connsiteY344" fmla="*/ 1022742 h 1609071"/>
                    <a:gd name="connsiteX345" fmla="*/ 2700722 w 7415962"/>
                    <a:gd name="connsiteY345" fmla="*/ 1022742 h 1609071"/>
                    <a:gd name="connsiteX346" fmla="*/ 2700722 w 7415962"/>
                    <a:gd name="connsiteY346" fmla="*/ 1040076 h 1609071"/>
                    <a:gd name="connsiteX347" fmla="*/ 2809063 w 7415962"/>
                    <a:gd name="connsiteY347" fmla="*/ 1040076 h 1609071"/>
                    <a:gd name="connsiteX348" fmla="*/ 2817730 w 7415962"/>
                    <a:gd name="connsiteY348" fmla="*/ 1048743 h 1609071"/>
                    <a:gd name="connsiteX349" fmla="*/ 2826398 w 7415962"/>
                    <a:gd name="connsiteY349" fmla="*/ 1057411 h 1609071"/>
                    <a:gd name="connsiteX350" fmla="*/ 2865400 w 7415962"/>
                    <a:gd name="connsiteY350" fmla="*/ 1057411 h 1609071"/>
                    <a:gd name="connsiteX351" fmla="*/ 2887068 w 7415962"/>
                    <a:gd name="connsiteY351" fmla="*/ 1057411 h 1609071"/>
                    <a:gd name="connsiteX352" fmla="*/ 2900069 w 7415962"/>
                    <a:gd name="connsiteY352" fmla="*/ 1057411 h 1609071"/>
                    <a:gd name="connsiteX353" fmla="*/ 2917404 w 7415962"/>
                    <a:gd name="connsiteY353" fmla="*/ 1074746 h 1609071"/>
                    <a:gd name="connsiteX354" fmla="*/ 2969408 w 7415962"/>
                    <a:gd name="connsiteY354" fmla="*/ 1074746 h 1609071"/>
                    <a:gd name="connsiteX355" fmla="*/ 2969408 w 7415962"/>
                    <a:gd name="connsiteY355" fmla="*/ 1092080 h 1609071"/>
                    <a:gd name="connsiteX356" fmla="*/ 3135610 w 7415962"/>
                    <a:gd name="connsiteY356" fmla="*/ 1094462 h 1609071"/>
                    <a:gd name="connsiteX357" fmla="*/ 3135611 w 7415962"/>
                    <a:gd name="connsiteY357" fmla="*/ 1122414 h 1609071"/>
                    <a:gd name="connsiteX358" fmla="*/ 3212092 w 7415962"/>
                    <a:gd name="connsiteY358" fmla="*/ 1122415 h 1609071"/>
                    <a:gd name="connsiteX359" fmla="*/ 3216426 w 7415962"/>
                    <a:gd name="connsiteY359" fmla="*/ 1122415 h 1609071"/>
                    <a:gd name="connsiteX360" fmla="*/ 3303099 w 7415962"/>
                    <a:gd name="connsiteY360" fmla="*/ 1124796 h 1609071"/>
                    <a:gd name="connsiteX361" fmla="*/ 3303099 w 7415962"/>
                    <a:gd name="connsiteY361" fmla="*/ 1141273 h 1609071"/>
                    <a:gd name="connsiteX362" fmla="*/ 3396916 w 7415962"/>
                    <a:gd name="connsiteY362" fmla="*/ 1141273 h 1609071"/>
                    <a:gd name="connsiteX363" fmla="*/ 3396915 w 7415962"/>
                    <a:gd name="connsiteY363" fmla="*/ 1154703 h 1609071"/>
                    <a:gd name="connsiteX364" fmla="*/ 3446109 w 7415962"/>
                    <a:gd name="connsiteY364" fmla="*/ 1157085 h 1609071"/>
                    <a:gd name="connsiteX365" fmla="*/ 3445253 w 7415962"/>
                    <a:gd name="connsiteY365" fmla="*/ 1165753 h 1609071"/>
                    <a:gd name="connsiteX366" fmla="*/ 3597787 w 7415962"/>
                    <a:gd name="connsiteY366" fmla="*/ 1165753 h 1609071"/>
                    <a:gd name="connsiteX367" fmla="*/ 3597787 w 7415962"/>
                    <a:gd name="connsiteY367" fmla="*/ 1178753 h 1609071"/>
                    <a:gd name="connsiteX368" fmla="*/ 3706128 w 7415962"/>
                    <a:gd name="connsiteY368" fmla="*/ 1178753 h 1609071"/>
                    <a:gd name="connsiteX369" fmla="*/ 3710462 w 7415962"/>
                    <a:gd name="connsiteY369" fmla="*/ 1183087 h 1609071"/>
                    <a:gd name="connsiteX370" fmla="*/ 3964195 w 7415962"/>
                    <a:gd name="connsiteY370" fmla="*/ 1187849 h 1609071"/>
                    <a:gd name="connsiteX371" fmla="*/ 3961814 w 7415962"/>
                    <a:gd name="connsiteY371" fmla="*/ 1204755 h 1609071"/>
                    <a:gd name="connsiteX372" fmla="*/ 3992149 w 7415962"/>
                    <a:gd name="connsiteY372" fmla="*/ 1204755 h 1609071"/>
                    <a:gd name="connsiteX373" fmla="*/ 3992149 w 7415962"/>
                    <a:gd name="connsiteY373" fmla="*/ 1178753 h 1609071"/>
                    <a:gd name="connsiteX374" fmla="*/ 4031152 w 7415962"/>
                    <a:gd name="connsiteY374" fmla="*/ 1178753 h 1609071"/>
                    <a:gd name="connsiteX375" fmla="*/ 4031152 w 7415962"/>
                    <a:gd name="connsiteY375" fmla="*/ 1213422 h 1609071"/>
                    <a:gd name="connsiteX376" fmla="*/ 4044153 w 7415962"/>
                    <a:gd name="connsiteY376" fmla="*/ 1213422 h 1609071"/>
                    <a:gd name="connsiteX377" fmla="*/ 4044153 w 7415962"/>
                    <a:gd name="connsiteY377" fmla="*/ 1222089 h 1609071"/>
                    <a:gd name="connsiteX378" fmla="*/ 4165495 w 7415962"/>
                    <a:gd name="connsiteY378" fmla="*/ 1222089 h 1609071"/>
                    <a:gd name="connsiteX379" fmla="*/ 4165495 w 7415962"/>
                    <a:gd name="connsiteY379" fmla="*/ 1243758 h 1609071"/>
                    <a:gd name="connsiteX380" fmla="*/ 4321506 w 7415962"/>
                    <a:gd name="connsiteY380" fmla="*/ 1243758 h 1609071"/>
                    <a:gd name="connsiteX381" fmla="*/ 4321506 w 7415962"/>
                    <a:gd name="connsiteY381" fmla="*/ 1261092 h 1609071"/>
                    <a:gd name="connsiteX382" fmla="*/ 4399512 w 7415962"/>
                    <a:gd name="connsiteY382" fmla="*/ 1261092 h 1609071"/>
                    <a:gd name="connsiteX383" fmla="*/ 4399512 w 7415962"/>
                    <a:gd name="connsiteY383" fmla="*/ 1287094 h 1609071"/>
                    <a:gd name="connsiteX384" fmla="*/ 4451516 w 7415962"/>
                    <a:gd name="connsiteY384" fmla="*/ 1287094 h 1609071"/>
                    <a:gd name="connsiteX385" fmla="*/ 4477518 w 7415962"/>
                    <a:gd name="connsiteY385" fmla="*/ 1287094 h 1609071"/>
                    <a:gd name="connsiteX386" fmla="*/ 4499186 w 7415962"/>
                    <a:gd name="connsiteY386" fmla="*/ 1308762 h 1609071"/>
                    <a:gd name="connsiteX387" fmla="*/ 4594526 w 7415962"/>
                    <a:gd name="connsiteY387" fmla="*/ 1308762 h 1609071"/>
                    <a:gd name="connsiteX388" fmla="*/ 4598431 w 7415962"/>
                    <a:gd name="connsiteY388" fmla="*/ 1317430 h 1609071"/>
                    <a:gd name="connsiteX389" fmla="*/ 4663865 w 7415962"/>
                    <a:gd name="connsiteY389" fmla="*/ 1317430 h 1609071"/>
                    <a:gd name="connsiteX390" fmla="*/ 4663865 w 7415962"/>
                    <a:gd name="connsiteY390" fmla="*/ 1339098 h 1609071"/>
                    <a:gd name="connsiteX391" fmla="*/ 4707201 w 7415962"/>
                    <a:gd name="connsiteY391" fmla="*/ 1339098 h 1609071"/>
                    <a:gd name="connsiteX392" fmla="*/ 4711535 w 7415962"/>
                    <a:gd name="connsiteY392" fmla="*/ 1343432 h 1609071"/>
                    <a:gd name="connsiteX393" fmla="*/ 4767872 w 7415962"/>
                    <a:gd name="connsiteY393" fmla="*/ 1343432 h 1609071"/>
                    <a:gd name="connsiteX394" fmla="*/ 4766585 w 7415962"/>
                    <a:gd name="connsiteY394" fmla="*/ 1358814 h 1609071"/>
                    <a:gd name="connsiteX395" fmla="*/ 5006223 w 7415962"/>
                    <a:gd name="connsiteY395" fmla="*/ 1356433 h 1609071"/>
                    <a:gd name="connsiteX396" fmla="*/ 5019224 w 7415962"/>
                    <a:gd name="connsiteY396" fmla="*/ 1369434 h 1609071"/>
                    <a:gd name="connsiteX397" fmla="*/ 5153567 w 7415962"/>
                    <a:gd name="connsiteY397" fmla="*/ 1369434 h 1609071"/>
                    <a:gd name="connsiteX398" fmla="*/ 5153567 w 7415962"/>
                    <a:gd name="connsiteY398" fmla="*/ 1391102 h 1609071"/>
                    <a:gd name="connsiteX399" fmla="*/ 5283577 w 7415962"/>
                    <a:gd name="connsiteY399" fmla="*/ 1391102 h 1609071"/>
                    <a:gd name="connsiteX400" fmla="*/ 5292244 w 7415962"/>
                    <a:gd name="connsiteY400" fmla="*/ 1399769 h 1609071"/>
                    <a:gd name="connsiteX401" fmla="*/ 5357249 w 7415962"/>
                    <a:gd name="connsiteY401" fmla="*/ 1399769 h 1609071"/>
                    <a:gd name="connsiteX402" fmla="*/ 5370250 w 7415962"/>
                    <a:gd name="connsiteY402" fmla="*/ 1399769 h 1609071"/>
                    <a:gd name="connsiteX403" fmla="*/ 5370250 w 7415962"/>
                    <a:gd name="connsiteY403" fmla="*/ 1421437 h 1609071"/>
                    <a:gd name="connsiteX404" fmla="*/ 5474257 w 7415962"/>
                    <a:gd name="connsiteY404" fmla="*/ 1421437 h 1609071"/>
                    <a:gd name="connsiteX405" fmla="*/ 5474257 w 7415962"/>
                    <a:gd name="connsiteY405" fmla="*/ 1399769 h 1609071"/>
                    <a:gd name="connsiteX406" fmla="*/ 5513260 w 7415962"/>
                    <a:gd name="connsiteY406" fmla="*/ 1399769 h 1609071"/>
                    <a:gd name="connsiteX407" fmla="*/ 5513260 w 7415962"/>
                    <a:gd name="connsiteY407" fmla="*/ 1425771 h 1609071"/>
                    <a:gd name="connsiteX408" fmla="*/ 5608600 w 7415962"/>
                    <a:gd name="connsiteY408" fmla="*/ 1425771 h 1609071"/>
                    <a:gd name="connsiteX409" fmla="*/ 5608600 w 7415962"/>
                    <a:gd name="connsiteY409" fmla="*/ 1399769 h 1609071"/>
                    <a:gd name="connsiteX410" fmla="*/ 5664938 w 7415962"/>
                    <a:gd name="connsiteY410" fmla="*/ 1399769 h 1609071"/>
                    <a:gd name="connsiteX411" fmla="*/ 5664938 w 7415962"/>
                    <a:gd name="connsiteY411" fmla="*/ 1434438 h 1609071"/>
                    <a:gd name="connsiteX412" fmla="*/ 5686606 w 7415962"/>
                    <a:gd name="connsiteY412" fmla="*/ 1434438 h 1609071"/>
                    <a:gd name="connsiteX413" fmla="*/ 5686606 w 7415962"/>
                    <a:gd name="connsiteY413" fmla="*/ 1443106 h 1609071"/>
                    <a:gd name="connsiteX414" fmla="*/ 5716941 w 7415962"/>
                    <a:gd name="connsiteY414" fmla="*/ 1443106 h 1609071"/>
                    <a:gd name="connsiteX415" fmla="*/ 5716941 w 7415962"/>
                    <a:gd name="connsiteY415" fmla="*/ 1456106 h 1609071"/>
                    <a:gd name="connsiteX416" fmla="*/ 5794947 w 7415962"/>
                    <a:gd name="connsiteY416" fmla="*/ 1456106 h 1609071"/>
                    <a:gd name="connsiteX417" fmla="*/ 5794947 w 7415962"/>
                    <a:gd name="connsiteY417" fmla="*/ 1421437 h 1609071"/>
                    <a:gd name="connsiteX418" fmla="*/ 5838284 w 7415962"/>
                    <a:gd name="connsiteY418" fmla="*/ 1421437 h 1609071"/>
                    <a:gd name="connsiteX419" fmla="*/ 5838284 w 7415962"/>
                    <a:gd name="connsiteY419" fmla="*/ 1456106 h 1609071"/>
                    <a:gd name="connsiteX420" fmla="*/ 5903288 w 7415962"/>
                    <a:gd name="connsiteY420" fmla="*/ 1456106 h 1609071"/>
                    <a:gd name="connsiteX421" fmla="*/ 5929290 w 7415962"/>
                    <a:gd name="connsiteY421" fmla="*/ 1456106 h 1609071"/>
                    <a:gd name="connsiteX422" fmla="*/ 5929290 w 7415962"/>
                    <a:gd name="connsiteY422" fmla="*/ 1473441 h 1609071"/>
                    <a:gd name="connsiteX423" fmla="*/ 5946625 w 7415962"/>
                    <a:gd name="connsiteY423" fmla="*/ 1473441 h 1609071"/>
                    <a:gd name="connsiteX424" fmla="*/ 5950959 w 7415962"/>
                    <a:gd name="connsiteY424" fmla="*/ 1477775 h 1609071"/>
                    <a:gd name="connsiteX425" fmla="*/ 6020297 w 7415962"/>
                    <a:gd name="connsiteY425" fmla="*/ 1477775 h 1609071"/>
                    <a:gd name="connsiteX426" fmla="*/ 6020297 w 7415962"/>
                    <a:gd name="connsiteY426" fmla="*/ 1456106 h 1609071"/>
                    <a:gd name="connsiteX427" fmla="*/ 6059300 w 7415962"/>
                    <a:gd name="connsiteY427" fmla="*/ 1456106 h 1609071"/>
                    <a:gd name="connsiteX428" fmla="*/ 6059300 w 7415962"/>
                    <a:gd name="connsiteY428" fmla="*/ 1499443 h 1609071"/>
                    <a:gd name="connsiteX429" fmla="*/ 6111304 w 7415962"/>
                    <a:gd name="connsiteY429" fmla="*/ 1499443 h 1609071"/>
                    <a:gd name="connsiteX430" fmla="*/ 6111304 w 7415962"/>
                    <a:gd name="connsiteY430" fmla="*/ 1508110 h 1609071"/>
                    <a:gd name="connsiteX431" fmla="*/ 6189309 w 7415962"/>
                    <a:gd name="connsiteY431" fmla="*/ 1508110 h 1609071"/>
                    <a:gd name="connsiteX432" fmla="*/ 6189309 w 7415962"/>
                    <a:gd name="connsiteY432" fmla="*/ 1464774 h 1609071"/>
                    <a:gd name="connsiteX433" fmla="*/ 6228312 w 7415962"/>
                    <a:gd name="connsiteY433" fmla="*/ 1464774 h 1609071"/>
                    <a:gd name="connsiteX434" fmla="*/ 6228312 w 7415962"/>
                    <a:gd name="connsiteY434" fmla="*/ 1516778 h 1609071"/>
                    <a:gd name="connsiteX435" fmla="*/ 6353988 w 7415962"/>
                    <a:gd name="connsiteY435" fmla="*/ 1516778 h 1609071"/>
                    <a:gd name="connsiteX436" fmla="*/ 6353988 w 7415962"/>
                    <a:gd name="connsiteY436" fmla="*/ 1477775 h 1609071"/>
                    <a:gd name="connsiteX437" fmla="*/ 6398419 w 7415962"/>
                    <a:gd name="connsiteY437" fmla="*/ 1475394 h 1609071"/>
                    <a:gd name="connsiteX438" fmla="*/ 6400800 w 7415962"/>
                    <a:gd name="connsiteY438" fmla="*/ 1529778 h 1609071"/>
                    <a:gd name="connsiteX439" fmla="*/ 6448472 w 7415962"/>
                    <a:gd name="connsiteY439" fmla="*/ 1529778 h 1609071"/>
                    <a:gd name="connsiteX440" fmla="*/ 6448469 w 7415962"/>
                    <a:gd name="connsiteY440" fmla="*/ 1479728 h 1609071"/>
                    <a:gd name="connsiteX441" fmla="*/ 6488331 w 7415962"/>
                    <a:gd name="connsiteY441" fmla="*/ 1482108 h 1609071"/>
                    <a:gd name="connsiteX442" fmla="*/ 6488331 w 7415962"/>
                    <a:gd name="connsiteY442" fmla="*/ 1529778 h 1609071"/>
                    <a:gd name="connsiteX443" fmla="*/ 6562003 w 7415962"/>
                    <a:gd name="connsiteY443" fmla="*/ 1529778 h 1609071"/>
                    <a:gd name="connsiteX444" fmla="*/ 6566337 w 7415962"/>
                    <a:gd name="connsiteY444" fmla="*/ 1534112 h 1609071"/>
                    <a:gd name="connsiteX445" fmla="*/ 6675107 w 7415962"/>
                    <a:gd name="connsiteY445" fmla="*/ 1536493 h 1609071"/>
                    <a:gd name="connsiteX446" fmla="*/ 6677488 w 7415962"/>
                    <a:gd name="connsiteY446" fmla="*/ 1499443 h 1609071"/>
                    <a:gd name="connsiteX447" fmla="*/ 6739683 w 7415962"/>
                    <a:gd name="connsiteY447" fmla="*/ 1499443 h 1609071"/>
                    <a:gd name="connsiteX448" fmla="*/ 6739683 w 7415962"/>
                    <a:gd name="connsiteY448" fmla="*/ 1542779 h 1609071"/>
                    <a:gd name="connsiteX449" fmla="*/ 6796020 w 7415962"/>
                    <a:gd name="connsiteY449" fmla="*/ 1542779 h 1609071"/>
                    <a:gd name="connsiteX450" fmla="*/ 6796020 w 7415962"/>
                    <a:gd name="connsiteY450" fmla="*/ 1499443 h 1609071"/>
                    <a:gd name="connsiteX451" fmla="*/ 6830689 w 7415962"/>
                    <a:gd name="connsiteY451" fmla="*/ 1499443 h 1609071"/>
                    <a:gd name="connsiteX452" fmla="*/ 6830689 w 7415962"/>
                    <a:gd name="connsiteY452" fmla="*/ 1529778 h 1609071"/>
                    <a:gd name="connsiteX453" fmla="*/ 6848024 w 7415962"/>
                    <a:gd name="connsiteY453" fmla="*/ 1529778 h 1609071"/>
                    <a:gd name="connsiteX454" fmla="*/ 6848024 w 7415962"/>
                    <a:gd name="connsiteY454" fmla="*/ 1555780 h 1609071"/>
                    <a:gd name="connsiteX455" fmla="*/ 7051705 w 7415962"/>
                    <a:gd name="connsiteY455" fmla="*/ 1555780 h 1609071"/>
                    <a:gd name="connsiteX456" fmla="*/ 7064706 w 7415962"/>
                    <a:gd name="connsiteY456" fmla="*/ 1568781 h 1609071"/>
                    <a:gd name="connsiteX457" fmla="*/ 7134045 w 7415962"/>
                    <a:gd name="connsiteY457" fmla="*/ 1568781 h 1609071"/>
                    <a:gd name="connsiteX458" fmla="*/ 7134045 w 7415962"/>
                    <a:gd name="connsiteY458" fmla="*/ 1586116 h 1609071"/>
                    <a:gd name="connsiteX459" fmla="*/ 7285723 w 7415962"/>
                    <a:gd name="connsiteY459" fmla="*/ 1586116 h 1609071"/>
                    <a:gd name="connsiteX460" fmla="*/ 7285723 w 7415962"/>
                    <a:gd name="connsiteY460" fmla="*/ 1607784 h 1609071"/>
                    <a:gd name="connsiteX461" fmla="*/ 7415734 w 7415962"/>
                    <a:gd name="connsiteY461" fmla="*/ 1609071 h 1609071"/>
                    <a:gd name="connsiteX0" fmla="*/ 7415734 w 7415962"/>
                    <a:gd name="connsiteY0" fmla="*/ 1609071 h 1609071"/>
                    <a:gd name="connsiteX1" fmla="*/ 7415732 w 7415962"/>
                    <a:gd name="connsiteY1" fmla="*/ 1508110 h 1609071"/>
                    <a:gd name="connsiteX2" fmla="*/ 7272722 w 7415962"/>
                    <a:gd name="connsiteY2" fmla="*/ 1508110 h 1609071"/>
                    <a:gd name="connsiteX3" fmla="*/ 7271628 w 7415962"/>
                    <a:gd name="connsiteY3" fmla="*/ 1495109 h 1609071"/>
                    <a:gd name="connsiteX4" fmla="*/ 7155285 w 7415962"/>
                    <a:gd name="connsiteY4" fmla="*/ 1492728 h 1609071"/>
                    <a:gd name="connsiteX5" fmla="*/ 7152238 w 7415962"/>
                    <a:gd name="connsiteY5" fmla="*/ 1465868 h 1609071"/>
                    <a:gd name="connsiteX6" fmla="*/ 7038705 w 7415962"/>
                    <a:gd name="connsiteY6" fmla="*/ 1461106 h 1609071"/>
                    <a:gd name="connsiteX7" fmla="*/ 7038705 w 7415962"/>
                    <a:gd name="connsiteY7" fmla="*/ 1451773 h 1609071"/>
                    <a:gd name="connsiteX8" fmla="*/ 6874026 w 7415962"/>
                    <a:gd name="connsiteY8" fmla="*/ 1451773 h 1609071"/>
                    <a:gd name="connsiteX9" fmla="*/ 6874454 w 7415962"/>
                    <a:gd name="connsiteY9" fmla="*/ 1437915 h 1609071"/>
                    <a:gd name="connsiteX10" fmla="*/ 6826356 w 7415962"/>
                    <a:gd name="connsiteY10" fmla="*/ 1440295 h 1609071"/>
                    <a:gd name="connsiteX11" fmla="*/ 6826356 w 7415962"/>
                    <a:gd name="connsiteY11" fmla="*/ 1495109 h 1609071"/>
                    <a:gd name="connsiteX12" fmla="*/ 6787353 w 7415962"/>
                    <a:gd name="connsiteY12" fmla="*/ 1495109 h 1609071"/>
                    <a:gd name="connsiteX13" fmla="*/ 6787353 w 7415962"/>
                    <a:gd name="connsiteY13" fmla="*/ 1443106 h 1609071"/>
                    <a:gd name="connsiteX14" fmla="*/ 6739683 w 7415962"/>
                    <a:gd name="connsiteY14" fmla="*/ 1443106 h 1609071"/>
                    <a:gd name="connsiteX15" fmla="*/ 6739682 w 7415962"/>
                    <a:gd name="connsiteY15" fmla="*/ 1477775 h 1609071"/>
                    <a:gd name="connsiteX16" fmla="*/ 6679012 w 7415962"/>
                    <a:gd name="connsiteY16" fmla="*/ 1477775 h 1609071"/>
                    <a:gd name="connsiteX17" fmla="*/ 6679012 w 7415962"/>
                    <a:gd name="connsiteY17" fmla="*/ 1438772 h 1609071"/>
                    <a:gd name="connsiteX18" fmla="*/ 6562003 w 7415962"/>
                    <a:gd name="connsiteY18" fmla="*/ 1438772 h 1609071"/>
                    <a:gd name="connsiteX19" fmla="*/ 6556145 w 7415962"/>
                    <a:gd name="connsiteY19" fmla="*/ 1428152 h 1609071"/>
                    <a:gd name="connsiteX20" fmla="*/ 6483997 w 7415962"/>
                    <a:gd name="connsiteY20" fmla="*/ 1425771 h 1609071"/>
                    <a:gd name="connsiteX21" fmla="*/ 6483997 w 7415962"/>
                    <a:gd name="connsiteY21" fmla="*/ 1482108 h 1609071"/>
                    <a:gd name="connsiteX22" fmla="*/ 6452138 w 7415962"/>
                    <a:gd name="connsiteY22" fmla="*/ 1479727 h 1609071"/>
                    <a:gd name="connsiteX23" fmla="*/ 6449758 w 7415962"/>
                    <a:gd name="connsiteY23" fmla="*/ 1427295 h 1609071"/>
                    <a:gd name="connsiteX24" fmla="*/ 6398849 w 7415962"/>
                    <a:gd name="connsiteY24" fmla="*/ 1424913 h 1609071"/>
                    <a:gd name="connsiteX25" fmla="*/ 6398848 w 7415962"/>
                    <a:gd name="connsiteY25" fmla="*/ 1477775 h 1609071"/>
                    <a:gd name="connsiteX26" fmla="*/ 6358322 w 7415962"/>
                    <a:gd name="connsiteY26" fmla="*/ 1477775 h 1609071"/>
                    <a:gd name="connsiteX27" fmla="*/ 6358322 w 7415962"/>
                    <a:gd name="connsiteY27" fmla="*/ 1430105 h 1609071"/>
                    <a:gd name="connsiteX28" fmla="*/ 6223978 w 7415962"/>
                    <a:gd name="connsiteY28" fmla="*/ 1430105 h 1609071"/>
                    <a:gd name="connsiteX29" fmla="*/ 6223978 w 7415962"/>
                    <a:gd name="connsiteY29" fmla="*/ 1443106 h 1609071"/>
                    <a:gd name="connsiteX30" fmla="*/ 6193643 w 7415962"/>
                    <a:gd name="connsiteY30" fmla="*/ 1443106 h 1609071"/>
                    <a:gd name="connsiteX31" fmla="*/ 6193643 w 7415962"/>
                    <a:gd name="connsiteY31" fmla="*/ 1412770 h 1609071"/>
                    <a:gd name="connsiteX32" fmla="*/ 6119971 w 7415962"/>
                    <a:gd name="connsiteY32" fmla="*/ 1412770 h 1609071"/>
                    <a:gd name="connsiteX33" fmla="*/ 6119971 w 7415962"/>
                    <a:gd name="connsiteY33" fmla="*/ 1399769 h 1609071"/>
                    <a:gd name="connsiteX34" fmla="*/ 6072301 w 7415962"/>
                    <a:gd name="connsiteY34" fmla="*/ 1399769 h 1609071"/>
                    <a:gd name="connsiteX35" fmla="*/ 6072301 w 7415962"/>
                    <a:gd name="connsiteY35" fmla="*/ 1382434 h 1609071"/>
                    <a:gd name="connsiteX36" fmla="*/ 6050632 w 7415962"/>
                    <a:gd name="connsiteY36" fmla="*/ 1382434 h 1609071"/>
                    <a:gd name="connsiteX37" fmla="*/ 6050632 w 7415962"/>
                    <a:gd name="connsiteY37" fmla="*/ 1421437 h 1609071"/>
                    <a:gd name="connsiteX38" fmla="*/ 6020297 w 7415962"/>
                    <a:gd name="connsiteY38" fmla="*/ 1421437 h 1609071"/>
                    <a:gd name="connsiteX39" fmla="*/ 6020297 w 7415962"/>
                    <a:gd name="connsiteY39" fmla="*/ 1391102 h 1609071"/>
                    <a:gd name="connsiteX40" fmla="*/ 5959626 w 7415962"/>
                    <a:gd name="connsiteY40" fmla="*/ 1391102 h 1609071"/>
                    <a:gd name="connsiteX41" fmla="*/ 5959626 w 7415962"/>
                    <a:gd name="connsiteY41" fmla="*/ 1373767 h 1609071"/>
                    <a:gd name="connsiteX42" fmla="*/ 5920623 w 7415962"/>
                    <a:gd name="connsiteY42" fmla="*/ 1373767 h 1609071"/>
                    <a:gd name="connsiteX43" fmla="*/ 5920623 w 7415962"/>
                    <a:gd name="connsiteY43" fmla="*/ 1352099 h 1609071"/>
                    <a:gd name="connsiteX44" fmla="*/ 5825283 w 7415962"/>
                    <a:gd name="connsiteY44" fmla="*/ 1352099 h 1609071"/>
                    <a:gd name="connsiteX45" fmla="*/ 5825283 w 7415962"/>
                    <a:gd name="connsiteY45" fmla="*/ 1399769 h 1609071"/>
                    <a:gd name="connsiteX46" fmla="*/ 5790614 w 7415962"/>
                    <a:gd name="connsiteY46" fmla="*/ 1399769 h 1609071"/>
                    <a:gd name="connsiteX47" fmla="*/ 5790614 w 7415962"/>
                    <a:gd name="connsiteY47" fmla="*/ 1365100 h 1609071"/>
                    <a:gd name="connsiteX48" fmla="*/ 5699607 w 7415962"/>
                    <a:gd name="connsiteY48" fmla="*/ 1365100 h 1609071"/>
                    <a:gd name="connsiteX49" fmla="*/ 5699607 w 7415962"/>
                    <a:gd name="connsiteY49" fmla="*/ 1326097 h 1609071"/>
                    <a:gd name="connsiteX50" fmla="*/ 5656270 w 7415962"/>
                    <a:gd name="connsiteY50" fmla="*/ 1326097 h 1609071"/>
                    <a:gd name="connsiteX51" fmla="*/ 5656270 w 7415962"/>
                    <a:gd name="connsiteY51" fmla="*/ 1373767 h 1609071"/>
                    <a:gd name="connsiteX52" fmla="*/ 5612934 w 7415962"/>
                    <a:gd name="connsiteY52" fmla="*/ 1373767 h 1609071"/>
                    <a:gd name="connsiteX53" fmla="*/ 5612934 w 7415962"/>
                    <a:gd name="connsiteY53" fmla="*/ 1334764 h 1609071"/>
                    <a:gd name="connsiteX54" fmla="*/ 5513260 w 7415962"/>
                    <a:gd name="connsiteY54" fmla="*/ 1334764 h 1609071"/>
                    <a:gd name="connsiteX55" fmla="*/ 5513260 w 7415962"/>
                    <a:gd name="connsiteY55" fmla="*/ 1360766 h 1609071"/>
                    <a:gd name="connsiteX56" fmla="*/ 5469923 w 7415962"/>
                    <a:gd name="connsiteY56" fmla="*/ 1360766 h 1609071"/>
                    <a:gd name="connsiteX57" fmla="*/ 5469923 w 7415962"/>
                    <a:gd name="connsiteY57" fmla="*/ 1321763 h 1609071"/>
                    <a:gd name="connsiteX58" fmla="*/ 5361582 w 7415962"/>
                    <a:gd name="connsiteY58" fmla="*/ 1321763 h 1609071"/>
                    <a:gd name="connsiteX59" fmla="*/ 5361582 w 7415962"/>
                    <a:gd name="connsiteY59" fmla="*/ 1304429 h 1609071"/>
                    <a:gd name="connsiteX60" fmla="*/ 5300911 w 7415962"/>
                    <a:gd name="connsiteY60" fmla="*/ 1304429 h 1609071"/>
                    <a:gd name="connsiteX61" fmla="*/ 5292244 w 7415962"/>
                    <a:gd name="connsiteY61" fmla="*/ 1295762 h 1609071"/>
                    <a:gd name="connsiteX62" fmla="*/ 5188236 w 7415962"/>
                    <a:gd name="connsiteY62" fmla="*/ 1295762 h 1609071"/>
                    <a:gd name="connsiteX63" fmla="*/ 5188236 w 7415962"/>
                    <a:gd name="connsiteY63" fmla="*/ 1278427 h 1609071"/>
                    <a:gd name="connsiteX64" fmla="*/ 5046321 w 7415962"/>
                    <a:gd name="connsiteY64" fmla="*/ 1278427 h 1609071"/>
                    <a:gd name="connsiteX65" fmla="*/ 5049559 w 7415962"/>
                    <a:gd name="connsiteY65" fmla="*/ 1269759 h 1609071"/>
                    <a:gd name="connsiteX66" fmla="*/ 4923884 w 7415962"/>
                    <a:gd name="connsiteY66" fmla="*/ 1269759 h 1609071"/>
                    <a:gd name="connsiteX67" fmla="*/ 4927551 w 7415962"/>
                    <a:gd name="connsiteY67" fmla="*/ 1256758 h 1609071"/>
                    <a:gd name="connsiteX68" fmla="*/ 4703297 w 7415962"/>
                    <a:gd name="connsiteY68" fmla="*/ 1254376 h 1609071"/>
                    <a:gd name="connsiteX69" fmla="*/ 4695058 w 7415962"/>
                    <a:gd name="connsiteY69" fmla="*/ 1241375 h 1609071"/>
                    <a:gd name="connsiteX70" fmla="*/ 4675772 w 7415962"/>
                    <a:gd name="connsiteY70" fmla="*/ 1238995 h 1609071"/>
                    <a:gd name="connsiteX71" fmla="*/ 4662691 w 7415962"/>
                    <a:gd name="connsiteY71" fmla="*/ 1226572 h 1609071"/>
                    <a:gd name="connsiteX72" fmla="*/ 4656056 w 7415962"/>
                    <a:gd name="connsiteY72" fmla="*/ 1224042 h 1609071"/>
                    <a:gd name="connsiteX73" fmla="*/ 4633530 w 7415962"/>
                    <a:gd name="connsiteY73" fmla="*/ 1213422 h 1609071"/>
                    <a:gd name="connsiteX74" fmla="*/ 4490519 w 7415962"/>
                    <a:gd name="connsiteY74" fmla="*/ 1213422 h 1609071"/>
                    <a:gd name="connsiteX75" fmla="*/ 4490519 w 7415962"/>
                    <a:gd name="connsiteY75" fmla="*/ 1200421 h 1609071"/>
                    <a:gd name="connsiteX76" fmla="*/ 4447182 w 7415962"/>
                    <a:gd name="connsiteY76" fmla="*/ 1200421 h 1609071"/>
                    <a:gd name="connsiteX77" fmla="*/ 4444801 w 7415962"/>
                    <a:gd name="connsiteY77" fmla="*/ 1192612 h 1609071"/>
                    <a:gd name="connsiteX78" fmla="*/ 4422186 w 7415962"/>
                    <a:gd name="connsiteY78" fmla="*/ 1195615 h 1609071"/>
                    <a:gd name="connsiteX79" fmla="*/ 4424420 w 7415962"/>
                    <a:gd name="connsiteY79" fmla="*/ 1171180 h 1609071"/>
                    <a:gd name="connsiteX80" fmla="*/ 4394750 w 7415962"/>
                    <a:gd name="connsiteY80" fmla="*/ 1172467 h 1609071"/>
                    <a:gd name="connsiteX81" fmla="*/ 4395179 w 7415962"/>
                    <a:gd name="connsiteY81" fmla="*/ 1200421 h 1609071"/>
                    <a:gd name="connsiteX82" fmla="*/ 4360509 w 7415962"/>
                    <a:gd name="connsiteY82" fmla="*/ 1200421 h 1609071"/>
                    <a:gd name="connsiteX83" fmla="*/ 4360509 w 7415962"/>
                    <a:gd name="connsiteY83" fmla="*/ 1157085 h 1609071"/>
                    <a:gd name="connsiteX84" fmla="*/ 4330174 w 7415962"/>
                    <a:gd name="connsiteY84" fmla="*/ 1157085 h 1609071"/>
                    <a:gd name="connsiteX85" fmla="*/ 4321506 w 7415962"/>
                    <a:gd name="connsiteY85" fmla="*/ 1148417 h 1609071"/>
                    <a:gd name="connsiteX86" fmla="*/ 4156828 w 7415962"/>
                    <a:gd name="connsiteY86" fmla="*/ 1148417 h 1609071"/>
                    <a:gd name="connsiteX87" fmla="*/ 4155304 w 7415962"/>
                    <a:gd name="connsiteY87" fmla="*/ 1134986 h 1609071"/>
                    <a:gd name="connsiteX88" fmla="*/ 4068202 w 7415962"/>
                    <a:gd name="connsiteY88" fmla="*/ 1134987 h 1609071"/>
                    <a:gd name="connsiteX89" fmla="*/ 4065821 w 7415962"/>
                    <a:gd name="connsiteY89" fmla="*/ 1122415 h 1609071"/>
                    <a:gd name="connsiteX90" fmla="*/ 4048486 w 7415962"/>
                    <a:gd name="connsiteY90" fmla="*/ 1122415 h 1609071"/>
                    <a:gd name="connsiteX91" fmla="*/ 4048486 w 7415962"/>
                    <a:gd name="connsiteY91" fmla="*/ 1105081 h 1609071"/>
                    <a:gd name="connsiteX92" fmla="*/ 4026818 w 7415962"/>
                    <a:gd name="connsiteY92" fmla="*/ 1105081 h 1609071"/>
                    <a:gd name="connsiteX93" fmla="*/ 4026818 w 7415962"/>
                    <a:gd name="connsiteY93" fmla="*/ 1152751 h 1609071"/>
                    <a:gd name="connsiteX94" fmla="*/ 3992149 w 7415962"/>
                    <a:gd name="connsiteY94" fmla="*/ 1152751 h 1609071"/>
                    <a:gd name="connsiteX95" fmla="*/ 3992149 w 7415962"/>
                    <a:gd name="connsiteY95" fmla="*/ 1109415 h 1609071"/>
                    <a:gd name="connsiteX96" fmla="*/ 3961814 w 7415962"/>
                    <a:gd name="connsiteY96" fmla="*/ 1109415 h 1609071"/>
                    <a:gd name="connsiteX97" fmla="*/ 3955528 w 7415962"/>
                    <a:gd name="connsiteY97" fmla="*/ 1091222 h 1609071"/>
                    <a:gd name="connsiteX98" fmla="*/ 3731702 w 7415962"/>
                    <a:gd name="connsiteY98" fmla="*/ 1093604 h 1609071"/>
                    <a:gd name="connsiteX99" fmla="*/ 3733417 w 7415962"/>
                    <a:gd name="connsiteY99" fmla="*/ 1081031 h 1609071"/>
                    <a:gd name="connsiteX100" fmla="*/ 3586309 w 7415962"/>
                    <a:gd name="connsiteY100" fmla="*/ 1078650 h 1609071"/>
                    <a:gd name="connsiteX101" fmla="*/ 3585644 w 7415962"/>
                    <a:gd name="connsiteY101" fmla="*/ 1066079 h 1609071"/>
                    <a:gd name="connsiteX102" fmla="*/ 3441776 w 7415962"/>
                    <a:gd name="connsiteY102" fmla="*/ 1066079 h 1609071"/>
                    <a:gd name="connsiteX103" fmla="*/ 3441776 w 7415962"/>
                    <a:gd name="connsiteY103" fmla="*/ 1040076 h 1609071"/>
                    <a:gd name="connsiteX104" fmla="*/ 3320433 w 7415962"/>
                    <a:gd name="connsiteY104" fmla="*/ 1040076 h 1609071"/>
                    <a:gd name="connsiteX105" fmla="*/ 3320433 w 7415962"/>
                    <a:gd name="connsiteY105" fmla="*/ 1027075 h 1609071"/>
                    <a:gd name="connsiteX106" fmla="*/ 3181757 w 7415962"/>
                    <a:gd name="connsiteY106" fmla="*/ 1027075 h 1609071"/>
                    <a:gd name="connsiteX107" fmla="*/ 3181757 w 7415962"/>
                    <a:gd name="connsiteY107" fmla="*/ 1020123 h 1609071"/>
                    <a:gd name="connsiteX108" fmla="*/ 3164422 w 7415962"/>
                    <a:gd name="connsiteY108" fmla="*/ 1018408 h 1609071"/>
                    <a:gd name="connsiteX109" fmla="*/ 3151421 w 7415962"/>
                    <a:gd name="connsiteY109" fmla="*/ 1000645 h 1609071"/>
                    <a:gd name="connsiteX110" fmla="*/ 2991076 w 7415962"/>
                    <a:gd name="connsiteY110" fmla="*/ 1003026 h 1609071"/>
                    <a:gd name="connsiteX111" fmla="*/ 2991076 w 7415962"/>
                    <a:gd name="connsiteY111" fmla="*/ 988072 h 1609071"/>
                    <a:gd name="connsiteX112" fmla="*/ 2908737 w 7415962"/>
                    <a:gd name="connsiteY112" fmla="*/ 988072 h 1609071"/>
                    <a:gd name="connsiteX113" fmla="*/ 2900069 w 7415962"/>
                    <a:gd name="connsiteY113" fmla="*/ 979404 h 1609071"/>
                    <a:gd name="connsiteX114" fmla="*/ 2869734 w 7415962"/>
                    <a:gd name="connsiteY114" fmla="*/ 979404 h 1609071"/>
                    <a:gd name="connsiteX115" fmla="*/ 2869734 w 7415962"/>
                    <a:gd name="connsiteY115" fmla="*/ 953403 h 1609071"/>
                    <a:gd name="connsiteX116" fmla="*/ 2843732 w 7415962"/>
                    <a:gd name="connsiteY116" fmla="*/ 953403 h 1609071"/>
                    <a:gd name="connsiteX117" fmla="*/ 2835065 w 7415962"/>
                    <a:gd name="connsiteY117" fmla="*/ 944736 h 1609071"/>
                    <a:gd name="connsiteX118" fmla="*/ 2757059 w 7415962"/>
                    <a:gd name="connsiteY118" fmla="*/ 944736 h 1609071"/>
                    <a:gd name="connsiteX119" fmla="*/ 2748392 w 7415962"/>
                    <a:gd name="connsiteY119" fmla="*/ 936069 h 1609071"/>
                    <a:gd name="connsiteX120" fmla="*/ 2700722 w 7415962"/>
                    <a:gd name="connsiteY120" fmla="*/ 936069 h 1609071"/>
                    <a:gd name="connsiteX121" fmla="*/ 2689673 w 7415962"/>
                    <a:gd name="connsiteY121" fmla="*/ 925019 h 1609071"/>
                    <a:gd name="connsiteX122" fmla="*/ 2644384 w 7415962"/>
                    <a:gd name="connsiteY122" fmla="*/ 927401 h 1609071"/>
                    <a:gd name="connsiteX123" fmla="*/ 2638957 w 7415962"/>
                    <a:gd name="connsiteY123" fmla="*/ 910067 h 1609071"/>
                    <a:gd name="connsiteX124" fmla="*/ 2616859 w 7415962"/>
                    <a:gd name="connsiteY124" fmla="*/ 899876 h 1609071"/>
                    <a:gd name="connsiteX125" fmla="*/ 2592380 w 7415962"/>
                    <a:gd name="connsiteY125" fmla="*/ 875397 h 1609071"/>
                    <a:gd name="connsiteX126" fmla="*/ 2562045 w 7415962"/>
                    <a:gd name="connsiteY126" fmla="*/ 875397 h 1609071"/>
                    <a:gd name="connsiteX127" fmla="*/ 2553377 w 7415962"/>
                    <a:gd name="connsiteY127" fmla="*/ 866729 h 1609071"/>
                    <a:gd name="connsiteX128" fmla="*/ 2501374 w 7415962"/>
                    <a:gd name="connsiteY128" fmla="*/ 866729 h 1609071"/>
                    <a:gd name="connsiteX129" fmla="*/ 2501374 w 7415962"/>
                    <a:gd name="connsiteY129" fmla="*/ 849396 h 1609071"/>
                    <a:gd name="connsiteX130" fmla="*/ 2445036 w 7415962"/>
                    <a:gd name="connsiteY130" fmla="*/ 849396 h 1609071"/>
                    <a:gd name="connsiteX131" fmla="*/ 2436368 w 7415962"/>
                    <a:gd name="connsiteY131" fmla="*/ 840728 h 1609071"/>
                    <a:gd name="connsiteX132" fmla="*/ 2414701 w 7415962"/>
                    <a:gd name="connsiteY132" fmla="*/ 840728 h 1609071"/>
                    <a:gd name="connsiteX133" fmla="*/ 2401700 w 7415962"/>
                    <a:gd name="connsiteY133" fmla="*/ 827727 h 1609071"/>
                    <a:gd name="connsiteX134" fmla="*/ 2349696 w 7415962"/>
                    <a:gd name="connsiteY134" fmla="*/ 827727 h 1609071"/>
                    <a:gd name="connsiteX135" fmla="*/ 2349696 w 7415962"/>
                    <a:gd name="connsiteY135" fmla="*/ 810393 h 1609071"/>
                    <a:gd name="connsiteX136" fmla="*/ 2310693 w 7415962"/>
                    <a:gd name="connsiteY136" fmla="*/ 810393 h 1609071"/>
                    <a:gd name="connsiteX137" fmla="*/ 2304835 w 7415962"/>
                    <a:gd name="connsiteY137" fmla="*/ 830537 h 1609071"/>
                    <a:gd name="connsiteX138" fmla="*/ 2274501 w 7415962"/>
                    <a:gd name="connsiteY138" fmla="*/ 828156 h 1609071"/>
                    <a:gd name="connsiteX139" fmla="*/ 2273406 w 7415962"/>
                    <a:gd name="connsiteY139" fmla="*/ 800867 h 1609071"/>
                    <a:gd name="connsiteX140" fmla="*/ 2245688 w 7415962"/>
                    <a:gd name="connsiteY140" fmla="*/ 801725 h 1609071"/>
                    <a:gd name="connsiteX141" fmla="*/ 2245688 w 7415962"/>
                    <a:gd name="connsiteY141" fmla="*/ 775724 h 1609071"/>
                    <a:gd name="connsiteX142" fmla="*/ 2124346 w 7415962"/>
                    <a:gd name="connsiteY142" fmla="*/ 775724 h 1609071"/>
                    <a:gd name="connsiteX143" fmla="*/ 2124346 w 7415962"/>
                    <a:gd name="connsiteY143" fmla="*/ 745388 h 1609071"/>
                    <a:gd name="connsiteX144" fmla="*/ 2072342 w 7415962"/>
                    <a:gd name="connsiteY144" fmla="*/ 745388 h 1609071"/>
                    <a:gd name="connsiteX145" fmla="*/ 2063675 w 7415962"/>
                    <a:gd name="connsiteY145" fmla="*/ 736721 h 1609071"/>
                    <a:gd name="connsiteX146" fmla="*/ 2007338 w 7415962"/>
                    <a:gd name="connsiteY146" fmla="*/ 736721 h 1609071"/>
                    <a:gd name="connsiteX147" fmla="*/ 2007338 w 7415962"/>
                    <a:gd name="connsiteY147" fmla="*/ 715052 h 1609071"/>
                    <a:gd name="connsiteX148" fmla="*/ 1907664 w 7415962"/>
                    <a:gd name="connsiteY148" fmla="*/ 715052 h 1609071"/>
                    <a:gd name="connsiteX149" fmla="*/ 1903331 w 7415962"/>
                    <a:gd name="connsiteY149" fmla="*/ 710719 h 1609071"/>
                    <a:gd name="connsiteX150" fmla="*/ 1864327 w 7415962"/>
                    <a:gd name="connsiteY150" fmla="*/ 710719 h 1609071"/>
                    <a:gd name="connsiteX151" fmla="*/ 1864327 w 7415962"/>
                    <a:gd name="connsiteY151" fmla="*/ 680383 h 1609071"/>
                    <a:gd name="connsiteX152" fmla="*/ 1807990 w 7415962"/>
                    <a:gd name="connsiteY152" fmla="*/ 680383 h 1609071"/>
                    <a:gd name="connsiteX153" fmla="*/ 1808848 w 7415962"/>
                    <a:gd name="connsiteY153" fmla="*/ 671716 h 1609071"/>
                    <a:gd name="connsiteX154" fmla="*/ 1786322 w 7415962"/>
                    <a:gd name="connsiteY154" fmla="*/ 671716 h 1609071"/>
                    <a:gd name="connsiteX155" fmla="*/ 1786322 w 7415962"/>
                    <a:gd name="connsiteY155" fmla="*/ 658715 h 1609071"/>
                    <a:gd name="connsiteX156" fmla="*/ 1751652 w 7415962"/>
                    <a:gd name="connsiteY156" fmla="*/ 658715 h 1609071"/>
                    <a:gd name="connsiteX157" fmla="*/ 1751652 w 7415962"/>
                    <a:gd name="connsiteY157" fmla="*/ 637047 h 1609071"/>
                    <a:gd name="connsiteX158" fmla="*/ 1699649 w 7415962"/>
                    <a:gd name="connsiteY158" fmla="*/ 637047 h 1609071"/>
                    <a:gd name="connsiteX159" fmla="*/ 1699649 w 7415962"/>
                    <a:gd name="connsiteY159" fmla="*/ 611045 h 1609071"/>
                    <a:gd name="connsiteX160" fmla="*/ 1617309 w 7415962"/>
                    <a:gd name="connsiteY160" fmla="*/ 611045 h 1609071"/>
                    <a:gd name="connsiteX161" fmla="*/ 1604308 w 7415962"/>
                    <a:gd name="connsiteY161" fmla="*/ 598044 h 1609071"/>
                    <a:gd name="connsiteX162" fmla="*/ 1591307 w 7415962"/>
                    <a:gd name="connsiteY162" fmla="*/ 598044 h 1609071"/>
                    <a:gd name="connsiteX163" fmla="*/ 1578306 w 7415962"/>
                    <a:gd name="connsiteY163" fmla="*/ 585043 h 1609071"/>
                    <a:gd name="connsiteX164" fmla="*/ 1530636 w 7415962"/>
                    <a:gd name="connsiteY164" fmla="*/ 585043 h 1609071"/>
                    <a:gd name="connsiteX165" fmla="*/ 1530636 w 7415962"/>
                    <a:gd name="connsiteY165" fmla="*/ 576376 h 1609071"/>
                    <a:gd name="connsiteX166" fmla="*/ 1478632 w 7415962"/>
                    <a:gd name="connsiteY166" fmla="*/ 576376 h 1609071"/>
                    <a:gd name="connsiteX167" fmla="*/ 1478632 w 7415962"/>
                    <a:gd name="connsiteY167" fmla="*/ 559041 h 1609071"/>
                    <a:gd name="connsiteX168" fmla="*/ 1409294 w 7415962"/>
                    <a:gd name="connsiteY168" fmla="*/ 559041 h 1609071"/>
                    <a:gd name="connsiteX169" fmla="*/ 1396293 w 7415962"/>
                    <a:gd name="connsiteY169" fmla="*/ 546040 h 1609071"/>
                    <a:gd name="connsiteX170" fmla="*/ 1331288 w 7415962"/>
                    <a:gd name="connsiteY170" fmla="*/ 546040 h 1609071"/>
                    <a:gd name="connsiteX171" fmla="*/ 1331288 w 7415962"/>
                    <a:gd name="connsiteY171" fmla="*/ 528706 h 1609071"/>
                    <a:gd name="connsiteX172" fmla="*/ 1274951 w 7415962"/>
                    <a:gd name="connsiteY172" fmla="*/ 528706 h 1609071"/>
                    <a:gd name="connsiteX173" fmla="*/ 1274951 w 7415962"/>
                    <a:gd name="connsiteY173" fmla="*/ 507037 h 1609071"/>
                    <a:gd name="connsiteX174" fmla="*/ 1192612 w 7415962"/>
                    <a:gd name="connsiteY174" fmla="*/ 507037 h 1609071"/>
                    <a:gd name="connsiteX175" fmla="*/ 1175277 w 7415962"/>
                    <a:gd name="connsiteY175" fmla="*/ 507037 h 1609071"/>
                    <a:gd name="connsiteX176" fmla="*/ 1149275 w 7415962"/>
                    <a:gd name="connsiteY176" fmla="*/ 507037 h 1609071"/>
                    <a:gd name="connsiteX177" fmla="*/ 1149275 w 7415962"/>
                    <a:gd name="connsiteY177" fmla="*/ 481035 h 1609071"/>
                    <a:gd name="connsiteX178" fmla="*/ 1092938 w 7415962"/>
                    <a:gd name="connsiteY178" fmla="*/ 481035 h 1609071"/>
                    <a:gd name="connsiteX179" fmla="*/ 1092938 w 7415962"/>
                    <a:gd name="connsiteY179" fmla="*/ 468034 h 1609071"/>
                    <a:gd name="connsiteX180" fmla="*/ 1045268 w 7415962"/>
                    <a:gd name="connsiteY180" fmla="*/ 468034 h 1609071"/>
                    <a:gd name="connsiteX181" fmla="*/ 1045268 w 7415962"/>
                    <a:gd name="connsiteY181" fmla="*/ 437699 h 1609071"/>
                    <a:gd name="connsiteX182" fmla="*/ 988930 w 7415962"/>
                    <a:gd name="connsiteY182" fmla="*/ 437699 h 1609071"/>
                    <a:gd name="connsiteX183" fmla="*/ 975929 w 7415962"/>
                    <a:gd name="connsiteY183" fmla="*/ 424698 h 1609071"/>
                    <a:gd name="connsiteX184" fmla="*/ 954261 w 7415962"/>
                    <a:gd name="connsiteY184" fmla="*/ 424698 h 1609071"/>
                    <a:gd name="connsiteX185" fmla="*/ 945594 w 7415962"/>
                    <a:gd name="connsiteY185" fmla="*/ 416031 h 1609071"/>
                    <a:gd name="connsiteX186" fmla="*/ 893590 w 7415962"/>
                    <a:gd name="connsiteY186" fmla="*/ 416031 h 1609071"/>
                    <a:gd name="connsiteX187" fmla="*/ 893590 w 7415962"/>
                    <a:gd name="connsiteY187" fmla="*/ 394362 h 1609071"/>
                    <a:gd name="connsiteX188" fmla="*/ 867588 w 7415962"/>
                    <a:gd name="connsiteY188" fmla="*/ 394362 h 1609071"/>
                    <a:gd name="connsiteX189" fmla="*/ 858921 w 7415962"/>
                    <a:gd name="connsiteY189" fmla="*/ 385695 h 1609071"/>
                    <a:gd name="connsiteX190" fmla="*/ 754913 w 7415962"/>
                    <a:gd name="connsiteY190" fmla="*/ 385695 h 1609071"/>
                    <a:gd name="connsiteX191" fmla="*/ 754913 w 7415962"/>
                    <a:gd name="connsiteY191" fmla="*/ 359693 h 1609071"/>
                    <a:gd name="connsiteX192" fmla="*/ 724577 w 7415962"/>
                    <a:gd name="connsiteY192" fmla="*/ 359693 h 1609071"/>
                    <a:gd name="connsiteX193" fmla="*/ 724577 w 7415962"/>
                    <a:gd name="connsiteY193" fmla="*/ 342359 h 1609071"/>
                    <a:gd name="connsiteX194" fmla="*/ 659573 w 7415962"/>
                    <a:gd name="connsiteY194" fmla="*/ 342359 h 1609071"/>
                    <a:gd name="connsiteX195" fmla="*/ 650905 w 7415962"/>
                    <a:gd name="connsiteY195" fmla="*/ 333691 h 1609071"/>
                    <a:gd name="connsiteX196" fmla="*/ 629237 w 7415962"/>
                    <a:gd name="connsiteY196" fmla="*/ 333691 h 1609071"/>
                    <a:gd name="connsiteX197" fmla="*/ 629237 w 7415962"/>
                    <a:gd name="connsiteY197" fmla="*/ 316357 h 1609071"/>
                    <a:gd name="connsiteX198" fmla="*/ 598902 w 7415962"/>
                    <a:gd name="connsiteY198" fmla="*/ 316357 h 1609071"/>
                    <a:gd name="connsiteX199" fmla="*/ 598902 w 7415962"/>
                    <a:gd name="connsiteY199" fmla="*/ 294688 h 1609071"/>
                    <a:gd name="connsiteX200" fmla="*/ 577233 w 7415962"/>
                    <a:gd name="connsiteY200" fmla="*/ 294688 h 1609071"/>
                    <a:gd name="connsiteX201" fmla="*/ 577233 w 7415962"/>
                    <a:gd name="connsiteY201" fmla="*/ 281687 h 1609071"/>
                    <a:gd name="connsiteX202" fmla="*/ 555565 w 7415962"/>
                    <a:gd name="connsiteY202" fmla="*/ 281687 h 1609071"/>
                    <a:gd name="connsiteX203" fmla="*/ 555565 w 7415962"/>
                    <a:gd name="connsiteY203" fmla="*/ 268687 h 1609071"/>
                    <a:gd name="connsiteX204" fmla="*/ 490560 w 7415962"/>
                    <a:gd name="connsiteY204" fmla="*/ 268687 h 1609071"/>
                    <a:gd name="connsiteX205" fmla="*/ 490560 w 7415962"/>
                    <a:gd name="connsiteY205" fmla="*/ 242685 h 1609071"/>
                    <a:gd name="connsiteX206" fmla="*/ 455891 w 7415962"/>
                    <a:gd name="connsiteY206" fmla="*/ 242685 h 1609071"/>
                    <a:gd name="connsiteX207" fmla="*/ 455891 w 7415962"/>
                    <a:gd name="connsiteY207" fmla="*/ 216683 h 1609071"/>
                    <a:gd name="connsiteX208" fmla="*/ 438557 w 7415962"/>
                    <a:gd name="connsiteY208" fmla="*/ 216683 h 1609071"/>
                    <a:gd name="connsiteX209" fmla="*/ 438557 w 7415962"/>
                    <a:gd name="connsiteY209" fmla="*/ 186347 h 1609071"/>
                    <a:gd name="connsiteX210" fmla="*/ 408221 w 7415962"/>
                    <a:gd name="connsiteY210" fmla="*/ 186347 h 1609071"/>
                    <a:gd name="connsiteX211" fmla="*/ 408221 w 7415962"/>
                    <a:gd name="connsiteY211" fmla="*/ 173346 h 1609071"/>
                    <a:gd name="connsiteX212" fmla="*/ 373552 w 7415962"/>
                    <a:gd name="connsiteY212" fmla="*/ 173346 h 1609071"/>
                    <a:gd name="connsiteX213" fmla="*/ 373552 w 7415962"/>
                    <a:gd name="connsiteY213" fmla="*/ 151678 h 1609071"/>
                    <a:gd name="connsiteX214" fmla="*/ 356217 w 7415962"/>
                    <a:gd name="connsiteY214" fmla="*/ 151678 h 1609071"/>
                    <a:gd name="connsiteX215" fmla="*/ 356217 w 7415962"/>
                    <a:gd name="connsiteY215" fmla="*/ 138677 h 1609071"/>
                    <a:gd name="connsiteX216" fmla="*/ 304214 w 7415962"/>
                    <a:gd name="connsiteY216" fmla="*/ 138677 h 1609071"/>
                    <a:gd name="connsiteX217" fmla="*/ 304214 w 7415962"/>
                    <a:gd name="connsiteY217" fmla="*/ 95341 h 1609071"/>
                    <a:gd name="connsiteX218" fmla="*/ 269544 w 7415962"/>
                    <a:gd name="connsiteY218" fmla="*/ 95341 h 1609071"/>
                    <a:gd name="connsiteX219" fmla="*/ 269544 w 7415962"/>
                    <a:gd name="connsiteY219" fmla="*/ 82340 h 1609071"/>
                    <a:gd name="connsiteX220" fmla="*/ 234875 w 7415962"/>
                    <a:gd name="connsiteY220" fmla="*/ 82340 h 1609071"/>
                    <a:gd name="connsiteX221" fmla="*/ 234875 w 7415962"/>
                    <a:gd name="connsiteY221" fmla="*/ 47670 h 1609071"/>
                    <a:gd name="connsiteX222" fmla="*/ 208873 w 7415962"/>
                    <a:gd name="connsiteY222" fmla="*/ 47670 h 1609071"/>
                    <a:gd name="connsiteX223" fmla="*/ 208873 w 7415962"/>
                    <a:gd name="connsiteY223" fmla="*/ 39003 h 1609071"/>
                    <a:gd name="connsiteX224" fmla="*/ 156869 w 7415962"/>
                    <a:gd name="connsiteY224" fmla="*/ 39003 h 1609071"/>
                    <a:gd name="connsiteX225" fmla="*/ 156869 w 7415962"/>
                    <a:gd name="connsiteY225" fmla="*/ 26002 h 1609071"/>
                    <a:gd name="connsiteX226" fmla="*/ 122200 w 7415962"/>
                    <a:gd name="connsiteY226" fmla="*/ 26002 h 1609071"/>
                    <a:gd name="connsiteX227" fmla="*/ 122200 w 7415962"/>
                    <a:gd name="connsiteY227" fmla="*/ 0 h 1609071"/>
                    <a:gd name="connsiteX228" fmla="*/ 83197 w 7415962"/>
                    <a:gd name="connsiteY228" fmla="*/ 0 h 1609071"/>
                    <a:gd name="connsiteX229" fmla="*/ 71291 w 7415962"/>
                    <a:gd name="connsiteY229" fmla="*/ 40956 h 1609071"/>
                    <a:gd name="connsiteX230" fmla="*/ 858 w 7415962"/>
                    <a:gd name="connsiteY230" fmla="*/ 43337 h 1609071"/>
                    <a:gd name="connsiteX231" fmla="*/ 0 w 7415962"/>
                    <a:gd name="connsiteY231" fmla="*/ 39432 h 1609071"/>
                    <a:gd name="connsiteX232" fmla="*/ 22526 w 7415962"/>
                    <a:gd name="connsiteY232" fmla="*/ 52004 h 1609071"/>
                    <a:gd name="connsiteX233" fmla="*/ 22526 w 7415962"/>
                    <a:gd name="connsiteY233" fmla="*/ 65005 h 1609071"/>
                    <a:gd name="connsiteX234" fmla="*/ 52862 w 7415962"/>
                    <a:gd name="connsiteY234" fmla="*/ 65005 h 1609071"/>
                    <a:gd name="connsiteX235" fmla="*/ 52862 w 7415962"/>
                    <a:gd name="connsiteY235" fmla="*/ 86673 h 1609071"/>
                    <a:gd name="connsiteX236" fmla="*/ 78864 w 7415962"/>
                    <a:gd name="connsiteY236" fmla="*/ 86673 h 1609071"/>
                    <a:gd name="connsiteX237" fmla="*/ 78864 w 7415962"/>
                    <a:gd name="connsiteY237" fmla="*/ 125676 h 1609071"/>
                    <a:gd name="connsiteX238" fmla="*/ 139535 w 7415962"/>
                    <a:gd name="connsiteY238" fmla="*/ 125676 h 1609071"/>
                    <a:gd name="connsiteX239" fmla="*/ 148202 w 7415962"/>
                    <a:gd name="connsiteY239" fmla="*/ 134343 h 1609071"/>
                    <a:gd name="connsiteX240" fmla="*/ 165537 w 7415962"/>
                    <a:gd name="connsiteY240" fmla="*/ 134343 h 1609071"/>
                    <a:gd name="connsiteX241" fmla="*/ 165537 w 7415962"/>
                    <a:gd name="connsiteY241" fmla="*/ 156012 h 1609071"/>
                    <a:gd name="connsiteX242" fmla="*/ 182871 w 7415962"/>
                    <a:gd name="connsiteY242" fmla="*/ 156012 h 1609071"/>
                    <a:gd name="connsiteX243" fmla="*/ 195872 w 7415962"/>
                    <a:gd name="connsiteY243" fmla="*/ 169013 h 1609071"/>
                    <a:gd name="connsiteX244" fmla="*/ 226208 w 7415962"/>
                    <a:gd name="connsiteY244" fmla="*/ 169013 h 1609071"/>
                    <a:gd name="connsiteX245" fmla="*/ 226208 w 7415962"/>
                    <a:gd name="connsiteY245" fmla="*/ 208015 h 1609071"/>
                    <a:gd name="connsiteX246" fmla="*/ 252210 w 7415962"/>
                    <a:gd name="connsiteY246" fmla="*/ 208015 h 1609071"/>
                    <a:gd name="connsiteX247" fmla="*/ 260877 w 7415962"/>
                    <a:gd name="connsiteY247" fmla="*/ 216682 h 1609071"/>
                    <a:gd name="connsiteX248" fmla="*/ 273879 w 7415962"/>
                    <a:gd name="connsiteY248" fmla="*/ 229684 h 1609071"/>
                    <a:gd name="connsiteX249" fmla="*/ 273879 w 7415962"/>
                    <a:gd name="connsiteY249" fmla="*/ 251352 h 1609071"/>
                    <a:gd name="connsiteX250" fmla="*/ 304214 w 7415962"/>
                    <a:gd name="connsiteY250" fmla="*/ 251352 h 1609071"/>
                    <a:gd name="connsiteX251" fmla="*/ 304214 w 7415962"/>
                    <a:gd name="connsiteY251" fmla="*/ 268687 h 1609071"/>
                    <a:gd name="connsiteX252" fmla="*/ 343216 w 7415962"/>
                    <a:gd name="connsiteY252" fmla="*/ 268687 h 1609071"/>
                    <a:gd name="connsiteX253" fmla="*/ 343216 w 7415962"/>
                    <a:gd name="connsiteY253" fmla="*/ 286021 h 1609071"/>
                    <a:gd name="connsiteX254" fmla="*/ 386553 w 7415962"/>
                    <a:gd name="connsiteY254" fmla="*/ 286021 h 1609071"/>
                    <a:gd name="connsiteX255" fmla="*/ 386553 w 7415962"/>
                    <a:gd name="connsiteY255" fmla="*/ 286021 h 1609071"/>
                    <a:gd name="connsiteX256" fmla="*/ 408221 w 7415962"/>
                    <a:gd name="connsiteY256" fmla="*/ 307689 h 1609071"/>
                    <a:gd name="connsiteX257" fmla="*/ 425556 w 7415962"/>
                    <a:gd name="connsiteY257" fmla="*/ 325024 h 1609071"/>
                    <a:gd name="connsiteX258" fmla="*/ 473226 w 7415962"/>
                    <a:gd name="connsiteY258" fmla="*/ 325024 h 1609071"/>
                    <a:gd name="connsiteX259" fmla="*/ 473226 w 7415962"/>
                    <a:gd name="connsiteY259" fmla="*/ 355360 h 1609071"/>
                    <a:gd name="connsiteX260" fmla="*/ 512229 w 7415962"/>
                    <a:gd name="connsiteY260" fmla="*/ 355360 h 1609071"/>
                    <a:gd name="connsiteX261" fmla="*/ 512229 w 7415962"/>
                    <a:gd name="connsiteY261" fmla="*/ 377028 h 1609071"/>
                    <a:gd name="connsiteX262" fmla="*/ 559899 w 7415962"/>
                    <a:gd name="connsiteY262" fmla="*/ 377028 h 1609071"/>
                    <a:gd name="connsiteX263" fmla="*/ 559899 w 7415962"/>
                    <a:gd name="connsiteY263" fmla="*/ 398696 h 1609071"/>
                    <a:gd name="connsiteX264" fmla="*/ 590234 w 7415962"/>
                    <a:gd name="connsiteY264" fmla="*/ 398696 h 1609071"/>
                    <a:gd name="connsiteX265" fmla="*/ 603235 w 7415962"/>
                    <a:gd name="connsiteY265" fmla="*/ 411697 h 1609071"/>
                    <a:gd name="connsiteX266" fmla="*/ 650905 w 7415962"/>
                    <a:gd name="connsiteY266" fmla="*/ 411697 h 1609071"/>
                    <a:gd name="connsiteX267" fmla="*/ 650905 w 7415962"/>
                    <a:gd name="connsiteY267" fmla="*/ 450700 h 1609071"/>
                    <a:gd name="connsiteX268" fmla="*/ 759247 w 7415962"/>
                    <a:gd name="connsiteY268" fmla="*/ 450700 h 1609071"/>
                    <a:gd name="connsiteX269" fmla="*/ 759247 w 7415962"/>
                    <a:gd name="connsiteY269" fmla="*/ 481035 h 1609071"/>
                    <a:gd name="connsiteX270" fmla="*/ 876255 w 7415962"/>
                    <a:gd name="connsiteY270" fmla="*/ 481035 h 1609071"/>
                    <a:gd name="connsiteX271" fmla="*/ 876255 w 7415962"/>
                    <a:gd name="connsiteY271" fmla="*/ 507037 h 1609071"/>
                    <a:gd name="connsiteX272" fmla="*/ 928259 w 7415962"/>
                    <a:gd name="connsiteY272" fmla="*/ 507037 h 1609071"/>
                    <a:gd name="connsiteX273" fmla="*/ 928259 w 7415962"/>
                    <a:gd name="connsiteY273" fmla="*/ 524372 h 1609071"/>
                    <a:gd name="connsiteX274" fmla="*/ 980263 w 7415962"/>
                    <a:gd name="connsiteY274" fmla="*/ 524372 h 1609071"/>
                    <a:gd name="connsiteX275" fmla="*/ 993264 w 7415962"/>
                    <a:gd name="connsiteY275" fmla="*/ 524372 h 1609071"/>
                    <a:gd name="connsiteX276" fmla="*/ 1006265 w 7415962"/>
                    <a:gd name="connsiteY276" fmla="*/ 537373 h 1609071"/>
                    <a:gd name="connsiteX277" fmla="*/ 1023170 w 7415962"/>
                    <a:gd name="connsiteY277" fmla="*/ 544516 h 1609071"/>
                    <a:gd name="connsiteX278" fmla="*/ 1058268 w 7415962"/>
                    <a:gd name="connsiteY278" fmla="*/ 549279 h 1609071"/>
                    <a:gd name="connsiteX279" fmla="*/ 1058268 w 7415962"/>
                    <a:gd name="connsiteY279" fmla="*/ 563375 h 1609071"/>
                    <a:gd name="connsiteX280" fmla="*/ 1079937 w 7415962"/>
                    <a:gd name="connsiteY280" fmla="*/ 563375 h 1609071"/>
                    <a:gd name="connsiteX281" fmla="*/ 1079937 w 7415962"/>
                    <a:gd name="connsiteY281" fmla="*/ 576376 h 1609071"/>
                    <a:gd name="connsiteX282" fmla="*/ 1157942 w 7415962"/>
                    <a:gd name="connsiteY282" fmla="*/ 576376 h 1609071"/>
                    <a:gd name="connsiteX283" fmla="*/ 1157942 w 7415962"/>
                    <a:gd name="connsiteY283" fmla="*/ 589377 h 1609071"/>
                    <a:gd name="connsiteX284" fmla="*/ 1196945 w 7415962"/>
                    <a:gd name="connsiteY284" fmla="*/ 589377 h 1609071"/>
                    <a:gd name="connsiteX285" fmla="*/ 1196945 w 7415962"/>
                    <a:gd name="connsiteY285" fmla="*/ 598044 h 1609071"/>
                    <a:gd name="connsiteX286" fmla="*/ 1244615 w 7415962"/>
                    <a:gd name="connsiteY286" fmla="*/ 598044 h 1609071"/>
                    <a:gd name="connsiteX287" fmla="*/ 1257616 w 7415962"/>
                    <a:gd name="connsiteY287" fmla="*/ 611045 h 1609071"/>
                    <a:gd name="connsiteX288" fmla="*/ 1270617 w 7415962"/>
                    <a:gd name="connsiteY288" fmla="*/ 624046 h 1609071"/>
                    <a:gd name="connsiteX289" fmla="*/ 1335622 w 7415962"/>
                    <a:gd name="connsiteY289" fmla="*/ 624046 h 1609071"/>
                    <a:gd name="connsiteX290" fmla="*/ 1335622 w 7415962"/>
                    <a:gd name="connsiteY290" fmla="*/ 645714 h 1609071"/>
                    <a:gd name="connsiteX291" fmla="*/ 1426629 w 7415962"/>
                    <a:gd name="connsiteY291" fmla="*/ 645714 h 1609071"/>
                    <a:gd name="connsiteX292" fmla="*/ 1435296 w 7415962"/>
                    <a:gd name="connsiteY292" fmla="*/ 654381 h 1609071"/>
                    <a:gd name="connsiteX293" fmla="*/ 1456964 w 7415962"/>
                    <a:gd name="connsiteY293" fmla="*/ 654381 h 1609071"/>
                    <a:gd name="connsiteX294" fmla="*/ 1456964 w 7415962"/>
                    <a:gd name="connsiteY294" fmla="*/ 667382 h 1609071"/>
                    <a:gd name="connsiteX295" fmla="*/ 1508968 w 7415962"/>
                    <a:gd name="connsiteY295" fmla="*/ 667382 h 1609071"/>
                    <a:gd name="connsiteX296" fmla="*/ 1508968 w 7415962"/>
                    <a:gd name="connsiteY296" fmla="*/ 684717 h 1609071"/>
                    <a:gd name="connsiteX297" fmla="*/ 1565305 w 7415962"/>
                    <a:gd name="connsiteY297" fmla="*/ 684717 h 1609071"/>
                    <a:gd name="connsiteX298" fmla="*/ 1572020 w 7415962"/>
                    <a:gd name="connsiteY298" fmla="*/ 693814 h 1609071"/>
                    <a:gd name="connsiteX299" fmla="*/ 1610595 w 7415962"/>
                    <a:gd name="connsiteY299" fmla="*/ 696194 h 1609071"/>
                    <a:gd name="connsiteX300" fmla="*/ 1628358 w 7415962"/>
                    <a:gd name="connsiteY300" fmla="*/ 709196 h 1609071"/>
                    <a:gd name="connsiteX301" fmla="*/ 1677980 w 7415962"/>
                    <a:gd name="connsiteY301" fmla="*/ 709196 h 1609071"/>
                    <a:gd name="connsiteX302" fmla="*/ 1679504 w 7415962"/>
                    <a:gd name="connsiteY302" fmla="*/ 722627 h 1609071"/>
                    <a:gd name="connsiteX303" fmla="*/ 1703981 w 7415962"/>
                    <a:gd name="connsiteY303" fmla="*/ 728053 h 1609071"/>
                    <a:gd name="connsiteX304" fmla="*/ 1716982 w 7415962"/>
                    <a:gd name="connsiteY304" fmla="*/ 741054 h 1609071"/>
                    <a:gd name="connsiteX305" fmla="*/ 1751652 w 7415962"/>
                    <a:gd name="connsiteY305" fmla="*/ 745816 h 1609071"/>
                    <a:gd name="connsiteX306" fmla="*/ 1751652 w 7415962"/>
                    <a:gd name="connsiteY306" fmla="*/ 767056 h 1609071"/>
                    <a:gd name="connsiteX307" fmla="*/ 1799323 w 7415962"/>
                    <a:gd name="connsiteY307" fmla="*/ 767056 h 1609071"/>
                    <a:gd name="connsiteX308" fmla="*/ 1799323 w 7415962"/>
                    <a:gd name="connsiteY308" fmla="*/ 780057 h 1609071"/>
                    <a:gd name="connsiteX309" fmla="*/ 1842659 w 7415962"/>
                    <a:gd name="connsiteY309" fmla="*/ 780057 h 1609071"/>
                    <a:gd name="connsiteX310" fmla="*/ 1842659 w 7415962"/>
                    <a:gd name="connsiteY310" fmla="*/ 797392 h 1609071"/>
                    <a:gd name="connsiteX311" fmla="*/ 1877328 w 7415962"/>
                    <a:gd name="connsiteY311" fmla="*/ 797392 h 1609071"/>
                    <a:gd name="connsiteX312" fmla="*/ 1888378 w 7415962"/>
                    <a:gd name="connsiteY312" fmla="*/ 813204 h 1609071"/>
                    <a:gd name="connsiteX313" fmla="*/ 1961620 w 7415962"/>
                    <a:gd name="connsiteY313" fmla="*/ 813204 h 1609071"/>
                    <a:gd name="connsiteX314" fmla="*/ 2007338 w 7415962"/>
                    <a:gd name="connsiteY314" fmla="*/ 813204 h 1609071"/>
                    <a:gd name="connsiteX315" fmla="*/ 2007597 w 7415962"/>
                    <a:gd name="connsiteY315" fmla="*/ 826521 h 1609071"/>
                    <a:gd name="connsiteX316" fmla="*/ 2045697 w 7415962"/>
                    <a:gd name="connsiteY316" fmla="*/ 828902 h 1609071"/>
                    <a:gd name="connsiteX317" fmla="*/ 2049580 w 7415962"/>
                    <a:gd name="connsiteY317" fmla="*/ 850683 h 1609071"/>
                    <a:gd name="connsiteX318" fmla="*/ 2109393 w 7415962"/>
                    <a:gd name="connsiteY318" fmla="*/ 848301 h 1609071"/>
                    <a:gd name="connsiteX319" fmla="*/ 2107012 w 7415962"/>
                    <a:gd name="connsiteY319" fmla="*/ 862396 h 1609071"/>
                    <a:gd name="connsiteX320" fmla="*/ 2120013 w 7415962"/>
                    <a:gd name="connsiteY320" fmla="*/ 862396 h 1609071"/>
                    <a:gd name="connsiteX321" fmla="*/ 2137347 w 7415962"/>
                    <a:gd name="connsiteY321" fmla="*/ 862396 h 1609071"/>
                    <a:gd name="connsiteX322" fmla="*/ 2185017 w 7415962"/>
                    <a:gd name="connsiteY322" fmla="*/ 862396 h 1609071"/>
                    <a:gd name="connsiteX323" fmla="*/ 2185017 w 7415962"/>
                    <a:gd name="connsiteY323" fmla="*/ 888398 h 1609071"/>
                    <a:gd name="connsiteX324" fmla="*/ 2201112 w 7415962"/>
                    <a:gd name="connsiteY324" fmla="*/ 883636 h 1609071"/>
                    <a:gd name="connsiteX325" fmla="*/ 2241591 w 7415962"/>
                    <a:gd name="connsiteY325" fmla="*/ 881254 h 1609071"/>
                    <a:gd name="connsiteX326" fmla="*/ 2240960 w 7415962"/>
                    <a:gd name="connsiteY326" fmla="*/ 914626 h 1609071"/>
                    <a:gd name="connsiteX327" fmla="*/ 2266498 w 7415962"/>
                    <a:gd name="connsiteY327" fmla="*/ 915879 h 1609071"/>
                    <a:gd name="connsiteX328" fmla="*/ 2267154 w 7415962"/>
                    <a:gd name="connsiteY328" fmla="*/ 878908 h 1609071"/>
                    <a:gd name="connsiteX329" fmla="*/ 2294883 w 7415962"/>
                    <a:gd name="connsiteY329" fmla="*/ 877780 h 1609071"/>
                    <a:gd name="connsiteX330" fmla="*/ 2294883 w 7415962"/>
                    <a:gd name="connsiteY330" fmla="*/ 912018 h 1609071"/>
                    <a:gd name="connsiteX331" fmla="*/ 2336695 w 7415962"/>
                    <a:gd name="connsiteY331" fmla="*/ 914400 h 1609071"/>
                    <a:gd name="connsiteX332" fmla="*/ 2336695 w 7415962"/>
                    <a:gd name="connsiteY332" fmla="*/ 923068 h 1609071"/>
                    <a:gd name="connsiteX333" fmla="*/ 2401700 w 7415962"/>
                    <a:gd name="connsiteY333" fmla="*/ 923068 h 1609071"/>
                    <a:gd name="connsiteX334" fmla="*/ 2401700 w 7415962"/>
                    <a:gd name="connsiteY334" fmla="*/ 936069 h 1609071"/>
                    <a:gd name="connsiteX335" fmla="*/ 2440703 w 7415962"/>
                    <a:gd name="connsiteY335" fmla="*/ 936069 h 1609071"/>
                    <a:gd name="connsiteX336" fmla="*/ 2453704 w 7415962"/>
                    <a:gd name="connsiteY336" fmla="*/ 949070 h 1609071"/>
                    <a:gd name="connsiteX337" fmla="*/ 2501374 w 7415962"/>
                    <a:gd name="connsiteY337" fmla="*/ 949070 h 1609071"/>
                    <a:gd name="connsiteX338" fmla="*/ 2514375 w 7415962"/>
                    <a:gd name="connsiteY338" fmla="*/ 962071 h 1609071"/>
                    <a:gd name="connsiteX339" fmla="*/ 2544710 w 7415962"/>
                    <a:gd name="connsiteY339" fmla="*/ 962071 h 1609071"/>
                    <a:gd name="connsiteX340" fmla="*/ 2544710 w 7415962"/>
                    <a:gd name="connsiteY340" fmla="*/ 979405 h 1609071"/>
                    <a:gd name="connsiteX341" fmla="*/ 2592380 w 7415962"/>
                    <a:gd name="connsiteY341" fmla="*/ 979405 h 1609071"/>
                    <a:gd name="connsiteX342" fmla="*/ 2592380 w 7415962"/>
                    <a:gd name="connsiteY342" fmla="*/ 1001073 h 1609071"/>
                    <a:gd name="connsiteX343" fmla="*/ 2640050 w 7415962"/>
                    <a:gd name="connsiteY343" fmla="*/ 1001073 h 1609071"/>
                    <a:gd name="connsiteX344" fmla="*/ 2640050 w 7415962"/>
                    <a:gd name="connsiteY344" fmla="*/ 1022742 h 1609071"/>
                    <a:gd name="connsiteX345" fmla="*/ 2700722 w 7415962"/>
                    <a:gd name="connsiteY345" fmla="*/ 1022742 h 1609071"/>
                    <a:gd name="connsiteX346" fmla="*/ 2700722 w 7415962"/>
                    <a:gd name="connsiteY346" fmla="*/ 1040076 h 1609071"/>
                    <a:gd name="connsiteX347" fmla="*/ 2809063 w 7415962"/>
                    <a:gd name="connsiteY347" fmla="*/ 1040076 h 1609071"/>
                    <a:gd name="connsiteX348" fmla="*/ 2817730 w 7415962"/>
                    <a:gd name="connsiteY348" fmla="*/ 1048743 h 1609071"/>
                    <a:gd name="connsiteX349" fmla="*/ 2826398 w 7415962"/>
                    <a:gd name="connsiteY349" fmla="*/ 1057411 h 1609071"/>
                    <a:gd name="connsiteX350" fmla="*/ 2865400 w 7415962"/>
                    <a:gd name="connsiteY350" fmla="*/ 1057411 h 1609071"/>
                    <a:gd name="connsiteX351" fmla="*/ 2887068 w 7415962"/>
                    <a:gd name="connsiteY351" fmla="*/ 1057411 h 1609071"/>
                    <a:gd name="connsiteX352" fmla="*/ 2900069 w 7415962"/>
                    <a:gd name="connsiteY352" fmla="*/ 1057411 h 1609071"/>
                    <a:gd name="connsiteX353" fmla="*/ 2917404 w 7415962"/>
                    <a:gd name="connsiteY353" fmla="*/ 1074746 h 1609071"/>
                    <a:gd name="connsiteX354" fmla="*/ 2969408 w 7415962"/>
                    <a:gd name="connsiteY354" fmla="*/ 1074746 h 1609071"/>
                    <a:gd name="connsiteX355" fmla="*/ 2969408 w 7415962"/>
                    <a:gd name="connsiteY355" fmla="*/ 1092080 h 1609071"/>
                    <a:gd name="connsiteX356" fmla="*/ 3135610 w 7415962"/>
                    <a:gd name="connsiteY356" fmla="*/ 1094462 h 1609071"/>
                    <a:gd name="connsiteX357" fmla="*/ 3135611 w 7415962"/>
                    <a:gd name="connsiteY357" fmla="*/ 1122414 h 1609071"/>
                    <a:gd name="connsiteX358" fmla="*/ 3212092 w 7415962"/>
                    <a:gd name="connsiteY358" fmla="*/ 1122415 h 1609071"/>
                    <a:gd name="connsiteX359" fmla="*/ 3216426 w 7415962"/>
                    <a:gd name="connsiteY359" fmla="*/ 1122415 h 1609071"/>
                    <a:gd name="connsiteX360" fmla="*/ 3303099 w 7415962"/>
                    <a:gd name="connsiteY360" fmla="*/ 1124796 h 1609071"/>
                    <a:gd name="connsiteX361" fmla="*/ 3303099 w 7415962"/>
                    <a:gd name="connsiteY361" fmla="*/ 1141273 h 1609071"/>
                    <a:gd name="connsiteX362" fmla="*/ 3396916 w 7415962"/>
                    <a:gd name="connsiteY362" fmla="*/ 1141273 h 1609071"/>
                    <a:gd name="connsiteX363" fmla="*/ 3396915 w 7415962"/>
                    <a:gd name="connsiteY363" fmla="*/ 1154703 h 1609071"/>
                    <a:gd name="connsiteX364" fmla="*/ 3446109 w 7415962"/>
                    <a:gd name="connsiteY364" fmla="*/ 1157085 h 1609071"/>
                    <a:gd name="connsiteX365" fmla="*/ 3445253 w 7415962"/>
                    <a:gd name="connsiteY365" fmla="*/ 1165753 h 1609071"/>
                    <a:gd name="connsiteX366" fmla="*/ 3597787 w 7415962"/>
                    <a:gd name="connsiteY366" fmla="*/ 1165753 h 1609071"/>
                    <a:gd name="connsiteX367" fmla="*/ 3597787 w 7415962"/>
                    <a:gd name="connsiteY367" fmla="*/ 1178753 h 1609071"/>
                    <a:gd name="connsiteX368" fmla="*/ 3706128 w 7415962"/>
                    <a:gd name="connsiteY368" fmla="*/ 1178753 h 1609071"/>
                    <a:gd name="connsiteX369" fmla="*/ 3710462 w 7415962"/>
                    <a:gd name="connsiteY369" fmla="*/ 1183087 h 1609071"/>
                    <a:gd name="connsiteX370" fmla="*/ 3964195 w 7415962"/>
                    <a:gd name="connsiteY370" fmla="*/ 1187849 h 1609071"/>
                    <a:gd name="connsiteX371" fmla="*/ 3961814 w 7415962"/>
                    <a:gd name="connsiteY371" fmla="*/ 1204755 h 1609071"/>
                    <a:gd name="connsiteX372" fmla="*/ 3992149 w 7415962"/>
                    <a:gd name="connsiteY372" fmla="*/ 1204755 h 1609071"/>
                    <a:gd name="connsiteX373" fmla="*/ 3992149 w 7415962"/>
                    <a:gd name="connsiteY373" fmla="*/ 1178753 h 1609071"/>
                    <a:gd name="connsiteX374" fmla="*/ 4031152 w 7415962"/>
                    <a:gd name="connsiteY374" fmla="*/ 1178753 h 1609071"/>
                    <a:gd name="connsiteX375" fmla="*/ 4031152 w 7415962"/>
                    <a:gd name="connsiteY375" fmla="*/ 1213422 h 1609071"/>
                    <a:gd name="connsiteX376" fmla="*/ 4044153 w 7415962"/>
                    <a:gd name="connsiteY376" fmla="*/ 1213422 h 1609071"/>
                    <a:gd name="connsiteX377" fmla="*/ 4044153 w 7415962"/>
                    <a:gd name="connsiteY377" fmla="*/ 1222089 h 1609071"/>
                    <a:gd name="connsiteX378" fmla="*/ 4165495 w 7415962"/>
                    <a:gd name="connsiteY378" fmla="*/ 1222089 h 1609071"/>
                    <a:gd name="connsiteX379" fmla="*/ 4165495 w 7415962"/>
                    <a:gd name="connsiteY379" fmla="*/ 1243758 h 1609071"/>
                    <a:gd name="connsiteX380" fmla="*/ 4321506 w 7415962"/>
                    <a:gd name="connsiteY380" fmla="*/ 1243758 h 1609071"/>
                    <a:gd name="connsiteX381" fmla="*/ 4321506 w 7415962"/>
                    <a:gd name="connsiteY381" fmla="*/ 1261092 h 1609071"/>
                    <a:gd name="connsiteX382" fmla="*/ 4399512 w 7415962"/>
                    <a:gd name="connsiteY382" fmla="*/ 1261092 h 1609071"/>
                    <a:gd name="connsiteX383" fmla="*/ 4399512 w 7415962"/>
                    <a:gd name="connsiteY383" fmla="*/ 1287094 h 1609071"/>
                    <a:gd name="connsiteX384" fmla="*/ 4451516 w 7415962"/>
                    <a:gd name="connsiteY384" fmla="*/ 1287094 h 1609071"/>
                    <a:gd name="connsiteX385" fmla="*/ 4477518 w 7415962"/>
                    <a:gd name="connsiteY385" fmla="*/ 1287094 h 1609071"/>
                    <a:gd name="connsiteX386" fmla="*/ 4499186 w 7415962"/>
                    <a:gd name="connsiteY386" fmla="*/ 1308762 h 1609071"/>
                    <a:gd name="connsiteX387" fmla="*/ 4594526 w 7415962"/>
                    <a:gd name="connsiteY387" fmla="*/ 1308762 h 1609071"/>
                    <a:gd name="connsiteX388" fmla="*/ 4598431 w 7415962"/>
                    <a:gd name="connsiteY388" fmla="*/ 1317430 h 1609071"/>
                    <a:gd name="connsiteX389" fmla="*/ 4663865 w 7415962"/>
                    <a:gd name="connsiteY389" fmla="*/ 1317430 h 1609071"/>
                    <a:gd name="connsiteX390" fmla="*/ 4663865 w 7415962"/>
                    <a:gd name="connsiteY390" fmla="*/ 1339098 h 1609071"/>
                    <a:gd name="connsiteX391" fmla="*/ 4707201 w 7415962"/>
                    <a:gd name="connsiteY391" fmla="*/ 1339098 h 1609071"/>
                    <a:gd name="connsiteX392" fmla="*/ 4711535 w 7415962"/>
                    <a:gd name="connsiteY392" fmla="*/ 1343432 h 1609071"/>
                    <a:gd name="connsiteX393" fmla="*/ 4767872 w 7415962"/>
                    <a:gd name="connsiteY393" fmla="*/ 1343432 h 1609071"/>
                    <a:gd name="connsiteX394" fmla="*/ 4766585 w 7415962"/>
                    <a:gd name="connsiteY394" fmla="*/ 1358814 h 1609071"/>
                    <a:gd name="connsiteX395" fmla="*/ 5006223 w 7415962"/>
                    <a:gd name="connsiteY395" fmla="*/ 1356433 h 1609071"/>
                    <a:gd name="connsiteX396" fmla="*/ 5019224 w 7415962"/>
                    <a:gd name="connsiteY396" fmla="*/ 1369434 h 1609071"/>
                    <a:gd name="connsiteX397" fmla="*/ 5153567 w 7415962"/>
                    <a:gd name="connsiteY397" fmla="*/ 1369434 h 1609071"/>
                    <a:gd name="connsiteX398" fmla="*/ 5153567 w 7415962"/>
                    <a:gd name="connsiteY398" fmla="*/ 1391102 h 1609071"/>
                    <a:gd name="connsiteX399" fmla="*/ 5283577 w 7415962"/>
                    <a:gd name="connsiteY399" fmla="*/ 1391102 h 1609071"/>
                    <a:gd name="connsiteX400" fmla="*/ 5292244 w 7415962"/>
                    <a:gd name="connsiteY400" fmla="*/ 1399769 h 1609071"/>
                    <a:gd name="connsiteX401" fmla="*/ 5357249 w 7415962"/>
                    <a:gd name="connsiteY401" fmla="*/ 1399769 h 1609071"/>
                    <a:gd name="connsiteX402" fmla="*/ 5370250 w 7415962"/>
                    <a:gd name="connsiteY402" fmla="*/ 1399769 h 1609071"/>
                    <a:gd name="connsiteX403" fmla="*/ 5370250 w 7415962"/>
                    <a:gd name="connsiteY403" fmla="*/ 1421437 h 1609071"/>
                    <a:gd name="connsiteX404" fmla="*/ 5474257 w 7415962"/>
                    <a:gd name="connsiteY404" fmla="*/ 1421437 h 1609071"/>
                    <a:gd name="connsiteX405" fmla="*/ 5474257 w 7415962"/>
                    <a:gd name="connsiteY405" fmla="*/ 1399769 h 1609071"/>
                    <a:gd name="connsiteX406" fmla="*/ 5513260 w 7415962"/>
                    <a:gd name="connsiteY406" fmla="*/ 1399769 h 1609071"/>
                    <a:gd name="connsiteX407" fmla="*/ 5513260 w 7415962"/>
                    <a:gd name="connsiteY407" fmla="*/ 1425771 h 1609071"/>
                    <a:gd name="connsiteX408" fmla="*/ 5608600 w 7415962"/>
                    <a:gd name="connsiteY408" fmla="*/ 1425771 h 1609071"/>
                    <a:gd name="connsiteX409" fmla="*/ 5608600 w 7415962"/>
                    <a:gd name="connsiteY409" fmla="*/ 1399769 h 1609071"/>
                    <a:gd name="connsiteX410" fmla="*/ 5664938 w 7415962"/>
                    <a:gd name="connsiteY410" fmla="*/ 1399769 h 1609071"/>
                    <a:gd name="connsiteX411" fmla="*/ 5664938 w 7415962"/>
                    <a:gd name="connsiteY411" fmla="*/ 1434438 h 1609071"/>
                    <a:gd name="connsiteX412" fmla="*/ 5686606 w 7415962"/>
                    <a:gd name="connsiteY412" fmla="*/ 1434438 h 1609071"/>
                    <a:gd name="connsiteX413" fmla="*/ 5686606 w 7415962"/>
                    <a:gd name="connsiteY413" fmla="*/ 1443106 h 1609071"/>
                    <a:gd name="connsiteX414" fmla="*/ 5716941 w 7415962"/>
                    <a:gd name="connsiteY414" fmla="*/ 1443106 h 1609071"/>
                    <a:gd name="connsiteX415" fmla="*/ 5716941 w 7415962"/>
                    <a:gd name="connsiteY415" fmla="*/ 1456106 h 1609071"/>
                    <a:gd name="connsiteX416" fmla="*/ 5794947 w 7415962"/>
                    <a:gd name="connsiteY416" fmla="*/ 1456106 h 1609071"/>
                    <a:gd name="connsiteX417" fmla="*/ 5794947 w 7415962"/>
                    <a:gd name="connsiteY417" fmla="*/ 1421437 h 1609071"/>
                    <a:gd name="connsiteX418" fmla="*/ 5838284 w 7415962"/>
                    <a:gd name="connsiteY418" fmla="*/ 1421437 h 1609071"/>
                    <a:gd name="connsiteX419" fmla="*/ 5838284 w 7415962"/>
                    <a:gd name="connsiteY419" fmla="*/ 1456106 h 1609071"/>
                    <a:gd name="connsiteX420" fmla="*/ 5903288 w 7415962"/>
                    <a:gd name="connsiteY420" fmla="*/ 1456106 h 1609071"/>
                    <a:gd name="connsiteX421" fmla="*/ 5929290 w 7415962"/>
                    <a:gd name="connsiteY421" fmla="*/ 1456106 h 1609071"/>
                    <a:gd name="connsiteX422" fmla="*/ 5929290 w 7415962"/>
                    <a:gd name="connsiteY422" fmla="*/ 1473441 h 1609071"/>
                    <a:gd name="connsiteX423" fmla="*/ 5946625 w 7415962"/>
                    <a:gd name="connsiteY423" fmla="*/ 1473441 h 1609071"/>
                    <a:gd name="connsiteX424" fmla="*/ 5950959 w 7415962"/>
                    <a:gd name="connsiteY424" fmla="*/ 1477775 h 1609071"/>
                    <a:gd name="connsiteX425" fmla="*/ 6020297 w 7415962"/>
                    <a:gd name="connsiteY425" fmla="*/ 1477775 h 1609071"/>
                    <a:gd name="connsiteX426" fmla="*/ 6020297 w 7415962"/>
                    <a:gd name="connsiteY426" fmla="*/ 1456106 h 1609071"/>
                    <a:gd name="connsiteX427" fmla="*/ 6059300 w 7415962"/>
                    <a:gd name="connsiteY427" fmla="*/ 1456106 h 1609071"/>
                    <a:gd name="connsiteX428" fmla="*/ 6059300 w 7415962"/>
                    <a:gd name="connsiteY428" fmla="*/ 1499443 h 1609071"/>
                    <a:gd name="connsiteX429" fmla="*/ 6111304 w 7415962"/>
                    <a:gd name="connsiteY429" fmla="*/ 1499443 h 1609071"/>
                    <a:gd name="connsiteX430" fmla="*/ 6111304 w 7415962"/>
                    <a:gd name="connsiteY430" fmla="*/ 1508110 h 1609071"/>
                    <a:gd name="connsiteX431" fmla="*/ 6189309 w 7415962"/>
                    <a:gd name="connsiteY431" fmla="*/ 1508110 h 1609071"/>
                    <a:gd name="connsiteX432" fmla="*/ 6189309 w 7415962"/>
                    <a:gd name="connsiteY432" fmla="*/ 1464774 h 1609071"/>
                    <a:gd name="connsiteX433" fmla="*/ 6228312 w 7415962"/>
                    <a:gd name="connsiteY433" fmla="*/ 1464774 h 1609071"/>
                    <a:gd name="connsiteX434" fmla="*/ 6228312 w 7415962"/>
                    <a:gd name="connsiteY434" fmla="*/ 1516778 h 1609071"/>
                    <a:gd name="connsiteX435" fmla="*/ 6353988 w 7415962"/>
                    <a:gd name="connsiteY435" fmla="*/ 1516778 h 1609071"/>
                    <a:gd name="connsiteX436" fmla="*/ 6353988 w 7415962"/>
                    <a:gd name="connsiteY436" fmla="*/ 1477775 h 1609071"/>
                    <a:gd name="connsiteX437" fmla="*/ 6398419 w 7415962"/>
                    <a:gd name="connsiteY437" fmla="*/ 1475394 h 1609071"/>
                    <a:gd name="connsiteX438" fmla="*/ 6400800 w 7415962"/>
                    <a:gd name="connsiteY438" fmla="*/ 1529778 h 1609071"/>
                    <a:gd name="connsiteX439" fmla="*/ 6448472 w 7415962"/>
                    <a:gd name="connsiteY439" fmla="*/ 1529778 h 1609071"/>
                    <a:gd name="connsiteX440" fmla="*/ 6448469 w 7415962"/>
                    <a:gd name="connsiteY440" fmla="*/ 1479728 h 1609071"/>
                    <a:gd name="connsiteX441" fmla="*/ 6488331 w 7415962"/>
                    <a:gd name="connsiteY441" fmla="*/ 1482108 h 1609071"/>
                    <a:gd name="connsiteX442" fmla="*/ 6488331 w 7415962"/>
                    <a:gd name="connsiteY442" fmla="*/ 1529778 h 1609071"/>
                    <a:gd name="connsiteX443" fmla="*/ 6562003 w 7415962"/>
                    <a:gd name="connsiteY443" fmla="*/ 1529778 h 1609071"/>
                    <a:gd name="connsiteX444" fmla="*/ 6566337 w 7415962"/>
                    <a:gd name="connsiteY444" fmla="*/ 1534112 h 1609071"/>
                    <a:gd name="connsiteX445" fmla="*/ 6675107 w 7415962"/>
                    <a:gd name="connsiteY445" fmla="*/ 1536493 h 1609071"/>
                    <a:gd name="connsiteX446" fmla="*/ 6677488 w 7415962"/>
                    <a:gd name="connsiteY446" fmla="*/ 1499443 h 1609071"/>
                    <a:gd name="connsiteX447" fmla="*/ 6739683 w 7415962"/>
                    <a:gd name="connsiteY447" fmla="*/ 1499443 h 1609071"/>
                    <a:gd name="connsiteX448" fmla="*/ 6739683 w 7415962"/>
                    <a:gd name="connsiteY448" fmla="*/ 1542779 h 1609071"/>
                    <a:gd name="connsiteX449" fmla="*/ 6796020 w 7415962"/>
                    <a:gd name="connsiteY449" fmla="*/ 1542779 h 1609071"/>
                    <a:gd name="connsiteX450" fmla="*/ 6796020 w 7415962"/>
                    <a:gd name="connsiteY450" fmla="*/ 1499443 h 1609071"/>
                    <a:gd name="connsiteX451" fmla="*/ 6830689 w 7415962"/>
                    <a:gd name="connsiteY451" fmla="*/ 1499443 h 1609071"/>
                    <a:gd name="connsiteX452" fmla="*/ 6830689 w 7415962"/>
                    <a:gd name="connsiteY452" fmla="*/ 1529778 h 1609071"/>
                    <a:gd name="connsiteX453" fmla="*/ 6848024 w 7415962"/>
                    <a:gd name="connsiteY453" fmla="*/ 1529778 h 1609071"/>
                    <a:gd name="connsiteX454" fmla="*/ 6848024 w 7415962"/>
                    <a:gd name="connsiteY454" fmla="*/ 1555780 h 1609071"/>
                    <a:gd name="connsiteX455" fmla="*/ 7051705 w 7415962"/>
                    <a:gd name="connsiteY455" fmla="*/ 1555780 h 1609071"/>
                    <a:gd name="connsiteX456" fmla="*/ 7064706 w 7415962"/>
                    <a:gd name="connsiteY456" fmla="*/ 1568781 h 1609071"/>
                    <a:gd name="connsiteX457" fmla="*/ 7134045 w 7415962"/>
                    <a:gd name="connsiteY457" fmla="*/ 1568781 h 1609071"/>
                    <a:gd name="connsiteX458" fmla="*/ 7134045 w 7415962"/>
                    <a:gd name="connsiteY458" fmla="*/ 1586116 h 1609071"/>
                    <a:gd name="connsiteX459" fmla="*/ 7285723 w 7415962"/>
                    <a:gd name="connsiteY459" fmla="*/ 1586116 h 1609071"/>
                    <a:gd name="connsiteX460" fmla="*/ 7285723 w 7415962"/>
                    <a:gd name="connsiteY460" fmla="*/ 1607784 h 1609071"/>
                    <a:gd name="connsiteX461" fmla="*/ 7415734 w 7415962"/>
                    <a:gd name="connsiteY461" fmla="*/ 1609071 h 1609071"/>
                    <a:gd name="connsiteX0" fmla="*/ 7415734 w 7415962"/>
                    <a:gd name="connsiteY0" fmla="*/ 1613833 h 1613833"/>
                    <a:gd name="connsiteX1" fmla="*/ 7415732 w 7415962"/>
                    <a:gd name="connsiteY1" fmla="*/ 1512872 h 1613833"/>
                    <a:gd name="connsiteX2" fmla="*/ 7272722 w 7415962"/>
                    <a:gd name="connsiteY2" fmla="*/ 1512872 h 1613833"/>
                    <a:gd name="connsiteX3" fmla="*/ 7271628 w 7415962"/>
                    <a:gd name="connsiteY3" fmla="*/ 1499871 h 1613833"/>
                    <a:gd name="connsiteX4" fmla="*/ 7155285 w 7415962"/>
                    <a:gd name="connsiteY4" fmla="*/ 1497490 h 1613833"/>
                    <a:gd name="connsiteX5" fmla="*/ 7152238 w 7415962"/>
                    <a:gd name="connsiteY5" fmla="*/ 1470630 h 1613833"/>
                    <a:gd name="connsiteX6" fmla="*/ 7038705 w 7415962"/>
                    <a:gd name="connsiteY6" fmla="*/ 1465868 h 1613833"/>
                    <a:gd name="connsiteX7" fmla="*/ 7038705 w 7415962"/>
                    <a:gd name="connsiteY7" fmla="*/ 1456535 h 1613833"/>
                    <a:gd name="connsiteX8" fmla="*/ 6874026 w 7415962"/>
                    <a:gd name="connsiteY8" fmla="*/ 1456535 h 1613833"/>
                    <a:gd name="connsiteX9" fmla="*/ 6874454 w 7415962"/>
                    <a:gd name="connsiteY9" fmla="*/ 1442677 h 1613833"/>
                    <a:gd name="connsiteX10" fmla="*/ 6826356 w 7415962"/>
                    <a:gd name="connsiteY10" fmla="*/ 1445057 h 1613833"/>
                    <a:gd name="connsiteX11" fmla="*/ 6826356 w 7415962"/>
                    <a:gd name="connsiteY11" fmla="*/ 1499871 h 1613833"/>
                    <a:gd name="connsiteX12" fmla="*/ 6787353 w 7415962"/>
                    <a:gd name="connsiteY12" fmla="*/ 1499871 h 1613833"/>
                    <a:gd name="connsiteX13" fmla="*/ 6787353 w 7415962"/>
                    <a:gd name="connsiteY13" fmla="*/ 1447868 h 1613833"/>
                    <a:gd name="connsiteX14" fmla="*/ 6739683 w 7415962"/>
                    <a:gd name="connsiteY14" fmla="*/ 1447868 h 1613833"/>
                    <a:gd name="connsiteX15" fmla="*/ 6739682 w 7415962"/>
                    <a:gd name="connsiteY15" fmla="*/ 1482537 h 1613833"/>
                    <a:gd name="connsiteX16" fmla="*/ 6679012 w 7415962"/>
                    <a:gd name="connsiteY16" fmla="*/ 1482537 h 1613833"/>
                    <a:gd name="connsiteX17" fmla="*/ 6679012 w 7415962"/>
                    <a:gd name="connsiteY17" fmla="*/ 1443534 h 1613833"/>
                    <a:gd name="connsiteX18" fmla="*/ 6562003 w 7415962"/>
                    <a:gd name="connsiteY18" fmla="*/ 1443534 h 1613833"/>
                    <a:gd name="connsiteX19" fmla="*/ 6556145 w 7415962"/>
                    <a:gd name="connsiteY19" fmla="*/ 1432914 h 1613833"/>
                    <a:gd name="connsiteX20" fmla="*/ 6483997 w 7415962"/>
                    <a:gd name="connsiteY20" fmla="*/ 1430533 h 1613833"/>
                    <a:gd name="connsiteX21" fmla="*/ 6483997 w 7415962"/>
                    <a:gd name="connsiteY21" fmla="*/ 1486870 h 1613833"/>
                    <a:gd name="connsiteX22" fmla="*/ 6452138 w 7415962"/>
                    <a:gd name="connsiteY22" fmla="*/ 1484489 h 1613833"/>
                    <a:gd name="connsiteX23" fmla="*/ 6449758 w 7415962"/>
                    <a:gd name="connsiteY23" fmla="*/ 1432057 h 1613833"/>
                    <a:gd name="connsiteX24" fmla="*/ 6398849 w 7415962"/>
                    <a:gd name="connsiteY24" fmla="*/ 1429675 h 1613833"/>
                    <a:gd name="connsiteX25" fmla="*/ 6398848 w 7415962"/>
                    <a:gd name="connsiteY25" fmla="*/ 1482537 h 1613833"/>
                    <a:gd name="connsiteX26" fmla="*/ 6358322 w 7415962"/>
                    <a:gd name="connsiteY26" fmla="*/ 1482537 h 1613833"/>
                    <a:gd name="connsiteX27" fmla="*/ 6358322 w 7415962"/>
                    <a:gd name="connsiteY27" fmla="*/ 1434867 h 1613833"/>
                    <a:gd name="connsiteX28" fmla="*/ 6223978 w 7415962"/>
                    <a:gd name="connsiteY28" fmla="*/ 1434867 h 1613833"/>
                    <a:gd name="connsiteX29" fmla="*/ 6223978 w 7415962"/>
                    <a:gd name="connsiteY29" fmla="*/ 1447868 h 1613833"/>
                    <a:gd name="connsiteX30" fmla="*/ 6193643 w 7415962"/>
                    <a:gd name="connsiteY30" fmla="*/ 1447868 h 1613833"/>
                    <a:gd name="connsiteX31" fmla="*/ 6193643 w 7415962"/>
                    <a:gd name="connsiteY31" fmla="*/ 1417532 h 1613833"/>
                    <a:gd name="connsiteX32" fmla="*/ 6119971 w 7415962"/>
                    <a:gd name="connsiteY32" fmla="*/ 1417532 h 1613833"/>
                    <a:gd name="connsiteX33" fmla="*/ 6119971 w 7415962"/>
                    <a:gd name="connsiteY33" fmla="*/ 1404531 h 1613833"/>
                    <a:gd name="connsiteX34" fmla="*/ 6072301 w 7415962"/>
                    <a:gd name="connsiteY34" fmla="*/ 1404531 h 1613833"/>
                    <a:gd name="connsiteX35" fmla="*/ 6072301 w 7415962"/>
                    <a:gd name="connsiteY35" fmla="*/ 1387196 h 1613833"/>
                    <a:gd name="connsiteX36" fmla="*/ 6050632 w 7415962"/>
                    <a:gd name="connsiteY36" fmla="*/ 1387196 h 1613833"/>
                    <a:gd name="connsiteX37" fmla="*/ 6050632 w 7415962"/>
                    <a:gd name="connsiteY37" fmla="*/ 1426199 h 1613833"/>
                    <a:gd name="connsiteX38" fmla="*/ 6020297 w 7415962"/>
                    <a:gd name="connsiteY38" fmla="*/ 1426199 h 1613833"/>
                    <a:gd name="connsiteX39" fmla="*/ 6020297 w 7415962"/>
                    <a:gd name="connsiteY39" fmla="*/ 1395864 h 1613833"/>
                    <a:gd name="connsiteX40" fmla="*/ 5959626 w 7415962"/>
                    <a:gd name="connsiteY40" fmla="*/ 1395864 h 1613833"/>
                    <a:gd name="connsiteX41" fmla="*/ 5959626 w 7415962"/>
                    <a:gd name="connsiteY41" fmla="*/ 1378529 h 1613833"/>
                    <a:gd name="connsiteX42" fmla="*/ 5920623 w 7415962"/>
                    <a:gd name="connsiteY42" fmla="*/ 1378529 h 1613833"/>
                    <a:gd name="connsiteX43" fmla="*/ 5920623 w 7415962"/>
                    <a:gd name="connsiteY43" fmla="*/ 1356861 h 1613833"/>
                    <a:gd name="connsiteX44" fmla="*/ 5825283 w 7415962"/>
                    <a:gd name="connsiteY44" fmla="*/ 1356861 h 1613833"/>
                    <a:gd name="connsiteX45" fmla="*/ 5825283 w 7415962"/>
                    <a:gd name="connsiteY45" fmla="*/ 1404531 h 1613833"/>
                    <a:gd name="connsiteX46" fmla="*/ 5790614 w 7415962"/>
                    <a:gd name="connsiteY46" fmla="*/ 1404531 h 1613833"/>
                    <a:gd name="connsiteX47" fmla="*/ 5790614 w 7415962"/>
                    <a:gd name="connsiteY47" fmla="*/ 1369862 h 1613833"/>
                    <a:gd name="connsiteX48" fmla="*/ 5699607 w 7415962"/>
                    <a:gd name="connsiteY48" fmla="*/ 1369862 h 1613833"/>
                    <a:gd name="connsiteX49" fmla="*/ 5699607 w 7415962"/>
                    <a:gd name="connsiteY49" fmla="*/ 1330859 h 1613833"/>
                    <a:gd name="connsiteX50" fmla="*/ 5656270 w 7415962"/>
                    <a:gd name="connsiteY50" fmla="*/ 1330859 h 1613833"/>
                    <a:gd name="connsiteX51" fmla="*/ 5656270 w 7415962"/>
                    <a:gd name="connsiteY51" fmla="*/ 1378529 h 1613833"/>
                    <a:gd name="connsiteX52" fmla="*/ 5612934 w 7415962"/>
                    <a:gd name="connsiteY52" fmla="*/ 1378529 h 1613833"/>
                    <a:gd name="connsiteX53" fmla="*/ 5612934 w 7415962"/>
                    <a:gd name="connsiteY53" fmla="*/ 1339526 h 1613833"/>
                    <a:gd name="connsiteX54" fmla="*/ 5513260 w 7415962"/>
                    <a:gd name="connsiteY54" fmla="*/ 1339526 h 1613833"/>
                    <a:gd name="connsiteX55" fmla="*/ 5513260 w 7415962"/>
                    <a:gd name="connsiteY55" fmla="*/ 1365528 h 1613833"/>
                    <a:gd name="connsiteX56" fmla="*/ 5469923 w 7415962"/>
                    <a:gd name="connsiteY56" fmla="*/ 1365528 h 1613833"/>
                    <a:gd name="connsiteX57" fmla="*/ 5469923 w 7415962"/>
                    <a:gd name="connsiteY57" fmla="*/ 1326525 h 1613833"/>
                    <a:gd name="connsiteX58" fmla="*/ 5361582 w 7415962"/>
                    <a:gd name="connsiteY58" fmla="*/ 1326525 h 1613833"/>
                    <a:gd name="connsiteX59" fmla="*/ 5361582 w 7415962"/>
                    <a:gd name="connsiteY59" fmla="*/ 1309191 h 1613833"/>
                    <a:gd name="connsiteX60" fmla="*/ 5300911 w 7415962"/>
                    <a:gd name="connsiteY60" fmla="*/ 1309191 h 1613833"/>
                    <a:gd name="connsiteX61" fmla="*/ 5292244 w 7415962"/>
                    <a:gd name="connsiteY61" fmla="*/ 1300524 h 1613833"/>
                    <a:gd name="connsiteX62" fmla="*/ 5188236 w 7415962"/>
                    <a:gd name="connsiteY62" fmla="*/ 1300524 h 1613833"/>
                    <a:gd name="connsiteX63" fmla="*/ 5188236 w 7415962"/>
                    <a:gd name="connsiteY63" fmla="*/ 1283189 h 1613833"/>
                    <a:gd name="connsiteX64" fmla="*/ 5046321 w 7415962"/>
                    <a:gd name="connsiteY64" fmla="*/ 1283189 h 1613833"/>
                    <a:gd name="connsiteX65" fmla="*/ 5049559 w 7415962"/>
                    <a:gd name="connsiteY65" fmla="*/ 1274521 h 1613833"/>
                    <a:gd name="connsiteX66" fmla="*/ 4923884 w 7415962"/>
                    <a:gd name="connsiteY66" fmla="*/ 1274521 h 1613833"/>
                    <a:gd name="connsiteX67" fmla="*/ 4927551 w 7415962"/>
                    <a:gd name="connsiteY67" fmla="*/ 1261520 h 1613833"/>
                    <a:gd name="connsiteX68" fmla="*/ 4703297 w 7415962"/>
                    <a:gd name="connsiteY68" fmla="*/ 1259138 h 1613833"/>
                    <a:gd name="connsiteX69" fmla="*/ 4695058 w 7415962"/>
                    <a:gd name="connsiteY69" fmla="*/ 1246137 h 1613833"/>
                    <a:gd name="connsiteX70" fmla="*/ 4675772 w 7415962"/>
                    <a:gd name="connsiteY70" fmla="*/ 1243757 h 1613833"/>
                    <a:gd name="connsiteX71" fmla="*/ 4662691 w 7415962"/>
                    <a:gd name="connsiteY71" fmla="*/ 1231334 h 1613833"/>
                    <a:gd name="connsiteX72" fmla="*/ 4656056 w 7415962"/>
                    <a:gd name="connsiteY72" fmla="*/ 1228804 h 1613833"/>
                    <a:gd name="connsiteX73" fmla="*/ 4633530 w 7415962"/>
                    <a:gd name="connsiteY73" fmla="*/ 1218184 h 1613833"/>
                    <a:gd name="connsiteX74" fmla="*/ 4490519 w 7415962"/>
                    <a:gd name="connsiteY74" fmla="*/ 1218184 h 1613833"/>
                    <a:gd name="connsiteX75" fmla="*/ 4490519 w 7415962"/>
                    <a:gd name="connsiteY75" fmla="*/ 1205183 h 1613833"/>
                    <a:gd name="connsiteX76" fmla="*/ 4447182 w 7415962"/>
                    <a:gd name="connsiteY76" fmla="*/ 1205183 h 1613833"/>
                    <a:gd name="connsiteX77" fmla="*/ 4444801 w 7415962"/>
                    <a:gd name="connsiteY77" fmla="*/ 1197374 h 1613833"/>
                    <a:gd name="connsiteX78" fmla="*/ 4422186 w 7415962"/>
                    <a:gd name="connsiteY78" fmla="*/ 1200377 h 1613833"/>
                    <a:gd name="connsiteX79" fmla="*/ 4424420 w 7415962"/>
                    <a:gd name="connsiteY79" fmla="*/ 1175942 h 1613833"/>
                    <a:gd name="connsiteX80" fmla="*/ 4394750 w 7415962"/>
                    <a:gd name="connsiteY80" fmla="*/ 1177229 h 1613833"/>
                    <a:gd name="connsiteX81" fmla="*/ 4395179 w 7415962"/>
                    <a:gd name="connsiteY81" fmla="*/ 1205183 h 1613833"/>
                    <a:gd name="connsiteX82" fmla="*/ 4360509 w 7415962"/>
                    <a:gd name="connsiteY82" fmla="*/ 1205183 h 1613833"/>
                    <a:gd name="connsiteX83" fmla="*/ 4360509 w 7415962"/>
                    <a:gd name="connsiteY83" fmla="*/ 1161847 h 1613833"/>
                    <a:gd name="connsiteX84" fmla="*/ 4330174 w 7415962"/>
                    <a:gd name="connsiteY84" fmla="*/ 1161847 h 1613833"/>
                    <a:gd name="connsiteX85" fmla="*/ 4321506 w 7415962"/>
                    <a:gd name="connsiteY85" fmla="*/ 1153179 h 1613833"/>
                    <a:gd name="connsiteX86" fmla="*/ 4156828 w 7415962"/>
                    <a:gd name="connsiteY86" fmla="*/ 1153179 h 1613833"/>
                    <a:gd name="connsiteX87" fmla="*/ 4155304 w 7415962"/>
                    <a:gd name="connsiteY87" fmla="*/ 1139748 h 1613833"/>
                    <a:gd name="connsiteX88" fmla="*/ 4068202 w 7415962"/>
                    <a:gd name="connsiteY88" fmla="*/ 1139749 h 1613833"/>
                    <a:gd name="connsiteX89" fmla="*/ 4065821 w 7415962"/>
                    <a:gd name="connsiteY89" fmla="*/ 1127177 h 1613833"/>
                    <a:gd name="connsiteX90" fmla="*/ 4048486 w 7415962"/>
                    <a:gd name="connsiteY90" fmla="*/ 1127177 h 1613833"/>
                    <a:gd name="connsiteX91" fmla="*/ 4048486 w 7415962"/>
                    <a:gd name="connsiteY91" fmla="*/ 1109843 h 1613833"/>
                    <a:gd name="connsiteX92" fmla="*/ 4026818 w 7415962"/>
                    <a:gd name="connsiteY92" fmla="*/ 1109843 h 1613833"/>
                    <a:gd name="connsiteX93" fmla="*/ 4026818 w 7415962"/>
                    <a:gd name="connsiteY93" fmla="*/ 1157513 h 1613833"/>
                    <a:gd name="connsiteX94" fmla="*/ 3992149 w 7415962"/>
                    <a:gd name="connsiteY94" fmla="*/ 1157513 h 1613833"/>
                    <a:gd name="connsiteX95" fmla="*/ 3992149 w 7415962"/>
                    <a:gd name="connsiteY95" fmla="*/ 1114177 h 1613833"/>
                    <a:gd name="connsiteX96" fmla="*/ 3961814 w 7415962"/>
                    <a:gd name="connsiteY96" fmla="*/ 1114177 h 1613833"/>
                    <a:gd name="connsiteX97" fmla="*/ 3955528 w 7415962"/>
                    <a:gd name="connsiteY97" fmla="*/ 1095984 h 1613833"/>
                    <a:gd name="connsiteX98" fmla="*/ 3731702 w 7415962"/>
                    <a:gd name="connsiteY98" fmla="*/ 1098366 h 1613833"/>
                    <a:gd name="connsiteX99" fmla="*/ 3733417 w 7415962"/>
                    <a:gd name="connsiteY99" fmla="*/ 1085793 h 1613833"/>
                    <a:gd name="connsiteX100" fmla="*/ 3586309 w 7415962"/>
                    <a:gd name="connsiteY100" fmla="*/ 1083412 h 1613833"/>
                    <a:gd name="connsiteX101" fmla="*/ 3585644 w 7415962"/>
                    <a:gd name="connsiteY101" fmla="*/ 1070841 h 1613833"/>
                    <a:gd name="connsiteX102" fmla="*/ 3441776 w 7415962"/>
                    <a:gd name="connsiteY102" fmla="*/ 1070841 h 1613833"/>
                    <a:gd name="connsiteX103" fmla="*/ 3441776 w 7415962"/>
                    <a:gd name="connsiteY103" fmla="*/ 1044838 h 1613833"/>
                    <a:gd name="connsiteX104" fmla="*/ 3320433 w 7415962"/>
                    <a:gd name="connsiteY104" fmla="*/ 1044838 h 1613833"/>
                    <a:gd name="connsiteX105" fmla="*/ 3320433 w 7415962"/>
                    <a:gd name="connsiteY105" fmla="*/ 1031837 h 1613833"/>
                    <a:gd name="connsiteX106" fmla="*/ 3181757 w 7415962"/>
                    <a:gd name="connsiteY106" fmla="*/ 1031837 h 1613833"/>
                    <a:gd name="connsiteX107" fmla="*/ 3181757 w 7415962"/>
                    <a:gd name="connsiteY107" fmla="*/ 1024885 h 1613833"/>
                    <a:gd name="connsiteX108" fmla="*/ 3164422 w 7415962"/>
                    <a:gd name="connsiteY108" fmla="*/ 1023170 h 1613833"/>
                    <a:gd name="connsiteX109" fmla="*/ 3151421 w 7415962"/>
                    <a:gd name="connsiteY109" fmla="*/ 1005407 h 1613833"/>
                    <a:gd name="connsiteX110" fmla="*/ 2991076 w 7415962"/>
                    <a:gd name="connsiteY110" fmla="*/ 1007788 h 1613833"/>
                    <a:gd name="connsiteX111" fmla="*/ 2991076 w 7415962"/>
                    <a:gd name="connsiteY111" fmla="*/ 992834 h 1613833"/>
                    <a:gd name="connsiteX112" fmla="*/ 2908737 w 7415962"/>
                    <a:gd name="connsiteY112" fmla="*/ 992834 h 1613833"/>
                    <a:gd name="connsiteX113" fmla="*/ 2900069 w 7415962"/>
                    <a:gd name="connsiteY113" fmla="*/ 984166 h 1613833"/>
                    <a:gd name="connsiteX114" fmla="*/ 2869734 w 7415962"/>
                    <a:gd name="connsiteY114" fmla="*/ 984166 h 1613833"/>
                    <a:gd name="connsiteX115" fmla="*/ 2869734 w 7415962"/>
                    <a:gd name="connsiteY115" fmla="*/ 958165 h 1613833"/>
                    <a:gd name="connsiteX116" fmla="*/ 2843732 w 7415962"/>
                    <a:gd name="connsiteY116" fmla="*/ 958165 h 1613833"/>
                    <a:gd name="connsiteX117" fmla="*/ 2835065 w 7415962"/>
                    <a:gd name="connsiteY117" fmla="*/ 949498 h 1613833"/>
                    <a:gd name="connsiteX118" fmla="*/ 2757059 w 7415962"/>
                    <a:gd name="connsiteY118" fmla="*/ 949498 h 1613833"/>
                    <a:gd name="connsiteX119" fmla="*/ 2748392 w 7415962"/>
                    <a:gd name="connsiteY119" fmla="*/ 940831 h 1613833"/>
                    <a:gd name="connsiteX120" fmla="*/ 2700722 w 7415962"/>
                    <a:gd name="connsiteY120" fmla="*/ 940831 h 1613833"/>
                    <a:gd name="connsiteX121" fmla="*/ 2689673 w 7415962"/>
                    <a:gd name="connsiteY121" fmla="*/ 929781 h 1613833"/>
                    <a:gd name="connsiteX122" fmla="*/ 2644384 w 7415962"/>
                    <a:gd name="connsiteY122" fmla="*/ 932163 h 1613833"/>
                    <a:gd name="connsiteX123" fmla="*/ 2638957 w 7415962"/>
                    <a:gd name="connsiteY123" fmla="*/ 914829 h 1613833"/>
                    <a:gd name="connsiteX124" fmla="*/ 2616859 w 7415962"/>
                    <a:gd name="connsiteY124" fmla="*/ 904638 h 1613833"/>
                    <a:gd name="connsiteX125" fmla="*/ 2592380 w 7415962"/>
                    <a:gd name="connsiteY125" fmla="*/ 880159 h 1613833"/>
                    <a:gd name="connsiteX126" fmla="*/ 2562045 w 7415962"/>
                    <a:gd name="connsiteY126" fmla="*/ 880159 h 1613833"/>
                    <a:gd name="connsiteX127" fmla="*/ 2553377 w 7415962"/>
                    <a:gd name="connsiteY127" fmla="*/ 871491 h 1613833"/>
                    <a:gd name="connsiteX128" fmla="*/ 2501374 w 7415962"/>
                    <a:gd name="connsiteY128" fmla="*/ 871491 h 1613833"/>
                    <a:gd name="connsiteX129" fmla="*/ 2501374 w 7415962"/>
                    <a:gd name="connsiteY129" fmla="*/ 854158 h 1613833"/>
                    <a:gd name="connsiteX130" fmla="*/ 2445036 w 7415962"/>
                    <a:gd name="connsiteY130" fmla="*/ 854158 h 1613833"/>
                    <a:gd name="connsiteX131" fmla="*/ 2436368 w 7415962"/>
                    <a:gd name="connsiteY131" fmla="*/ 845490 h 1613833"/>
                    <a:gd name="connsiteX132" fmla="*/ 2414701 w 7415962"/>
                    <a:gd name="connsiteY132" fmla="*/ 845490 h 1613833"/>
                    <a:gd name="connsiteX133" fmla="*/ 2401700 w 7415962"/>
                    <a:gd name="connsiteY133" fmla="*/ 832489 h 1613833"/>
                    <a:gd name="connsiteX134" fmla="*/ 2349696 w 7415962"/>
                    <a:gd name="connsiteY134" fmla="*/ 832489 h 1613833"/>
                    <a:gd name="connsiteX135" fmla="*/ 2349696 w 7415962"/>
                    <a:gd name="connsiteY135" fmla="*/ 815155 h 1613833"/>
                    <a:gd name="connsiteX136" fmla="*/ 2310693 w 7415962"/>
                    <a:gd name="connsiteY136" fmla="*/ 815155 h 1613833"/>
                    <a:gd name="connsiteX137" fmla="*/ 2304835 w 7415962"/>
                    <a:gd name="connsiteY137" fmla="*/ 835299 h 1613833"/>
                    <a:gd name="connsiteX138" fmla="*/ 2274501 w 7415962"/>
                    <a:gd name="connsiteY138" fmla="*/ 832918 h 1613833"/>
                    <a:gd name="connsiteX139" fmla="*/ 2273406 w 7415962"/>
                    <a:gd name="connsiteY139" fmla="*/ 805629 h 1613833"/>
                    <a:gd name="connsiteX140" fmla="*/ 2245688 w 7415962"/>
                    <a:gd name="connsiteY140" fmla="*/ 806487 h 1613833"/>
                    <a:gd name="connsiteX141" fmla="*/ 2245688 w 7415962"/>
                    <a:gd name="connsiteY141" fmla="*/ 780486 h 1613833"/>
                    <a:gd name="connsiteX142" fmla="*/ 2124346 w 7415962"/>
                    <a:gd name="connsiteY142" fmla="*/ 780486 h 1613833"/>
                    <a:gd name="connsiteX143" fmla="*/ 2124346 w 7415962"/>
                    <a:gd name="connsiteY143" fmla="*/ 750150 h 1613833"/>
                    <a:gd name="connsiteX144" fmla="*/ 2072342 w 7415962"/>
                    <a:gd name="connsiteY144" fmla="*/ 750150 h 1613833"/>
                    <a:gd name="connsiteX145" fmla="*/ 2063675 w 7415962"/>
                    <a:gd name="connsiteY145" fmla="*/ 741483 h 1613833"/>
                    <a:gd name="connsiteX146" fmla="*/ 2007338 w 7415962"/>
                    <a:gd name="connsiteY146" fmla="*/ 741483 h 1613833"/>
                    <a:gd name="connsiteX147" fmla="*/ 2007338 w 7415962"/>
                    <a:gd name="connsiteY147" fmla="*/ 719814 h 1613833"/>
                    <a:gd name="connsiteX148" fmla="*/ 1907664 w 7415962"/>
                    <a:gd name="connsiteY148" fmla="*/ 719814 h 1613833"/>
                    <a:gd name="connsiteX149" fmla="*/ 1903331 w 7415962"/>
                    <a:gd name="connsiteY149" fmla="*/ 715481 h 1613833"/>
                    <a:gd name="connsiteX150" fmla="*/ 1864327 w 7415962"/>
                    <a:gd name="connsiteY150" fmla="*/ 715481 h 1613833"/>
                    <a:gd name="connsiteX151" fmla="*/ 1864327 w 7415962"/>
                    <a:gd name="connsiteY151" fmla="*/ 685145 h 1613833"/>
                    <a:gd name="connsiteX152" fmla="*/ 1807990 w 7415962"/>
                    <a:gd name="connsiteY152" fmla="*/ 685145 h 1613833"/>
                    <a:gd name="connsiteX153" fmla="*/ 1808848 w 7415962"/>
                    <a:gd name="connsiteY153" fmla="*/ 676478 h 1613833"/>
                    <a:gd name="connsiteX154" fmla="*/ 1786322 w 7415962"/>
                    <a:gd name="connsiteY154" fmla="*/ 676478 h 1613833"/>
                    <a:gd name="connsiteX155" fmla="*/ 1786322 w 7415962"/>
                    <a:gd name="connsiteY155" fmla="*/ 663477 h 1613833"/>
                    <a:gd name="connsiteX156" fmla="*/ 1751652 w 7415962"/>
                    <a:gd name="connsiteY156" fmla="*/ 663477 h 1613833"/>
                    <a:gd name="connsiteX157" fmla="*/ 1751652 w 7415962"/>
                    <a:gd name="connsiteY157" fmla="*/ 641809 h 1613833"/>
                    <a:gd name="connsiteX158" fmla="*/ 1699649 w 7415962"/>
                    <a:gd name="connsiteY158" fmla="*/ 641809 h 1613833"/>
                    <a:gd name="connsiteX159" fmla="*/ 1699649 w 7415962"/>
                    <a:gd name="connsiteY159" fmla="*/ 615807 h 1613833"/>
                    <a:gd name="connsiteX160" fmla="*/ 1617309 w 7415962"/>
                    <a:gd name="connsiteY160" fmla="*/ 615807 h 1613833"/>
                    <a:gd name="connsiteX161" fmla="*/ 1604308 w 7415962"/>
                    <a:gd name="connsiteY161" fmla="*/ 602806 h 1613833"/>
                    <a:gd name="connsiteX162" fmla="*/ 1591307 w 7415962"/>
                    <a:gd name="connsiteY162" fmla="*/ 602806 h 1613833"/>
                    <a:gd name="connsiteX163" fmla="*/ 1578306 w 7415962"/>
                    <a:gd name="connsiteY163" fmla="*/ 589805 h 1613833"/>
                    <a:gd name="connsiteX164" fmla="*/ 1530636 w 7415962"/>
                    <a:gd name="connsiteY164" fmla="*/ 589805 h 1613833"/>
                    <a:gd name="connsiteX165" fmla="*/ 1530636 w 7415962"/>
                    <a:gd name="connsiteY165" fmla="*/ 581138 h 1613833"/>
                    <a:gd name="connsiteX166" fmla="*/ 1478632 w 7415962"/>
                    <a:gd name="connsiteY166" fmla="*/ 581138 h 1613833"/>
                    <a:gd name="connsiteX167" fmla="*/ 1478632 w 7415962"/>
                    <a:gd name="connsiteY167" fmla="*/ 563803 h 1613833"/>
                    <a:gd name="connsiteX168" fmla="*/ 1409294 w 7415962"/>
                    <a:gd name="connsiteY168" fmla="*/ 563803 h 1613833"/>
                    <a:gd name="connsiteX169" fmla="*/ 1396293 w 7415962"/>
                    <a:gd name="connsiteY169" fmla="*/ 550802 h 1613833"/>
                    <a:gd name="connsiteX170" fmla="*/ 1331288 w 7415962"/>
                    <a:gd name="connsiteY170" fmla="*/ 550802 h 1613833"/>
                    <a:gd name="connsiteX171" fmla="*/ 1331288 w 7415962"/>
                    <a:gd name="connsiteY171" fmla="*/ 533468 h 1613833"/>
                    <a:gd name="connsiteX172" fmla="*/ 1274951 w 7415962"/>
                    <a:gd name="connsiteY172" fmla="*/ 533468 h 1613833"/>
                    <a:gd name="connsiteX173" fmla="*/ 1274951 w 7415962"/>
                    <a:gd name="connsiteY173" fmla="*/ 511799 h 1613833"/>
                    <a:gd name="connsiteX174" fmla="*/ 1192612 w 7415962"/>
                    <a:gd name="connsiteY174" fmla="*/ 511799 h 1613833"/>
                    <a:gd name="connsiteX175" fmla="*/ 1175277 w 7415962"/>
                    <a:gd name="connsiteY175" fmla="*/ 511799 h 1613833"/>
                    <a:gd name="connsiteX176" fmla="*/ 1149275 w 7415962"/>
                    <a:gd name="connsiteY176" fmla="*/ 511799 h 1613833"/>
                    <a:gd name="connsiteX177" fmla="*/ 1149275 w 7415962"/>
                    <a:gd name="connsiteY177" fmla="*/ 485797 h 1613833"/>
                    <a:gd name="connsiteX178" fmla="*/ 1092938 w 7415962"/>
                    <a:gd name="connsiteY178" fmla="*/ 485797 h 1613833"/>
                    <a:gd name="connsiteX179" fmla="*/ 1092938 w 7415962"/>
                    <a:gd name="connsiteY179" fmla="*/ 472796 h 1613833"/>
                    <a:gd name="connsiteX180" fmla="*/ 1045268 w 7415962"/>
                    <a:gd name="connsiteY180" fmla="*/ 472796 h 1613833"/>
                    <a:gd name="connsiteX181" fmla="*/ 1045268 w 7415962"/>
                    <a:gd name="connsiteY181" fmla="*/ 442461 h 1613833"/>
                    <a:gd name="connsiteX182" fmla="*/ 988930 w 7415962"/>
                    <a:gd name="connsiteY182" fmla="*/ 442461 h 1613833"/>
                    <a:gd name="connsiteX183" fmla="*/ 975929 w 7415962"/>
                    <a:gd name="connsiteY183" fmla="*/ 429460 h 1613833"/>
                    <a:gd name="connsiteX184" fmla="*/ 954261 w 7415962"/>
                    <a:gd name="connsiteY184" fmla="*/ 429460 h 1613833"/>
                    <a:gd name="connsiteX185" fmla="*/ 945594 w 7415962"/>
                    <a:gd name="connsiteY185" fmla="*/ 420793 h 1613833"/>
                    <a:gd name="connsiteX186" fmla="*/ 893590 w 7415962"/>
                    <a:gd name="connsiteY186" fmla="*/ 420793 h 1613833"/>
                    <a:gd name="connsiteX187" fmla="*/ 893590 w 7415962"/>
                    <a:gd name="connsiteY187" fmla="*/ 399124 h 1613833"/>
                    <a:gd name="connsiteX188" fmla="*/ 867588 w 7415962"/>
                    <a:gd name="connsiteY188" fmla="*/ 399124 h 1613833"/>
                    <a:gd name="connsiteX189" fmla="*/ 858921 w 7415962"/>
                    <a:gd name="connsiteY189" fmla="*/ 390457 h 1613833"/>
                    <a:gd name="connsiteX190" fmla="*/ 754913 w 7415962"/>
                    <a:gd name="connsiteY190" fmla="*/ 390457 h 1613833"/>
                    <a:gd name="connsiteX191" fmla="*/ 754913 w 7415962"/>
                    <a:gd name="connsiteY191" fmla="*/ 364455 h 1613833"/>
                    <a:gd name="connsiteX192" fmla="*/ 724577 w 7415962"/>
                    <a:gd name="connsiteY192" fmla="*/ 364455 h 1613833"/>
                    <a:gd name="connsiteX193" fmla="*/ 724577 w 7415962"/>
                    <a:gd name="connsiteY193" fmla="*/ 347121 h 1613833"/>
                    <a:gd name="connsiteX194" fmla="*/ 659573 w 7415962"/>
                    <a:gd name="connsiteY194" fmla="*/ 347121 h 1613833"/>
                    <a:gd name="connsiteX195" fmla="*/ 650905 w 7415962"/>
                    <a:gd name="connsiteY195" fmla="*/ 338453 h 1613833"/>
                    <a:gd name="connsiteX196" fmla="*/ 629237 w 7415962"/>
                    <a:gd name="connsiteY196" fmla="*/ 338453 h 1613833"/>
                    <a:gd name="connsiteX197" fmla="*/ 629237 w 7415962"/>
                    <a:gd name="connsiteY197" fmla="*/ 321119 h 1613833"/>
                    <a:gd name="connsiteX198" fmla="*/ 598902 w 7415962"/>
                    <a:gd name="connsiteY198" fmla="*/ 321119 h 1613833"/>
                    <a:gd name="connsiteX199" fmla="*/ 598902 w 7415962"/>
                    <a:gd name="connsiteY199" fmla="*/ 299450 h 1613833"/>
                    <a:gd name="connsiteX200" fmla="*/ 577233 w 7415962"/>
                    <a:gd name="connsiteY200" fmla="*/ 299450 h 1613833"/>
                    <a:gd name="connsiteX201" fmla="*/ 577233 w 7415962"/>
                    <a:gd name="connsiteY201" fmla="*/ 286449 h 1613833"/>
                    <a:gd name="connsiteX202" fmla="*/ 555565 w 7415962"/>
                    <a:gd name="connsiteY202" fmla="*/ 286449 h 1613833"/>
                    <a:gd name="connsiteX203" fmla="*/ 555565 w 7415962"/>
                    <a:gd name="connsiteY203" fmla="*/ 273449 h 1613833"/>
                    <a:gd name="connsiteX204" fmla="*/ 490560 w 7415962"/>
                    <a:gd name="connsiteY204" fmla="*/ 273449 h 1613833"/>
                    <a:gd name="connsiteX205" fmla="*/ 490560 w 7415962"/>
                    <a:gd name="connsiteY205" fmla="*/ 247447 h 1613833"/>
                    <a:gd name="connsiteX206" fmla="*/ 455891 w 7415962"/>
                    <a:gd name="connsiteY206" fmla="*/ 247447 h 1613833"/>
                    <a:gd name="connsiteX207" fmla="*/ 455891 w 7415962"/>
                    <a:gd name="connsiteY207" fmla="*/ 221445 h 1613833"/>
                    <a:gd name="connsiteX208" fmla="*/ 438557 w 7415962"/>
                    <a:gd name="connsiteY208" fmla="*/ 221445 h 1613833"/>
                    <a:gd name="connsiteX209" fmla="*/ 438557 w 7415962"/>
                    <a:gd name="connsiteY209" fmla="*/ 191109 h 1613833"/>
                    <a:gd name="connsiteX210" fmla="*/ 408221 w 7415962"/>
                    <a:gd name="connsiteY210" fmla="*/ 191109 h 1613833"/>
                    <a:gd name="connsiteX211" fmla="*/ 408221 w 7415962"/>
                    <a:gd name="connsiteY211" fmla="*/ 178108 h 1613833"/>
                    <a:gd name="connsiteX212" fmla="*/ 373552 w 7415962"/>
                    <a:gd name="connsiteY212" fmla="*/ 178108 h 1613833"/>
                    <a:gd name="connsiteX213" fmla="*/ 373552 w 7415962"/>
                    <a:gd name="connsiteY213" fmla="*/ 156440 h 1613833"/>
                    <a:gd name="connsiteX214" fmla="*/ 356217 w 7415962"/>
                    <a:gd name="connsiteY214" fmla="*/ 156440 h 1613833"/>
                    <a:gd name="connsiteX215" fmla="*/ 356217 w 7415962"/>
                    <a:gd name="connsiteY215" fmla="*/ 143439 h 1613833"/>
                    <a:gd name="connsiteX216" fmla="*/ 304214 w 7415962"/>
                    <a:gd name="connsiteY216" fmla="*/ 143439 h 1613833"/>
                    <a:gd name="connsiteX217" fmla="*/ 304214 w 7415962"/>
                    <a:gd name="connsiteY217" fmla="*/ 100103 h 1613833"/>
                    <a:gd name="connsiteX218" fmla="*/ 269544 w 7415962"/>
                    <a:gd name="connsiteY218" fmla="*/ 100103 h 1613833"/>
                    <a:gd name="connsiteX219" fmla="*/ 269544 w 7415962"/>
                    <a:gd name="connsiteY219" fmla="*/ 87102 h 1613833"/>
                    <a:gd name="connsiteX220" fmla="*/ 234875 w 7415962"/>
                    <a:gd name="connsiteY220" fmla="*/ 87102 h 1613833"/>
                    <a:gd name="connsiteX221" fmla="*/ 234875 w 7415962"/>
                    <a:gd name="connsiteY221" fmla="*/ 52432 h 1613833"/>
                    <a:gd name="connsiteX222" fmla="*/ 208873 w 7415962"/>
                    <a:gd name="connsiteY222" fmla="*/ 52432 h 1613833"/>
                    <a:gd name="connsiteX223" fmla="*/ 208873 w 7415962"/>
                    <a:gd name="connsiteY223" fmla="*/ 43765 h 1613833"/>
                    <a:gd name="connsiteX224" fmla="*/ 156869 w 7415962"/>
                    <a:gd name="connsiteY224" fmla="*/ 43765 h 1613833"/>
                    <a:gd name="connsiteX225" fmla="*/ 156869 w 7415962"/>
                    <a:gd name="connsiteY225" fmla="*/ 30764 h 1613833"/>
                    <a:gd name="connsiteX226" fmla="*/ 122200 w 7415962"/>
                    <a:gd name="connsiteY226" fmla="*/ 30764 h 1613833"/>
                    <a:gd name="connsiteX227" fmla="*/ 122200 w 7415962"/>
                    <a:gd name="connsiteY227" fmla="*/ 4762 h 1613833"/>
                    <a:gd name="connsiteX228" fmla="*/ 71291 w 7415962"/>
                    <a:gd name="connsiteY228" fmla="*/ 0 h 1613833"/>
                    <a:gd name="connsiteX229" fmla="*/ 71291 w 7415962"/>
                    <a:gd name="connsiteY229" fmla="*/ 45718 h 1613833"/>
                    <a:gd name="connsiteX230" fmla="*/ 858 w 7415962"/>
                    <a:gd name="connsiteY230" fmla="*/ 48099 h 1613833"/>
                    <a:gd name="connsiteX231" fmla="*/ 0 w 7415962"/>
                    <a:gd name="connsiteY231" fmla="*/ 44194 h 1613833"/>
                    <a:gd name="connsiteX232" fmla="*/ 22526 w 7415962"/>
                    <a:gd name="connsiteY232" fmla="*/ 56766 h 1613833"/>
                    <a:gd name="connsiteX233" fmla="*/ 22526 w 7415962"/>
                    <a:gd name="connsiteY233" fmla="*/ 69767 h 1613833"/>
                    <a:gd name="connsiteX234" fmla="*/ 52862 w 7415962"/>
                    <a:gd name="connsiteY234" fmla="*/ 69767 h 1613833"/>
                    <a:gd name="connsiteX235" fmla="*/ 52862 w 7415962"/>
                    <a:gd name="connsiteY235" fmla="*/ 91435 h 1613833"/>
                    <a:gd name="connsiteX236" fmla="*/ 78864 w 7415962"/>
                    <a:gd name="connsiteY236" fmla="*/ 91435 h 1613833"/>
                    <a:gd name="connsiteX237" fmla="*/ 78864 w 7415962"/>
                    <a:gd name="connsiteY237" fmla="*/ 130438 h 1613833"/>
                    <a:gd name="connsiteX238" fmla="*/ 139535 w 7415962"/>
                    <a:gd name="connsiteY238" fmla="*/ 130438 h 1613833"/>
                    <a:gd name="connsiteX239" fmla="*/ 148202 w 7415962"/>
                    <a:gd name="connsiteY239" fmla="*/ 139105 h 1613833"/>
                    <a:gd name="connsiteX240" fmla="*/ 165537 w 7415962"/>
                    <a:gd name="connsiteY240" fmla="*/ 139105 h 1613833"/>
                    <a:gd name="connsiteX241" fmla="*/ 165537 w 7415962"/>
                    <a:gd name="connsiteY241" fmla="*/ 160774 h 1613833"/>
                    <a:gd name="connsiteX242" fmla="*/ 182871 w 7415962"/>
                    <a:gd name="connsiteY242" fmla="*/ 160774 h 1613833"/>
                    <a:gd name="connsiteX243" fmla="*/ 195872 w 7415962"/>
                    <a:gd name="connsiteY243" fmla="*/ 173775 h 1613833"/>
                    <a:gd name="connsiteX244" fmla="*/ 226208 w 7415962"/>
                    <a:gd name="connsiteY244" fmla="*/ 173775 h 1613833"/>
                    <a:gd name="connsiteX245" fmla="*/ 226208 w 7415962"/>
                    <a:gd name="connsiteY245" fmla="*/ 212777 h 1613833"/>
                    <a:gd name="connsiteX246" fmla="*/ 252210 w 7415962"/>
                    <a:gd name="connsiteY246" fmla="*/ 212777 h 1613833"/>
                    <a:gd name="connsiteX247" fmla="*/ 260877 w 7415962"/>
                    <a:gd name="connsiteY247" fmla="*/ 221444 h 1613833"/>
                    <a:gd name="connsiteX248" fmla="*/ 273879 w 7415962"/>
                    <a:gd name="connsiteY248" fmla="*/ 234446 h 1613833"/>
                    <a:gd name="connsiteX249" fmla="*/ 273879 w 7415962"/>
                    <a:gd name="connsiteY249" fmla="*/ 256114 h 1613833"/>
                    <a:gd name="connsiteX250" fmla="*/ 304214 w 7415962"/>
                    <a:gd name="connsiteY250" fmla="*/ 256114 h 1613833"/>
                    <a:gd name="connsiteX251" fmla="*/ 304214 w 7415962"/>
                    <a:gd name="connsiteY251" fmla="*/ 273449 h 1613833"/>
                    <a:gd name="connsiteX252" fmla="*/ 343216 w 7415962"/>
                    <a:gd name="connsiteY252" fmla="*/ 273449 h 1613833"/>
                    <a:gd name="connsiteX253" fmla="*/ 343216 w 7415962"/>
                    <a:gd name="connsiteY253" fmla="*/ 290783 h 1613833"/>
                    <a:gd name="connsiteX254" fmla="*/ 386553 w 7415962"/>
                    <a:gd name="connsiteY254" fmla="*/ 290783 h 1613833"/>
                    <a:gd name="connsiteX255" fmla="*/ 386553 w 7415962"/>
                    <a:gd name="connsiteY255" fmla="*/ 290783 h 1613833"/>
                    <a:gd name="connsiteX256" fmla="*/ 408221 w 7415962"/>
                    <a:gd name="connsiteY256" fmla="*/ 312451 h 1613833"/>
                    <a:gd name="connsiteX257" fmla="*/ 425556 w 7415962"/>
                    <a:gd name="connsiteY257" fmla="*/ 329786 h 1613833"/>
                    <a:gd name="connsiteX258" fmla="*/ 473226 w 7415962"/>
                    <a:gd name="connsiteY258" fmla="*/ 329786 h 1613833"/>
                    <a:gd name="connsiteX259" fmla="*/ 473226 w 7415962"/>
                    <a:gd name="connsiteY259" fmla="*/ 360122 h 1613833"/>
                    <a:gd name="connsiteX260" fmla="*/ 512229 w 7415962"/>
                    <a:gd name="connsiteY260" fmla="*/ 360122 h 1613833"/>
                    <a:gd name="connsiteX261" fmla="*/ 512229 w 7415962"/>
                    <a:gd name="connsiteY261" fmla="*/ 381790 h 1613833"/>
                    <a:gd name="connsiteX262" fmla="*/ 559899 w 7415962"/>
                    <a:gd name="connsiteY262" fmla="*/ 381790 h 1613833"/>
                    <a:gd name="connsiteX263" fmla="*/ 559899 w 7415962"/>
                    <a:gd name="connsiteY263" fmla="*/ 403458 h 1613833"/>
                    <a:gd name="connsiteX264" fmla="*/ 590234 w 7415962"/>
                    <a:gd name="connsiteY264" fmla="*/ 403458 h 1613833"/>
                    <a:gd name="connsiteX265" fmla="*/ 603235 w 7415962"/>
                    <a:gd name="connsiteY265" fmla="*/ 416459 h 1613833"/>
                    <a:gd name="connsiteX266" fmla="*/ 650905 w 7415962"/>
                    <a:gd name="connsiteY266" fmla="*/ 416459 h 1613833"/>
                    <a:gd name="connsiteX267" fmla="*/ 650905 w 7415962"/>
                    <a:gd name="connsiteY267" fmla="*/ 455462 h 1613833"/>
                    <a:gd name="connsiteX268" fmla="*/ 759247 w 7415962"/>
                    <a:gd name="connsiteY268" fmla="*/ 455462 h 1613833"/>
                    <a:gd name="connsiteX269" fmla="*/ 759247 w 7415962"/>
                    <a:gd name="connsiteY269" fmla="*/ 485797 h 1613833"/>
                    <a:gd name="connsiteX270" fmla="*/ 876255 w 7415962"/>
                    <a:gd name="connsiteY270" fmla="*/ 485797 h 1613833"/>
                    <a:gd name="connsiteX271" fmla="*/ 876255 w 7415962"/>
                    <a:gd name="connsiteY271" fmla="*/ 511799 h 1613833"/>
                    <a:gd name="connsiteX272" fmla="*/ 928259 w 7415962"/>
                    <a:gd name="connsiteY272" fmla="*/ 511799 h 1613833"/>
                    <a:gd name="connsiteX273" fmla="*/ 928259 w 7415962"/>
                    <a:gd name="connsiteY273" fmla="*/ 529134 h 1613833"/>
                    <a:gd name="connsiteX274" fmla="*/ 980263 w 7415962"/>
                    <a:gd name="connsiteY274" fmla="*/ 529134 h 1613833"/>
                    <a:gd name="connsiteX275" fmla="*/ 993264 w 7415962"/>
                    <a:gd name="connsiteY275" fmla="*/ 529134 h 1613833"/>
                    <a:gd name="connsiteX276" fmla="*/ 1006265 w 7415962"/>
                    <a:gd name="connsiteY276" fmla="*/ 542135 h 1613833"/>
                    <a:gd name="connsiteX277" fmla="*/ 1023170 w 7415962"/>
                    <a:gd name="connsiteY277" fmla="*/ 549278 h 1613833"/>
                    <a:gd name="connsiteX278" fmla="*/ 1058268 w 7415962"/>
                    <a:gd name="connsiteY278" fmla="*/ 554041 h 1613833"/>
                    <a:gd name="connsiteX279" fmla="*/ 1058268 w 7415962"/>
                    <a:gd name="connsiteY279" fmla="*/ 568137 h 1613833"/>
                    <a:gd name="connsiteX280" fmla="*/ 1079937 w 7415962"/>
                    <a:gd name="connsiteY280" fmla="*/ 568137 h 1613833"/>
                    <a:gd name="connsiteX281" fmla="*/ 1079937 w 7415962"/>
                    <a:gd name="connsiteY281" fmla="*/ 581138 h 1613833"/>
                    <a:gd name="connsiteX282" fmla="*/ 1157942 w 7415962"/>
                    <a:gd name="connsiteY282" fmla="*/ 581138 h 1613833"/>
                    <a:gd name="connsiteX283" fmla="*/ 1157942 w 7415962"/>
                    <a:gd name="connsiteY283" fmla="*/ 594139 h 1613833"/>
                    <a:gd name="connsiteX284" fmla="*/ 1196945 w 7415962"/>
                    <a:gd name="connsiteY284" fmla="*/ 594139 h 1613833"/>
                    <a:gd name="connsiteX285" fmla="*/ 1196945 w 7415962"/>
                    <a:gd name="connsiteY285" fmla="*/ 602806 h 1613833"/>
                    <a:gd name="connsiteX286" fmla="*/ 1244615 w 7415962"/>
                    <a:gd name="connsiteY286" fmla="*/ 602806 h 1613833"/>
                    <a:gd name="connsiteX287" fmla="*/ 1257616 w 7415962"/>
                    <a:gd name="connsiteY287" fmla="*/ 615807 h 1613833"/>
                    <a:gd name="connsiteX288" fmla="*/ 1270617 w 7415962"/>
                    <a:gd name="connsiteY288" fmla="*/ 628808 h 1613833"/>
                    <a:gd name="connsiteX289" fmla="*/ 1335622 w 7415962"/>
                    <a:gd name="connsiteY289" fmla="*/ 628808 h 1613833"/>
                    <a:gd name="connsiteX290" fmla="*/ 1335622 w 7415962"/>
                    <a:gd name="connsiteY290" fmla="*/ 650476 h 1613833"/>
                    <a:gd name="connsiteX291" fmla="*/ 1426629 w 7415962"/>
                    <a:gd name="connsiteY291" fmla="*/ 650476 h 1613833"/>
                    <a:gd name="connsiteX292" fmla="*/ 1435296 w 7415962"/>
                    <a:gd name="connsiteY292" fmla="*/ 659143 h 1613833"/>
                    <a:gd name="connsiteX293" fmla="*/ 1456964 w 7415962"/>
                    <a:gd name="connsiteY293" fmla="*/ 659143 h 1613833"/>
                    <a:gd name="connsiteX294" fmla="*/ 1456964 w 7415962"/>
                    <a:gd name="connsiteY294" fmla="*/ 672144 h 1613833"/>
                    <a:gd name="connsiteX295" fmla="*/ 1508968 w 7415962"/>
                    <a:gd name="connsiteY295" fmla="*/ 672144 h 1613833"/>
                    <a:gd name="connsiteX296" fmla="*/ 1508968 w 7415962"/>
                    <a:gd name="connsiteY296" fmla="*/ 689479 h 1613833"/>
                    <a:gd name="connsiteX297" fmla="*/ 1565305 w 7415962"/>
                    <a:gd name="connsiteY297" fmla="*/ 689479 h 1613833"/>
                    <a:gd name="connsiteX298" fmla="*/ 1572020 w 7415962"/>
                    <a:gd name="connsiteY298" fmla="*/ 698576 h 1613833"/>
                    <a:gd name="connsiteX299" fmla="*/ 1610595 w 7415962"/>
                    <a:gd name="connsiteY299" fmla="*/ 700956 h 1613833"/>
                    <a:gd name="connsiteX300" fmla="*/ 1628358 w 7415962"/>
                    <a:gd name="connsiteY300" fmla="*/ 713958 h 1613833"/>
                    <a:gd name="connsiteX301" fmla="*/ 1677980 w 7415962"/>
                    <a:gd name="connsiteY301" fmla="*/ 713958 h 1613833"/>
                    <a:gd name="connsiteX302" fmla="*/ 1679504 w 7415962"/>
                    <a:gd name="connsiteY302" fmla="*/ 727389 h 1613833"/>
                    <a:gd name="connsiteX303" fmla="*/ 1703981 w 7415962"/>
                    <a:gd name="connsiteY303" fmla="*/ 732815 h 1613833"/>
                    <a:gd name="connsiteX304" fmla="*/ 1716982 w 7415962"/>
                    <a:gd name="connsiteY304" fmla="*/ 745816 h 1613833"/>
                    <a:gd name="connsiteX305" fmla="*/ 1751652 w 7415962"/>
                    <a:gd name="connsiteY305" fmla="*/ 750578 h 1613833"/>
                    <a:gd name="connsiteX306" fmla="*/ 1751652 w 7415962"/>
                    <a:gd name="connsiteY306" fmla="*/ 771818 h 1613833"/>
                    <a:gd name="connsiteX307" fmla="*/ 1799323 w 7415962"/>
                    <a:gd name="connsiteY307" fmla="*/ 771818 h 1613833"/>
                    <a:gd name="connsiteX308" fmla="*/ 1799323 w 7415962"/>
                    <a:gd name="connsiteY308" fmla="*/ 784819 h 1613833"/>
                    <a:gd name="connsiteX309" fmla="*/ 1842659 w 7415962"/>
                    <a:gd name="connsiteY309" fmla="*/ 784819 h 1613833"/>
                    <a:gd name="connsiteX310" fmla="*/ 1842659 w 7415962"/>
                    <a:gd name="connsiteY310" fmla="*/ 802154 h 1613833"/>
                    <a:gd name="connsiteX311" fmla="*/ 1877328 w 7415962"/>
                    <a:gd name="connsiteY311" fmla="*/ 802154 h 1613833"/>
                    <a:gd name="connsiteX312" fmla="*/ 1888378 w 7415962"/>
                    <a:gd name="connsiteY312" fmla="*/ 817966 h 1613833"/>
                    <a:gd name="connsiteX313" fmla="*/ 1961620 w 7415962"/>
                    <a:gd name="connsiteY313" fmla="*/ 817966 h 1613833"/>
                    <a:gd name="connsiteX314" fmla="*/ 2007338 w 7415962"/>
                    <a:gd name="connsiteY314" fmla="*/ 817966 h 1613833"/>
                    <a:gd name="connsiteX315" fmla="*/ 2007597 w 7415962"/>
                    <a:gd name="connsiteY315" fmla="*/ 831283 h 1613833"/>
                    <a:gd name="connsiteX316" fmla="*/ 2045697 w 7415962"/>
                    <a:gd name="connsiteY316" fmla="*/ 833664 h 1613833"/>
                    <a:gd name="connsiteX317" fmla="*/ 2049580 w 7415962"/>
                    <a:gd name="connsiteY317" fmla="*/ 855445 h 1613833"/>
                    <a:gd name="connsiteX318" fmla="*/ 2109393 w 7415962"/>
                    <a:gd name="connsiteY318" fmla="*/ 853063 h 1613833"/>
                    <a:gd name="connsiteX319" fmla="*/ 2107012 w 7415962"/>
                    <a:gd name="connsiteY319" fmla="*/ 867158 h 1613833"/>
                    <a:gd name="connsiteX320" fmla="*/ 2120013 w 7415962"/>
                    <a:gd name="connsiteY320" fmla="*/ 867158 h 1613833"/>
                    <a:gd name="connsiteX321" fmla="*/ 2137347 w 7415962"/>
                    <a:gd name="connsiteY321" fmla="*/ 867158 h 1613833"/>
                    <a:gd name="connsiteX322" fmla="*/ 2185017 w 7415962"/>
                    <a:gd name="connsiteY322" fmla="*/ 867158 h 1613833"/>
                    <a:gd name="connsiteX323" fmla="*/ 2185017 w 7415962"/>
                    <a:gd name="connsiteY323" fmla="*/ 893160 h 1613833"/>
                    <a:gd name="connsiteX324" fmla="*/ 2201112 w 7415962"/>
                    <a:gd name="connsiteY324" fmla="*/ 888398 h 1613833"/>
                    <a:gd name="connsiteX325" fmla="*/ 2241591 w 7415962"/>
                    <a:gd name="connsiteY325" fmla="*/ 886016 h 1613833"/>
                    <a:gd name="connsiteX326" fmla="*/ 2240960 w 7415962"/>
                    <a:gd name="connsiteY326" fmla="*/ 919388 h 1613833"/>
                    <a:gd name="connsiteX327" fmla="*/ 2266498 w 7415962"/>
                    <a:gd name="connsiteY327" fmla="*/ 920641 h 1613833"/>
                    <a:gd name="connsiteX328" fmla="*/ 2267154 w 7415962"/>
                    <a:gd name="connsiteY328" fmla="*/ 883670 h 1613833"/>
                    <a:gd name="connsiteX329" fmla="*/ 2294883 w 7415962"/>
                    <a:gd name="connsiteY329" fmla="*/ 882542 h 1613833"/>
                    <a:gd name="connsiteX330" fmla="*/ 2294883 w 7415962"/>
                    <a:gd name="connsiteY330" fmla="*/ 916780 h 1613833"/>
                    <a:gd name="connsiteX331" fmla="*/ 2336695 w 7415962"/>
                    <a:gd name="connsiteY331" fmla="*/ 919162 h 1613833"/>
                    <a:gd name="connsiteX332" fmla="*/ 2336695 w 7415962"/>
                    <a:gd name="connsiteY332" fmla="*/ 927830 h 1613833"/>
                    <a:gd name="connsiteX333" fmla="*/ 2401700 w 7415962"/>
                    <a:gd name="connsiteY333" fmla="*/ 927830 h 1613833"/>
                    <a:gd name="connsiteX334" fmla="*/ 2401700 w 7415962"/>
                    <a:gd name="connsiteY334" fmla="*/ 940831 h 1613833"/>
                    <a:gd name="connsiteX335" fmla="*/ 2440703 w 7415962"/>
                    <a:gd name="connsiteY335" fmla="*/ 940831 h 1613833"/>
                    <a:gd name="connsiteX336" fmla="*/ 2453704 w 7415962"/>
                    <a:gd name="connsiteY336" fmla="*/ 953832 h 1613833"/>
                    <a:gd name="connsiteX337" fmla="*/ 2501374 w 7415962"/>
                    <a:gd name="connsiteY337" fmla="*/ 953832 h 1613833"/>
                    <a:gd name="connsiteX338" fmla="*/ 2514375 w 7415962"/>
                    <a:gd name="connsiteY338" fmla="*/ 966833 h 1613833"/>
                    <a:gd name="connsiteX339" fmla="*/ 2544710 w 7415962"/>
                    <a:gd name="connsiteY339" fmla="*/ 966833 h 1613833"/>
                    <a:gd name="connsiteX340" fmla="*/ 2544710 w 7415962"/>
                    <a:gd name="connsiteY340" fmla="*/ 984167 h 1613833"/>
                    <a:gd name="connsiteX341" fmla="*/ 2592380 w 7415962"/>
                    <a:gd name="connsiteY341" fmla="*/ 984167 h 1613833"/>
                    <a:gd name="connsiteX342" fmla="*/ 2592380 w 7415962"/>
                    <a:gd name="connsiteY342" fmla="*/ 1005835 h 1613833"/>
                    <a:gd name="connsiteX343" fmla="*/ 2640050 w 7415962"/>
                    <a:gd name="connsiteY343" fmla="*/ 1005835 h 1613833"/>
                    <a:gd name="connsiteX344" fmla="*/ 2640050 w 7415962"/>
                    <a:gd name="connsiteY344" fmla="*/ 1027504 h 1613833"/>
                    <a:gd name="connsiteX345" fmla="*/ 2700722 w 7415962"/>
                    <a:gd name="connsiteY345" fmla="*/ 1027504 h 1613833"/>
                    <a:gd name="connsiteX346" fmla="*/ 2700722 w 7415962"/>
                    <a:gd name="connsiteY346" fmla="*/ 1044838 h 1613833"/>
                    <a:gd name="connsiteX347" fmla="*/ 2809063 w 7415962"/>
                    <a:gd name="connsiteY347" fmla="*/ 1044838 h 1613833"/>
                    <a:gd name="connsiteX348" fmla="*/ 2817730 w 7415962"/>
                    <a:gd name="connsiteY348" fmla="*/ 1053505 h 1613833"/>
                    <a:gd name="connsiteX349" fmla="*/ 2826398 w 7415962"/>
                    <a:gd name="connsiteY349" fmla="*/ 1062173 h 1613833"/>
                    <a:gd name="connsiteX350" fmla="*/ 2865400 w 7415962"/>
                    <a:gd name="connsiteY350" fmla="*/ 1062173 h 1613833"/>
                    <a:gd name="connsiteX351" fmla="*/ 2887068 w 7415962"/>
                    <a:gd name="connsiteY351" fmla="*/ 1062173 h 1613833"/>
                    <a:gd name="connsiteX352" fmla="*/ 2900069 w 7415962"/>
                    <a:gd name="connsiteY352" fmla="*/ 1062173 h 1613833"/>
                    <a:gd name="connsiteX353" fmla="*/ 2917404 w 7415962"/>
                    <a:gd name="connsiteY353" fmla="*/ 1079508 h 1613833"/>
                    <a:gd name="connsiteX354" fmla="*/ 2969408 w 7415962"/>
                    <a:gd name="connsiteY354" fmla="*/ 1079508 h 1613833"/>
                    <a:gd name="connsiteX355" fmla="*/ 2969408 w 7415962"/>
                    <a:gd name="connsiteY355" fmla="*/ 1096842 h 1613833"/>
                    <a:gd name="connsiteX356" fmla="*/ 3135610 w 7415962"/>
                    <a:gd name="connsiteY356" fmla="*/ 1099224 h 1613833"/>
                    <a:gd name="connsiteX357" fmla="*/ 3135611 w 7415962"/>
                    <a:gd name="connsiteY357" fmla="*/ 1127176 h 1613833"/>
                    <a:gd name="connsiteX358" fmla="*/ 3212092 w 7415962"/>
                    <a:gd name="connsiteY358" fmla="*/ 1127177 h 1613833"/>
                    <a:gd name="connsiteX359" fmla="*/ 3216426 w 7415962"/>
                    <a:gd name="connsiteY359" fmla="*/ 1127177 h 1613833"/>
                    <a:gd name="connsiteX360" fmla="*/ 3303099 w 7415962"/>
                    <a:gd name="connsiteY360" fmla="*/ 1129558 h 1613833"/>
                    <a:gd name="connsiteX361" fmla="*/ 3303099 w 7415962"/>
                    <a:gd name="connsiteY361" fmla="*/ 1146035 h 1613833"/>
                    <a:gd name="connsiteX362" fmla="*/ 3396916 w 7415962"/>
                    <a:gd name="connsiteY362" fmla="*/ 1146035 h 1613833"/>
                    <a:gd name="connsiteX363" fmla="*/ 3396915 w 7415962"/>
                    <a:gd name="connsiteY363" fmla="*/ 1159465 h 1613833"/>
                    <a:gd name="connsiteX364" fmla="*/ 3446109 w 7415962"/>
                    <a:gd name="connsiteY364" fmla="*/ 1161847 h 1613833"/>
                    <a:gd name="connsiteX365" fmla="*/ 3445253 w 7415962"/>
                    <a:gd name="connsiteY365" fmla="*/ 1170515 h 1613833"/>
                    <a:gd name="connsiteX366" fmla="*/ 3597787 w 7415962"/>
                    <a:gd name="connsiteY366" fmla="*/ 1170515 h 1613833"/>
                    <a:gd name="connsiteX367" fmla="*/ 3597787 w 7415962"/>
                    <a:gd name="connsiteY367" fmla="*/ 1183515 h 1613833"/>
                    <a:gd name="connsiteX368" fmla="*/ 3706128 w 7415962"/>
                    <a:gd name="connsiteY368" fmla="*/ 1183515 h 1613833"/>
                    <a:gd name="connsiteX369" fmla="*/ 3710462 w 7415962"/>
                    <a:gd name="connsiteY369" fmla="*/ 1187849 h 1613833"/>
                    <a:gd name="connsiteX370" fmla="*/ 3964195 w 7415962"/>
                    <a:gd name="connsiteY370" fmla="*/ 1192611 h 1613833"/>
                    <a:gd name="connsiteX371" fmla="*/ 3961814 w 7415962"/>
                    <a:gd name="connsiteY371" fmla="*/ 1209517 h 1613833"/>
                    <a:gd name="connsiteX372" fmla="*/ 3992149 w 7415962"/>
                    <a:gd name="connsiteY372" fmla="*/ 1209517 h 1613833"/>
                    <a:gd name="connsiteX373" fmla="*/ 3992149 w 7415962"/>
                    <a:gd name="connsiteY373" fmla="*/ 1183515 h 1613833"/>
                    <a:gd name="connsiteX374" fmla="*/ 4031152 w 7415962"/>
                    <a:gd name="connsiteY374" fmla="*/ 1183515 h 1613833"/>
                    <a:gd name="connsiteX375" fmla="*/ 4031152 w 7415962"/>
                    <a:gd name="connsiteY375" fmla="*/ 1218184 h 1613833"/>
                    <a:gd name="connsiteX376" fmla="*/ 4044153 w 7415962"/>
                    <a:gd name="connsiteY376" fmla="*/ 1218184 h 1613833"/>
                    <a:gd name="connsiteX377" fmla="*/ 4044153 w 7415962"/>
                    <a:gd name="connsiteY377" fmla="*/ 1226851 h 1613833"/>
                    <a:gd name="connsiteX378" fmla="*/ 4165495 w 7415962"/>
                    <a:gd name="connsiteY378" fmla="*/ 1226851 h 1613833"/>
                    <a:gd name="connsiteX379" fmla="*/ 4165495 w 7415962"/>
                    <a:gd name="connsiteY379" fmla="*/ 1248520 h 1613833"/>
                    <a:gd name="connsiteX380" fmla="*/ 4321506 w 7415962"/>
                    <a:gd name="connsiteY380" fmla="*/ 1248520 h 1613833"/>
                    <a:gd name="connsiteX381" fmla="*/ 4321506 w 7415962"/>
                    <a:gd name="connsiteY381" fmla="*/ 1265854 h 1613833"/>
                    <a:gd name="connsiteX382" fmla="*/ 4399512 w 7415962"/>
                    <a:gd name="connsiteY382" fmla="*/ 1265854 h 1613833"/>
                    <a:gd name="connsiteX383" fmla="*/ 4399512 w 7415962"/>
                    <a:gd name="connsiteY383" fmla="*/ 1291856 h 1613833"/>
                    <a:gd name="connsiteX384" fmla="*/ 4451516 w 7415962"/>
                    <a:gd name="connsiteY384" fmla="*/ 1291856 h 1613833"/>
                    <a:gd name="connsiteX385" fmla="*/ 4477518 w 7415962"/>
                    <a:gd name="connsiteY385" fmla="*/ 1291856 h 1613833"/>
                    <a:gd name="connsiteX386" fmla="*/ 4499186 w 7415962"/>
                    <a:gd name="connsiteY386" fmla="*/ 1313524 h 1613833"/>
                    <a:gd name="connsiteX387" fmla="*/ 4594526 w 7415962"/>
                    <a:gd name="connsiteY387" fmla="*/ 1313524 h 1613833"/>
                    <a:gd name="connsiteX388" fmla="*/ 4598431 w 7415962"/>
                    <a:gd name="connsiteY388" fmla="*/ 1322192 h 1613833"/>
                    <a:gd name="connsiteX389" fmla="*/ 4663865 w 7415962"/>
                    <a:gd name="connsiteY389" fmla="*/ 1322192 h 1613833"/>
                    <a:gd name="connsiteX390" fmla="*/ 4663865 w 7415962"/>
                    <a:gd name="connsiteY390" fmla="*/ 1343860 h 1613833"/>
                    <a:gd name="connsiteX391" fmla="*/ 4707201 w 7415962"/>
                    <a:gd name="connsiteY391" fmla="*/ 1343860 h 1613833"/>
                    <a:gd name="connsiteX392" fmla="*/ 4711535 w 7415962"/>
                    <a:gd name="connsiteY392" fmla="*/ 1348194 h 1613833"/>
                    <a:gd name="connsiteX393" fmla="*/ 4767872 w 7415962"/>
                    <a:gd name="connsiteY393" fmla="*/ 1348194 h 1613833"/>
                    <a:gd name="connsiteX394" fmla="*/ 4766585 w 7415962"/>
                    <a:gd name="connsiteY394" fmla="*/ 1363576 h 1613833"/>
                    <a:gd name="connsiteX395" fmla="*/ 5006223 w 7415962"/>
                    <a:gd name="connsiteY395" fmla="*/ 1361195 h 1613833"/>
                    <a:gd name="connsiteX396" fmla="*/ 5019224 w 7415962"/>
                    <a:gd name="connsiteY396" fmla="*/ 1374196 h 1613833"/>
                    <a:gd name="connsiteX397" fmla="*/ 5153567 w 7415962"/>
                    <a:gd name="connsiteY397" fmla="*/ 1374196 h 1613833"/>
                    <a:gd name="connsiteX398" fmla="*/ 5153567 w 7415962"/>
                    <a:gd name="connsiteY398" fmla="*/ 1395864 h 1613833"/>
                    <a:gd name="connsiteX399" fmla="*/ 5283577 w 7415962"/>
                    <a:gd name="connsiteY399" fmla="*/ 1395864 h 1613833"/>
                    <a:gd name="connsiteX400" fmla="*/ 5292244 w 7415962"/>
                    <a:gd name="connsiteY400" fmla="*/ 1404531 h 1613833"/>
                    <a:gd name="connsiteX401" fmla="*/ 5357249 w 7415962"/>
                    <a:gd name="connsiteY401" fmla="*/ 1404531 h 1613833"/>
                    <a:gd name="connsiteX402" fmla="*/ 5370250 w 7415962"/>
                    <a:gd name="connsiteY402" fmla="*/ 1404531 h 1613833"/>
                    <a:gd name="connsiteX403" fmla="*/ 5370250 w 7415962"/>
                    <a:gd name="connsiteY403" fmla="*/ 1426199 h 1613833"/>
                    <a:gd name="connsiteX404" fmla="*/ 5474257 w 7415962"/>
                    <a:gd name="connsiteY404" fmla="*/ 1426199 h 1613833"/>
                    <a:gd name="connsiteX405" fmla="*/ 5474257 w 7415962"/>
                    <a:gd name="connsiteY405" fmla="*/ 1404531 h 1613833"/>
                    <a:gd name="connsiteX406" fmla="*/ 5513260 w 7415962"/>
                    <a:gd name="connsiteY406" fmla="*/ 1404531 h 1613833"/>
                    <a:gd name="connsiteX407" fmla="*/ 5513260 w 7415962"/>
                    <a:gd name="connsiteY407" fmla="*/ 1430533 h 1613833"/>
                    <a:gd name="connsiteX408" fmla="*/ 5608600 w 7415962"/>
                    <a:gd name="connsiteY408" fmla="*/ 1430533 h 1613833"/>
                    <a:gd name="connsiteX409" fmla="*/ 5608600 w 7415962"/>
                    <a:gd name="connsiteY409" fmla="*/ 1404531 h 1613833"/>
                    <a:gd name="connsiteX410" fmla="*/ 5664938 w 7415962"/>
                    <a:gd name="connsiteY410" fmla="*/ 1404531 h 1613833"/>
                    <a:gd name="connsiteX411" fmla="*/ 5664938 w 7415962"/>
                    <a:gd name="connsiteY411" fmla="*/ 1439200 h 1613833"/>
                    <a:gd name="connsiteX412" fmla="*/ 5686606 w 7415962"/>
                    <a:gd name="connsiteY412" fmla="*/ 1439200 h 1613833"/>
                    <a:gd name="connsiteX413" fmla="*/ 5686606 w 7415962"/>
                    <a:gd name="connsiteY413" fmla="*/ 1447868 h 1613833"/>
                    <a:gd name="connsiteX414" fmla="*/ 5716941 w 7415962"/>
                    <a:gd name="connsiteY414" fmla="*/ 1447868 h 1613833"/>
                    <a:gd name="connsiteX415" fmla="*/ 5716941 w 7415962"/>
                    <a:gd name="connsiteY415" fmla="*/ 1460868 h 1613833"/>
                    <a:gd name="connsiteX416" fmla="*/ 5794947 w 7415962"/>
                    <a:gd name="connsiteY416" fmla="*/ 1460868 h 1613833"/>
                    <a:gd name="connsiteX417" fmla="*/ 5794947 w 7415962"/>
                    <a:gd name="connsiteY417" fmla="*/ 1426199 h 1613833"/>
                    <a:gd name="connsiteX418" fmla="*/ 5838284 w 7415962"/>
                    <a:gd name="connsiteY418" fmla="*/ 1426199 h 1613833"/>
                    <a:gd name="connsiteX419" fmla="*/ 5838284 w 7415962"/>
                    <a:gd name="connsiteY419" fmla="*/ 1460868 h 1613833"/>
                    <a:gd name="connsiteX420" fmla="*/ 5903288 w 7415962"/>
                    <a:gd name="connsiteY420" fmla="*/ 1460868 h 1613833"/>
                    <a:gd name="connsiteX421" fmla="*/ 5929290 w 7415962"/>
                    <a:gd name="connsiteY421" fmla="*/ 1460868 h 1613833"/>
                    <a:gd name="connsiteX422" fmla="*/ 5929290 w 7415962"/>
                    <a:gd name="connsiteY422" fmla="*/ 1478203 h 1613833"/>
                    <a:gd name="connsiteX423" fmla="*/ 5946625 w 7415962"/>
                    <a:gd name="connsiteY423" fmla="*/ 1478203 h 1613833"/>
                    <a:gd name="connsiteX424" fmla="*/ 5950959 w 7415962"/>
                    <a:gd name="connsiteY424" fmla="*/ 1482537 h 1613833"/>
                    <a:gd name="connsiteX425" fmla="*/ 6020297 w 7415962"/>
                    <a:gd name="connsiteY425" fmla="*/ 1482537 h 1613833"/>
                    <a:gd name="connsiteX426" fmla="*/ 6020297 w 7415962"/>
                    <a:gd name="connsiteY426" fmla="*/ 1460868 h 1613833"/>
                    <a:gd name="connsiteX427" fmla="*/ 6059300 w 7415962"/>
                    <a:gd name="connsiteY427" fmla="*/ 1460868 h 1613833"/>
                    <a:gd name="connsiteX428" fmla="*/ 6059300 w 7415962"/>
                    <a:gd name="connsiteY428" fmla="*/ 1504205 h 1613833"/>
                    <a:gd name="connsiteX429" fmla="*/ 6111304 w 7415962"/>
                    <a:gd name="connsiteY429" fmla="*/ 1504205 h 1613833"/>
                    <a:gd name="connsiteX430" fmla="*/ 6111304 w 7415962"/>
                    <a:gd name="connsiteY430" fmla="*/ 1512872 h 1613833"/>
                    <a:gd name="connsiteX431" fmla="*/ 6189309 w 7415962"/>
                    <a:gd name="connsiteY431" fmla="*/ 1512872 h 1613833"/>
                    <a:gd name="connsiteX432" fmla="*/ 6189309 w 7415962"/>
                    <a:gd name="connsiteY432" fmla="*/ 1469536 h 1613833"/>
                    <a:gd name="connsiteX433" fmla="*/ 6228312 w 7415962"/>
                    <a:gd name="connsiteY433" fmla="*/ 1469536 h 1613833"/>
                    <a:gd name="connsiteX434" fmla="*/ 6228312 w 7415962"/>
                    <a:gd name="connsiteY434" fmla="*/ 1521540 h 1613833"/>
                    <a:gd name="connsiteX435" fmla="*/ 6353988 w 7415962"/>
                    <a:gd name="connsiteY435" fmla="*/ 1521540 h 1613833"/>
                    <a:gd name="connsiteX436" fmla="*/ 6353988 w 7415962"/>
                    <a:gd name="connsiteY436" fmla="*/ 1482537 h 1613833"/>
                    <a:gd name="connsiteX437" fmla="*/ 6398419 w 7415962"/>
                    <a:gd name="connsiteY437" fmla="*/ 1480156 h 1613833"/>
                    <a:gd name="connsiteX438" fmla="*/ 6400800 w 7415962"/>
                    <a:gd name="connsiteY438" fmla="*/ 1534540 h 1613833"/>
                    <a:gd name="connsiteX439" fmla="*/ 6448472 w 7415962"/>
                    <a:gd name="connsiteY439" fmla="*/ 1534540 h 1613833"/>
                    <a:gd name="connsiteX440" fmla="*/ 6448469 w 7415962"/>
                    <a:gd name="connsiteY440" fmla="*/ 1484490 h 1613833"/>
                    <a:gd name="connsiteX441" fmla="*/ 6488331 w 7415962"/>
                    <a:gd name="connsiteY441" fmla="*/ 1486870 h 1613833"/>
                    <a:gd name="connsiteX442" fmla="*/ 6488331 w 7415962"/>
                    <a:gd name="connsiteY442" fmla="*/ 1534540 h 1613833"/>
                    <a:gd name="connsiteX443" fmla="*/ 6562003 w 7415962"/>
                    <a:gd name="connsiteY443" fmla="*/ 1534540 h 1613833"/>
                    <a:gd name="connsiteX444" fmla="*/ 6566337 w 7415962"/>
                    <a:gd name="connsiteY444" fmla="*/ 1538874 h 1613833"/>
                    <a:gd name="connsiteX445" fmla="*/ 6675107 w 7415962"/>
                    <a:gd name="connsiteY445" fmla="*/ 1541255 h 1613833"/>
                    <a:gd name="connsiteX446" fmla="*/ 6677488 w 7415962"/>
                    <a:gd name="connsiteY446" fmla="*/ 1504205 h 1613833"/>
                    <a:gd name="connsiteX447" fmla="*/ 6739683 w 7415962"/>
                    <a:gd name="connsiteY447" fmla="*/ 1504205 h 1613833"/>
                    <a:gd name="connsiteX448" fmla="*/ 6739683 w 7415962"/>
                    <a:gd name="connsiteY448" fmla="*/ 1547541 h 1613833"/>
                    <a:gd name="connsiteX449" fmla="*/ 6796020 w 7415962"/>
                    <a:gd name="connsiteY449" fmla="*/ 1547541 h 1613833"/>
                    <a:gd name="connsiteX450" fmla="*/ 6796020 w 7415962"/>
                    <a:gd name="connsiteY450" fmla="*/ 1504205 h 1613833"/>
                    <a:gd name="connsiteX451" fmla="*/ 6830689 w 7415962"/>
                    <a:gd name="connsiteY451" fmla="*/ 1504205 h 1613833"/>
                    <a:gd name="connsiteX452" fmla="*/ 6830689 w 7415962"/>
                    <a:gd name="connsiteY452" fmla="*/ 1534540 h 1613833"/>
                    <a:gd name="connsiteX453" fmla="*/ 6848024 w 7415962"/>
                    <a:gd name="connsiteY453" fmla="*/ 1534540 h 1613833"/>
                    <a:gd name="connsiteX454" fmla="*/ 6848024 w 7415962"/>
                    <a:gd name="connsiteY454" fmla="*/ 1560542 h 1613833"/>
                    <a:gd name="connsiteX455" fmla="*/ 7051705 w 7415962"/>
                    <a:gd name="connsiteY455" fmla="*/ 1560542 h 1613833"/>
                    <a:gd name="connsiteX456" fmla="*/ 7064706 w 7415962"/>
                    <a:gd name="connsiteY456" fmla="*/ 1573543 h 1613833"/>
                    <a:gd name="connsiteX457" fmla="*/ 7134045 w 7415962"/>
                    <a:gd name="connsiteY457" fmla="*/ 1573543 h 1613833"/>
                    <a:gd name="connsiteX458" fmla="*/ 7134045 w 7415962"/>
                    <a:gd name="connsiteY458" fmla="*/ 1590878 h 1613833"/>
                    <a:gd name="connsiteX459" fmla="*/ 7285723 w 7415962"/>
                    <a:gd name="connsiteY459" fmla="*/ 1590878 h 1613833"/>
                    <a:gd name="connsiteX460" fmla="*/ 7285723 w 7415962"/>
                    <a:gd name="connsiteY460" fmla="*/ 1612546 h 1613833"/>
                    <a:gd name="connsiteX461" fmla="*/ 7415734 w 7415962"/>
                    <a:gd name="connsiteY461" fmla="*/ 1613833 h 1613833"/>
                    <a:gd name="connsiteX0" fmla="*/ 7415734 w 7415962"/>
                    <a:gd name="connsiteY0" fmla="*/ 1611452 h 1611452"/>
                    <a:gd name="connsiteX1" fmla="*/ 7415732 w 7415962"/>
                    <a:gd name="connsiteY1" fmla="*/ 1510491 h 1611452"/>
                    <a:gd name="connsiteX2" fmla="*/ 7272722 w 7415962"/>
                    <a:gd name="connsiteY2" fmla="*/ 1510491 h 1611452"/>
                    <a:gd name="connsiteX3" fmla="*/ 7271628 w 7415962"/>
                    <a:gd name="connsiteY3" fmla="*/ 1497490 h 1611452"/>
                    <a:gd name="connsiteX4" fmla="*/ 7155285 w 7415962"/>
                    <a:gd name="connsiteY4" fmla="*/ 1495109 h 1611452"/>
                    <a:gd name="connsiteX5" fmla="*/ 7152238 w 7415962"/>
                    <a:gd name="connsiteY5" fmla="*/ 1468249 h 1611452"/>
                    <a:gd name="connsiteX6" fmla="*/ 7038705 w 7415962"/>
                    <a:gd name="connsiteY6" fmla="*/ 1463487 h 1611452"/>
                    <a:gd name="connsiteX7" fmla="*/ 7038705 w 7415962"/>
                    <a:gd name="connsiteY7" fmla="*/ 1454154 h 1611452"/>
                    <a:gd name="connsiteX8" fmla="*/ 6874026 w 7415962"/>
                    <a:gd name="connsiteY8" fmla="*/ 1454154 h 1611452"/>
                    <a:gd name="connsiteX9" fmla="*/ 6874454 w 7415962"/>
                    <a:gd name="connsiteY9" fmla="*/ 1440296 h 1611452"/>
                    <a:gd name="connsiteX10" fmla="*/ 6826356 w 7415962"/>
                    <a:gd name="connsiteY10" fmla="*/ 1442676 h 1611452"/>
                    <a:gd name="connsiteX11" fmla="*/ 6826356 w 7415962"/>
                    <a:gd name="connsiteY11" fmla="*/ 1497490 h 1611452"/>
                    <a:gd name="connsiteX12" fmla="*/ 6787353 w 7415962"/>
                    <a:gd name="connsiteY12" fmla="*/ 1497490 h 1611452"/>
                    <a:gd name="connsiteX13" fmla="*/ 6787353 w 7415962"/>
                    <a:gd name="connsiteY13" fmla="*/ 1445487 h 1611452"/>
                    <a:gd name="connsiteX14" fmla="*/ 6739683 w 7415962"/>
                    <a:gd name="connsiteY14" fmla="*/ 1445487 h 1611452"/>
                    <a:gd name="connsiteX15" fmla="*/ 6739682 w 7415962"/>
                    <a:gd name="connsiteY15" fmla="*/ 1480156 h 1611452"/>
                    <a:gd name="connsiteX16" fmla="*/ 6679012 w 7415962"/>
                    <a:gd name="connsiteY16" fmla="*/ 1480156 h 1611452"/>
                    <a:gd name="connsiteX17" fmla="*/ 6679012 w 7415962"/>
                    <a:gd name="connsiteY17" fmla="*/ 1441153 h 1611452"/>
                    <a:gd name="connsiteX18" fmla="*/ 6562003 w 7415962"/>
                    <a:gd name="connsiteY18" fmla="*/ 1441153 h 1611452"/>
                    <a:gd name="connsiteX19" fmla="*/ 6556145 w 7415962"/>
                    <a:gd name="connsiteY19" fmla="*/ 1430533 h 1611452"/>
                    <a:gd name="connsiteX20" fmla="*/ 6483997 w 7415962"/>
                    <a:gd name="connsiteY20" fmla="*/ 1428152 h 1611452"/>
                    <a:gd name="connsiteX21" fmla="*/ 6483997 w 7415962"/>
                    <a:gd name="connsiteY21" fmla="*/ 1484489 h 1611452"/>
                    <a:gd name="connsiteX22" fmla="*/ 6452138 w 7415962"/>
                    <a:gd name="connsiteY22" fmla="*/ 1482108 h 1611452"/>
                    <a:gd name="connsiteX23" fmla="*/ 6449758 w 7415962"/>
                    <a:gd name="connsiteY23" fmla="*/ 1429676 h 1611452"/>
                    <a:gd name="connsiteX24" fmla="*/ 6398849 w 7415962"/>
                    <a:gd name="connsiteY24" fmla="*/ 1427294 h 1611452"/>
                    <a:gd name="connsiteX25" fmla="*/ 6398848 w 7415962"/>
                    <a:gd name="connsiteY25" fmla="*/ 1480156 h 1611452"/>
                    <a:gd name="connsiteX26" fmla="*/ 6358322 w 7415962"/>
                    <a:gd name="connsiteY26" fmla="*/ 1480156 h 1611452"/>
                    <a:gd name="connsiteX27" fmla="*/ 6358322 w 7415962"/>
                    <a:gd name="connsiteY27" fmla="*/ 1432486 h 1611452"/>
                    <a:gd name="connsiteX28" fmla="*/ 6223978 w 7415962"/>
                    <a:gd name="connsiteY28" fmla="*/ 1432486 h 1611452"/>
                    <a:gd name="connsiteX29" fmla="*/ 6223978 w 7415962"/>
                    <a:gd name="connsiteY29" fmla="*/ 1445487 h 1611452"/>
                    <a:gd name="connsiteX30" fmla="*/ 6193643 w 7415962"/>
                    <a:gd name="connsiteY30" fmla="*/ 1445487 h 1611452"/>
                    <a:gd name="connsiteX31" fmla="*/ 6193643 w 7415962"/>
                    <a:gd name="connsiteY31" fmla="*/ 1415151 h 1611452"/>
                    <a:gd name="connsiteX32" fmla="*/ 6119971 w 7415962"/>
                    <a:gd name="connsiteY32" fmla="*/ 1415151 h 1611452"/>
                    <a:gd name="connsiteX33" fmla="*/ 6119971 w 7415962"/>
                    <a:gd name="connsiteY33" fmla="*/ 1402150 h 1611452"/>
                    <a:gd name="connsiteX34" fmla="*/ 6072301 w 7415962"/>
                    <a:gd name="connsiteY34" fmla="*/ 1402150 h 1611452"/>
                    <a:gd name="connsiteX35" fmla="*/ 6072301 w 7415962"/>
                    <a:gd name="connsiteY35" fmla="*/ 1384815 h 1611452"/>
                    <a:gd name="connsiteX36" fmla="*/ 6050632 w 7415962"/>
                    <a:gd name="connsiteY36" fmla="*/ 1384815 h 1611452"/>
                    <a:gd name="connsiteX37" fmla="*/ 6050632 w 7415962"/>
                    <a:gd name="connsiteY37" fmla="*/ 1423818 h 1611452"/>
                    <a:gd name="connsiteX38" fmla="*/ 6020297 w 7415962"/>
                    <a:gd name="connsiteY38" fmla="*/ 1423818 h 1611452"/>
                    <a:gd name="connsiteX39" fmla="*/ 6020297 w 7415962"/>
                    <a:gd name="connsiteY39" fmla="*/ 1393483 h 1611452"/>
                    <a:gd name="connsiteX40" fmla="*/ 5959626 w 7415962"/>
                    <a:gd name="connsiteY40" fmla="*/ 1393483 h 1611452"/>
                    <a:gd name="connsiteX41" fmla="*/ 5959626 w 7415962"/>
                    <a:gd name="connsiteY41" fmla="*/ 1376148 h 1611452"/>
                    <a:gd name="connsiteX42" fmla="*/ 5920623 w 7415962"/>
                    <a:gd name="connsiteY42" fmla="*/ 1376148 h 1611452"/>
                    <a:gd name="connsiteX43" fmla="*/ 5920623 w 7415962"/>
                    <a:gd name="connsiteY43" fmla="*/ 1354480 h 1611452"/>
                    <a:gd name="connsiteX44" fmla="*/ 5825283 w 7415962"/>
                    <a:gd name="connsiteY44" fmla="*/ 1354480 h 1611452"/>
                    <a:gd name="connsiteX45" fmla="*/ 5825283 w 7415962"/>
                    <a:gd name="connsiteY45" fmla="*/ 1402150 h 1611452"/>
                    <a:gd name="connsiteX46" fmla="*/ 5790614 w 7415962"/>
                    <a:gd name="connsiteY46" fmla="*/ 1402150 h 1611452"/>
                    <a:gd name="connsiteX47" fmla="*/ 5790614 w 7415962"/>
                    <a:gd name="connsiteY47" fmla="*/ 1367481 h 1611452"/>
                    <a:gd name="connsiteX48" fmla="*/ 5699607 w 7415962"/>
                    <a:gd name="connsiteY48" fmla="*/ 1367481 h 1611452"/>
                    <a:gd name="connsiteX49" fmla="*/ 5699607 w 7415962"/>
                    <a:gd name="connsiteY49" fmla="*/ 1328478 h 1611452"/>
                    <a:gd name="connsiteX50" fmla="*/ 5656270 w 7415962"/>
                    <a:gd name="connsiteY50" fmla="*/ 1328478 h 1611452"/>
                    <a:gd name="connsiteX51" fmla="*/ 5656270 w 7415962"/>
                    <a:gd name="connsiteY51" fmla="*/ 1376148 h 1611452"/>
                    <a:gd name="connsiteX52" fmla="*/ 5612934 w 7415962"/>
                    <a:gd name="connsiteY52" fmla="*/ 1376148 h 1611452"/>
                    <a:gd name="connsiteX53" fmla="*/ 5612934 w 7415962"/>
                    <a:gd name="connsiteY53" fmla="*/ 1337145 h 1611452"/>
                    <a:gd name="connsiteX54" fmla="*/ 5513260 w 7415962"/>
                    <a:gd name="connsiteY54" fmla="*/ 1337145 h 1611452"/>
                    <a:gd name="connsiteX55" fmla="*/ 5513260 w 7415962"/>
                    <a:gd name="connsiteY55" fmla="*/ 1363147 h 1611452"/>
                    <a:gd name="connsiteX56" fmla="*/ 5469923 w 7415962"/>
                    <a:gd name="connsiteY56" fmla="*/ 1363147 h 1611452"/>
                    <a:gd name="connsiteX57" fmla="*/ 5469923 w 7415962"/>
                    <a:gd name="connsiteY57" fmla="*/ 1324144 h 1611452"/>
                    <a:gd name="connsiteX58" fmla="*/ 5361582 w 7415962"/>
                    <a:gd name="connsiteY58" fmla="*/ 1324144 h 1611452"/>
                    <a:gd name="connsiteX59" fmla="*/ 5361582 w 7415962"/>
                    <a:gd name="connsiteY59" fmla="*/ 1306810 h 1611452"/>
                    <a:gd name="connsiteX60" fmla="*/ 5300911 w 7415962"/>
                    <a:gd name="connsiteY60" fmla="*/ 1306810 h 1611452"/>
                    <a:gd name="connsiteX61" fmla="*/ 5292244 w 7415962"/>
                    <a:gd name="connsiteY61" fmla="*/ 1298143 h 1611452"/>
                    <a:gd name="connsiteX62" fmla="*/ 5188236 w 7415962"/>
                    <a:gd name="connsiteY62" fmla="*/ 1298143 h 1611452"/>
                    <a:gd name="connsiteX63" fmla="*/ 5188236 w 7415962"/>
                    <a:gd name="connsiteY63" fmla="*/ 1280808 h 1611452"/>
                    <a:gd name="connsiteX64" fmla="*/ 5046321 w 7415962"/>
                    <a:gd name="connsiteY64" fmla="*/ 1280808 h 1611452"/>
                    <a:gd name="connsiteX65" fmla="*/ 5049559 w 7415962"/>
                    <a:gd name="connsiteY65" fmla="*/ 1272140 h 1611452"/>
                    <a:gd name="connsiteX66" fmla="*/ 4923884 w 7415962"/>
                    <a:gd name="connsiteY66" fmla="*/ 1272140 h 1611452"/>
                    <a:gd name="connsiteX67" fmla="*/ 4927551 w 7415962"/>
                    <a:gd name="connsiteY67" fmla="*/ 1259139 h 1611452"/>
                    <a:gd name="connsiteX68" fmla="*/ 4703297 w 7415962"/>
                    <a:gd name="connsiteY68" fmla="*/ 1256757 h 1611452"/>
                    <a:gd name="connsiteX69" fmla="*/ 4695058 w 7415962"/>
                    <a:gd name="connsiteY69" fmla="*/ 1243756 h 1611452"/>
                    <a:gd name="connsiteX70" fmla="*/ 4675772 w 7415962"/>
                    <a:gd name="connsiteY70" fmla="*/ 1241376 h 1611452"/>
                    <a:gd name="connsiteX71" fmla="*/ 4662691 w 7415962"/>
                    <a:gd name="connsiteY71" fmla="*/ 1228953 h 1611452"/>
                    <a:gd name="connsiteX72" fmla="*/ 4656056 w 7415962"/>
                    <a:gd name="connsiteY72" fmla="*/ 1226423 h 1611452"/>
                    <a:gd name="connsiteX73" fmla="*/ 4633530 w 7415962"/>
                    <a:gd name="connsiteY73" fmla="*/ 1215803 h 1611452"/>
                    <a:gd name="connsiteX74" fmla="*/ 4490519 w 7415962"/>
                    <a:gd name="connsiteY74" fmla="*/ 1215803 h 1611452"/>
                    <a:gd name="connsiteX75" fmla="*/ 4490519 w 7415962"/>
                    <a:gd name="connsiteY75" fmla="*/ 1202802 h 1611452"/>
                    <a:gd name="connsiteX76" fmla="*/ 4447182 w 7415962"/>
                    <a:gd name="connsiteY76" fmla="*/ 1202802 h 1611452"/>
                    <a:gd name="connsiteX77" fmla="*/ 4444801 w 7415962"/>
                    <a:gd name="connsiteY77" fmla="*/ 1194993 h 1611452"/>
                    <a:gd name="connsiteX78" fmla="*/ 4422186 w 7415962"/>
                    <a:gd name="connsiteY78" fmla="*/ 1197996 h 1611452"/>
                    <a:gd name="connsiteX79" fmla="*/ 4424420 w 7415962"/>
                    <a:gd name="connsiteY79" fmla="*/ 1173561 h 1611452"/>
                    <a:gd name="connsiteX80" fmla="*/ 4394750 w 7415962"/>
                    <a:gd name="connsiteY80" fmla="*/ 1174848 h 1611452"/>
                    <a:gd name="connsiteX81" fmla="*/ 4395179 w 7415962"/>
                    <a:gd name="connsiteY81" fmla="*/ 1202802 h 1611452"/>
                    <a:gd name="connsiteX82" fmla="*/ 4360509 w 7415962"/>
                    <a:gd name="connsiteY82" fmla="*/ 1202802 h 1611452"/>
                    <a:gd name="connsiteX83" fmla="*/ 4360509 w 7415962"/>
                    <a:gd name="connsiteY83" fmla="*/ 1159466 h 1611452"/>
                    <a:gd name="connsiteX84" fmla="*/ 4330174 w 7415962"/>
                    <a:gd name="connsiteY84" fmla="*/ 1159466 h 1611452"/>
                    <a:gd name="connsiteX85" fmla="*/ 4321506 w 7415962"/>
                    <a:gd name="connsiteY85" fmla="*/ 1150798 h 1611452"/>
                    <a:gd name="connsiteX86" fmla="*/ 4156828 w 7415962"/>
                    <a:gd name="connsiteY86" fmla="*/ 1150798 h 1611452"/>
                    <a:gd name="connsiteX87" fmla="*/ 4155304 w 7415962"/>
                    <a:gd name="connsiteY87" fmla="*/ 1137367 h 1611452"/>
                    <a:gd name="connsiteX88" fmla="*/ 4068202 w 7415962"/>
                    <a:gd name="connsiteY88" fmla="*/ 1137368 h 1611452"/>
                    <a:gd name="connsiteX89" fmla="*/ 4065821 w 7415962"/>
                    <a:gd name="connsiteY89" fmla="*/ 1124796 h 1611452"/>
                    <a:gd name="connsiteX90" fmla="*/ 4048486 w 7415962"/>
                    <a:gd name="connsiteY90" fmla="*/ 1124796 h 1611452"/>
                    <a:gd name="connsiteX91" fmla="*/ 4048486 w 7415962"/>
                    <a:gd name="connsiteY91" fmla="*/ 1107462 h 1611452"/>
                    <a:gd name="connsiteX92" fmla="*/ 4026818 w 7415962"/>
                    <a:gd name="connsiteY92" fmla="*/ 1107462 h 1611452"/>
                    <a:gd name="connsiteX93" fmla="*/ 4026818 w 7415962"/>
                    <a:gd name="connsiteY93" fmla="*/ 1155132 h 1611452"/>
                    <a:gd name="connsiteX94" fmla="*/ 3992149 w 7415962"/>
                    <a:gd name="connsiteY94" fmla="*/ 1155132 h 1611452"/>
                    <a:gd name="connsiteX95" fmla="*/ 3992149 w 7415962"/>
                    <a:gd name="connsiteY95" fmla="*/ 1111796 h 1611452"/>
                    <a:gd name="connsiteX96" fmla="*/ 3961814 w 7415962"/>
                    <a:gd name="connsiteY96" fmla="*/ 1111796 h 1611452"/>
                    <a:gd name="connsiteX97" fmla="*/ 3955528 w 7415962"/>
                    <a:gd name="connsiteY97" fmla="*/ 1093603 h 1611452"/>
                    <a:gd name="connsiteX98" fmla="*/ 3731702 w 7415962"/>
                    <a:gd name="connsiteY98" fmla="*/ 1095985 h 1611452"/>
                    <a:gd name="connsiteX99" fmla="*/ 3733417 w 7415962"/>
                    <a:gd name="connsiteY99" fmla="*/ 1083412 h 1611452"/>
                    <a:gd name="connsiteX100" fmla="*/ 3586309 w 7415962"/>
                    <a:gd name="connsiteY100" fmla="*/ 1081031 h 1611452"/>
                    <a:gd name="connsiteX101" fmla="*/ 3585644 w 7415962"/>
                    <a:gd name="connsiteY101" fmla="*/ 1068460 h 1611452"/>
                    <a:gd name="connsiteX102" fmla="*/ 3441776 w 7415962"/>
                    <a:gd name="connsiteY102" fmla="*/ 1068460 h 1611452"/>
                    <a:gd name="connsiteX103" fmla="*/ 3441776 w 7415962"/>
                    <a:gd name="connsiteY103" fmla="*/ 1042457 h 1611452"/>
                    <a:gd name="connsiteX104" fmla="*/ 3320433 w 7415962"/>
                    <a:gd name="connsiteY104" fmla="*/ 1042457 h 1611452"/>
                    <a:gd name="connsiteX105" fmla="*/ 3320433 w 7415962"/>
                    <a:gd name="connsiteY105" fmla="*/ 1029456 h 1611452"/>
                    <a:gd name="connsiteX106" fmla="*/ 3181757 w 7415962"/>
                    <a:gd name="connsiteY106" fmla="*/ 1029456 h 1611452"/>
                    <a:gd name="connsiteX107" fmla="*/ 3181757 w 7415962"/>
                    <a:gd name="connsiteY107" fmla="*/ 1022504 h 1611452"/>
                    <a:gd name="connsiteX108" fmla="*/ 3164422 w 7415962"/>
                    <a:gd name="connsiteY108" fmla="*/ 1020789 h 1611452"/>
                    <a:gd name="connsiteX109" fmla="*/ 3151421 w 7415962"/>
                    <a:gd name="connsiteY109" fmla="*/ 1003026 h 1611452"/>
                    <a:gd name="connsiteX110" fmla="*/ 2991076 w 7415962"/>
                    <a:gd name="connsiteY110" fmla="*/ 1005407 h 1611452"/>
                    <a:gd name="connsiteX111" fmla="*/ 2991076 w 7415962"/>
                    <a:gd name="connsiteY111" fmla="*/ 990453 h 1611452"/>
                    <a:gd name="connsiteX112" fmla="*/ 2908737 w 7415962"/>
                    <a:gd name="connsiteY112" fmla="*/ 990453 h 1611452"/>
                    <a:gd name="connsiteX113" fmla="*/ 2900069 w 7415962"/>
                    <a:gd name="connsiteY113" fmla="*/ 981785 h 1611452"/>
                    <a:gd name="connsiteX114" fmla="*/ 2869734 w 7415962"/>
                    <a:gd name="connsiteY114" fmla="*/ 981785 h 1611452"/>
                    <a:gd name="connsiteX115" fmla="*/ 2869734 w 7415962"/>
                    <a:gd name="connsiteY115" fmla="*/ 955784 h 1611452"/>
                    <a:gd name="connsiteX116" fmla="*/ 2843732 w 7415962"/>
                    <a:gd name="connsiteY116" fmla="*/ 955784 h 1611452"/>
                    <a:gd name="connsiteX117" fmla="*/ 2835065 w 7415962"/>
                    <a:gd name="connsiteY117" fmla="*/ 947117 h 1611452"/>
                    <a:gd name="connsiteX118" fmla="*/ 2757059 w 7415962"/>
                    <a:gd name="connsiteY118" fmla="*/ 947117 h 1611452"/>
                    <a:gd name="connsiteX119" fmla="*/ 2748392 w 7415962"/>
                    <a:gd name="connsiteY119" fmla="*/ 938450 h 1611452"/>
                    <a:gd name="connsiteX120" fmla="*/ 2700722 w 7415962"/>
                    <a:gd name="connsiteY120" fmla="*/ 938450 h 1611452"/>
                    <a:gd name="connsiteX121" fmla="*/ 2689673 w 7415962"/>
                    <a:gd name="connsiteY121" fmla="*/ 927400 h 1611452"/>
                    <a:gd name="connsiteX122" fmla="*/ 2644384 w 7415962"/>
                    <a:gd name="connsiteY122" fmla="*/ 929782 h 1611452"/>
                    <a:gd name="connsiteX123" fmla="*/ 2638957 w 7415962"/>
                    <a:gd name="connsiteY123" fmla="*/ 912448 h 1611452"/>
                    <a:gd name="connsiteX124" fmla="*/ 2616859 w 7415962"/>
                    <a:gd name="connsiteY124" fmla="*/ 902257 h 1611452"/>
                    <a:gd name="connsiteX125" fmla="*/ 2592380 w 7415962"/>
                    <a:gd name="connsiteY125" fmla="*/ 877778 h 1611452"/>
                    <a:gd name="connsiteX126" fmla="*/ 2562045 w 7415962"/>
                    <a:gd name="connsiteY126" fmla="*/ 877778 h 1611452"/>
                    <a:gd name="connsiteX127" fmla="*/ 2553377 w 7415962"/>
                    <a:gd name="connsiteY127" fmla="*/ 869110 h 1611452"/>
                    <a:gd name="connsiteX128" fmla="*/ 2501374 w 7415962"/>
                    <a:gd name="connsiteY128" fmla="*/ 869110 h 1611452"/>
                    <a:gd name="connsiteX129" fmla="*/ 2501374 w 7415962"/>
                    <a:gd name="connsiteY129" fmla="*/ 851777 h 1611452"/>
                    <a:gd name="connsiteX130" fmla="*/ 2445036 w 7415962"/>
                    <a:gd name="connsiteY130" fmla="*/ 851777 h 1611452"/>
                    <a:gd name="connsiteX131" fmla="*/ 2436368 w 7415962"/>
                    <a:gd name="connsiteY131" fmla="*/ 843109 h 1611452"/>
                    <a:gd name="connsiteX132" fmla="*/ 2414701 w 7415962"/>
                    <a:gd name="connsiteY132" fmla="*/ 843109 h 1611452"/>
                    <a:gd name="connsiteX133" fmla="*/ 2401700 w 7415962"/>
                    <a:gd name="connsiteY133" fmla="*/ 830108 h 1611452"/>
                    <a:gd name="connsiteX134" fmla="*/ 2349696 w 7415962"/>
                    <a:gd name="connsiteY134" fmla="*/ 830108 h 1611452"/>
                    <a:gd name="connsiteX135" fmla="*/ 2349696 w 7415962"/>
                    <a:gd name="connsiteY135" fmla="*/ 812774 h 1611452"/>
                    <a:gd name="connsiteX136" fmla="*/ 2310693 w 7415962"/>
                    <a:gd name="connsiteY136" fmla="*/ 812774 h 1611452"/>
                    <a:gd name="connsiteX137" fmla="*/ 2304835 w 7415962"/>
                    <a:gd name="connsiteY137" fmla="*/ 832918 h 1611452"/>
                    <a:gd name="connsiteX138" fmla="*/ 2274501 w 7415962"/>
                    <a:gd name="connsiteY138" fmla="*/ 830537 h 1611452"/>
                    <a:gd name="connsiteX139" fmla="*/ 2273406 w 7415962"/>
                    <a:gd name="connsiteY139" fmla="*/ 803248 h 1611452"/>
                    <a:gd name="connsiteX140" fmla="*/ 2245688 w 7415962"/>
                    <a:gd name="connsiteY140" fmla="*/ 804106 h 1611452"/>
                    <a:gd name="connsiteX141" fmla="*/ 2245688 w 7415962"/>
                    <a:gd name="connsiteY141" fmla="*/ 778105 h 1611452"/>
                    <a:gd name="connsiteX142" fmla="*/ 2124346 w 7415962"/>
                    <a:gd name="connsiteY142" fmla="*/ 778105 h 1611452"/>
                    <a:gd name="connsiteX143" fmla="*/ 2124346 w 7415962"/>
                    <a:gd name="connsiteY143" fmla="*/ 747769 h 1611452"/>
                    <a:gd name="connsiteX144" fmla="*/ 2072342 w 7415962"/>
                    <a:gd name="connsiteY144" fmla="*/ 747769 h 1611452"/>
                    <a:gd name="connsiteX145" fmla="*/ 2063675 w 7415962"/>
                    <a:gd name="connsiteY145" fmla="*/ 739102 h 1611452"/>
                    <a:gd name="connsiteX146" fmla="*/ 2007338 w 7415962"/>
                    <a:gd name="connsiteY146" fmla="*/ 739102 h 1611452"/>
                    <a:gd name="connsiteX147" fmla="*/ 2007338 w 7415962"/>
                    <a:gd name="connsiteY147" fmla="*/ 717433 h 1611452"/>
                    <a:gd name="connsiteX148" fmla="*/ 1907664 w 7415962"/>
                    <a:gd name="connsiteY148" fmla="*/ 717433 h 1611452"/>
                    <a:gd name="connsiteX149" fmla="*/ 1903331 w 7415962"/>
                    <a:gd name="connsiteY149" fmla="*/ 713100 h 1611452"/>
                    <a:gd name="connsiteX150" fmla="*/ 1864327 w 7415962"/>
                    <a:gd name="connsiteY150" fmla="*/ 713100 h 1611452"/>
                    <a:gd name="connsiteX151" fmla="*/ 1864327 w 7415962"/>
                    <a:gd name="connsiteY151" fmla="*/ 682764 h 1611452"/>
                    <a:gd name="connsiteX152" fmla="*/ 1807990 w 7415962"/>
                    <a:gd name="connsiteY152" fmla="*/ 682764 h 1611452"/>
                    <a:gd name="connsiteX153" fmla="*/ 1808848 w 7415962"/>
                    <a:gd name="connsiteY153" fmla="*/ 674097 h 1611452"/>
                    <a:gd name="connsiteX154" fmla="*/ 1786322 w 7415962"/>
                    <a:gd name="connsiteY154" fmla="*/ 674097 h 1611452"/>
                    <a:gd name="connsiteX155" fmla="*/ 1786322 w 7415962"/>
                    <a:gd name="connsiteY155" fmla="*/ 661096 h 1611452"/>
                    <a:gd name="connsiteX156" fmla="*/ 1751652 w 7415962"/>
                    <a:gd name="connsiteY156" fmla="*/ 661096 h 1611452"/>
                    <a:gd name="connsiteX157" fmla="*/ 1751652 w 7415962"/>
                    <a:gd name="connsiteY157" fmla="*/ 639428 h 1611452"/>
                    <a:gd name="connsiteX158" fmla="*/ 1699649 w 7415962"/>
                    <a:gd name="connsiteY158" fmla="*/ 639428 h 1611452"/>
                    <a:gd name="connsiteX159" fmla="*/ 1699649 w 7415962"/>
                    <a:gd name="connsiteY159" fmla="*/ 613426 h 1611452"/>
                    <a:gd name="connsiteX160" fmla="*/ 1617309 w 7415962"/>
                    <a:gd name="connsiteY160" fmla="*/ 613426 h 1611452"/>
                    <a:gd name="connsiteX161" fmla="*/ 1604308 w 7415962"/>
                    <a:gd name="connsiteY161" fmla="*/ 600425 h 1611452"/>
                    <a:gd name="connsiteX162" fmla="*/ 1591307 w 7415962"/>
                    <a:gd name="connsiteY162" fmla="*/ 600425 h 1611452"/>
                    <a:gd name="connsiteX163" fmla="*/ 1578306 w 7415962"/>
                    <a:gd name="connsiteY163" fmla="*/ 587424 h 1611452"/>
                    <a:gd name="connsiteX164" fmla="*/ 1530636 w 7415962"/>
                    <a:gd name="connsiteY164" fmla="*/ 587424 h 1611452"/>
                    <a:gd name="connsiteX165" fmla="*/ 1530636 w 7415962"/>
                    <a:gd name="connsiteY165" fmla="*/ 578757 h 1611452"/>
                    <a:gd name="connsiteX166" fmla="*/ 1478632 w 7415962"/>
                    <a:gd name="connsiteY166" fmla="*/ 578757 h 1611452"/>
                    <a:gd name="connsiteX167" fmla="*/ 1478632 w 7415962"/>
                    <a:gd name="connsiteY167" fmla="*/ 561422 h 1611452"/>
                    <a:gd name="connsiteX168" fmla="*/ 1409294 w 7415962"/>
                    <a:gd name="connsiteY168" fmla="*/ 561422 h 1611452"/>
                    <a:gd name="connsiteX169" fmla="*/ 1396293 w 7415962"/>
                    <a:gd name="connsiteY169" fmla="*/ 548421 h 1611452"/>
                    <a:gd name="connsiteX170" fmla="*/ 1331288 w 7415962"/>
                    <a:gd name="connsiteY170" fmla="*/ 548421 h 1611452"/>
                    <a:gd name="connsiteX171" fmla="*/ 1331288 w 7415962"/>
                    <a:gd name="connsiteY171" fmla="*/ 531087 h 1611452"/>
                    <a:gd name="connsiteX172" fmla="*/ 1274951 w 7415962"/>
                    <a:gd name="connsiteY172" fmla="*/ 531087 h 1611452"/>
                    <a:gd name="connsiteX173" fmla="*/ 1274951 w 7415962"/>
                    <a:gd name="connsiteY173" fmla="*/ 509418 h 1611452"/>
                    <a:gd name="connsiteX174" fmla="*/ 1192612 w 7415962"/>
                    <a:gd name="connsiteY174" fmla="*/ 509418 h 1611452"/>
                    <a:gd name="connsiteX175" fmla="*/ 1175277 w 7415962"/>
                    <a:gd name="connsiteY175" fmla="*/ 509418 h 1611452"/>
                    <a:gd name="connsiteX176" fmla="*/ 1149275 w 7415962"/>
                    <a:gd name="connsiteY176" fmla="*/ 509418 h 1611452"/>
                    <a:gd name="connsiteX177" fmla="*/ 1149275 w 7415962"/>
                    <a:gd name="connsiteY177" fmla="*/ 483416 h 1611452"/>
                    <a:gd name="connsiteX178" fmla="*/ 1092938 w 7415962"/>
                    <a:gd name="connsiteY178" fmla="*/ 483416 h 1611452"/>
                    <a:gd name="connsiteX179" fmla="*/ 1092938 w 7415962"/>
                    <a:gd name="connsiteY179" fmla="*/ 470415 h 1611452"/>
                    <a:gd name="connsiteX180" fmla="*/ 1045268 w 7415962"/>
                    <a:gd name="connsiteY180" fmla="*/ 470415 h 1611452"/>
                    <a:gd name="connsiteX181" fmla="*/ 1045268 w 7415962"/>
                    <a:gd name="connsiteY181" fmla="*/ 440080 h 1611452"/>
                    <a:gd name="connsiteX182" fmla="*/ 988930 w 7415962"/>
                    <a:gd name="connsiteY182" fmla="*/ 440080 h 1611452"/>
                    <a:gd name="connsiteX183" fmla="*/ 975929 w 7415962"/>
                    <a:gd name="connsiteY183" fmla="*/ 427079 h 1611452"/>
                    <a:gd name="connsiteX184" fmla="*/ 954261 w 7415962"/>
                    <a:gd name="connsiteY184" fmla="*/ 427079 h 1611452"/>
                    <a:gd name="connsiteX185" fmla="*/ 945594 w 7415962"/>
                    <a:gd name="connsiteY185" fmla="*/ 418412 h 1611452"/>
                    <a:gd name="connsiteX186" fmla="*/ 893590 w 7415962"/>
                    <a:gd name="connsiteY186" fmla="*/ 418412 h 1611452"/>
                    <a:gd name="connsiteX187" fmla="*/ 893590 w 7415962"/>
                    <a:gd name="connsiteY187" fmla="*/ 396743 h 1611452"/>
                    <a:gd name="connsiteX188" fmla="*/ 867588 w 7415962"/>
                    <a:gd name="connsiteY188" fmla="*/ 396743 h 1611452"/>
                    <a:gd name="connsiteX189" fmla="*/ 858921 w 7415962"/>
                    <a:gd name="connsiteY189" fmla="*/ 388076 h 1611452"/>
                    <a:gd name="connsiteX190" fmla="*/ 754913 w 7415962"/>
                    <a:gd name="connsiteY190" fmla="*/ 388076 h 1611452"/>
                    <a:gd name="connsiteX191" fmla="*/ 754913 w 7415962"/>
                    <a:gd name="connsiteY191" fmla="*/ 362074 h 1611452"/>
                    <a:gd name="connsiteX192" fmla="*/ 724577 w 7415962"/>
                    <a:gd name="connsiteY192" fmla="*/ 362074 h 1611452"/>
                    <a:gd name="connsiteX193" fmla="*/ 724577 w 7415962"/>
                    <a:gd name="connsiteY193" fmla="*/ 344740 h 1611452"/>
                    <a:gd name="connsiteX194" fmla="*/ 659573 w 7415962"/>
                    <a:gd name="connsiteY194" fmla="*/ 344740 h 1611452"/>
                    <a:gd name="connsiteX195" fmla="*/ 650905 w 7415962"/>
                    <a:gd name="connsiteY195" fmla="*/ 336072 h 1611452"/>
                    <a:gd name="connsiteX196" fmla="*/ 629237 w 7415962"/>
                    <a:gd name="connsiteY196" fmla="*/ 336072 h 1611452"/>
                    <a:gd name="connsiteX197" fmla="*/ 629237 w 7415962"/>
                    <a:gd name="connsiteY197" fmla="*/ 318738 h 1611452"/>
                    <a:gd name="connsiteX198" fmla="*/ 598902 w 7415962"/>
                    <a:gd name="connsiteY198" fmla="*/ 318738 h 1611452"/>
                    <a:gd name="connsiteX199" fmla="*/ 598902 w 7415962"/>
                    <a:gd name="connsiteY199" fmla="*/ 297069 h 1611452"/>
                    <a:gd name="connsiteX200" fmla="*/ 577233 w 7415962"/>
                    <a:gd name="connsiteY200" fmla="*/ 297069 h 1611452"/>
                    <a:gd name="connsiteX201" fmla="*/ 577233 w 7415962"/>
                    <a:gd name="connsiteY201" fmla="*/ 284068 h 1611452"/>
                    <a:gd name="connsiteX202" fmla="*/ 555565 w 7415962"/>
                    <a:gd name="connsiteY202" fmla="*/ 284068 h 1611452"/>
                    <a:gd name="connsiteX203" fmla="*/ 555565 w 7415962"/>
                    <a:gd name="connsiteY203" fmla="*/ 271068 h 1611452"/>
                    <a:gd name="connsiteX204" fmla="*/ 490560 w 7415962"/>
                    <a:gd name="connsiteY204" fmla="*/ 271068 h 1611452"/>
                    <a:gd name="connsiteX205" fmla="*/ 490560 w 7415962"/>
                    <a:gd name="connsiteY205" fmla="*/ 245066 h 1611452"/>
                    <a:gd name="connsiteX206" fmla="*/ 455891 w 7415962"/>
                    <a:gd name="connsiteY206" fmla="*/ 245066 h 1611452"/>
                    <a:gd name="connsiteX207" fmla="*/ 455891 w 7415962"/>
                    <a:gd name="connsiteY207" fmla="*/ 219064 h 1611452"/>
                    <a:gd name="connsiteX208" fmla="*/ 438557 w 7415962"/>
                    <a:gd name="connsiteY208" fmla="*/ 219064 h 1611452"/>
                    <a:gd name="connsiteX209" fmla="*/ 438557 w 7415962"/>
                    <a:gd name="connsiteY209" fmla="*/ 188728 h 1611452"/>
                    <a:gd name="connsiteX210" fmla="*/ 408221 w 7415962"/>
                    <a:gd name="connsiteY210" fmla="*/ 188728 h 1611452"/>
                    <a:gd name="connsiteX211" fmla="*/ 408221 w 7415962"/>
                    <a:gd name="connsiteY211" fmla="*/ 175727 h 1611452"/>
                    <a:gd name="connsiteX212" fmla="*/ 373552 w 7415962"/>
                    <a:gd name="connsiteY212" fmla="*/ 175727 h 1611452"/>
                    <a:gd name="connsiteX213" fmla="*/ 373552 w 7415962"/>
                    <a:gd name="connsiteY213" fmla="*/ 154059 h 1611452"/>
                    <a:gd name="connsiteX214" fmla="*/ 356217 w 7415962"/>
                    <a:gd name="connsiteY214" fmla="*/ 154059 h 1611452"/>
                    <a:gd name="connsiteX215" fmla="*/ 356217 w 7415962"/>
                    <a:gd name="connsiteY215" fmla="*/ 141058 h 1611452"/>
                    <a:gd name="connsiteX216" fmla="*/ 304214 w 7415962"/>
                    <a:gd name="connsiteY216" fmla="*/ 141058 h 1611452"/>
                    <a:gd name="connsiteX217" fmla="*/ 304214 w 7415962"/>
                    <a:gd name="connsiteY217" fmla="*/ 97722 h 1611452"/>
                    <a:gd name="connsiteX218" fmla="*/ 269544 w 7415962"/>
                    <a:gd name="connsiteY218" fmla="*/ 97722 h 1611452"/>
                    <a:gd name="connsiteX219" fmla="*/ 269544 w 7415962"/>
                    <a:gd name="connsiteY219" fmla="*/ 84721 h 1611452"/>
                    <a:gd name="connsiteX220" fmla="*/ 234875 w 7415962"/>
                    <a:gd name="connsiteY220" fmla="*/ 84721 h 1611452"/>
                    <a:gd name="connsiteX221" fmla="*/ 234875 w 7415962"/>
                    <a:gd name="connsiteY221" fmla="*/ 50051 h 1611452"/>
                    <a:gd name="connsiteX222" fmla="*/ 208873 w 7415962"/>
                    <a:gd name="connsiteY222" fmla="*/ 50051 h 1611452"/>
                    <a:gd name="connsiteX223" fmla="*/ 208873 w 7415962"/>
                    <a:gd name="connsiteY223" fmla="*/ 41384 h 1611452"/>
                    <a:gd name="connsiteX224" fmla="*/ 156869 w 7415962"/>
                    <a:gd name="connsiteY224" fmla="*/ 41384 h 1611452"/>
                    <a:gd name="connsiteX225" fmla="*/ 156869 w 7415962"/>
                    <a:gd name="connsiteY225" fmla="*/ 28383 h 1611452"/>
                    <a:gd name="connsiteX226" fmla="*/ 122200 w 7415962"/>
                    <a:gd name="connsiteY226" fmla="*/ 28383 h 1611452"/>
                    <a:gd name="connsiteX227" fmla="*/ 122200 w 7415962"/>
                    <a:gd name="connsiteY227" fmla="*/ 2381 h 1611452"/>
                    <a:gd name="connsiteX228" fmla="*/ 68910 w 7415962"/>
                    <a:gd name="connsiteY228" fmla="*/ 0 h 1611452"/>
                    <a:gd name="connsiteX229" fmla="*/ 71291 w 7415962"/>
                    <a:gd name="connsiteY229" fmla="*/ 43337 h 1611452"/>
                    <a:gd name="connsiteX230" fmla="*/ 858 w 7415962"/>
                    <a:gd name="connsiteY230" fmla="*/ 45718 h 1611452"/>
                    <a:gd name="connsiteX231" fmla="*/ 0 w 7415962"/>
                    <a:gd name="connsiteY231" fmla="*/ 41813 h 1611452"/>
                    <a:gd name="connsiteX232" fmla="*/ 22526 w 7415962"/>
                    <a:gd name="connsiteY232" fmla="*/ 54385 h 1611452"/>
                    <a:gd name="connsiteX233" fmla="*/ 22526 w 7415962"/>
                    <a:gd name="connsiteY233" fmla="*/ 67386 h 1611452"/>
                    <a:gd name="connsiteX234" fmla="*/ 52862 w 7415962"/>
                    <a:gd name="connsiteY234" fmla="*/ 67386 h 1611452"/>
                    <a:gd name="connsiteX235" fmla="*/ 52862 w 7415962"/>
                    <a:gd name="connsiteY235" fmla="*/ 89054 h 1611452"/>
                    <a:gd name="connsiteX236" fmla="*/ 78864 w 7415962"/>
                    <a:gd name="connsiteY236" fmla="*/ 89054 h 1611452"/>
                    <a:gd name="connsiteX237" fmla="*/ 78864 w 7415962"/>
                    <a:gd name="connsiteY237" fmla="*/ 128057 h 1611452"/>
                    <a:gd name="connsiteX238" fmla="*/ 139535 w 7415962"/>
                    <a:gd name="connsiteY238" fmla="*/ 128057 h 1611452"/>
                    <a:gd name="connsiteX239" fmla="*/ 148202 w 7415962"/>
                    <a:gd name="connsiteY239" fmla="*/ 136724 h 1611452"/>
                    <a:gd name="connsiteX240" fmla="*/ 165537 w 7415962"/>
                    <a:gd name="connsiteY240" fmla="*/ 136724 h 1611452"/>
                    <a:gd name="connsiteX241" fmla="*/ 165537 w 7415962"/>
                    <a:gd name="connsiteY241" fmla="*/ 158393 h 1611452"/>
                    <a:gd name="connsiteX242" fmla="*/ 182871 w 7415962"/>
                    <a:gd name="connsiteY242" fmla="*/ 158393 h 1611452"/>
                    <a:gd name="connsiteX243" fmla="*/ 195872 w 7415962"/>
                    <a:gd name="connsiteY243" fmla="*/ 171394 h 1611452"/>
                    <a:gd name="connsiteX244" fmla="*/ 226208 w 7415962"/>
                    <a:gd name="connsiteY244" fmla="*/ 171394 h 1611452"/>
                    <a:gd name="connsiteX245" fmla="*/ 226208 w 7415962"/>
                    <a:gd name="connsiteY245" fmla="*/ 210396 h 1611452"/>
                    <a:gd name="connsiteX246" fmla="*/ 252210 w 7415962"/>
                    <a:gd name="connsiteY246" fmla="*/ 210396 h 1611452"/>
                    <a:gd name="connsiteX247" fmla="*/ 260877 w 7415962"/>
                    <a:gd name="connsiteY247" fmla="*/ 219063 h 1611452"/>
                    <a:gd name="connsiteX248" fmla="*/ 273879 w 7415962"/>
                    <a:gd name="connsiteY248" fmla="*/ 232065 h 1611452"/>
                    <a:gd name="connsiteX249" fmla="*/ 273879 w 7415962"/>
                    <a:gd name="connsiteY249" fmla="*/ 253733 h 1611452"/>
                    <a:gd name="connsiteX250" fmla="*/ 304214 w 7415962"/>
                    <a:gd name="connsiteY250" fmla="*/ 253733 h 1611452"/>
                    <a:gd name="connsiteX251" fmla="*/ 304214 w 7415962"/>
                    <a:gd name="connsiteY251" fmla="*/ 271068 h 1611452"/>
                    <a:gd name="connsiteX252" fmla="*/ 343216 w 7415962"/>
                    <a:gd name="connsiteY252" fmla="*/ 271068 h 1611452"/>
                    <a:gd name="connsiteX253" fmla="*/ 343216 w 7415962"/>
                    <a:gd name="connsiteY253" fmla="*/ 288402 h 1611452"/>
                    <a:gd name="connsiteX254" fmla="*/ 386553 w 7415962"/>
                    <a:gd name="connsiteY254" fmla="*/ 288402 h 1611452"/>
                    <a:gd name="connsiteX255" fmla="*/ 386553 w 7415962"/>
                    <a:gd name="connsiteY255" fmla="*/ 288402 h 1611452"/>
                    <a:gd name="connsiteX256" fmla="*/ 408221 w 7415962"/>
                    <a:gd name="connsiteY256" fmla="*/ 310070 h 1611452"/>
                    <a:gd name="connsiteX257" fmla="*/ 425556 w 7415962"/>
                    <a:gd name="connsiteY257" fmla="*/ 327405 h 1611452"/>
                    <a:gd name="connsiteX258" fmla="*/ 473226 w 7415962"/>
                    <a:gd name="connsiteY258" fmla="*/ 327405 h 1611452"/>
                    <a:gd name="connsiteX259" fmla="*/ 473226 w 7415962"/>
                    <a:gd name="connsiteY259" fmla="*/ 357741 h 1611452"/>
                    <a:gd name="connsiteX260" fmla="*/ 512229 w 7415962"/>
                    <a:gd name="connsiteY260" fmla="*/ 357741 h 1611452"/>
                    <a:gd name="connsiteX261" fmla="*/ 512229 w 7415962"/>
                    <a:gd name="connsiteY261" fmla="*/ 379409 h 1611452"/>
                    <a:gd name="connsiteX262" fmla="*/ 559899 w 7415962"/>
                    <a:gd name="connsiteY262" fmla="*/ 379409 h 1611452"/>
                    <a:gd name="connsiteX263" fmla="*/ 559899 w 7415962"/>
                    <a:gd name="connsiteY263" fmla="*/ 401077 h 1611452"/>
                    <a:gd name="connsiteX264" fmla="*/ 590234 w 7415962"/>
                    <a:gd name="connsiteY264" fmla="*/ 401077 h 1611452"/>
                    <a:gd name="connsiteX265" fmla="*/ 603235 w 7415962"/>
                    <a:gd name="connsiteY265" fmla="*/ 414078 h 1611452"/>
                    <a:gd name="connsiteX266" fmla="*/ 650905 w 7415962"/>
                    <a:gd name="connsiteY266" fmla="*/ 414078 h 1611452"/>
                    <a:gd name="connsiteX267" fmla="*/ 650905 w 7415962"/>
                    <a:gd name="connsiteY267" fmla="*/ 453081 h 1611452"/>
                    <a:gd name="connsiteX268" fmla="*/ 759247 w 7415962"/>
                    <a:gd name="connsiteY268" fmla="*/ 453081 h 1611452"/>
                    <a:gd name="connsiteX269" fmla="*/ 759247 w 7415962"/>
                    <a:gd name="connsiteY269" fmla="*/ 483416 h 1611452"/>
                    <a:gd name="connsiteX270" fmla="*/ 876255 w 7415962"/>
                    <a:gd name="connsiteY270" fmla="*/ 483416 h 1611452"/>
                    <a:gd name="connsiteX271" fmla="*/ 876255 w 7415962"/>
                    <a:gd name="connsiteY271" fmla="*/ 509418 h 1611452"/>
                    <a:gd name="connsiteX272" fmla="*/ 928259 w 7415962"/>
                    <a:gd name="connsiteY272" fmla="*/ 509418 h 1611452"/>
                    <a:gd name="connsiteX273" fmla="*/ 928259 w 7415962"/>
                    <a:gd name="connsiteY273" fmla="*/ 526753 h 1611452"/>
                    <a:gd name="connsiteX274" fmla="*/ 980263 w 7415962"/>
                    <a:gd name="connsiteY274" fmla="*/ 526753 h 1611452"/>
                    <a:gd name="connsiteX275" fmla="*/ 993264 w 7415962"/>
                    <a:gd name="connsiteY275" fmla="*/ 526753 h 1611452"/>
                    <a:gd name="connsiteX276" fmla="*/ 1006265 w 7415962"/>
                    <a:gd name="connsiteY276" fmla="*/ 539754 h 1611452"/>
                    <a:gd name="connsiteX277" fmla="*/ 1023170 w 7415962"/>
                    <a:gd name="connsiteY277" fmla="*/ 546897 h 1611452"/>
                    <a:gd name="connsiteX278" fmla="*/ 1058268 w 7415962"/>
                    <a:gd name="connsiteY278" fmla="*/ 551660 h 1611452"/>
                    <a:gd name="connsiteX279" fmla="*/ 1058268 w 7415962"/>
                    <a:gd name="connsiteY279" fmla="*/ 565756 h 1611452"/>
                    <a:gd name="connsiteX280" fmla="*/ 1079937 w 7415962"/>
                    <a:gd name="connsiteY280" fmla="*/ 565756 h 1611452"/>
                    <a:gd name="connsiteX281" fmla="*/ 1079937 w 7415962"/>
                    <a:gd name="connsiteY281" fmla="*/ 578757 h 1611452"/>
                    <a:gd name="connsiteX282" fmla="*/ 1157942 w 7415962"/>
                    <a:gd name="connsiteY282" fmla="*/ 578757 h 1611452"/>
                    <a:gd name="connsiteX283" fmla="*/ 1157942 w 7415962"/>
                    <a:gd name="connsiteY283" fmla="*/ 591758 h 1611452"/>
                    <a:gd name="connsiteX284" fmla="*/ 1196945 w 7415962"/>
                    <a:gd name="connsiteY284" fmla="*/ 591758 h 1611452"/>
                    <a:gd name="connsiteX285" fmla="*/ 1196945 w 7415962"/>
                    <a:gd name="connsiteY285" fmla="*/ 600425 h 1611452"/>
                    <a:gd name="connsiteX286" fmla="*/ 1244615 w 7415962"/>
                    <a:gd name="connsiteY286" fmla="*/ 600425 h 1611452"/>
                    <a:gd name="connsiteX287" fmla="*/ 1257616 w 7415962"/>
                    <a:gd name="connsiteY287" fmla="*/ 613426 h 1611452"/>
                    <a:gd name="connsiteX288" fmla="*/ 1270617 w 7415962"/>
                    <a:gd name="connsiteY288" fmla="*/ 626427 h 1611452"/>
                    <a:gd name="connsiteX289" fmla="*/ 1335622 w 7415962"/>
                    <a:gd name="connsiteY289" fmla="*/ 626427 h 1611452"/>
                    <a:gd name="connsiteX290" fmla="*/ 1335622 w 7415962"/>
                    <a:gd name="connsiteY290" fmla="*/ 648095 h 1611452"/>
                    <a:gd name="connsiteX291" fmla="*/ 1426629 w 7415962"/>
                    <a:gd name="connsiteY291" fmla="*/ 648095 h 1611452"/>
                    <a:gd name="connsiteX292" fmla="*/ 1435296 w 7415962"/>
                    <a:gd name="connsiteY292" fmla="*/ 656762 h 1611452"/>
                    <a:gd name="connsiteX293" fmla="*/ 1456964 w 7415962"/>
                    <a:gd name="connsiteY293" fmla="*/ 656762 h 1611452"/>
                    <a:gd name="connsiteX294" fmla="*/ 1456964 w 7415962"/>
                    <a:gd name="connsiteY294" fmla="*/ 669763 h 1611452"/>
                    <a:gd name="connsiteX295" fmla="*/ 1508968 w 7415962"/>
                    <a:gd name="connsiteY295" fmla="*/ 669763 h 1611452"/>
                    <a:gd name="connsiteX296" fmla="*/ 1508968 w 7415962"/>
                    <a:gd name="connsiteY296" fmla="*/ 687098 h 1611452"/>
                    <a:gd name="connsiteX297" fmla="*/ 1565305 w 7415962"/>
                    <a:gd name="connsiteY297" fmla="*/ 687098 h 1611452"/>
                    <a:gd name="connsiteX298" fmla="*/ 1572020 w 7415962"/>
                    <a:gd name="connsiteY298" fmla="*/ 696195 h 1611452"/>
                    <a:gd name="connsiteX299" fmla="*/ 1610595 w 7415962"/>
                    <a:gd name="connsiteY299" fmla="*/ 698575 h 1611452"/>
                    <a:gd name="connsiteX300" fmla="*/ 1628358 w 7415962"/>
                    <a:gd name="connsiteY300" fmla="*/ 711577 h 1611452"/>
                    <a:gd name="connsiteX301" fmla="*/ 1677980 w 7415962"/>
                    <a:gd name="connsiteY301" fmla="*/ 711577 h 1611452"/>
                    <a:gd name="connsiteX302" fmla="*/ 1679504 w 7415962"/>
                    <a:gd name="connsiteY302" fmla="*/ 725008 h 1611452"/>
                    <a:gd name="connsiteX303" fmla="*/ 1703981 w 7415962"/>
                    <a:gd name="connsiteY303" fmla="*/ 730434 h 1611452"/>
                    <a:gd name="connsiteX304" fmla="*/ 1716982 w 7415962"/>
                    <a:gd name="connsiteY304" fmla="*/ 743435 h 1611452"/>
                    <a:gd name="connsiteX305" fmla="*/ 1751652 w 7415962"/>
                    <a:gd name="connsiteY305" fmla="*/ 748197 h 1611452"/>
                    <a:gd name="connsiteX306" fmla="*/ 1751652 w 7415962"/>
                    <a:gd name="connsiteY306" fmla="*/ 769437 h 1611452"/>
                    <a:gd name="connsiteX307" fmla="*/ 1799323 w 7415962"/>
                    <a:gd name="connsiteY307" fmla="*/ 769437 h 1611452"/>
                    <a:gd name="connsiteX308" fmla="*/ 1799323 w 7415962"/>
                    <a:gd name="connsiteY308" fmla="*/ 782438 h 1611452"/>
                    <a:gd name="connsiteX309" fmla="*/ 1842659 w 7415962"/>
                    <a:gd name="connsiteY309" fmla="*/ 782438 h 1611452"/>
                    <a:gd name="connsiteX310" fmla="*/ 1842659 w 7415962"/>
                    <a:gd name="connsiteY310" fmla="*/ 799773 h 1611452"/>
                    <a:gd name="connsiteX311" fmla="*/ 1877328 w 7415962"/>
                    <a:gd name="connsiteY311" fmla="*/ 799773 h 1611452"/>
                    <a:gd name="connsiteX312" fmla="*/ 1888378 w 7415962"/>
                    <a:gd name="connsiteY312" fmla="*/ 815585 h 1611452"/>
                    <a:gd name="connsiteX313" fmla="*/ 1961620 w 7415962"/>
                    <a:gd name="connsiteY313" fmla="*/ 815585 h 1611452"/>
                    <a:gd name="connsiteX314" fmla="*/ 2007338 w 7415962"/>
                    <a:gd name="connsiteY314" fmla="*/ 815585 h 1611452"/>
                    <a:gd name="connsiteX315" fmla="*/ 2007597 w 7415962"/>
                    <a:gd name="connsiteY315" fmla="*/ 828902 h 1611452"/>
                    <a:gd name="connsiteX316" fmla="*/ 2045697 w 7415962"/>
                    <a:gd name="connsiteY316" fmla="*/ 831283 h 1611452"/>
                    <a:gd name="connsiteX317" fmla="*/ 2049580 w 7415962"/>
                    <a:gd name="connsiteY317" fmla="*/ 853064 h 1611452"/>
                    <a:gd name="connsiteX318" fmla="*/ 2109393 w 7415962"/>
                    <a:gd name="connsiteY318" fmla="*/ 850682 h 1611452"/>
                    <a:gd name="connsiteX319" fmla="*/ 2107012 w 7415962"/>
                    <a:gd name="connsiteY319" fmla="*/ 864777 h 1611452"/>
                    <a:gd name="connsiteX320" fmla="*/ 2120013 w 7415962"/>
                    <a:gd name="connsiteY320" fmla="*/ 864777 h 1611452"/>
                    <a:gd name="connsiteX321" fmla="*/ 2137347 w 7415962"/>
                    <a:gd name="connsiteY321" fmla="*/ 864777 h 1611452"/>
                    <a:gd name="connsiteX322" fmla="*/ 2185017 w 7415962"/>
                    <a:gd name="connsiteY322" fmla="*/ 864777 h 1611452"/>
                    <a:gd name="connsiteX323" fmla="*/ 2185017 w 7415962"/>
                    <a:gd name="connsiteY323" fmla="*/ 890779 h 1611452"/>
                    <a:gd name="connsiteX324" fmla="*/ 2201112 w 7415962"/>
                    <a:gd name="connsiteY324" fmla="*/ 886017 h 1611452"/>
                    <a:gd name="connsiteX325" fmla="*/ 2241591 w 7415962"/>
                    <a:gd name="connsiteY325" fmla="*/ 883635 h 1611452"/>
                    <a:gd name="connsiteX326" fmla="*/ 2240960 w 7415962"/>
                    <a:gd name="connsiteY326" fmla="*/ 917007 h 1611452"/>
                    <a:gd name="connsiteX327" fmla="*/ 2266498 w 7415962"/>
                    <a:gd name="connsiteY327" fmla="*/ 918260 h 1611452"/>
                    <a:gd name="connsiteX328" fmla="*/ 2267154 w 7415962"/>
                    <a:gd name="connsiteY328" fmla="*/ 881289 h 1611452"/>
                    <a:gd name="connsiteX329" fmla="*/ 2294883 w 7415962"/>
                    <a:gd name="connsiteY329" fmla="*/ 880161 h 1611452"/>
                    <a:gd name="connsiteX330" fmla="*/ 2294883 w 7415962"/>
                    <a:gd name="connsiteY330" fmla="*/ 914399 h 1611452"/>
                    <a:gd name="connsiteX331" fmla="*/ 2336695 w 7415962"/>
                    <a:gd name="connsiteY331" fmla="*/ 916781 h 1611452"/>
                    <a:gd name="connsiteX332" fmla="*/ 2336695 w 7415962"/>
                    <a:gd name="connsiteY332" fmla="*/ 925449 h 1611452"/>
                    <a:gd name="connsiteX333" fmla="*/ 2401700 w 7415962"/>
                    <a:gd name="connsiteY333" fmla="*/ 925449 h 1611452"/>
                    <a:gd name="connsiteX334" fmla="*/ 2401700 w 7415962"/>
                    <a:gd name="connsiteY334" fmla="*/ 938450 h 1611452"/>
                    <a:gd name="connsiteX335" fmla="*/ 2440703 w 7415962"/>
                    <a:gd name="connsiteY335" fmla="*/ 938450 h 1611452"/>
                    <a:gd name="connsiteX336" fmla="*/ 2453704 w 7415962"/>
                    <a:gd name="connsiteY336" fmla="*/ 951451 h 1611452"/>
                    <a:gd name="connsiteX337" fmla="*/ 2501374 w 7415962"/>
                    <a:gd name="connsiteY337" fmla="*/ 951451 h 1611452"/>
                    <a:gd name="connsiteX338" fmla="*/ 2514375 w 7415962"/>
                    <a:gd name="connsiteY338" fmla="*/ 964452 h 1611452"/>
                    <a:gd name="connsiteX339" fmla="*/ 2544710 w 7415962"/>
                    <a:gd name="connsiteY339" fmla="*/ 964452 h 1611452"/>
                    <a:gd name="connsiteX340" fmla="*/ 2544710 w 7415962"/>
                    <a:gd name="connsiteY340" fmla="*/ 981786 h 1611452"/>
                    <a:gd name="connsiteX341" fmla="*/ 2592380 w 7415962"/>
                    <a:gd name="connsiteY341" fmla="*/ 981786 h 1611452"/>
                    <a:gd name="connsiteX342" fmla="*/ 2592380 w 7415962"/>
                    <a:gd name="connsiteY342" fmla="*/ 1003454 h 1611452"/>
                    <a:gd name="connsiteX343" fmla="*/ 2640050 w 7415962"/>
                    <a:gd name="connsiteY343" fmla="*/ 1003454 h 1611452"/>
                    <a:gd name="connsiteX344" fmla="*/ 2640050 w 7415962"/>
                    <a:gd name="connsiteY344" fmla="*/ 1025123 h 1611452"/>
                    <a:gd name="connsiteX345" fmla="*/ 2700722 w 7415962"/>
                    <a:gd name="connsiteY345" fmla="*/ 1025123 h 1611452"/>
                    <a:gd name="connsiteX346" fmla="*/ 2700722 w 7415962"/>
                    <a:gd name="connsiteY346" fmla="*/ 1042457 h 1611452"/>
                    <a:gd name="connsiteX347" fmla="*/ 2809063 w 7415962"/>
                    <a:gd name="connsiteY347" fmla="*/ 1042457 h 1611452"/>
                    <a:gd name="connsiteX348" fmla="*/ 2817730 w 7415962"/>
                    <a:gd name="connsiteY348" fmla="*/ 1051124 h 1611452"/>
                    <a:gd name="connsiteX349" fmla="*/ 2826398 w 7415962"/>
                    <a:gd name="connsiteY349" fmla="*/ 1059792 h 1611452"/>
                    <a:gd name="connsiteX350" fmla="*/ 2865400 w 7415962"/>
                    <a:gd name="connsiteY350" fmla="*/ 1059792 h 1611452"/>
                    <a:gd name="connsiteX351" fmla="*/ 2887068 w 7415962"/>
                    <a:gd name="connsiteY351" fmla="*/ 1059792 h 1611452"/>
                    <a:gd name="connsiteX352" fmla="*/ 2900069 w 7415962"/>
                    <a:gd name="connsiteY352" fmla="*/ 1059792 h 1611452"/>
                    <a:gd name="connsiteX353" fmla="*/ 2917404 w 7415962"/>
                    <a:gd name="connsiteY353" fmla="*/ 1077127 h 1611452"/>
                    <a:gd name="connsiteX354" fmla="*/ 2969408 w 7415962"/>
                    <a:gd name="connsiteY354" fmla="*/ 1077127 h 1611452"/>
                    <a:gd name="connsiteX355" fmla="*/ 2969408 w 7415962"/>
                    <a:gd name="connsiteY355" fmla="*/ 1094461 h 1611452"/>
                    <a:gd name="connsiteX356" fmla="*/ 3135610 w 7415962"/>
                    <a:gd name="connsiteY356" fmla="*/ 1096843 h 1611452"/>
                    <a:gd name="connsiteX357" fmla="*/ 3135611 w 7415962"/>
                    <a:gd name="connsiteY357" fmla="*/ 1124795 h 1611452"/>
                    <a:gd name="connsiteX358" fmla="*/ 3212092 w 7415962"/>
                    <a:gd name="connsiteY358" fmla="*/ 1124796 h 1611452"/>
                    <a:gd name="connsiteX359" fmla="*/ 3216426 w 7415962"/>
                    <a:gd name="connsiteY359" fmla="*/ 1124796 h 1611452"/>
                    <a:gd name="connsiteX360" fmla="*/ 3303099 w 7415962"/>
                    <a:gd name="connsiteY360" fmla="*/ 1127177 h 1611452"/>
                    <a:gd name="connsiteX361" fmla="*/ 3303099 w 7415962"/>
                    <a:gd name="connsiteY361" fmla="*/ 1143654 h 1611452"/>
                    <a:gd name="connsiteX362" fmla="*/ 3396916 w 7415962"/>
                    <a:gd name="connsiteY362" fmla="*/ 1143654 h 1611452"/>
                    <a:gd name="connsiteX363" fmla="*/ 3396915 w 7415962"/>
                    <a:gd name="connsiteY363" fmla="*/ 1157084 h 1611452"/>
                    <a:gd name="connsiteX364" fmla="*/ 3446109 w 7415962"/>
                    <a:gd name="connsiteY364" fmla="*/ 1159466 h 1611452"/>
                    <a:gd name="connsiteX365" fmla="*/ 3445253 w 7415962"/>
                    <a:gd name="connsiteY365" fmla="*/ 1168134 h 1611452"/>
                    <a:gd name="connsiteX366" fmla="*/ 3597787 w 7415962"/>
                    <a:gd name="connsiteY366" fmla="*/ 1168134 h 1611452"/>
                    <a:gd name="connsiteX367" fmla="*/ 3597787 w 7415962"/>
                    <a:gd name="connsiteY367" fmla="*/ 1181134 h 1611452"/>
                    <a:gd name="connsiteX368" fmla="*/ 3706128 w 7415962"/>
                    <a:gd name="connsiteY368" fmla="*/ 1181134 h 1611452"/>
                    <a:gd name="connsiteX369" fmla="*/ 3710462 w 7415962"/>
                    <a:gd name="connsiteY369" fmla="*/ 1185468 h 1611452"/>
                    <a:gd name="connsiteX370" fmla="*/ 3964195 w 7415962"/>
                    <a:gd name="connsiteY370" fmla="*/ 1190230 h 1611452"/>
                    <a:gd name="connsiteX371" fmla="*/ 3961814 w 7415962"/>
                    <a:gd name="connsiteY371" fmla="*/ 1207136 h 1611452"/>
                    <a:gd name="connsiteX372" fmla="*/ 3992149 w 7415962"/>
                    <a:gd name="connsiteY372" fmla="*/ 1207136 h 1611452"/>
                    <a:gd name="connsiteX373" fmla="*/ 3992149 w 7415962"/>
                    <a:gd name="connsiteY373" fmla="*/ 1181134 h 1611452"/>
                    <a:gd name="connsiteX374" fmla="*/ 4031152 w 7415962"/>
                    <a:gd name="connsiteY374" fmla="*/ 1181134 h 1611452"/>
                    <a:gd name="connsiteX375" fmla="*/ 4031152 w 7415962"/>
                    <a:gd name="connsiteY375" fmla="*/ 1215803 h 1611452"/>
                    <a:gd name="connsiteX376" fmla="*/ 4044153 w 7415962"/>
                    <a:gd name="connsiteY376" fmla="*/ 1215803 h 1611452"/>
                    <a:gd name="connsiteX377" fmla="*/ 4044153 w 7415962"/>
                    <a:gd name="connsiteY377" fmla="*/ 1224470 h 1611452"/>
                    <a:gd name="connsiteX378" fmla="*/ 4165495 w 7415962"/>
                    <a:gd name="connsiteY378" fmla="*/ 1224470 h 1611452"/>
                    <a:gd name="connsiteX379" fmla="*/ 4165495 w 7415962"/>
                    <a:gd name="connsiteY379" fmla="*/ 1246139 h 1611452"/>
                    <a:gd name="connsiteX380" fmla="*/ 4321506 w 7415962"/>
                    <a:gd name="connsiteY380" fmla="*/ 1246139 h 1611452"/>
                    <a:gd name="connsiteX381" fmla="*/ 4321506 w 7415962"/>
                    <a:gd name="connsiteY381" fmla="*/ 1263473 h 1611452"/>
                    <a:gd name="connsiteX382" fmla="*/ 4399512 w 7415962"/>
                    <a:gd name="connsiteY382" fmla="*/ 1263473 h 1611452"/>
                    <a:gd name="connsiteX383" fmla="*/ 4399512 w 7415962"/>
                    <a:gd name="connsiteY383" fmla="*/ 1289475 h 1611452"/>
                    <a:gd name="connsiteX384" fmla="*/ 4451516 w 7415962"/>
                    <a:gd name="connsiteY384" fmla="*/ 1289475 h 1611452"/>
                    <a:gd name="connsiteX385" fmla="*/ 4477518 w 7415962"/>
                    <a:gd name="connsiteY385" fmla="*/ 1289475 h 1611452"/>
                    <a:gd name="connsiteX386" fmla="*/ 4499186 w 7415962"/>
                    <a:gd name="connsiteY386" fmla="*/ 1311143 h 1611452"/>
                    <a:gd name="connsiteX387" fmla="*/ 4594526 w 7415962"/>
                    <a:gd name="connsiteY387" fmla="*/ 1311143 h 1611452"/>
                    <a:gd name="connsiteX388" fmla="*/ 4598431 w 7415962"/>
                    <a:gd name="connsiteY388" fmla="*/ 1319811 h 1611452"/>
                    <a:gd name="connsiteX389" fmla="*/ 4663865 w 7415962"/>
                    <a:gd name="connsiteY389" fmla="*/ 1319811 h 1611452"/>
                    <a:gd name="connsiteX390" fmla="*/ 4663865 w 7415962"/>
                    <a:gd name="connsiteY390" fmla="*/ 1341479 h 1611452"/>
                    <a:gd name="connsiteX391" fmla="*/ 4707201 w 7415962"/>
                    <a:gd name="connsiteY391" fmla="*/ 1341479 h 1611452"/>
                    <a:gd name="connsiteX392" fmla="*/ 4711535 w 7415962"/>
                    <a:gd name="connsiteY392" fmla="*/ 1345813 h 1611452"/>
                    <a:gd name="connsiteX393" fmla="*/ 4767872 w 7415962"/>
                    <a:gd name="connsiteY393" fmla="*/ 1345813 h 1611452"/>
                    <a:gd name="connsiteX394" fmla="*/ 4766585 w 7415962"/>
                    <a:gd name="connsiteY394" fmla="*/ 1361195 h 1611452"/>
                    <a:gd name="connsiteX395" fmla="*/ 5006223 w 7415962"/>
                    <a:gd name="connsiteY395" fmla="*/ 1358814 h 1611452"/>
                    <a:gd name="connsiteX396" fmla="*/ 5019224 w 7415962"/>
                    <a:gd name="connsiteY396" fmla="*/ 1371815 h 1611452"/>
                    <a:gd name="connsiteX397" fmla="*/ 5153567 w 7415962"/>
                    <a:gd name="connsiteY397" fmla="*/ 1371815 h 1611452"/>
                    <a:gd name="connsiteX398" fmla="*/ 5153567 w 7415962"/>
                    <a:gd name="connsiteY398" fmla="*/ 1393483 h 1611452"/>
                    <a:gd name="connsiteX399" fmla="*/ 5283577 w 7415962"/>
                    <a:gd name="connsiteY399" fmla="*/ 1393483 h 1611452"/>
                    <a:gd name="connsiteX400" fmla="*/ 5292244 w 7415962"/>
                    <a:gd name="connsiteY400" fmla="*/ 1402150 h 1611452"/>
                    <a:gd name="connsiteX401" fmla="*/ 5357249 w 7415962"/>
                    <a:gd name="connsiteY401" fmla="*/ 1402150 h 1611452"/>
                    <a:gd name="connsiteX402" fmla="*/ 5370250 w 7415962"/>
                    <a:gd name="connsiteY402" fmla="*/ 1402150 h 1611452"/>
                    <a:gd name="connsiteX403" fmla="*/ 5370250 w 7415962"/>
                    <a:gd name="connsiteY403" fmla="*/ 1423818 h 1611452"/>
                    <a:gd name="connsiteX404" fmla="*/ 5474257 w 7415962"/>
                    <a:gd name="connsiteY404" fmla="*/ 1423818 h 1611452"/>
                    <a:gd name="connsiteX405" fmla="*/ 5474257 w 7415962"/>
                    <a:gd name="connsiteY405" fmla="*/ 1402150 h 1611452"/>
                    <a:gd name="connsiteX406" fmla="*/ 5513260 w 7415962"/>
                    <a:gd name="connsiteY406" fmla="*/ 1402150 h 1611452"/>
                    <a:gd name="connsiteX407" fmla="*/ 5513260 w 7415962"/>
                    <a:gd name="connsiteY407" fmla="*/ 1428152 h 1611452"/>
                    <a:gd name="connsiteX408" fmla="*/ 5608600 w 7415962"/>
                    <a:gd name="connsiteY408" fmla="*/ 1428152 h 1611452"/>
                    <a:gd name="connsiteX409" fmla="*/ 5608600 w 7415962"/>
                    <a:gd name="connsiteY409" fmla="*/ 1402150 h 1611452"/>
                    <a:gd name="connsiteX410" fmla="*/ 5664938 w 7415962"/>
                    <a:gd name="connsiteY410" fmla="*/ 1402150 h 1611452"/>
                    <a:gd name="connsiteX411" fmla="*/ 5664938 w 7415962"/>
                    <a:gd name="connsiteY411" fmla="*/ 1436819 h 1611452"/>
                    <a:gd name="connsiteX412" fmla="*/ 5686606 w 7415962"/>
                    <a:gd name="connsiteY412" fmla="*/ 1436819 h 1611452"/>
                    <a:gd name="connsiteX413" fmla="*/ 5686606 w 7415962"/>
                    <a:gd name="connsiteY413" fmla="*/ 1445487 h 1611452"/>
                    <a:gd name="connsiteX414" fmla="*/ 5716941 w 7415962"/>
                    <a:gd name="connsiteY414" fmla="*/ 1445487 h 1611452"/>
                    <a:gd name="connsiteX415" fmla="*/ 5716941 w 7415962"/>
                    <a:gd name="connsiteY415" fmla="*/ 1458487 h 1611452"/>
                    <a:gd name="connsiteX416" fmla="*/ 5794947 w 7415962"/>
                    <a:gd name="connsiteY416" fmla="*/ 1458487 h 1611452"/>
                    <a:gd name="connsiteX417" fmla="*/ 5794947 w 7415962"/>
                    <a:gd name="connsiteY417" fmla="*/ 1423818 h 1611452"/>
                    <a:gd name="connsiteX418" fmla="*/ 5838284 w 7415962"/>
                    <a:gd name="connsiteY418" fmla="*/ 1423818 h 1611452"/>
                    <a:gd name="connsiteX419" fmla="*/ 5838284 w 7415962"/>
                    <a:gd name="connsiteY419" fmla="*/ 1458487 h 1611452"/>
                    <a:gd name="connsiteX420" fmla="*/ 5903288 w 7415962"/>
                    <a:gd name="connsiteY420" fmla="*/ 1458487 h 1611452"/>
                    <a:gd name="connsiteX421" fmla="*/ 5929290 w 7415962"/>
                    <a:gd name="connsiteY421" fmla="*/ 1458487 h 1611452"/>
                    <a:gd name="connsiteX422" fmla="*/ 5929290 w 7415962"/>
                    <a:gd name="connsiteY422" fmla="*/ 1475822 h 1611452"/>
                    <a:gd name="connsiteX423" fmla="*/ 5946625 w 7415962"/>
                    <a:gd name="connsiteY423" fmla="*/ 1475822 h 1611452"/>
                    <a:gd name="connsiteX424" fmla="*/ 5950959 w 7415962"/>
                    <a:gd name="connsiteY424" fmla="*/ 1480156 h 1611452"/>
                    <a:gd name="connsiteX425" fmla="*/ 6020297 w 7415962"/>
                    <a:gd name="connsiteY425" fmla="*/ 1480156 h 1611452"/>
                    <a:gd name="connsiteX426" fmla="*/ 6020297 w 7415962"/>
                    <a:gd name="connsiteY426" fmla="*/ 1458487 h 1611452"/>
                    <a:gd name="connsiteX427" fmla="*/ 6059300 w 7415962"/>
                    <a:gd name="connsiteY427" fmla="*/ 1458487 h 1611452"/>
                    <a:gd name="connsiteX428" fmla="*/ 6059300 w 7415962"/>
                    <a:gd name="connsiteY428" fmla="*/ 1501824 h 1611452"/>
                    <a:gd name="connsiteX429" fmla="*/ 6111304 w 7415962"/>
                    <a:gd name="connsiteY429" fmla="*/ 1501824 h 1611452"/>
                    <a:gd name="connsiteX430" fmla="*/ 6111304 w 7415962"/>
                    <a:gd name="connsiteY430" fmla="*/ 1510491 h 1611452"/>
                    <a:gd name="connsiteX431" fmla="*/ 6189309 w 7415962"/>
                    <a:gd name="connsiteY431" fmla="*/ 1510491 h 1611452"/>
                    <a:gd name="connsiteX432" fmla="*/ 6189309 w 7415962"/>
                    <a:gd name="connsiteY432" fmla="*/ 1467155 h 1611452"/>
                    <a:gd name="connsiteX433" fmla="*/ 6228312 w 7415962"/>
                    <a:gd name="connsiteY433" fmla="*/ 1467155 h 1611452"/>
                    <a:gd name="connsiteX434" fmla="*/ 6228312 w 7415962"/>
                    <a:gd name="connsiteY434" fmla="*/ 1519159 h 1611452"/>
                    <a:gd name="connsiteX435" fmla="*/ 6353988 w 7415962"/>
                    <a:gd name="connsiteY435" fmla="*/ 1519159 h 1611452"/>
                    <a:gd name="connsiteX436" fmla="*/ 6353988 w 7415962"/>
                    <a:gd name="connsiteY436" fmla="*/ 1480156 h 1611452"/>
                    <a:gd name="connsiteX437" fmla="*/ 6398419 w 7415962"/>
                    <a:gd name="connsiteY437" fmla="*/ 1477775 h 1611452"/>
                    <a:gd name="connsiteX438" fmla="*/ 6400800 w 7415962"/>
                    <a:gd name="connsiteY438" fmla="*/ 1532159 h 1611452"/>
                    <a:gd name="connsiteX439" fmla="*/ 6448472 w 7415962"/>
                    <a:gd name="connsiteY439" fmla="*/ 1532159 h 1611452"/>
                    <a:gd name="connsiteX440" fmla="*/ 6448469 w 7415962"/>
                    <a:gd name="connsiteY440" fmla="*/ 1482109 h 1611452"/>
                    <a:gd name="connsiteX441" fmla="*/ 6488331 w 7415962"/>
                    <a:gd name="connsiteY441" fmla="*/ 1484489 h 1611452"/>
                    <a:gd name="connsiteX442" fmla="*/ 6488331 w 7415962"/>
                    <a:gd name="connsiteY442" fmla="*/ 1532159 h 1611452"/>
                    <a:gd name="connsiteX443" fmla="*/ 6562003 w 7415962"/>
                    <a:gd name="connsiteY443" fmla="*/ 1532159 h 1611452"/>
                    <a:gd name="connsiteX444" fmla="*/ 6566337 w 7415962"/>
                    <a:gd name="connsiteY444" fmla="*/ 1536493 h 1611452"/>
                    <a:gd name="connsiteX445" fmla="*/ 6675107 w 7415962"/>
                    <a:gd name="connsiteY445" fmla="*/ 1538874 h 1611452"/>
                    <a:gd name="connsiteX446" fmla="*/ 6677488 w 7415962"/>
                    <a:gd name="connsiteY446" fmla="*/ 1501824 h 1611452"/>
                    <a:gd name="connsiteX447" fmla="*/ 6739683 w 7415962"/>
                    <a:gd name="connsiteY447" fmla="*/ 1501824 h 1611452"/>
                    <a:gd name="connsiteX448" fmla="*/ 6739683 w 7415962"/>
                    <a:gd name="connsiteY448" fmla="*/ 1545160 h 1611452"/>
                    <a:gd name="connsiteX449" fmla="*/ 6796020 w 7415962"/>
                    <a:gd name="connsiteY449" fmla="*/ 1545160 h 1611452"/>
                    <a:gd name="connsiteX450" fmla="*/ 6796020 w 7415962"/>
                    <a:gd name="connsiteY450" fmla="*/ 1501824 h 1611452"/>
                    <a:gd name="connsiteX451" fmla="*/ 6830689 w 7415962"/>
                    <a:gd name="connsiteY451" fmla="*/ 1501824 h 1611452"/>
                    <a:gd name="connsiteX452" fmla="*/ 6830689 w 7415962"/>
                    <a:gd name="connsiteY452" fmla="*/ 1532159 h 1611452"/>
                    <a:gd name="connsiteX453" fmla="*/ 6848024 w 7415962"/>
                    <a:gd name="connsiteY453" fmla="*/ 1532159 h 1611452"/>
                    <a:gd name="connsiteX454" fmla="*/ 6848024 w 7415962"/>
                    <a:gd name="connsiteY454" fmla="*/ 1558161 h 1611452"/>
                    <a:gd name="connsiteX455" fmla="*/ 7051705 w 7415962"/>
                    <a:gd name="connsiteY455" fmla="*/ 1558161 h 1611452"/>
                    <a:gd name="connsiteX456" fmla="*/ 7064706 w 7415962"/>
                    <a:gd name="connsiteY456" fmla="*/ 1571162 h 1611452"/>
                    <a:gd name="connsiteX457" fmla="*/ 7134045 w 7415962"/>
                    <a:gd name="connsiteY457" fmla="*/ 1571162 h 1611452"/>
                    <a:gd name="connsiteX458" fmla="*/ 7134045 w 7415962"/>
                    <a:gd name="connsiteY458" fmla="*/ 1588497 h 1611452"/>
                    <a:gd name="connsiteX459" fmla="*/ 7285723 w 7415962"/>
                    <a:gd name="connsiteY459" fmla="*/ 1588497 h 1611452"/>
                    <a:gd name="connsiteX460" fmla="*/ 7285723 w 7415962"/>
                    <a:gd name="connsiteY460" fmla="*/ 1610165 h 1611452"/>
                    <a:gd name="connsiteX461" fmla="*/ 7415734 w 7415962"/>
                    <a:gd name="connsiteY461" fmla="*/ 1611452 h 1611452"/>
                    <a:gd name="connsiteX0" fmla="*/ 7415734 w 7415962"/>
                    <a:gd name="connsiteY0" fmla="*/ 1609071 h 1609071"/>
                    <a:gd name="connsiteX1" fmla="*/ 7415732 w 7415962"/>
                    <a:gd name="connsiteY1" fmla="*/ 1508110 h 1609071"/>
                    <a:gd name="connsiteX2" fmla="*/ 7272722 w 7415962"/>
                    <a:gd name="connsiteY2" fmla="*/ 1508110 h 1609071"/>
                    <a:gd name="connsiteX3" fmla="*/ 7271628 w 7415962"/>
                    <a:gd name="connsiteY3" fmla="*/ 1495109 h 1609071"/>
                    <a:gd name="connsiteX4" fmla="*/ 7155285 w 7415962"/>
                    <a:gd name="connsiteY4" fmla="*/ 1492728 h 1609071"/>
                    <a:gd name="connsiteX5" fmla="*/ 7152238 w 7415962"/>
                    <a:gd name="connsiteY5" fmla="*/ 1465868 h 1609071"/>
                    <a:gd name="connsiteX6" fmla="*/ 7038705 w 7415962"/>
                    <a:gd name="connsiteY6" fmla="*/ 1461106 h 1609071"/>
                    <a:gd name="connsiteX7" fmla="*/ 7038705 w 7415962"/>
                    <a:gd name="connsiteY7" fmla="*/ 1451773 h 1609071"/>
                    <a:gd name="connsiteX8" fmla="*/ 6874026 w 7415962"/>
                    <a:gd name="connsiteY8" fmla="*/ 1451773 h 1609071"/>
                    <a:gd name="connsiteX9" fmla="*/ 6874454 w 7415962"/>
                    <a:gd name="connsiteY9" fmla="*/ 1437915 h 1609071"/>
                    <a:gd name="connsiteX10" fmla="*/ 6826356 w 7415962"/>
                    <a:gd name="connsiteY10" fmla="*/ 1440295 h 1609071"/>
                    <a:gd name="connsiteX11" fmla="*/ 6826356 w 7415962"/>
                    <a:gd name="connsiteY11" fmla="*/ 1495109 h 1609071"/>
                    <a:gd name="connsiteX12" fmla="*/ 6787353 w 7415962"/>
                    <a:gd name="connsiteY12" fmla="*/ 1495109 h 1609071"/>
                    <a:gd name="connsiteX13" fmla="*/ 6787353 w 7415962"/>
                    <a:gd name="connsiteY13" fmla="*/ 1443106 h 1609071"/>
                    <a:gd name="connsiteX14" fmla="*/ 6739683 w 7415962"/>
                    <a:gd name="connsiteY14" fmla="*/ 1443106 h 1609071"/>
                    <a:gd name="connsiteX15" fmla="*/ 6739682 w 7415962"/>
                    <a:gd name="connsiteY15" fmla="*/ 1477775 h 1609071"/>
                    <a:gd name="connsiteX16" fmla="*/ 6679012 w 7415962"/>
                    <a:gd name="connsiteY16" fmla="*/ 1477775 h 1609071"/>
                    <a:gd name="connsiteX17" fmla="*/ 6679012 w 7415962"/>
                    <a:gd name="connsiteY17" fmla="*/ 1438772 h 1609071"/>
                    <a:gd name="connsiteX18" fmla="*/ 6562003 w 7415962"/>
                    <a:gd name="connsiteY18" fmla="*/ 1438772 h 1609071"/>
                    <a:gd name="connsiteX19" fmla="*/ 6556145 w 7415962"/>
                    <a:gd name="connsiteY19" fmla="*/ 1428152 h 1609071"/>
                    <a:gd name="connsiteX20" fmla="*/ 6483997 w 7415962"/>
                    <a:gd name="connsiteY20" fmla="*/ 1425771 h 1609071"/>
                    <a:gd name="connsiteX21" fmla="*/ 6483997 w 7415962"/>
                    <a:gd name="connsiteY21" fmla="*/ 1482108 h 1609071"/>
                    <a:gd name="connsiteX22" fmla="*/ 6452138 w 7415962"/>
                    <a:gd name="connsiteY22" fmla="*/ 1479727 h 1609071"/>
                    <a:gd name="connsiteX23" fmla="*/ 6449758 w 7415962"/>
                    <a:gd name="connsiteY23" fmla="*/ 1427295 h 1609071"/>
                    <a:gd name="connsiteX24" fmla="*/ 6398849 w 7415962"/>
                    <a:gd name="connsiteY24" fmla="*/ 1424913 h 1609071"/>
                    <a:gd name="connsiteX25" fmla="*/ 6398848 w 7415962"/>
                    <a:gd name="connsiteY25" fmla="*/ 1477775 h 1609071"/>
                    <a:gd name="connsiteX26" fmla="*/ 6358322 w 7415962"/>
                    <a:gd name="connsiteY26" fmla="*/ 1477775 h 1609071"/>
                    <a:gd name="connsiteX27" fmla="*/ 6358322 w 7415962"/>
                    <a:gd name="connsiteY27" fmla="*/ 1430105 h 1609071"/>
                    <a:gd name="connsiteX28" fmla="*/ 6223978 w 7415962"/>
                    <a:gd name="connsiteY28" fmla="*/ 1430105 h 1609071"/>
                    <a:gd name="connsiteX29" fmla="*/ 6223978 w 7415962"/>
                    <a:gd name="connsiteY29" fmla="*/ 1443106 h 1609071"/>
                    <a:gd name="connsiteX30" fmla="*/ 6193643 w 7415962"/>
                    <a:gd name="connsiteY30" fmla="*/ 1443106 h 1609071"/>
                    <a:gd name="connsiteX31" fmla="*/ 6193643 w 7415962"/>
                    <a:gd name="connsiteY31" fmla="*/ 1412770 h 1609071"/>
                    <a:gd name="connsiteX32" fmla="*/ 6119971 w 7415962"/>
                    <a:gd name="connsiteY32" fmla="*/ 1412770 h 1609071"/>
                    <a:gd name="connsiteX33" fmla="*/ 6119971 w 7415962"/>
                    <a:gd name="connsiteY33" fmla="*/ 1399769 h 1609071"/>
                    <a:gd name="connsiteX34" fmla="*/ 6072301 w 7415962"/>
                    <a:gd name="connsiteY34" fmla="*/ 1399769 h 1609071"/>
                    <a:gd name="connsiteX35" fmla="*/ 6072301 w 7415962"/>
                    <a:gd name="connsiteY35" fmla="*/ 1382434 h 1609071"/>
                    <a:gd name="connsiteX36" fmla="*/ 6050632 w 7415962"/>
                    <a:gd name="connsiteY36" fmla="*/ 1382434 h 1609071"/>
                    <a:gd name="connsiteX37" fmla="*/ 6050632 w 7415962"/>
                    <a:gd name="connsiteY37" fmla="*/ 1421437 h 1609071"/>
                    <a:gd name="connsiteX38" fmla="*/ 6020297 w 7415962"/>
                    <a:gd name="connsiteY38" fmla="*/ 1421437 h 1609071"/>
                    <a:gd name="connsiteX39" fmla="*/ 6020297 w 7415962"/>
                    <a:gd name="connsiteY39" fmla="*/ 1391102 h 1609071"/>
                    <a:gd name="connsiteX40" fmla="*/ 5959626 w 7415962"/>
                    <a:gd name="connsiteY40" fmla="*/ 1391102 h 1609071"/>
                    <a:gd name="connsiteX41" fmla="*/ 5959626 w 7415962"/>
                    <a:gd name="connsiteY41" fmla="*/ 1373767 h 1609071"/>
                    <a:gd name="connsiteX42" fmla="*/ 5920623 w 7415962"/>
                    <a:gd name="connsiteY42" fmla="*/ 1373767 h 1609071"/>
                    <a:gd name="connsiteX43" fmla="*/ 5920623 w 7415962"/>
                    <a:gd name="connsiteY43" fmla="*/ 1352099 h 1609071"/>
                    <a:gd name="connsiteX44" fmla="*/ 5825283 w 7415962"/>
                    <a:gd name="connsiteY44" fmla="*/ 1352099 h 1609071"/>
                    <a:gd name="connsiteX45" fmla="*/ 5825283 w 7415962"/>
                    <a:gd name="connsiteY45" fmla="*/ 1399769 h 1609071"/>
                    <a:gd name="connsiteX46" fmla="*/ 5790614 w 7415962"/>
                    <a:gd name="connsiteY46" fmla="*/ 1399769 h 1609071"/>
                    <a:gd name="connsiteX47" fmla="*/ 5790614 w 7415962"/>
                    <a:gd name="connsiteY47" fmla="*/ 1365100 h 1609071"/>
                    <a:gd name="connsiteX48" fmla="*/ 5699607 w 7415962"/>
                    <a:gd name="connsiteY48" fmla="*/ 1365100 h 1609071"/>
                    <a:gd name="connsiteX49" fmla="*/ 5699607 w 7415962"/>
                    <a:gd name="connsiteY49" fmla="*/ 1326097 h 1609071"/>
                    <a:gd name="connsiteX50" fmla="*/ 5656270 w 7415962"/>
                    <a:gd name="connsiteY50" fmla="*/ 1326097 h 1609071"/>
                    <a:gd name="connsiteX51" fmla="*/ 5656270 w 7415962"/>
                    <a:gd name="connsiteY51" fmla="*/ 1373767 h 1609071"/>
                    <a:gd name="connsiteX52" fmla="*/ 5612934 w 7415962"/>
                    <a:gd name="connsiteY52" fmla="*/ 1373767 h 1609071"/>
                    <a:gd name="connsiteX53" fmla="*/ 5612934 w 7415962"/>
                    <a:gd name="connsiteY53" fmla="*/ 1334764 h 1609071"/>
                    <a:gd name="connsiteX54" fmla="*/ 5513260 w 7415962"/>
                    <a:gd name="connsiteY54" fmla="*/ 1334764 h 1609071"/>
                    <a:gd name="connsiteX55" fmla="*/ 5513260 w 7415962"/>
                    <a:gd name="connsiteY55" fmla="*/ 1360766 h 1609071"/>
                    <a:gd name="connsiteX56" fmla="*/ 5469923 w 7415962"/>
                    <a:gd name="connsiteY56" fmla="*/ 1360766 h 1609071"/>
                    <a:gd name="connsiteX57" fmla="*/ 5469923 w 7415962"/>
                    <a:gd name="connsiteY57" fmla="*/ 1321763 h 1609071"/>
                    <a:gd name="connsiteX58" fmla="*/ 5361582 w 7415962"/>
                    <a:gd name="connsiteY58" fmla="*/ 1321763 h 1609071"/>
                    <a:gd name="connsiteX59" fmla="*/ 5361582 w 7415962"/>
                    <a:gd name="connsiteY59" fmla="*/ 1304429 h 1609071"/>
                    <a:gd name="connsiteX60" fmla="*/ 5300911 w 7415962"/>
                    <a:gd name="connsiteY60" fmla="*/ 1304429 h 1609071"/>
                    <a:gd name="connsiteX61" fmla="*/ 5292244 w 7415962"/>
                    <a:gd name="connsiteY61" fmla="*/ 1295762 h 1609071"/>
                    <a:gd name="connsiteX62" fmla="*/ 5188236 w 7415962"/>
                    <a:gd name="connsiteY62" fmla="*/ 1295762 h 1609071"/>
                    <a:gd name="connsiteX63" fmla="*/ 5188236 w 7415962"/>
                    <a:gd name="connsiteY63" fmla="*/ 1278427 h 1609071"/>
                    <a:gd name="connsiteX64" fmla="*/ 5046321 w 7415962"/>
                    <a:gd name="connsiteY64" fmla="*/ 1278427 h 1609071"/>
                    <a:gd name="connsiteX65" fmla="*/ 5049559 w 7415962"/>
                    <a:gd name="connsiteY65" fmla="*/ 1269759 h 1609071"/>
                    <a:gd name="connsiteX66" fmla="*/ 4923884 w 7415962"/>
                    <a:gd name="connsiteY66" fmla="*/ 1269759 h 1609071"/>
                    <a:gd name="connsiteX67" fmla="*/ 4927551 w 7415962"/>
                    <a:gd name="connsiteY67" fmla="*/ 1256758 h 1609071"/>
                    <a:gd name="connsiteX68" fmla="*/ 4703297 w 7415962"/>
                    <a:gd name="connsiteY68" fmla="*/ 1254376 h 1609071"/>
                    <a:gd name="connsiteX69" fmla="*/ 4695058 w 7415962"/>
                    <a:gd name="connsiteY69" fmla="*/ 1241375 h 1609071"/>
                    <a:gd name="connsiteX70" fmla="*/ 4675772 w 7415962"/>
                    <a:gd name="connsiteY70" fmla="*/ 1238995 h 1609071"/>
                    <a:gd name="connsiteX71" fmla="*/ 4662691 w 7415962"/>
                    <a:gd name="connsiteY71" fmla="*/ 1226572 h 1609071"/>
                    <a:gd name="connsiteX72" fmla="*/ 4656056 w 7415962"/>
                    <a:gd name="connsiteY72" fmla="*/ 1224042 h 1609071"/>
                    <a:gd name="connsiteX73" fmla="*/ 4633530 w 7415962"/>
                    <a:gd name="connsiteY73" fmla="*/ 1213422 h 1609071"/>
                    <a:gd name="connsiteX74" fmla="*/ 4490519 w 7415962"/>
                    <a:gd name="connsiteY74" fmla="*/ 1213422 h 1609071"/>
                    <a:gd name="connsiteX75" fmla="*/ 4490519 w 7415962"/>
                    <a:gd name="connsiteY75" fmla="*/ 1200421 h 1609071"/>
                    <a:gd name="connsiteX76" fmla="*/ 4447182 w 7415962"/>
                    <a:gd name="connsiteY76" fmla="*/ 1200421 h 1609071"/>
                    <a:gd name="connsiteX77" fmla="*/ 4444801 w 7415962"/>
                    <a:gd name="connsiteY77" fmla="*/ 1192612 h 1609071"/>
                    <a:gd name="connsiteX78" fmla="*/ 4422186 w 7415962"/>
                    <a:gd name="connsiteY78" fmla="*/ 1195615 h 1609071"/>
                    <a:gd name="connsiteX79" fmla="*/ 4424420 w 7415962"/>
                    <a:gd name="connsiteY79" fmla="*/ 1171180 h 1609071"/>
                    <a:gd name="connsiteX80" fmla="*/ 4394750 w 7415962"/>
                    <a:gd name="connsiteY80" fmla="*/ 1172467 h 1609071"/>
                    <a:gd name="connsiteX81" fmla="*/ 4395179 w 7415962"/>
                    <a:gd name="connsiteY81" fmla="*/ 1200421 h 1609071"/>
                    <a:gd name="connsiteX82" fmla="*/ 4360509 w 7415962"/>
                    <a:gd name="connsiteY82" fmla="*/ 1200421 h 1609071"/>
                    <a:gd name="connsiteX83" fmla="*/ 4360509 w 7415962"/>
                    <a:gd name="connsiteY83" fmla="*/ 1157085 h 1609071"/>
                    <a:gd name="connsiteX84" fmla="*/ 4330174 w 7415962"/>
                    <a:gd name="connsiteY84" fmla="*/ 1157085 h 1609071"/>
                    <a:gd name="connsiteX85" fmla="*/ 4321506 w 7415962"/>
                    <a:gd name="connsiteY85" fmla="*/ 1148417 h 1609071"/>
                    <a:gd name="connsiteX86" fmla="*/ 4156828 w 7415962"/>
                    <a:gd name="connsiteY86" fmla="*/ 1148417 h 1609071"/>
                    <a:gd name="connsiteX87" fmla="*/ 4155304 w 7415962"/>
                    <a:gd name="connsiteY87" fmla="*/ 1134986 h 1609071"/>
                    <a:gd name="connsiteX88" fmla="*/ 4068202 w 7415962"/>
                    <a:gd name="connsiteY88" fmla="*/ 1134987 h 1609071"/>
                    <a:gd name="connsiteX89" fmla="*/ 4065821 w 7415962"/>
                    <a:gd name="connsiteY89" fmla="*/ 1122415 h 1609071"/>
                    <a:gd name="connsiteX90" fmla="*/ 4048486 w 7415962"/>
                    <a:gd name="connsiteY90" fmla="*/ 1122415 h 1609071"/>
                    <a:gd name="connsiteX91" fmla="*/ 4048486 w 7415962"/>
                    <a:gd name="connsiteY91" fmla="*/ 1105081 h 1609071"/>
                    <a:gd name="connsiteX92" fmla="*/ 4026818 w 7415962"/>
                    <a:gd name="connsiteY92" fmla="*/ 1105081 h 1609071"/>
                    <a:gd name="connsiteX93" fmla="*/ 4026818 w 7415962"/>
                    <a:gd name="connsiteY93" fmla="*/ 1152751 h 1609071"/>
                    <a:gd name="connsiteX94" fmla="*/ 3992149 w 7415962"/>
                    <a:gd name="connsiteY94" fmla="*/ 1152751 h 1609071"/>
                    <a:gd name="connsiteX95" fmla="*/ 3992149 w 7415962"/>
                    <a:gd name="connsiteY95" fmla="*/ 1109415 h 1609071"/>
                    <a:gd name="connsiteX96" fmla="*/ 3961814 w 7415962"/>
                    <a:gd name="connsiteY96" fmla="*/ 1109415 h 1609071"/>
                    <a:gd name="connsiteX97" fmla="*/ 3955528 w 7415962"/>
                    <a:gd name="connsiteY97" fmla="*/ 1091222 h 1609071"/>
                    <a:gd name="connsiteX98" fmla="*/ 3731702 w 7415962"/>
                    <a:gd name="connsiteY98" fmla="*/ 1093604 h 1609071"/>
                    <a:gd name="connsiteX99" fmla="*/ 3733417 w 7415962"/>
                    <a:gd name="connsiteY99" fmla="*/ 1081031 h 1609071"/>
                    <a:gd name="connsiteX100" fmla="*/ 3586309 w 7415962"/>
                    <a:gd name="connsiteY100" fmla="*/ 1078650 h 1609071"/>
                    <a:gd name="connsiteX101" fmla="*/ 3585644 w 7415962"/>
                    <a:gd name="connsiteY101" fmla="*/ 1066079 h 1609071"/>
                    <a:gd name="connsiteX102" fmla="*/ 3441776 w 7415962"/>
                    <a:gd name="connsiteY102" fmla="*/ 1066079 h 1609071"/>
                    <a:gd name="connsiteX103" fmla="*/ 3441776 w 7415962"/>
                    <a:gd name="connsiteY103" fmla="*/ 1040076 h 1609071"/>
                    <a:gd name="connsiteX104" fmla="*/ 3320433 w 7415962"/>
                    <a:gd name="connsiteY104" fmla="*/ 1040076 h 1609071"/>
                    <a:gd name="connsiteX105" fmla="*/ 3320433 w 7415962"/>
                    <a:gd name="connsiteY105" fmla="*/ 1027075 h 1609071"/>
                    <a:gd name="connsiteX106" fmla="*/ 3181757 w 7415962"/>
                    <a:gd name="connsiteY106" fmla="*/ 1027075 h 1609071"/>
                    <a:gd name="connsiteX107" fmla="*/ 3181757 w 7415962"/>
                    <a:gd name="connsiteY107" fmla="*/ 1020123 h 1609071"/>
                    <a:gd name="connsiteX108" fmla="*/ 3164422 w 7415962"/>
                    <a:gd name="connsiteY108" fmla="*/ 1018408 h 1609071"/>
                    <a:gd name="connsiteX109" fmla="*/ 3151421 w 7415962"/>
                    <a:gd name="connsiteY109" fmla="*/ 1000645 h 1609071"/>
                    <a:gd name="connsiteX110" fmla="*/ 2991076 w 7415962"/>
                    <a:gd name="connsiteY110" fmla="*/ 1003026 h 1609071"/>
                    <a:gd name="connsiteX111" fmla="*/ 2991076 w 7415962"/>
                    <a:gd name="connsiteY111" fmla="*/ 988072 h 1609071"/>
                    <a:gd name="connsiteX112" fmla="*/ 2908737 w 7415962"/>
                    <a:gd name="connsiteY112" fmla="*/ 988072 h 1609071"/>
                    <a:gd name="connsiteX113" fmla="*/ 2900069 w 7415962"/>
                    <a:gd name="connsiteY113" fmla="*/ 979404 h 1609071"/>
                    <a:gd name="connsiteX114" fmla="*/ 2869734 w 7415962"/>
                    <a:gd name="connsiteY114" fmla="*/ 979404 h 1609071"/>
                    <a:gd name="connsiteX115" fmla="*/ 2869734 w 7415962"/>
                    <a:gd name="connsiteY115" fmla="*/ 953403 h 1609071"/>
                    <a:gd name="connsiteX116" fmla="*/ 2843732 w 7415962"/>
                    <a:gd name="connsiteY116" fmla="*/ 953403 h 1609071"/>
                    <a:gd name="connsiteX117" fmla="*/ 2835065 w 7415962"/>
                    <a:gd name="connsiteY117" fmla="*/ 944736 h 1609071"/>
                    <a:gd name="connsiteX118" fmla="*/ 2757059 w 7415962"/>
                    <a:gd name="connsiteY118" fmla="*/ 944736 h 1609071"/>
                    <a:gd name="connsiteX119" fmla="*/ 2748392 w 7415962"/>
                    <a:gd name="connsiteY119" fmla="*/ 936069 h 1609071"/>
                    <a:gd name="connsiteX120" fmla="*/ 2700722 w 7415962"/>
                    <a:gd name="connsiteY120" fmla="*/ 936069 h 1609071"/>
                    <a:gd name="connsiteX121" fmla="*/ 2689673 w 7415962"/>
                    <a:gd name="connsiteY121" fmla="*/ 925019 h 1609071"/>
                    <a:gd name="connsiteX122" fmla="*/ 2644384 w 7415962"/>
                    <a:gd name="connsiteY122" fmla="*/ 927401 h 1609071"/>
                    <a:gd name="connsiteX123" fmla="*/ 2638957 w 7415962"/>
                    <a:gd name="connsiteY123" fmla="*/ 910067 h 1609071"/>
                    <a:gd name="connsiteX124" fmla="*/ 2616859 w 7415962"/>
                    <a:gd name="connsiteY124" fmla="*/ 899876 h 1609071"/>
                    <a:gd name="connsiteX125" fmla="*/ 2592380 w 7415962"/>
                    <a:gd name="connsiteY125" fmla="*/ 875397 h 1609071"/>
                    <a:gd name="connsiteX126" fmla="*/ 2562045 w 7415962"/>
                    <a:gd name="connsiteY126" fmla="*/ 875397 h 1609071"/>
                    <a:gd name="connsiteX127" fmla="*/ 2553377 w 7415962"/>
                    <a:gd name="connsiteY127" fmla="*/ 866729 h 1609071"/>
                    <a:gd name="connsiteX128" fmla="*/ 2501374 w 7415962"/>
                    <a:gd name="connsiteY128" fmla="*/ 866729 h 1609071"/>
                    <a:gd name="connsiteX129" fmla="*/ 2501374 w 7415962"/>
                    <a:gd name="connsiteY129" fmla="*/ 849396 h 1609071"/>
                    <a:gd name="connsiteX130" fmla="*/ 2445036 w 7415962"/>
                    <a:gd name="connsiteY130" fmla="*/ 849396 h 1609071"/>
                    <a:gd name="connsiteX131" fmla="*/ 2436368 w 7415962"/>
                    <a:gd name="connsiteY131" fmla="*/ 840728 h 1609071"/>
                    <a:gd name="connsiteX132" fmla="*/ 2414701 w 7415962"/>
                    <a:gd name="connsiteY132" fmla="*/ 840728 h 1609071"/>
                    <a:gd name="connsiteX133" fmla="*/ 2401700 w 7415962"/>
                    <a:gd name="connsiteY133" fmla="*/ 827727 h 1609071"/>
                    <a:gd name="connsiteX134" fmla="*/ 2349696 w 7415962"/>
                    <a:gd name="connsiteY134" fmla="*/ 827727 h 1609071"/>
                    <a:gd name="connsiteX135" fmla="*/ 2349696 w 7415962"/>
                    <a:gd name="connsiteY135" fmla="*/ 810393 h 1609071"/>
                    <a:gd name="connsiteX136" fmla="*/ 2310693 w 7415962"/>
                    <a:gd name="connsiteY136" fmla="*/ 810393 h 1609071"/>
                    <a:gd name="connsiteX137" fmla="*/ 2304835 w 7415962"/>
                    <a:gd name="connsiteY137" fmla="*/ 830537 h 1609071"/>
                    <a:gd name="connsiteX138" fmla="*/ 2274501 w 7415962"/>
                    <a:gd name="connsiteY138" fmla="*/ 828156 h 1609071"/>
                    <a:gd name="connsiteX139" fmla="*/ 2273406 w 7415962"/>
                    <a:gd name="connsiteY139" fmla="*/ 800867 h 1609071"/>
                    <a:gd name="connsiteX140" fmla="*/ 2245688 w 7415962"/>
                    <a:gd name="connsiteY140" fmla="*/ 801725 h 1609071"/>
                    <a:gd name="connsiteX141" fmla="*/ 2245688 w 7415962"/>
                    <a:gd name="connsiteY141" fmla="*/ 775724 h 1609071"/>
                    <a:gd name="connsiteX142" fmla="*/ 2124346 w 7415962"/>
                    <a:gd name="connsiteY142" fmla="*/ 775724 h 1609071"/>
                    <a:gd name="connsiteX143" fmla="*/ 2124346 w 7415962"/>
                    <a:gd name="connsiteY143" fmla="*/ 745388 h 1609071"/>
                    <a:gd name="connsiteX144" fmla="*/ 2072342 w 7415962"/>
                    <a:gd name="connsiteY144" fmla="*/ 745388 h 1609071"/>
                    <a:gd name="connsiteX145" fmla="*/ 2063675 w 7415962"/>
                    <a:gd name="connsiteY145" fmla="*/ 736721 h 1609071"/>
                    <a:gd name="connsiteX146" fmla="*/ 2007338 w 7415962"/>
                    <a:gd name="connsiteY146" fmla="*/ 736721 h 1609071"/>
                    <a:gd name="connsiteX147" fmla="*/ 2007338 w 7415962"/>
                    <a:gd name="connsiteY147" fmla="*/ 715052 h 1609071"/>
                    <a:gd name="connsiteX148" fmla="*/ 1907664 w 7415962"/>
                    <a:gd name="connsiteY148" fmla="*/ 715052 h 1609071"/>
                    <a:gd name="connsiteX149" fmla="*/ 1903331 w 7415962"/>
                    <a:gd name="connsiteY149" fmla="*/ 710719 h 1609071"/>
                    <a:gd name="connsiteX150" fmla="*/ 1864327 w 7415962"/>
                    <a:gd name="connsiteY150" fmla="*/ 710719 h 1609071"/>
                    <a:gd name="connsiteX151" fmla="*/ 1864327 w 7415962"/>
                    <a:gd name="connsiteY151" fmla="*/ 680383 h 1609071"/>
                    <a:gd name="connsiteX152" fmla="*/ 1807990 w 7415962"/>
                    <a:gd name="connsiteY152" fmla="*/ 680383 h 1609071"/>
                    <a:gd name="connsiteX153" fmla="*/ 1808848 w 7415962"/>
                    <a:gd name="connsiteY153" fmla="*/ 671716 h 1609071"/>
                    <a:gd name="connsiteX154" fmla="*/ 1786322 w 7415962"/>
                    <a:gd name="connsiteY154" fmla="*/ 671716 h 1609071"/>
                    <a:gd name="connsiteX155" fmla="*/ 1786322 w 7415962"/>
                    <a:gd name="connsiteY155" fmla="*/ 658715 h 1609071"/>
                    <a:gd name="connsiteX156" fmla="*/ 1751652 w 7415962"/>
                    <a:gd name="connsiteY156" fmla="*/ 658715 h 1609071"/>
                    <a:gd name="connsiteX157" fmla="*/ 1751652 w 7415962"/>
                    <a:gd name="connsiteY157" fmla="*/ 637047 h 1609071"/>
                    <a:gd name="connsiteX158" fmla="*/ 1699649 w 7415962"/>
                    <a:gd name="connsiteY158" fmla="*/ 637047 h 1609071"/>
                    <a:gd name="connsiteX159" fmla="*/ 1699649 w 7415962"/>
                    <a:gd name="connsiteY159" fmla="*/ 611045 h 1609071"/>
                    <a:gd name="connsiteX160" fmla="*/ 1617309 w 7415962"/>
                    <a:gd name="connsiteY160" fmla="*/ 611045 h 1609071"/>
                    <a:gd name="connsiteX161" fmla="*/ 1604308 w 7415962"/>
                    <a:gd name="connsiteY161" fmla="*/ 598044 h 1609071"/>
                    <a:gd name="connsiteX162" fmla="*/ 1591307 w 7415962"/>
                    <a:gd name="connsiteY162" fmla="*/ 598044 h 1609071"/>
                    <a:gd name="connsiteX163" fmla="*/ 1578306 w 7415962"/>
                    <a:gd name="connsiteY163" fmla="*/ 585043 h 1609071"/>
                    <a:gd name="connsiteX164" fmla="*/ 1530636 w 7415962"/>
                    <a:gd name="connsiteY164" fmla="*/ 585043 h 1609071"/>
                    <a:gd name="connsiteX165" fmla="*/ 1530636 w 7415962"/>
                    <a:gd name="connsiteY165" fmla="*/ 576376 h 1609071"/>
                    <a:gd name="connsiteX166" fmla="*/ 1478632 w 7415962"/>
                    <a:gd name="connsiteY166" fmla="*/ 576376 h 1609071"/>
                    <a:gd name="connsiteX167" fmla="*/ 1478632 w 7415962"/>
                    <a:gd name="connsiteY167" fmla="*/ 559041 h 1609071"/>
                    <a:gd name="connsiteX168" fmla="*/ 1409294 w 7415962"/>
                    <a:gd name="connsiteY168" fmla="*/ 559041 h 1609071"/>
                    <a:gd name="connsiteX169" fmla="*/ 1396293 w 7415962"/>
                    <a:gd name="connsiteY169" fmla="*/ 546040 h 1609071"/>
                    <a:gd name="connsiteX170" fmla="*/ 1331288 w 7415962"/>
                    <a:gd name="connsiteY170" fmla="*/ 546040 h 1609071"/>
                    <a:gd name="connsiteX171" fmla="*/ 1331288 w 7415962"/>
                    <a:gd name="connsiteY171" fmla="*/ 528706 h 1609071"/>
                    <a:gd name="connsiteX172" fmla="*/ 1274951 w 7415962"/>
                    <a:gd name="connsiteY172" fmla="*/ 528706 h 1609071"/>
                    <a:gd name="connsiteX173" fmla="*/ 1274951 w 7415962"/>
                    <a:gd name="connsiteY173" fmla="*/ 507037 h 1609071"/>
                    <a:gd name="connsiteX174" fmla="*/ 1192612 w 7415962"/>
                    <a:gd name="connsiteY174" fmla="*/ 507037 h 1609071"/>
                    <a:gd name="connsiteX175" fmla="*/ 1175277 w 7415962"/>
                    <a:gd name="connsiteY175" fmla="*/ 507037 h 1609071"/>
                    <a:gd name="connsiteX176" fmla="*/ 1149275 w 7415962"/>
                    <a:gd name="connsiteY176" fmla="*/ 507037 h 1609071"/>
                    <a:gd name="connsiteX177" fmla="*/ 1149275 w 7415962"/>
                    <a:gd name="connsiteY177" fmla="*/ 481035 h 1609071"/>
                    <a:gd name="connsiteX178" fmla="*/ 1092938 w 7415962"/>
                    <a:gd name="connsiteY178" fmla="*/ 481035 h 1609071"/>
                    <a:gd name="connsiteX179" fmla="*/ 1092938 w 7415962"/>
                    <a:gd name="connsiteY179" fmla="*/ 468034 h 1609071"/>
                    <a:gd name="connsiteX180" fmla="*/ 1045268 w 7415962"/>
                    <a:gd name="connsiteY180" fmla="*/ 468034 h 1609071"/>
                    <a:gd name="connsiteX181" fmla="*/ 1045268 w 7415962"/>
                    <a:gd name="connsiteY181" fmla="*/ 437699 h 1609071"/>
                    <a:gd name="connsiteX182" fmla="*/ 988930 w 7415962"/>
                    <a:gd name="connsiteY182" fmla="*/ 437699 h 1609071"/>
                    <a:gd name="connsiteX183" fmla="*/ 975929 w 7415962"/>
                    <a:gd name="connsiteY183" fmla="*/ 424698 h 1609071"/>
                    <a:gd name="connsiteX184" fmla="*/ 954261 w 7415962"/>
                    <a:gd name="connsiteY184" fmla="*/ 424698 h 1609071"/>
                    <a:gd name="connsiteX185" fmla="*/ 945594 w 7415962"/>
                    <a:gd name="connsiteY185" fmla="*/ 416031 h 1609071"/>
                    <a:gd name="connsiteX186" fmla="*/ 893590 w 7415962"/>
                    <a:gd name="connsiteY186" fmla="*/ 416031 h 1609071"/>
                    <a:gd name="connsiteX187" fmla="*/ 893590 w 7415962"/>
                    <a:gd name="connsiteY187" fmla="*/ 394362 h 1609071"/>
                    <a:gd name="connsiteX188" fmla="*/ 867588 w 7415962"/>
                    <a:gd name="connsiteY188" fmla="*/ 394362 h 1609071"/>
                    <a:gd name="connsiteX189" fmla="*/ 858921 w 7415962"/>
                    <a:gd name="connsiteY189" fmla="*/ 385695 h 1609071"/>
                    <a:gd name="connsiteX190" fmla="*/ 754913 w 7415962"/>
                    <a:gd name="connsiteY190" fmla="*/ 385695 h 1609071"/>
                    <a:gd name="connsiteX191" fmla="*/ 754913 w 7415962"/>
                    <a:gd name="connsiteY191" fmla="*/ 359693 h 1609071"/>
                    <a:gd name="connsiteX192" fmla="*/ 724577 w 7415962"/>
                    <a:gd name="connsiteY192" fmla="*/ 359693 h 1609071"/>
                    <a:gd name="connsiteX193" fmla="*/ 724577 w 7415962"/>
                    <a:gd name="connsiteY193" fmla="*/ 342359 h 1609071"/>
                    <a:gd name="connsiteX194" fmla="*/ 659573 w 7415962"/>
                    <a:gd name="connsiteY194" fmla="*/ 342359 h 1609071"/>
                    <a:gd name="connsiteX195" fmla="*/ 650905 w 7415962"/>
                    <a:gd name="connsiteY195" fmla="*/ 333691 h 1609071"/>
                    <a:gd name="connsiteX196" fmla="*/ 629237 w 7415962"/>
                    <a:gd name="connsiteY196" fmla="*/ 333691 h 1609071"/>
                    <a:gd name="connsiteX197" fmla="*/ 629237 w 7415962"/>
                    <a:gd name="connsiteY197" fmla="*/ 316357 h 1609071"/>
                    <a:gd name="connsiteX198" fmla="*/ 598902 w 7415962"/>
                    <a:gd name="connsiteY198" fmla="*/ 316357 h 1609071"/>
                    <a:gd name="connsiteX199" fmla="*/ 598902 w 7415962"/>
                    <a:gd name="connsiteY199" fmla="*/ 294688 h 1609071"/>
                    <a:gd name="connsiteX200" fmla="*/ 577233 w 7415962"/>
                    <a:gd name="connsiteY200" fmla="*/ 294688 h 1609071"/>
                    <a:gd name="connsiteX201" fmla="*/ 577233 w 7415962"/>
                    <a:gd name="connsiteY201" fmla="*/ 281687 h 1609071"/>
                    <a:gd name="connsiteX202" fmla="*/ 555565 w 7415962"/>
                    <a:gd name="connsiteY202" fmla="*/ 281687 h 1609071"/>
                    <a:gd name="connsiteX203" fmla="*/ 555565 w 7415962"/>
                    <a:gd name="connsiteY203" fmla="*/ 268687 h 1609071"/>
                    <a:gd name="connsiteX204" fmla="*/ 490560 w 7415962"/>
                    <a:gd name="connsiteY204" fmla="*/ 268687 h 1609071"/>
                    <a:gd name="connsiteX205" fmla="*/ 490560 w 7415962"/>
                    <a:gd name="connsiteY205" fmla="*/ 242685 h 1609071"/>
                    <a:gd name="connsiteX206" fmla="*/ 455891 w 7415962"/>
                    <a:gd name="connsiteY206" fmla="*/ 242685 h 1609071"/>
                    <a:gd name="connsiteX207" fmla="*/ 455891 w 7415962"/>
                    <a:gd name="connsiteY207" fmla="*/ 216683 h 1609071"/>
                    <a:gd name="connsiteX208" fmla="*/ 438557 w 7415962"/>
                    <a:gd name="connsiteY208" fmla="*/ 216683 h 1609071"/>
                    <a:gd name="connsiteX209" fmla="*/ 438557 w 7415962"/>
                    <a:gd name="connsiteY209" fmla="*/ 186347 h 1609071"/>
                    <a:gd name="connsiteX210" fmla="*/ 408221 w 7415962"/>
                    <a:gd name="connsiteY210" fmla="*/ 186347 h 1609071"/>
                    <a:gd name="connsiteX211" fmla="*/ 408221 w 7415962"/>
                    <a:gd name="connsiteY211" fmla="*/ 173346 h 1609071"/>
                    <a:gd name="connsiteX212" fmla="*/ 373552 w 7415962"/>
                    <a:gd name="connsiteY212" fmla="*/ 173346 h 1609071"/>
                    <a:gd name="connsiteX213" fmla="*/ 373552 w 7415962"/>
                    <a:gd name="connsiteY213" fmla="*/ 151678 h 1609071"/>
                    <a:gd name="connsiteX214" fmla="*/ 356217 w 7415962"/>
                    <a:gd name="connsiteY214" fmla="*/ 151678 h 1609071"/>
                    <a:gd name="connsiteX215" fmla="*/ 356217 w 7415962"/>
                    <a:gd name="connsiteY215" fmla="*/ 138677 h 1609071"/>
                    <a:gd name="connsiteX216" fmla="*/ 304214 w 7415962"/>
                    <a:gd name="connsiteY216" fmla="*/ 138677 h 1609071"/>
                    <a:gd name="connsiteX217" fmla="*/ 304214 w 7415962"/>
                    <a:gd name="connsiteY217" fmla="*/ 95341 h 1609071"/>
                    <a:gd name="connsiteX218" fmla="*/ 269544 w 7415962"/>
                    <a:gd name="connsiteY218" fmla="*/ 95341 h 1609071"/>
                    <a:gd name="connsiteX219" fmla="*/ 269544 w 7415962"/>
                    <a:gd name="connsiteY219" fmla="*/ 82340 h 1609071"/>
                    <a:gd name="connsiteX220" fmla="*/ 234875 w 7415962"/>
                    <a:gd name="connsiteY220" fmla="*/ 82340 h 1609071"/>
                    <a:gd name="connsiteX221" fmla="*/ 234875 w 7415962"/>
                    <a:gd name="connsiteY221" fmla="*/ 47670 h 1609071"/>
                    <a:gd name="connsiteX222" fmla="*/ 208873 w 7415962"/>
                    <a:gd name="connsiteY222" fmla="*/ 47670 h 1609071"/>
                    <a:gd name="connsiteX223" fmla="*/ 208873 w 7415962"/>
                    <a:gd name="connsiteY223" fmla="*/ 39003 h 1609071"/>
                    <a:gd name="connsiteX224" fmla="*/ 156869 w 7415962"/>
                    <a:gd name="connsiteY224" fmla="*/ 39003 h 1609071"/>
                    <a:gd name="connsiteX225" fmla="*/ 156869 w 7415962"/>
                    <a:gd name="connsiteY225" fmla="*/ 26002 h 1609071"/>
                    <a:gd name="connsiteX226" fmla="*/ 122200 w 7415962"/>
                    <a:gd name="connsiteY226" fmla="*/ 26002 h 1609071"/>
                    <a:gd name="connsiteX227" fmla="*/ 122200 w 7415962"/>
                    <a:gd name="connsiteY227" fmla="*/ 0 h 1609071"/>
                    <a:gd name="connsiteX228" fmla="*/ 71291 w 7415962"/>
                    <a:gd name="connsiteY228" fmla="*/ 0 h 1609071"/>
                    <a:gd name="connsiteX229" fmla="*/ 71291 w 7415962"/>
                    <a:gd name="connsiteY229" fmla="*/ 40956 h 1609071"/>
                    <a:gd name="connsiteX230" fmla="*/ 858 w 7415962"/>
                    <a:gd name="connsiteY230" fmla="*/ 43337 h 1609071"/>
                    <a:gd name="connsiteX231" fmla="*/ 0 w 7415962"/>
                    <a:gd name="connsiteY231" fmla="*/ 39432 h 1609071"/>
                    <a:gd name="connsiteX232" fmla="*/ 22526 w 7415962"/>
                    <a:gd name="connsiteY232" fmla="*/ 52004 h 1609071"/>
                    <a:gd name="connsiteX233" fmla="*/ 22526 w 7415962"/>
                    <a:gd name="connsiteY233" fmla="*/ 65005 h 1609071"/>
                    <a:gd name="connsiteX234" fmla="*/ 52862 w 7415962"/>
                    <a:gd name="connsiteY234" fmla="*/ 65005 h 1609071"/>
                    <a:gd name="connsiteX235" fmla="*/ 52862 w 7415962"/>
                    <a:gd name="connsiteY235" fmla="*/ 86673 h 1609071"/>
                    <a:gd name="connsiteX236" fmla="*/ 78864 w 7415962"/>
                    <a:gd name="connsiteY236" fmla="*/ 86673 h 1609071"/>
                    <a:gd name="connsiteX237" fmla="*/ 78864 w 7415962"/>
                    <a:gd name="connsiteY237" fmla="*/ 125676 h 1609071"/>
                    <a:gd name="connsiteX238" fmla="*/ 139535 w 7415962"/>
                    <a:gd name="connsiteY238" fmla="*/ 125676 h 1609071"/>
                    <a:gd name="connsiteX239" fmla="*/ 148202 w 7415962"/>
                    <a:gd name="connsiteY239" fmla="*/ 134343 h 1609071"/>
                    <a:gd name="connsiteX240" fmla="*/ 165537 w 7415962"/>
                    <a:gd name="connsiteY240" fmla="*/ 134343 h 1609071"/>
                    <a:gd name="connsiteX241" fmla="*/ 165537 w 7415962"/>
                    <a:gd name="connsiteY241" fmla="*/ 156012 h 1609071"/>
                    <a:gd name="connsiteX242" fmla="*/ 182871 w 7415962"/>
                    <a:gd name="connsiteY242" fmla="*/ 156012 h 1609071"/>
                    <a:gd name="connsiteX243" fmla="*/ 195872 w 7415962"/>
                    <a:gd name="connsiteY243" fmla="*/ 169013 h 1609071"/>
                    <a:gd name="connsiteX244" fmla="*/ 226208 w 7415962"/>
                    <a:gd name="connsiteY244" fmla="*/ 169013 h 1609071"/>
                    <a:gd name="connsiteX245" fmla="*/ 226208 w 7415962"/>
                    <a:gd name="connsiteY245" fmla="*/ 208015 h 1609071"/>
                    <a:gd name="connsiteX246" fmla="*/ 252210 w 7415962"/>
                    <a:gd name="connsiteY246" fmla="*/ 208015 h 1609071"/>
                    <a:gd name="connsiteX247" fmla="*/ 260877 w 7415962"/>
                    <a:gd name="connsiteY247" fmla="*/ 216682 h 1609071"/>
                    <a:gd name="connsiteX248" fmla="*/ 273879 w 7415962"/>
                    <a:gd name="connsiteY248" fmla="*/ 229684 h 1609071"/>
                    <a:gd name="connsiteX249" fmla="*/ 273879 w 7415962"/>
                    <a:gd name="connsiteY249" fmla="*/ 251352 h 1609071"/>
                    <a:gd name="connsiteX250" fmla="*/ 304214 w 7415962"/>
                    <a:gd name="connsiteY250" fmla="*/ 251352 h 1609071"/>
                    <a:gd name="connsiteX251" fmla="*/ 304214 w 7415962"/>
                    <a:gd name="connsiteY251" fmla="*/ 268687 h 1609071"/>
                    <a:gd name="connsiteX252" fmla="*/ 343216 w 7415962"/>
                    <a:gd name="connsiteY252" fmla="*/ 268687 h 1609071"/>
                    <a:gd name="connsiteX253" fmla="*/ 343216 w 7415962"/>
                    <a:gd name="connsiteY253" fmla="*/ 286021 h 1609071"/>
                    <a:gd name="connsiteX254" fmla="*/ 386553 w 7415962"/>
                    <a:gd name="connsiteY254" fmla="*/ 286021 h 1609071"/>
                    <a:gd name="connsiteX255" fmla="*/ 386553 w 7415962"/>
                    <a:gd name="connsiteY255" fmla="*/ 286021 h 1609071"/>
                    <a:gd name="connsiteX256" fmla="*/ 408221 w 7415962"/>
                    <a:gd name="connsiteY256" fmla="*/ 307689 h 1609071"/>
                    <a:gd name="connsiteX257" fmla="*/ 425556 w 7415962"/>
                    <a:gd name="connsiteY257" fmla="*/ 325024 h 1609071"/>
                    <a:gd name="connsiteX258" fmla="*/ 473226 w 7415962"/>
                    <a:gd name="connsiteY258" fmla="*/ 325024 h 1609071"/>
                    <a:gd name="connsiteX259" fmla="*/ 473226 w 7415962"/>
                    <a:gd name="connsiteY259" fmla="*/ 355360 h 1609071"/>
                    <a:gd name="connsiteX260" fmla="*/ 512229 w 7415962"/>
                    <a:gd name="connsiteY260" fmla="*/ 355360 h 1609071"/>
                    <a:gd name="connsiteX261" fmla="*/ 512229 w 7415962"/>
                    <a:gd name="connsiteY261" fmla="*/ 377028 h 1609071"/>
                    <a:gd name="connsiteX262" fmla="*/ 559899 w 7415962"/>
                    <a:gd name="connsiteY262" fmla="*/ 377028 h 1609071"/>
                    <a:gd name="connsiteX263" fmla="*/ 559899 w 7415962"/>
                    <a:gd name="connsiteY263" fmla="*/ 398696 h 1609071"/>
                    <a:gd name="connsiteX264" fmla="*/ 590234 w 7415962"/>
                    <a:gd name="connsiteY264" fmla="*/ 398696 h 1609071"/>
                    <a:gd name="connsiteX265" fmla="*/ 603235 w 7415962"/>
                    <a:gd name="connsiteY265" fmla="*/ 411697 h 1609071"/>
                    <a:gd name="connsiteX266" fmla="*/ 650905 w 7415962"/>
                    <a:gd name="connsiteY266" fmla="*/ 411697 h 1609071"/>
                    <a:gd name="connsiteX267" fmla="*/ 650905 w 7415962"/>
                    <a:gd name="connsiteY267" fmla="*/ 450700 h 1609071"/>
                    <a:gd name="connsiteX268" fmla="*/ 759247 w 7415962"/>
                    <a:gd name="connsiteY268" fmla="*/ 450700 h 1609071"/>
                    <a:gd name="connsiteX269" fmla="*/ 759247 w 7415962"/>
                    <a:gd name="connsiteY269" fmla="*/ 481035 h 1609071"/>
                    <a:gd name="connsiteX270" fmla="*/ 876255 w 7415962"/>
                    <a:gd name="connsiteY270" fmla="*/ 481035 h 1609071"/>
                    <a:gd name="connsiteX271" fmla="*/ 876255 w 7415962"/>
                    <a:gd name="connsiteY271" fmla="*/ 507037 h 1609071"/>
                    <a:gd name="connsiteX272" fmla="*/ 928259 w 7415962"/>
                    <a:gd name="connsiteY272" fmla="*/ 507037 h 1609071"/>
                    <a:gd name="connsiteX273" fmla="*/ 928259 w 7415962"/>
                    <a:gd name="connsiteY273" fmla="*/ 524372 h 1609071"/>
                    <a:gd name="connsiteX274" fmla="*/ 980263 w 7415962"/>
                    <a:gd name="connsiteY274" fmla="*/ 524372 h 1609071"/>
                    <a:gd name="connsiteX275" fmla="*/ 993264 w 7415962"/>
                    <a:gd name="connsiteY275" fmla="*/ 524372 h 1609071"/>
                    <a:gd name="connsiteX276" fmla="*/ 1006265 w 7415962"/>
                    <a:gd name="connsiteY276" fmla="*/ 537373 h 1609071"/>
                    <a:gd name="connsiteX277" fmla="*/ 1023170 w 7415962"/>
                    <a:gd name="connsiteY277" fmla="*/ 544516 h 1609071"/>
                    <a:gd name="connsiteX278" fmla="*/ 1058268 w 7415962"/>
                    <a:gd name="connsiteY278" fmla="*/ 549279 h 1609071"/>
                    <a:gd name="connsiteX279" fmla="*/ 1058268 w 7415962"/>
                    <a:gd name="connsiteY279" fmla="*/ 563375 h 1609071"/>
                    <a:gd name="connsiteX280" fmla="*/ 1079937 w 7415962"/>
                    <a:gd name="connsiteY280" fmla="*/ 563375 h 1609071"/>
                    <a:gd name="connsiteX281" fmla="*/ 1079937 w 7415962"/>
                    <a:gd name="connsiteY281" fmla="*/ 576376 h 1609071"/>
                    <a:gd name="connsiteX282" fmla="*/ 1157942 w 7415962"/>
                    <a:gd name="connsiteY282" fmla="*/ 576376 h 1609071"/>
                    <a:gd name="connsiteX283" fmla="*/ 1157942 w 7415962"/>
                    <a:gd name="connsiteY283" fmla="*/ 589377 h 1609071"/>
                    <a:gd name="connsiteX284" fmla="*/ 1196945 w 7415962"/>
                    <a:gd name="connsiteY284" fmla="*/ 589377 h 1609071"/>
                    <a:gd name="connsiteX285" fmla="*/ 1196945 w 7415962"/>
                    <a:gd name="connsiteY285" fmla="*/ 598044 h 1609071"/>
                    <a:gd name="connsiteX286" fmla="*/ 1244615 w 7415962"/>
                    <a:gd name="connsiteY286" fmla="*/ 598044 h 1609071"/>
                    <a:gd name="connsiteX287" fmla="*/ 1257616 w 7415962"/>
                    <a:gd name="connsiteY287" fmla="*/ 611045 h 1609071"/>
                    <a:gd name="connsiteX288" fmla="*/ 1270617 w 7415962"/>
                    <a:gd name="connsiteY288" fmla="*/ 624046 h 1609071"/>
                    <a:gd name="connsiteX289" fmla="*/ 1335622 w 7415962"/>
                    <a:gd name="connsiteY289" fmla="*/ 624046 h 1609071"/>
                    <a:gd name="connsiteX290" fmla="*/ 1335622 w 7415962"/>
                    <a:gd name="connsiteY290" fmla="*/ 645714 h 1609071"/>
                    <a:gd name="connsiteX291" fmla="*/ 1426629 w 7415962"/>
                    <a:gd name="connsiteY291" fmla="*/ 645714 h 1609071"/>
                    <a:gd name="connsiteX292" fmla="*/ 1435296 w 7415962"/>
                    <a:gd name="connsiteY292" fmla="*/ 654381 h 1609071"/>
                    <a:gd name="connsiteX293" fmla="*/ 1456964 w 7415962"/>
                    <a:gd name="connsiteY293" fmla="*/ 654381 h 1609071"/>
                    <a:gd name="connsiteX294" fmla="*/ 1456964 w 7415962"/>
                    <a:gd name="connsiteY294" fmla="*/ 667382 h 1609071"/>
                    <a:gd name="connsiteX295" fmla="*/ 1508968 w 7415962"/>
                    <a:gd name="connsiteY295" fmla="*/ 667382 h 1609071"/>
                    <a:gd name="connsiteX296" fmla="*/ 1508968 w 7415962"/>
                    <a:gd name="connsiteY296" fmla="*/ 684717 h 1609071"/>
                    <a:gd name="connsiteX297" fmla="*/ 1565305 w 7415962"/>
                    <a:gd name="connsiteY297" fmla="*/ 684717 h 1609071"/>
                    <a:gd name="connsiteX298" fmla="*/ 1572020 w 7415962"/>
                    <a:gd name="connsiteY298" fmla="*/ 693814 h 1609071"/>
                    <a:gd name="connsiteX299" fmla="*/ 1610595 w 7415962"/>
                    <a:gd name="connsiteY299" fmla="*/ 696194 h 1609071"/>
                    <a:gd name="connsiteX300" fmla="*/ 1628358 w 7415962"/>
                    <a:gd name="connsiteY300" fmla="*/ 709196 h 1609071"/>
                    <a:gd name="connsiteX301" fmla="*/ 1677980 w 7415962"/>
                    <a:gd name="connsiteY301" fmla="*/ 709196 h 1609071"/>
                    <a:gd name="connsiteX302" fmla="*/ 1679504 w 7415962"/>
                    <a:gd name="connsiteY302" fmla="*/ 722627 h 1609071"/>
                    <a:gd name="connsiteX303" fmla="*/ 1703981 w 7415962"/>
                    <a:gd name="connsiteY303" fmla="*/ 728053 h 1609071"/>
                    <a:gd name="connsiteX304" fmla="*/ 1716982 w 7415962"/>
                    <a:gd name="connsiteY304" fmla="*/ 741054 h 1609071"/>
                    <a:gd name="connsiteX305" fmla="*/ 1751652 w 7415962"/>
                    <a:gd name="connsiteY305" fmla="*/ 745816 h 1609071"/>
                    <a:gd name="connsiteX306" fmla="*/ 1751652 w 7415962"/>
                    <a:gd name="connsiteY306" fmla="*/ 767056 h 1609071"/>
                    <a:gd name="connsiteX307" fmla="*/ 1799323 w 7415962"/>
                    <a:gd name="connsiteY307" fmla="*/ 767056 h 1609071"/>
                    <a:gd name="connsiteX308" fmla="*/ 1799323 w 7415962"/>
                    <a:gd name="connsiteY308" fmla="*/ 780057 h 1609071"/>
                    <a:gd name="connsiteX309" fmla="*/ 1842659 w 7415962"/>
                    <a:gd name="connsiteY309" fmla="*/ 780057 h 1609071"/>
                    <a:gd name="connsiteX310" fmla="*/ 1842659 w 7415962"/>
                    <a:gd name="connsiteY310" fmla="*/ 797392 h 1609071"/>
                    <a:gd name="connsiteX311" fmla="*/ 1877328 w 7415962"/>
                    <a:gd name="connsiteY311" fmla="*/ 797392 h 1609071"/>
                    <a:gd name="connsiteX312" fmla="*/ 1888378 w 7415962"/>
                    <a:gd name="connsiteY312" fmla="*/ 813204 h 1609071"/>
                    <a:gd name="connsiteX313" fmla="*/ 1961620 w 7415962"/>
                    <a:gd name="connsiteY313" fmla="*/ 813204 h 1609071"/>
                    <a:gd name="connsiteX314" fmla="*/ 2007338 w 7415962"/>
                    <a:gd name="connsiteY314" fmla="*/ 813204 h 1609071"/>
                    <a:gd name="connsiteX315" fmla="*/ 2007597 w 7415962"/>
                    <a:gd name="connsiteY315" fmla="*/ 826521 h 1609071"/>
                    <a:gd name="connsiteX316" fmla="*/ 2045697 w 7415962"/>
                    <a:gd name="connsiteY316" fmla="*/ 828902 h 1609071"/>
                    <a:gd name="connsiteX317" fmla="*/ 2049580 w 7415962"/>
                    <a:gd name="connsiteY317" fmla="*/ 850683 h 1609071"/>
                    <a:gd name="connsiteX318" fmla="*/ 2109393 w 7415962"/>
                    <a:gd name="connsiteY318" fmla="*/ 848301 h 1609071"/>
                    <a:gd name="connsiteX319" fmla="*/ 2107012 w 7415962"/>
                    <a:gd name="connsiteY319" fmla="*/ 862396 h 1609071"/>
                    <a:gd name="connsiteX320" fmla="*/ 2120013 w 7415962"/>
                    <a:gd name="connsiteY320" fmla="*/ 862396 h 1609071"/>
                    <a:gd name="connsiteX321" fmla="*/ 2137347 w 7415962"/>
                    <a:gd name="connsiteY321" fmla="*/ 862396 h 1609071"/>
                    <a:gd name="connsiteX322" fmla="*/ 2185017 w 7415962"/>
                    <a:gd name="connsiteY322" fmla="*/ 862396 h 1609071"/>
                    <a:gd name="connsiteX323" fmla="*/ 2185017 w 7415962"/>
                    <a:gd name="connsiteY323" fmla="*/ 888398 h 1609071"/>
                    <a:gd name="connsiteX324" fmla="*/ 2201112 w 7415962"/>
                    <a:gd name="connsiteY324" fmla="*/ 883636 h 1609071"/>
                    <a:gd name="connsiteX325" fmla="*/ 2241591 w 7415962"/>
                    <a:gd name="connsiteY325" fmla="*/ 881254 h 1609071"/>
                    <a:gd name="connsiteX326" fmla="*/ 2240960 w 7415962"/>
                    <a:gd name="connsiteY326" fmla="*/ 914626 h 1609071"/>
                    <a:gd name="connsiteX327" fmla="*/ 2266498 w 7415962"/>
                    <a:gd name="connsiteY327" fmla="*/ 915879 h 1609071"/>
                    <a:gd name="connsiteX328" fmla="*/ 2267154 w 7415962"/>
                    <a:gd name="connsiteY328" fmla="*/ 878908 h 1609071"/>
                    <a:gd name="connsiteX329" fmla="*/ 2294883 w 7415962"/>
                    <a:gd name="connsiteY329" fmla="*/ 877780 h 1609071"/>
                    <a:gd name="connsiteX330" fmla="*/ 2294883 w 7415962"/>
                    <a:gd name="connsiteY330" fmla="*/ 912018 h 1609071"/>
                    <a:gd name="connsiteX331" fmla="*/ 2336695 w 7415962"/>
                    <a:gd name="connsiteY331" fmla="*/ 914400 h 1609071"/>
                    <a:gd name="connsiteX332" fmla="*/ 2336695 w 7415962"/>
                    <a:gd name="connsiteY332" fmla="*/ 923068 h 1609071"/>
                    <a:gd name="connsiteX333" fmla="*/ 2401700 w 7415962"/>
                    <a:gd name="connsiteY333" fmla="*/ 923068 h 1609071"/>
                    <a:gd name="connsiteX334" fmla="*/ 2401700 w 7415962"/>
                    <a:gd name="connsiteY334" fmla="*/ 936069 h 1609071"/>
                    <a:gd name="connsiteX335" fmla="*/ 2440703 w 7415962"/>
                    <a:gd name="connsiteY335" fmla="*/ 936069 h 1609071"/>
                    <a:gd name="connsiteX336" fmla="*/ 2453704 w 7415962"/>
                    <a:gd name="connsiteY336" fmla="*/ 949070 h 1609071"/>
                    <a:gd name="connsiteX337" fmla="*/ 2501374 w 7415962"/>
                    <a:gd name="connsiteY337" fmla="*/ 949070 h 1609071"/>
                    <a:gd name="connsiteX338" fmla="*/ 2514375 w 7415962"/>
                    <a:gd name="connsiteY338" fmla="*/ 962071 h 1609071"/>
                    <a:gd name="connsiteX339" fmla="*/ 2544710 w 7415962"/>
                    <a:gd name="connsiteY339" fmla="*/ 962071 h 1609071"/>
                    <a:gd name="connsiteX340" fmla="*/ 2544710 w 7415962"/>
                    <a:gd name="connsiteY340" fmla="*/ 979405 h 1609071"/>
                    <a:gd name="connsiteX341" fmla="*/ 2592380 w 7415962"/>
                    <a:gd name="connsiteY341" fmla="*/ 979405 h 1609071"/>
                    <a:gd name="connsiteX342" fmla="*/ 2592380 w 7415962"/>
                    <a:gd name="connsiteY342" fmla="*/ 1001073 h 1609071"/>
                    <a:gd name="connsiteX343" fmla="*/ 2640050 w 7415962"/>
                    <a:gd name="connsiteY343" fmla="*/ 1001073 h 1609071"/>
                    <a:gd name="connsiteX344" fmla="*/ 2640050 w 7415962"/>
                    <a:gd name="connsiteY344" fmla="*/ 1022742 h 1609071"/>
                    <a:gd name="connsiteX345" fmla="*/ 2700722 w 7415962"/>
                    <a:gd name="connsiteY345" fmla="*/ 1022742 h 1609071"/>
                    <a:gd name="connsiteX346" fmla="*/ 2700722 w 7415962"/>
                    <a:gd name="connsiteY346" fmla="*/ 1040076 h 1609071"/>
                    <a:gd name="connsiteX347" fmla="*/ 2809063 w 7415962"/>
                    <a:gd name="connsiteY347" fmla="*/ 1040076 h 1609071"/>
                    <a:gd name="connsiteX348" fmla="*/ 2817730 w 7415962"/>
                    <a:gd name="connsiteY348" fmla="*/ 1048743 h 1609071"/>
                    <a:gd name="connsiteX349" fmla="*/ 2826398 w 7415962"/>
                    <a:gd name="connsiteY349" fmla="*/ 1057411 h 1609071"/>
                    <a:gd name="connsiteX350" fmla="*/ 2865400 w 7415962"/>
                    <a:gd name="connsiteY350" fmla="*/ 1057411 h 1609071"/>
                    <a:gd name="connsiteX351" fmla="*/ 2887068 w 7415962"/>
                    <a:gd name="connsiteY351" fmla="*/ 1057411 h 1609071"/>
                    <a:gd name="connsiteX352" fmla="*/ 2900069 w 7415962"/>
                    <a:gd name="connsiteY352" fmla="*/ 1057411 h 1609071"/>
                    <a:gd name="connsiteX353" fmla="*/ 2917404 w 7415962"/>
                    <a:gd name="connsiteY353" fmla="*/ 1074746 h 1609071"/>
                    <a:gd name="connsiteX354" fmla="*/ 2969408 w 7415962"/>
                    <a:gd name="connsiteY354" fmla="*/ 1074746 h 1609071"/>
                    <a:gd name="connsiteX355" fmla="*/ 2969408 w 7415962"/>
                    <a:gd name="connsiteY355" fmla="*/ 1092080 h 1609071"/>
                    <a:gd name="connsiteX356" fmla="*/ 3135610 w 7415962"/>
                    <a:gd name="connsiteY356" fmla="*/ 1094462 h 1609071"/>
                    <a:gd name="connsiteX357" fmla="*/ 3135611 w 7415962"/>
                    <a:gd name="connsiteY357" fmla="*/ 1122414 h 1609071"/>
                    <a:gd name="connsiteX358" fmla="*/ 3212092 w 7415962"/>
                    <a:gd name="connsiteY358" fmla="*/ 1122415 h 1609071"/>
                    <a:gd name="connsiteX359" fmla="*/ 3216426 w 7415962"/>
                    <a:gd name="connsiteY359" fmla="*/ 1122415 h 1609071"/>
                    <a:gd name="connsiteX360" fmla="*/ 3303099 w 7415962"/>
                    <a:gd name="connsiteY360" fmla="*/ 1124796 h 1609071"/>
                    <a:gd name="connsiteX361" fmla="*/ 3303099 w 7415962"/>
                    <a:gd name="connsiteY361" fmla="*/ 1141273 h 1609071"/>
                    <a:gd name="connsiteX362" fmla="*/ 3396916 w 7415962"/>
                    <a:gd name="connsiteY362" fmla="*/ 1141273 h 1609071"/>
                    <a:gd name="connsiteX363" fmla="*/ 3396915 w 7415962"/>
                    <a:gd name="connsiteY363" fmla="*/ 1154703 h 1609071"/>
                    <a:gd name="connsiteX364" fmla="*/ 3446109 w 7415962"/>
                    <a:gd name="connsiteY364" fmla="*/ 1157085 h 1609071"/>
                    <a:gd name="connsiteX365" fmla="*/ 3445253 w 7415962"/>
                    <a:gd name="connsiteY365" fmla="*/ 1165753 h 1609071"/>
                    <a:gd name="connsiteX366" fmla="*/ 3597787 w 7415962"/>
                    <a:gd name="connsiteY366" fmla="*/ 1165753 h 1609071"/>
                    <a:gd name="connsiteX367" fmla="*/ 3597787 w 7415962"/>
                    <a:gd name="connsiteY367" fmla="*/ 1178753 h 1609071"/>
                    <a:gd name="connsiteX368" fmla="*/ 3706128 w 7415962"/>
                    <a:gd name="connsiteY368" fmla="*/ 1178753 h 1609071"/>
                    <a:gd name="connsiteX369" fmla="*/ 3710462 w 7415962"/>
                    <a:gd name="connsiteY369" fmla="*/ 1183087 h 1609071"/>
                    <a:gd name="connsiteX370" fmla="*/ 3964195 w 7415962"/>
                    <a:gd name="connsiteY370" fmla="*/ 1187849 h 1609071"/>
                    <a:gd name="connsiteX371" fmla="*/ 3961814 w 7415962"/>
                    <a:gd name="connsiteY371" fmla="*/ 1204755 h 1609071"/>
                    <a:gd name="connsiteX372" fmla="*/ 3992149 w 7415962"/>
                    <a:gd name="connsiteY372" fmla="*/ 1204755 h 1609071"/>
                    <a:gd name="connsiteX373" fmla="*/ 3992149 w 7415962"/>
                    <a:gd name="connsiteY373" fmla="*/ 1178753 h 1609071"/>
                    <a:gd name="connsiteX374" fmla="*/ 4031152 w 7415962"/>
                    <a:gd name="connsiteY374" fmla="*/ 1178753 h 1609071"/>
                    <a:gd name="connsiteX375" fmla="*/ 4031152 w 7415962"/>
                    <a:gd name="connsiteY375" fmla="*/ 1213422 h 1609071"/>
                    <a:gd name="connsiteX376" fmla="*/ 4044153 w 7415962"/>
                    <a:gd name="connsiteY376" fmla="*/ 1213422 h 1609071"/>
                    <a:gd name="connsiteX377" fmla="*/ 4044153 w 7415962"/>
                    <a:gd name="connsiteY377" fmla="*/ 1222089 h 1609071"/>
                    <a:gd name="connsiteX378" fmla="*/ 4165495 w 7415962"/>
                    <a:gd name="connsiteY378" fmla="*/ 1222089 h 1609071"/>
                    <a:gd name="connsiteX379" fmla="*/ 4165495 w 7415962"/>
                    <a:gd name="connsiteY379" fmla="*/ 1243758 h 1609071"/>
                    <a:gd name="connsiteX380" fmla="*/ 4321506 w 7415962"/>
                    <a:gd name="connsiteY380" fmla="*/ 1243758 h 1609071"/>
                    <a:gd name="connsiteX381" fmla="*/ 4321506 w 7415962"/>
                    <a:gd name="connsiteY381" fmla="*/ 1261092 h 1609071"/>
                    <a:gd name="connsiteX382" fmla="*/ 4399512 w 7415962"/>
                    <a:gd name="connsiteY382" fmla="*/ 1261092 h 1609071"/>
                    <a:gd name="connsiteX383" fmla="*/ 4399512 w 7415962"/>
                    <a:gd name="connsiteY383" fmla="*/ 1287094 h 1609071"/>
                    <a:gd name="connsiteX384" fmla="*/ 4451516 w 7415962"/>
                    <a:gd name="connsiteY384" fmla="*/ 1287094 h 1609071"/>
                    <a:gd name="connsiteX385" fmla="*/ 4477518 w 7415962"/>
                    <a:gd name="connsiteY385" fmla="*/ 1287094 h 1609071"/>
                    <a:gd name="connsiteX386" fmla="*/ 4499186 w 7415962"/>
                    <a:gd name="connsiteY386" fmla="*/ 1308762 h 1609071"/>
                    <a:gd name="connsiteX387" fmla="*/ 4594526 w 7415962"/>
                    <a:gd name="connsiteY387" fmla="*/ 1308762 h 1609071"/>
                    <a:gd name="connsiteX388" fmla="*/ 4598431 w 7415962"/>
                    <a:gd name="connsiteY388" fmla="*/ 1317430 h 1609071"/>
                    <a:gd name="connsiteX389" fmla="*/ 4663865 w 7415962"/>
                    <a:gd name="connsiteY389" fmla="*/ 1317430 h 1609071"/>
                    <a:gd name="connsiteX390" fmla="*/ 4663865 w 7415962"/>
                    <a:gd name="connsiteY390" fmla="*/ 1339098 h 1609071"/>
                    <a:gd name="connsiteX391" fmla="*/ 4707201 w 7415962"/>
                    <a:gd name="connsiteY391" fmla="*/ 1339098 h 1609071"/>
                    <a:gd name="connsiteX392" fmla="*/ 4711535 w 7415962"/>
                    <a:gd name="connsiteY392" fmla="*/ 1343432 h 1609071"/>
                    <a:gd name="connsiteX393" fmla="*/ 4767872 w 7415962"/>
                    <a:gd name="connsiteY393" fmla="*/ 1343432 h 1609071"/>
                    <a:gd name="connsiteX394" fmla="*/ 4766585 w 7415962"/>
                    <a:gd name="connsiteY394" fmla="*/ 1358814 h 1609071"/>
                    <a:gd name="connsiteX395" fmla="*/ 5006223 w 7415962"/>
                    <a:gd name="connsiteY395" fmla="*/ 1356433 h 1609071"/>
                    <a:gd name="connsiteX396" fmla="*/ 5019224 w 7415962"/>
                    <a:gd name="connsiteY396" fmla="*/ 1369434 h 1609071"/>
                    <a:gd name="connsiteX397" fmla="*/ 5153567 w 7415962"/>
                    <a:gd name="connsiteY397" fmla="*/ 1369434 h 1609071"/>
                    <a:gd name="connsiteX398" fmla="*/ 5153567 w 7415962"/>
                    <a:gd name="connsiteY398" fmla="*/ 1391102 h 1609071"/>
                    <a:gd name="connsiteX399" fmla="*/ 5283577 w 7415962"/>
                    <a:gd name="connsiteY399" fmla="*/ 1391102 h 1609071"/>
                    <a:gd name="connsiteX400" fmla="*/ 5292244 w 7415962"/>
                    <a:gd name="connsiteY400" fmla="*/ 1399769 h 1609071"/>
                    <a:gd name="connsiteX401" fmla="*/ 5357249 w 7415962"/>
                    <a:gd name="connsiteY401" fmla="*/ 1399769 h 1609071"/>
                    <a:gd name="connsiteX402" fmla="*/ 5370250 w 7415962"/>
                    <a:gd name="connsiteY402" fmla="*/ 1399769 h 1609071"/>
                    <a:gd name="connsiteX403" fmla="*/ 5370250 w 7415962"/>
                    <a:gd name="connsiteY403" fmla="*/ 1421437 h 1609071"/>
                    <a:gd name="connsiteX404" fmla="*/ 5474257 w 7415962"/>
                    <a:gd name="connsiteY404" fmla="*/ 1421437 h 1609071"/>
                    <a:gd name="connsiteX405" fmla="*/ 5474257 w 7415962"/>
                    <a:gd name="connsiteY405" fmla="*/ 1399769 h 1609071"/>
                    <a:gd name="connsiteX406" fmla="*/ 5513260 w 7415962"/>
                    <a:gd name="connsiteY406" fmla="*/ 1399769 h 1609071"/>
                    <a:gd name="connsiteX407" fmla="*/ 5513260 w 7415962"/>
                    <a:gd name="connsiteY407" fmla="*/ 1425771 h 1609071"/>
                    <a:gd name="connsiteX408" fmla="*/ 5608600 w 7415962"/>
                    <a:gd name="connsiteY408" fmla="*/ 1425771 h 1609071"/>
                    <a:gd name="connsiteX409" fmla="*/ 5608600 w 7415962"/>
                    <a:gd name="connsiteY409" fmla="*/ 1399769 h 1609071"/>
                    <a:gd name="connsiteX410" fmla="*/ 5664938 w 7415962"/>
                    <a:gd name="connsiteY410" fmla="*/ 1399769 h 1609071"/>
                    <a:gd name="connsiteX411" fmla="*/ 5664938 w 7415962"/>
                    <a:gd name="connsiteY411" fmla="*/ 1434438 h 1609071"/>
                    <a:gd name="connsiteX412" fmla="*/ 5686606 w 7415962"/>
                    <a:gd name="connsiteY412" fmla="*/ 1434438 h 1609071"/>
                    <a:gd name="connsiteX413" fmla="*/ 5686606 w 7415962"/>
                    <a:gd name="connsiteY413" fmla="*/ 1443106 h 1609071"/>
                    <a:gd name="connsiteX414" fmla="*/ 5716941 w 7415962"/>
                    <a:gd name="connsiteY414" fmla="*/ 1443106 h 1609071"/>
                    <a:gd name="connsiteX415" fmla="*/ 5716941 w 7415962"/>
                    <a:gd name="connsiteY415" fmla="*/ 1456106 h 1609071"/>
                    <a:gd name="connsiteX416" fmla="*/ 5794947 w 7415962"/>
                    <a:gd name="connsiteY416" fmla="*/ 1456106 h 1609071"/>
                    <a:gd name="connsiteX417" fmla="*/ 5794947 w 7415962"/>
                    <a:gd name="connsiteY417" fmla="*/ 1421437 h 1609071"/>
                    <a:gd name="connsiteX418" fmla="*/ 5838284 w 7415962"/>
                    <a:gd name="connsiteY418" fmla="*/ 1421437 h 1609071"/>
                    <a:gd name="connsiteX419" fmla="*/ 5838284 w 7415962"/>
                    <a:gd name="connsiteY419" fmla="*/ 1456106 h 1609071"/>
                    <a:gd name="connsiteX420" fmla="*/ 5903288 w 7415962"/>
                    <a:gd name="connsiteY420" fmla="*/ 1456106 h 1609071"/>
                    <a:gd name="connsiteX421" fmla="*/ 5929290 w 7415962"/>
                    <a:gd name="connsiteY421" fmla="*/ 1456106 h 1609071"/>
                    <a:gd name="connsiteX422" fmla="*/ 5929290 w 7415962"/>
                    <a:gd name="connsiteY422" fmla="*/ 1473441 h 1609071"/>
                    <a:gd name="connsiteX423" fmla="*/ 5946625 w 7415962"/>
                    <a:gd name="connsiteY423" fmla="*/ 1473441 h 1609071"/>
                    <a:gd name="connsiteX424" fmla="*/ 5950959 w 7415962"/>
                    <a:gd name="connsiteY424" fmla="*/ 1477775 h 1609071"/>
                    <a:gd name="connsiteX425" fmla="*/ 6020297 w 7415962"/>
                    <a:gd name="connsiteY425" fmla="*/ 1477775 h 1609071"/>
                    <a:gd name="connsiteX426" fmla="*/ 6020297 w 7415962"/>
                    <a:gd name="connsiteY426" fmla="*/ 1456106 h 1609071"/>
                    <a:gd name="connsiteX427" fmla="*/ 6059300 w 7415962"/>
                    <a:gd name="connsiteY427" fmla="*/ 1456106 h 1609071"/>
                    <a:gd name="connsiteX428" fmla="*/ 6059300 w 7415962"/>
                    <a:gd name="connsiteY428" fmla="*/ 1499443 h 1609071"/>
                    <a:gd name="connsiteX429" fmla="*/ 6111304 w 7415962"/>
                    <a:gd name="connsiteY429" fmla="*/ 1499443 h 1609071"/>
                    <a:gd name="connsiteX430" fmla="*/ 6111304 w 7415962"/>
                    <a:gd name="connsiteY430" fmla="*/ 1508110 h 1609071"/>
                    <a:gd name="connsiteX431" fmla="*/ 6189309 w 7415962"/>
                    <a:gd name="connsiteY431" fmla="*/ 1508110 h 1609071"/>
                    <a:gd name="connsiteX432" fmla="*/ 6189309 w 7415962"/>
                    <a:gd name="connsiteY432" fmla="*/ 1464774 h 1609071"/>
                    <a:gd name="connsiteX433" fmla="*/ 6228312 w 7415962"/>
                    <a:gd name="connsiteY433" fmla="*/ 1464774 h 1609071"/>
                    <a:gd name="connsiteX434" fmla="*/ 6228312 w 7415962"/>
                    <a:gd name="connsiteY434" fmla="*/ 1516778 h 1609071"/>
                    <a:gd name="connsiteX435" fmla="*/ 6353988 w 7415962"/>
                    <a:gd name="connsiteY435" fmla="*/ 1516778 h 1609071"/>
                    <a:gd name="connsiteX436" fmla="*/ 6353988 w 7415962"/>
                    <a:gd name="connsiteY436" fmla="*/ 1477775 h 1609071"/>
                    <a:gd name="connsiteX437" fmla="*/ 6398419 w 7415962"/>
                    <a:gd name="connsiteY437" fmla="*/ 1475394 h 1609071"/>
                    <a:gd name="connsiteX438" fmla="*/ 6400800 w 7415962"/>
                    <a:gd name="connsiteY438" fmla="*/ 1529778 h 1609071"/>
                    <a:gd name="connsiteX439" fmla="*/ 6448472 w 7415962"/>
                    <a:gd name="connsiteY439" fmla="*/ 1529778 h 1609071"/>
                    <a:gd name="connsiteX440" fmla="*/ 6448469 w 7415962"/>
                    <a:gd name="connsiteY440" fmla="*/ 1479728 h 1609071"/>
                    <a:gd name="connsiteX441" fmla="*/ 6488331 w 7415962"/>
                    <a:gd name="connsiteY441" fmla="*/ 1482108 h 1609071"/>
                    <a:gd name="connsiteX442" fmla="*/ 6488331 w 7415962"/>
                    <a:gd name="connsiteY442" fmla="*/ 1529778 h 1609071"/>
                    <a:gd name="connsiteX443" fmla="*/ 6562003 w 7415962"/>
                    <a:gd name="connsiteY443" fmla="*/ 1529778 h 1609071"/>
                    <a:gd name="connsiteX444" fmla="*/ 6566337 w 7415962"/>
                    <a:gd name="connsiteY444" fmla="*/ 1534112 h 1609071"/>
                    <a:gd name="connsiteX445" fmla="*/ 6675107 w 7415962"/>
                    <a:gd name="connsiteY445" fmla="*/ 1536493 h 1609071"/>
                    <a:gd name="connsiteX446" fmla="*/ 6677488 w 7415962"/>
                    <a:gd name="connsiteY446" fmla="*/ 1499443 h 1609071"/>
                    <a:gd name="connsiteX447" fmla="*/ 6739683 w 7415962"/>
                    <a:gd name="connsiteY447" fmla="*/ 1499443 h 1609071"/>
                    <a:gd name="connsiteX448" fmla="*/ 6739683 w 7415962"/>
                    <a:gd name="connsiteY448" fmla="*/ 1542779 h 1609071"/>
                    <a:gd name="connsiteX449" fmla="*/ 6796020 w 7415962"/>
                    <a:gd name="connsiteY449" fmla="*/ 1542779 h 1609071"/>
                    <a:gd name="connsiteX450" fmla="*/ 6796020 w 7415962"/>
                    <a:gd name="connsiteY450" fmla="*/ 1499443 h 1609071"/>
                    <a:gd name="connsiteX451" fmla="*/ 6830689 w 7415962"/>
                    <a:gd name="connsiteY451" fmla="*/ 1499443 h 1609071"/>
                    <a:gd name="connsiteX452" fmla="*/ 6830689 w 7415962"/>
                    <a:gd name="connsiteY452" fmla="*/ 1529778 h 1609071"/>
                    <a:gd name="connsiteX453" fmla="*/ 6848024 w 7415962"/>
                    <a:gd name="connsiteY453" fmla="*/ 1529778 h 1609071"/>
                    <a:gd name="connsiteX454" fmla="*/ 6848024 w 7415962"/>
                    <a:gd name="connsiteY454" fmla="*/ 1555780 h 1609071"/>
                    <a:gd name="connsiteX455" fmla="*/ 7051705 w 7415962"/>
                    <a:gd name="connsiteY455" fmla="*/ 1555780 h 1609071"/>
                    <a:gd name="connsiteX456" fmla="*/ 7064706 w 7415962"/>
                    <a:gd name="connsiteY456" fmla="*/ 1568781 h 1609071"/>
                    <a:gd name="connsiteX457" fmla="*/ 7134045 w 7415962"/>
                    <a:gd name="connsiteY457" fmla="*/ 1568781 h 1609071"/>
                    <a:gd name="connsiteX458" fmla="*/ 7134045 w 7415962"/>
                    <a:gd name="connsiteY458" fmla="*/ 1586116 h 1609071"/>
                    <a:gd name="connsiteX459" fmla="*/ 7285723 w 7415962"/>
                    <a:gd name="connsiteY459" fmla="*/ 1586116 h 1609071"/>
                    <a:gd name="connsiteX460" fmla="*/ 7285723 w 7415962"/>
                    <a:gd name="connsiteY460" fmla="*/ 1607784 h 1609071"/>
                    <a:gd name="connsiteX461" fmla="*/ 7415734 w 7415962"/>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40956 h 1609071"/>
                    <a:gd name="connsiteX230" fmla="*/ 15146 w 7430250"/>
                    <a:gd name="connsiteY230" fmla="*/ 43337 h 1609071"/>
                    <a:gd name="connsiteX231" fmla="*/ 0 w 7430250"/>
                    <a:gd name="connsiteY231" fmla="*/ 41814 h 1609071"/>
                    <a:gd name="connsiteX232" fmla="*/ 36814 w 7430250"/>
                    <a:gd name="connsiteY232" fmla="*/ 52004 h 1609071"/>
                    <a:gd name="connsiteX233" fmla="*/ 36814 w 7430250"/>
                    <a:gd name="connsiteY233" fmla="*/ 65005 h 1609071"/>
                    <a:gd name="connsiteX234" fmla="*/ 67150 w 7430250"/>
                    <a:gd name="connsiteY234" fmla="*/ 65005 h 1609071"/>
                    <a:gd name="connsiteX235" fmla="*/ 67150 w 7430250"/>
                    <a:gd name="connsiteY235" fmla="*/ 86673 h 1609071"/>
                    <a:gd name="connsiteX236" fmla="*/ 93152 w 7430250"/>
                    <a:gd name="connsiteY236" fmla="*/ 86673 h 1609071"/>
                    <a:gd name="connsiteX237" fmla="*/ 93152 w 7430250"/>
                    <a:gd name="connsiteY237" fmla="*/ 125676 h 1609071"/>
                    <a:gd name="connsiteX238" fmla="*/ 153823 w 7430250"/>
                    <a:gd name="connsiteY238" fmla="*/ 125676 h 1609071"/>
                    <a:gd name="connsiteX239" fmla="*/ 162490 w 7430250"/>
                    <a:gd name="connsiteY239" fmla="*/ 134343 h 1609071"/>
                    <a:gd name="connsiteX240" fmla="*/ 179825 w 7430250"/>
                    <a:gd name="connsiteY240" fmla="*/ 134343 h 1609071"/>
                    <a:gd name="connsiteX241" fmla="*/ 179825 w 7430250"/>
                    <a:gd name="connsiteY241" fmla="*/ 156012 h 1609071"/>
                    <a:gd name="connsiteX242" fmla="*/ 197159 w 7430250"/>
                    <a:gd name="connsiteY242" fmla="*/ 156012 h 1609071"/>
                    <a:gd name="connsiteX243" fmla="*/ 210160 w 7430250"/>
                    <a:gd name="connsiteY243" fmla="*/ 169013 h 1609071"/>
                    <a:gd name="connsiteX244" fmla="*/ 240496 w 7430250"/>
                    <a:gd name="connsiteY244" fmla="*/ 169013 h 1609071"/>
                    <a:gd name="connsiteX245" fmla="*/ 240496 w 7430250"/>
                    <a:gd name="connsiteY245" fmla="*/ 208015 h 1609071"/>
                    <a:gd name="connsiteX246" fmla="*/ 266498 w 7430250"/>
                    <a:gd name="connsiteY246" fmla="*/ 208015 h 1609071"/>
                    <a:gd name="connsiteX247" fmla="*/ 275165 w 7430250"/>
                    <a:gd name="connsiteY247" fmla="*/ 216682 h 1609071"/>
                    <a:gd name="connsiteX248" fmla="*/ 288167 w 7430250"/>
                    <a:gd name="connsiteY248" fmla="*/ 229684 h 1609071"/>
                    <a:gd name="connsiteX249" fmla="*/ 288167 w 7430250"/>
                    <a:gd name="connsiteY249" fmla="*/ 251352 h 1609071"/>
                    <a:gd name="connsiteX250" fmla="*/ 318502 w 7430250"/>
                    <a:gd name="connsiteY250" fmla="*/ 251352 h 1609071"/>
                    <a:gd name="connsiteX251" fmla="*/ 318502 w 7430250"/>
                    <a:gd name="connsiteY251" fmla="*/ 268687 h 1609071"/>
                    <a:gd name="connsiteX252" fmla="*/ 357504 w 7430250"/>
                    <a:gd name="connsiteY252" fmla="*/ 268687 h 1609071"/>
                    <a:gd name="connsiteX253" fmla="*/ 357504 w 7430250"/>
                    <a:gd name="connsiteY253" fmla="*/ 286021 h 1609071"/>
                    <a:gd name="connsiteX254" fmla="*/ 400841 w 7430250"/>
                    <a:gd name="connsiteY254" fmla="*/ 286021 h 1609071"/>
                    <a:gd name="connsiteX255" fmla="*/ 400841 w 7430250"/>
                    <a:gd name="connsiteY255" fmla="*/ 286021 h 1609071"/>
                    <a:gd name="connsiteX256" fmla="*/ 422509 w 7430250"/>
                    <a:gd name="connsiteY256" fmla="*/ 307689 h 1609071"/>
                    <a:gd name="connsiteX257" fmla="*/ 439844 w 7430250"/>
                    <a:gd name="connsiteY257" fmla="*/ 325024 h 1609071"/>
                    <a:gd name="connsiteX258" fmla="*/ 487514 w 7430250"/>
                    <a:gd name="connsiteY258" fmla="*/ 325024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40956 h 1609071"/>
                    <a:gd name="connsiteX230" fmla="*/ 15146 w 7430250"/>
                    <a:gd name="connsiteY230" fmla="*/ 43337 h 1609071"/>
                    <a:gd name="connsiteX231" fmla="*/ 0 w 7430250"/>
                    <a:gd name="connsiteY231" fmla="*/ 37051 h 1609071"/>
                    <a:gd name="connsiteX232" fmla="*/ 36814 w 7430250"/>
                    <a:gd name="connsiteY232" fmla="*/ 52004 h 1609071"/>
                    <a:gd name="connsiteX233" fmla="*/ 36814 w 7430250"/>
                    <a:gd name="connsiteY233" fmla="*/ 65005 h 1609071"/>
                    <a:gd name="connsiteX234" fmla="*/ 67150 w 7430250"/>
                    <a:gd name="connsiteY234" fmla="*/ 65005 h 1609071"/>
                    <a:gd name="connsiteX235" fmla="*/ 67150 w 7430250"/>
                    <a:gd name="connsiteY235" fmla="*/ 86673 h 1609071"/>
                    <a:gd name="connsiteX236" fmla="*/ 93152 w 7430250"/>
                    <a:gd name="connsiteY236" fmla="*/ 86673 h 1609071"/>
                    <a:gd name="connsiteX237" fmla="*/ 93152 w 7430250"/>
                    <a:gd name="connsiteY237" fmla="*/ 125676 h 1609071"/>
                    <a:gd name="connsiteX238" fmla="*/ 153823 w 7430250"/>
                    <a:gd name="connsiteY238" fmla="*/ 125676 h 1609071"/>
                    <a:gd name="connsiteX239" fmla="*/ 162490 w 7430250"/>
                    <a:gd name="connsiteY239" fmla="*/ 134343 h 1609071"/>
                    <a:gd name="connsiteX240" fmla="*/ 179825 w 7430250"/>
                    <a:gd name="connsiteY240" fmla="*/ 134343 h 1609071"/>
                    <a:gd name="connsiteX241" fmla="*/ 179825 w 7430250"/>
                    <a:gd name="connsiteY241" fmla="*/ 156012 h 1609071"/>
                    <a:gd name="connsiteX242" fmla="*/ 197159 w 7430250"/>
                    <a:gd name="connsiteY242" fmla="*/ 156012 h 1609071"/>
                    <a:gd name="connsiteX243" fmla="*/ 210160 w 7430250"/>
                    <a:gd name="connsiteY243" fmla="*/ 169013 h 1609071"/>
                    <a:gd name="connsiteX244" fmla="*/ 240496 w 7430250"/>
                    <a:gd name="connsiteY244" fmla="*/ 169013 h 1609071"/>
                    <a:gd name="connsiteX245" fmla="*/ 240496 w 7430250"/>
                    <a:gd name="connsiteY245" fmla="*/ 208015 h 1609071"/>
                    <a:gd name="connsiteX246" fmla="*/ 266498 w 7430250"/>
                    <a:gd name="connsiteY246" fmla="*/ 208015 h 1609071"/>
                    <a:gd name="connsiteX247" fmla="*/ 275165 w 7430250"/>
                    <a:gd name="connsiteY247" fmla="*/ 216682 h 1609071"/>
                    <a:gd name="connsiteX248" fmla="*/ 288167 w 7430250"/>
                    <a:gd name="connsiteY248" fmla="*/ 229684 h 1609071"/>
                    <a:gd name="connsiteX249" fmla="*/ 288167 w 7430250"/>
                    <a:gd name="connsiteY249" fmla="*/ 251352 h 1609071"/>
                    <a:gd name="connsiteX250" fmla="*/ 318502 w 7430250"/>
                    <a:gd name="connsiteY250" fmla="*/ 251352 h 1609071"/>
                    <a:gd name="connsiteX251" fmla="*/ 318502 w 7430250"/>
                    <a:gd name="connsiteY251" fmla="*/ 268687 h 1609071"/>
                    <a:gd name="connsiteX252" fmla="*/ 357504 w 7430250"/>
                    <a:gd name="connsiteY252" fmla="*/ 268687 h 1609071"/>
                    <a:gd name="connsiteX253" fmla="*/ 357504 w 7430250"/>
                    <a:gd name="connsiteY253" fmla="*/ 286021 h 1609071"/>
                    <a:gd name="connsiteX254" fmla="*/ 400841 w 7430250"/>
                    <a:gd name="connsiteY254" fmla="*/ 286021 h 1609071"/>
                    <a:gd name="connsiteX255" fmla="*/ 400841 w 7430250"/>
                    <a:gd name="connsiteY255" fmla="*/ 286021 h 1609071"/>
                    <a:gd name="connsiteX256" fmla="*/ 422509 w 7430250"/>
                    <a:gd name="connsiteY256" fmla="*/ 307689 h 1609071"/>
                    <a:gd name="connsiteX257" fmla="*/ 439844 w 7430250"/>
                    <a:gd name="connsiteY257" fmla="*/ 325024 h 1609071"/>
                    <a:gd name="connsiteX258" fmla="*/ 487514 w 7430250"/>
                    <a:gd name="connsiteY258" fmla="*/ 325024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40956 h 1609071"/>
                    <a:gd name="connsiteX230" fmla="*/ 0 w 7430250"/>
                    <a:gd name="connsiteY230" fmla="*/ 37051 h 1609071"/>
                    <a:gd name="connsiteX231" fmla="*/ 36814 w 7430250"/>
                    <a:gd name="connsiteY231" fmla="*/ 52004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22509 w 7430250"/>
                    <a:gd name="connsiteY255" fmla="*/ 307689 h 1609071"/>
                    <a:gd name="connsiteX256" fmla="*/ 439844 w 7430250"/>
                    <a:gd name="connsiteY256" fmla="*/ 325024 h 1609071"/>
                    <a:gd name="connsiteX257" fmla="*/ 487514 w 7430250"/>
                    <a:gd name="connsiteY257" fmla="*/ 325024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6814 w 7430250"/>
                    <a:gd name="connsiteY231" fmla="*/ 52004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22509 w 7430250"/>
                    <a:gd name="connsiteY255" fmla="*/ 307689 h 1609071"/>
                    <a:gd name="connsiteX256" fmla="*/ 439844 w 7430250"/>
                    <a:gd name="connsiteY256" fmla="*/ 325024 h 1609071"/>
                    <a:gd name="connsiteX257" fmla="*/ 487514 w 7430250"/>
                    <a:gd name="connsiteY257" fmla="*/ 325024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22509 w 7430250"/>
                    <a:gd name="connsiteY255" fmla="*/ 307689 h 1609071"/>
                    <a:gd name="connsiteX256" fmla="*/ 439844 w 7430250"/>
                    <a:gd name="connsiteY256" fmla="*/ 325024 h 1609071"/>
                    <a:gd name="connsiteX257" fmla="*/ 487514 w 7430250"/>
                    <a:gd name="connsiteY257" fmla="*/ 325024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22509 w 7430250"/>
                    <a:gd name="connsiteY255" fmla="*/ 307689 h 1609071"/>
                    <a:gd name="connsiteX256" fmla="*/ 432700 w 7430250"/>
                    <a:gd name="connsiteY256" fmla="*/ 327406 h 1609071"/>
                    <a:gd name="connsiteX257" fmla="*/ 487514 w 7430250"/>
                    <a:gd name="connsiteY257" fmla="*/ 325024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22509 w 7430250"/>
                    <a:gd name="connsiteY255" fmla="*/ 307689 h 1609071"/>
                    <a:gd name="connsiteX256" fmla="*/ 432700 w 7430250"/>
                    <a:gd name="connsiteY256" fmla="*/ 327406 h 1609071"/>
                    <a:gd name="connsiteX257" fmla="*/ 482751 w 7430250"/>
                    <a:gd name="connsiteY257" fmla="*/ 329787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22509 w 7430250"/>
                    <a:gd name="connsiteY255" fmla="*/ 307689 h 1609071"/>
                    <a:gd name="connsiteX256" fmla="*/ 437462 w 7430250"/>
                    <a:gd name="connsiteY256" fmla="*/ 327406 h 1609071"/>
                    <a:gd name="connsiteX257" fmla="*/ 482751 w 7430250"/>
                    <a:gd name="connsiteY257" fmla="*/ 329787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10603 w 7430250"/>
                    <a:gd name="connsiteY255" fmla="*/ 314833 h 1609071"/>
                    <a:gd name="connsiteX256" fmla="*/ 437462 w 7430250"/>
                    <a:gd name="connsiteY256" fmla="*/ 327406 h 1609071"/>
                    <a:gd name="connsiteX257" fmla="*/ 482751 w 7430250"/>
                    <a:gd name="connsiteY257" fmla="*/ 329787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48691 w 7430250"/>
                    <a:gd name="connsiteY255" fmla="*/ 374365 h 1609071"/>
                    <a:gd name="connsiteX256" fmla="*/ 437462 w 7430250"/>
                    <a:gd name="connsiteY256" fmla="*/ 327406 h 1609071"/>
                    <a:gd name="connsiteX257" fmla="*/ 482751 w 7430250"/>
                    <a:gd name="connsiteY257" fmla="*/ 329787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48691 w 7430250"/>
                    <a:gd name="connsiteY255" fmla="*/ 374365 h 1609071"/>
                    <a:gd name="connsiteX256" fmla="*/ 430318 w 7430250"/>
                    <a:gd name="connsiteY256" fmla="*/ 336931 h 1609071"/>
                    <a:gd name="connsiteX257" fmla="*/ 482751 w 7430250"/>
                    <a:gd name="connsiteY257" fmla="*/ 329787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48691 w 7430250"/>
                    <a:gd name="connsiteY255" fmla="*/ 374365 h 1609071"/>
                    <a:gd name="connsiteX256" fmla="*/ 430318 w 7430250"/>
                    <a:gd name="connsiteY256" fmla="*/ 336931 h 1609071"/>
                    <a:gd name="connsiteX257" fmla="*/ 482751 w 7430250"/>
                    <a:gd name="connsiteY257" fmla="*/ 334549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48691 w 7430250"/>
                    <a:gd name="connsiteY255" fmla="*/ 374365 h 1609071"/>
                    <a:gd name="connsiteX256" fmla="*/ 439843 w 7430250"/>
                    <a:gd name="connsiteY256" fmla="*/ 334549 h 1609071"/>
                    <a:gd name="connsiteX257" fmla="*/ 482751 w 7430250"/>
                    <a:gd name="connsiteY257" fmla="*/ 334549 h 1609071"/>
                    <a:gd name="connsiteX258" fmla="*/ 487514 w 7430250"/>
                    <a:gd name="connsiteY258" fmla="*/ 355360 h 1609071"/>
                    <a:gd name="connsiteX259" fmla="*/ 526517 w 7430250"/>
                    <a:gd name="connsiteY259" fmla="*/ 355360 h 1609071"/>
                    <a:gd name="connsiteX260" fmla="*/ 526517 w 7430250"/>
                    <a:gd name="connsiteY260" fmla="*/ 377028 h 1609071"/>
                    <a:gd name="connsiteX261" fmla="*/ 574187 w 7430250"/>
                    <a:gd name="connsiteY261" fmla="*/ 377028 h 1609071"/>
                    <a:gd name="connsiteX262" fmla="*/ 574187 w 7430250"/>
                    <a:gd name="connsiteY262" fmla="*/ 398696 h 1609071"/>
                    <a:gd name="connsiteX263" fmla="*/ 604522 w 7430250"/>
                    <a:gd name="connsiteY263" fmla="*/ 398696 h 1609071"/>
                    <a:gd name="connsiteX264" fmla="*/ 617523 w 7430250"/>
                    <a:gd name="connsiteY264" fmla="*/ 411697 h 1609071"/>
                    <a:gd name="connsiteX265" fmla="*/ 665193 w 7430250"/>
                    <a:gd name="connsiteY265" fmla="*/ 411697 h 1609071"/>
                    <a:gd name="connsiteX266" fmla="*/ 665193 w 7430250"/>
                    <a:gd name="connsiteY266" fmla="*/ 450700 h 1609071"/>
                    <a:gd name="connsiteX267" fmla="*/ 773535 w 7430250"/>
                    <a:gd name="connsiteY267" fmla="*/ 450700 h 1609071"/>
                    <a:gd name="connsiteX268" fmla="*/ 773535 w 7430250"/>
                    <a:gd name="connsiteY268" fmla="*/ 481035 h 1609071"/>
                    <a:gd name="connsiteX269" fmla="*/ 890543 w 7430250"/>
                    <a:gd name="connsiteY269" fmla="*/ 481035 h 1609071"/>
                    <a:gd name="connsiteX270" fmla="*/ 890543 w 7430250"/>
                    <a:gd name="connsiteY270" fmla="*/ 507037 h 1609071"/>
                    <a:gd name="connsiteX271" fmla="*/ 942547 w 7430250"/>
                    <a:gd name="connsiteY271" fmla="*/ 507037 h 1609071"/>
                    <a:gd name="connsiteX272" fmla="*/ 942547 w 7430250"/>
                    <a:gd name="connsiteY272" fmla="*/ 524372 h 1609071"/>
                    <a:gd name="connsiteX273" fmla="*/ 994551 w 7430250"/>
                    <a:gd name="connsiteY273" fmla="*/ 524372 h 1609071"/>
                    <a:gd name="connsiteX274" fmla="*/ 1007552 w 7430250"/>
                    <a:gd name="connsiteY274" fmla="*/ 524372 h 1609071"/>
                    <a:gd name="connsiteX275" fmla="*/ 1020553 w 7430250"/>
                    <a:gd name="connsiteY275" fmla="*/ 537373 h 1609071"/>
                    <a:gd name="connsiteX276" fmla="*/ 1037458 w 7430250"/>
                    <a:gd name="connsiteY276" fmla="*/ 544516 h 1609071"/>
                    <a:gd name="connsiteX277" fmla="*/ 1072556 w 7430250"/>
                    <a:gd name="connsiteY277" fmla="*/ 549279 h 1609071"/>
                    <a:gd name="connsiteX278" fmla="*/ 1072556 w 7430250"/>
                    <a:gd name="connsiteY278" fmla="*/ 563375 h 1609071"/>
                    <a:gd name="connsiteX279" fmla="*/ 1094225 w 7430250"/>
                    <a:gd name="connsiteY279" fmla="*/ 563375 h 1609071"/>
                    <a:gd name="connsiteX280" fmla="*/ 1094225 w 7430250"/>
                    <a:gd name="connsiteY280" fmla="*/ 576376 h 1609071"/>
                    <a:gd name="connsiteX281" fmla="*/ 1172230 w 7430250"/>
                    <a:gd name="connsiteY281" fmla="*/ 576376 h 1609071"/>
                    <a:gd name="connsiteX282" fmla="*/ 1172230 w 7430250"/>
                    <a:gd name="connsiteY282" fmla="*/ 589377 h 1609071"/>
                    <a:gd name="connsiteX283" fmla="*/ 1211233 w 7430250"/>
                    <a:gd name="connsiteY283" fmla="*/ 589377 h 1609071"/>
                    <a:gd name="connsiteX284" fmla="*/ 1211233 w 7430250"/>
                    <a:gd name="connsiteY284" fmla="*/ 598044 h 1609071"/>
                    <a:gd name="connsiteX285" fmla="*/ 1258903 w 7430250"/>
                    <a:gd name="connsiteY285" fmla="*/ 598044 h 1609071"/>
                    <a:gd name="connsiteX286" fmla="*/ 1271904 w 7430250"/>
                    <a:gd name="connsiteY286" fmla="*/ 611045 h 1609071"/>
                    <a:gd name="connsiteX287" fmla="*/ 1284905 w 7430250"/>
                    <a:gd name="connsiteY287" fmla="*/ 624046 h 1609071"/>
                    <a:gd name="connsiteX288" fmla="*/ 1349910 w 7430250"/>
                    <a:gd name="connsiteY288" fmla="*/ 624046 h 1609071"/>
                    <a:gd name="connsiteX289" fmla="*/ 1349910 w 7430250"/>
                    <a:gd name="connsiteY289" fmla="*/ 645714 h 1609071"/>
                    <a:gd name="connsiteX290" fmla="*/ 1440917 w 7430250"/>
                    <a:gd name="connsiteY290" fmla="*/ 645714 h 1609071"/>
                    <a:gd name="connsiteX291" fmla="*/ 1449584 w 7430250"/>
                    <a:gd name="connsiteY291" fmla="*/ 654381 h 1609071"/>
                    <a:gd name="connsiteX292" fmla="*/ 1471252 w 7430250"/>
                    <a:gd name="connsiteY292" fmla="*/ 654381 h 1609071"/>
                    <a:gd name="connsiteX293" fmla="*/ 1471252 w 7430250"/>
                    <a:gd name="connsiteY293" fmla="*/ 667382 h 1609071"/>
                    <a:gd name="connsiteX294" fmla="*/ 1523256 w 7430250"/>
                    <a:gd name="connsiteY294" fmla="*/ 667382 h 1609071"/>
                    <a:gd name="connsiteX295" fmla="*/ 1523256 w 7430250"/>
                    <a:gd name="connsiteY295" fmla="*/ 684717 h 1609071"/>
                    <a:gd name="connsiteX296" fmla="*/ 1579593 w 7430250"/>
                    <a:gd name="connsiteY296" fmla="*/ 684717 h 1609071"/>
                    <a:gd name="connsiteX297" fmla="*/ 1586308 w 7430250"/>
                    <a:gd name="connsiteY297" fmla="*/ 693814 h 1609071"/>
                    <a:gd name="connsiteX298" fmla="*/ 1624883 w 7430250"/>
                    <a:gd name="connsiteY298" fmla="*/ 696194 h 1609071"/>
                    <a:gd name="connsiteX299" fmla="*/ 1642646 w 7430250"/>
                    <a:gd name="connsiteY299" fmla="*/ 709196 h 1609071"/>
                    <a:gd name="connsiteX300" fmla="*/ 1692268 w 7430250"/>
                    <a:gd name="connsiteY300" fmla="*/ 709196 h 1609071"/>
                    <a:gd name="connsiteX301" fmla="*/ 1693792 w 7430250"/>
                    <a:gd name="connsiteY301" fmla="*/ 722627 h 1609071"/>
                    <a:gd name="connsiteX302" fmla="*/ 1718269 w 7430250"/>
                    <a:gd name="connsiteY302" fmla="*/ 728053 h 1609071"/>
                    <a:gd name="connsiteX303" fmla="*/ 1731270 w 7430250"/>
                    <a:gd name="connsiteY303" fmla="*/ 741054 h 1609071"/>
                    <a:gd name="connsiteX304" fmla="*/ 1765940 w 7430250"/>
                    <a:gd name="connsiteY304" fmla="*/ 745816 h 1609071"/>
                    <a:gd name="connsiteX305" fmla="*/ 1765940 w 7430250"/>
                    <a:gd name="connsiteY305" fmla="*/ 767056 h 1609071"/>
                    <a:gd name="connsiteX306" fmla="*/ 1813611 w 7430250"/>
                    <a:gd name="connsiteY306" fmla="*/ 767056 h 1609071"/>
                    <a:gd name="connsiteX307" fmla="*/ 1813611 w 7430250"/>
                    <a:gd name="connsiteY307" fmla="*/ 780057 h 1609071"/>
                    <a:gd name="connsiteX308" fmla="*/ 1856947 w 7430250"/>
                    <a:gd name="connsiteY308" fmla="*/ 780057 h 1609071"/>
                    <a:gd name="connsiteX309" fmla="*/ 1856947 w 7430250"/>
                    <a:gd name="connsiteY309" fmla="*/ 797392 h 1609071"/>
                    <a:gd name="connsiteX310" fmla="*/ 1891616 w 7430250"/>
                    <a:gd name="connsiteY310" fmla="*/ 797392 h 1609071"/>
                    <a:gd name="connsiteX311" fmla="*/ 1902666 w 7430250"/>
                    <a:gd name="connsiteY311" fmla="*/ 813204 h 1609071"/>
                    <a:gd name="connsiteX312" fmla="*/ 1975908 w 7430250"/>
                    <a:gd name="connsiteY312" fmla="*/ 813204 h 1609071"/>
                    <a:gd name="connsiteX313" fmla="*/ 2021626 w 7430250"/>
                    <a:gd name="connsiteY313" fmla="*/ 813204 h 1609071"/>
                    <a:gd name="connsiteX314" fmla="*/ 2021885 w 7430250"/>
                    <a:gd name="connsiteY314" fmla="*/ 826521 h 1609071"/>
                    <a:gd name="connsiteX315" fmla="*/ 2059985 w 7430250"/>
                    <a:gd name="connsiteY315" fmla="*/ 828902 h 1609071"/>
                    <a:gd name="connsiteX316" fmla="*/ 2063868 w 7430250"/>
                    <a:gd name="connsiteY316" fmla="*/ 850683 h 1609071"/>
                    <a:gd name="connsiteX317" fmla="*/ 2123681 w 7430250"/>
                    <a:gd name="connsiteY317" fmla="*/ 848301 h 1609071"/>
                    <a:gd name="connsiteX318" fmla="*/ 2121300 w 7430250"/>
                    <a:gd name="connsiteY318" fmla="*/ 862396 h 1609071"/>
                    <a:gd name="connsiteX319" fmla="*/ 2134301 w 7430250"/>
                    <a:gd name="connsiteY319" fmla="*/ 862396 h 1609071"/>
                    <a:gd name="connsiteX320" fmla="*/ 2151635 w 7430250"/>
                    <a:gd name="connsiteY320" fmla="*/ 862396 h 1609071"/>
                    <a:gd name="connsiteX321" fmla="*/ 2199305 w 7430250"/>
                    <a:gd name="connsiteY321" fmla="*/ 862396 h 1609071"/>
                    <a:gd name="connsiteX322" fmla="*/ 2199305 w 7430250"/>
                    <a:gd name="connsiteY322" fmla="*/ 888398 h 1609071"/>
                    <a:gd name="connsiteX323" fmla="*/ 2215400 w 7430250"/>
                    <a:gd name="connsiteY323" fmla="*/ 883636 h 1609071"/>
                    <a:gd name="connsiteX324" fmla="*/ 2255879 w 7430250"/>
                    <a:gd name="connsiteY324" fmla="*/ 881254 h 1609071"/>
                    <a:gd name="connsiteX325" fmla="*/ 2255248 w 7430250"/>
                    <a:gd name="connsiteY325" fmla="*/ 914626 h 1609071"/>
                    <a:gd name="connsiteX326" fmla="*/ 2280786 w 7430250"/>
                    <a:gd name="connsiteY326" fmla="*/ 915879 h 1609071"/>
                    <a:gd name="connsiteX327" fmla="*/ 2281442 w 7430250"/>
                    <a:gd name="connsiteY327" fmla="*/ 878908 h 1609071"/>
                    <a:gd name="connsiteX328" fmla="*/ 2309171 w 7430250"/>
                    <a:gd name="connsiteY328" fmla="*/ 877780 h 1609071"/>
                    <a:gd name="connsiteX329" fmla="*/ 2309171 w 7430250"/>
                    <a:gd name="connsiteY329" fmla="*/ 912018 h 1609071"/>
                    <a:gd name="connsiteX330" fmla="*/ 2350983 w 7430250"/>
                    <a:gd name="connsiteY330" fmla="*/ 914400 h 1609071"/>
                    <a:gd name="connsiteX331" fmla="*/ 2350983 w 7430250"/>
                    <a:gd name="connsiteY331" fmla="*/ 923068 h 1609071"/>
                    <a:gd name="connsiteX332" fmla="*/ 2415988 w 7430250"/>
                    <a:gd name="connsiteY332" fmla="*/ 923068 h 1609071"/>
                    <a:gd name="connsiteX333" fmla="*/ 2415988 w 7430250"/>
                    <a:gd name="connsiteY333" fmla="*/ 936069 h 1609071"/>
                    <a:gd name="connsiteX334" fmla="*/ 2454991 w 7430250"/>
                    <a:gd name="connsiteY334" fmla="*/ 936069 h 1609071"/>
                    <a:gd name="connsiteX335" fmla="*/ 2467992 w 7430250"/>
                    <a:gd name="connsiteY335" fmla="*/ 949070 h 1609071"/>
                    <a:gd name="connsiteX336" fmla="*/ 2515662 w 7430250"/>
                    <a:gd name="connsiteY336" fmla="*/ 949070 h 1609071"/>
                    <a:gd name="connsiteX337" fmla="*/ 2528663 w 7430250"/>
                    <a:gd name="connsiteY337" fmla="*/ 962071 h 1609071"/>
                    <a:gd name="connsiteX338" fmla="*/ 2558998 w 7430250"/>
                    <a:gd name="connsiteY338" fmla="*/ 962071 h 1609071"/>
                    <a:gd name="connsiteX339" fmla="*/ 2558998 w 7430250"/>
                    <a:gd name="connsiteY339" fmla="*/ 979405 h 1609071"/>
                    <a:gd name="connsiteX340" fmla="*/ 2606668 w 7430250"/>
                    <a:gd name="connsiteY340" fmla="*/ 979405 h 1609071"/>
                    <a:gd name="connsiteX341" fmla="*/ 2606668 w 7430250"/>
                    <a:gd name="connsiteY341" fmla="*/ 1001073 h 1609071"/>
                    <a:gd name="connsiteX342" fmla="*/ 2654338 w 7430250"/>
                    <a:gd name="connsiteY342" fmla="*/ 1001073 h 1609071"/>
                    <a:gd name="connsiteX343" fmla="*/ 2654338 w 7430250"/>
                    <a:gd name="connsiteY343" fmla="*/ 1022742 h 1609071"/>
                    <a:gd name="connsiteX344" fmla="*/ 2715010 w 7430250"/>
                    <a:gd name="connsiteY344" fmla="*/ 1022742 h 1609071"/>
                    <a:gd name="connsiteX345" fmla="*/ 2715010 w 7430250"/>
                    <a:gd name="connsiteY345" fmla="*/ 1040076 h 1609071"/>
                    <a:gd name="connsiteX346" fmla="*/ 2823351 w 7430250"/>
                    <a:gd name="connsiteY346" fmla="*/ 1040076 h 1609071"/>
                    <a:gd name="connsiteX347" fmla="*/ 2832018 w 7430250"/>
                    <a:gd name="connsiteY347" fmla="*/ 1048743 h 1609071"/>
                    <a:gd name="connsiteX348" fmla="*/ 2840686 w 7430250"/>
                    <a:gd name="connsiteY348" fmla="*/ 1057411 h 1609071"/>
                    <a:gd name="connsiteX349" fmla="*/ 2879688 w 7430250"/>
                    <a:gd name="connsiteY349" fmla="*/ 1057411 h 1609071"/>
                    <a:gd name="connsiteX350" fmla="*/ 2901356 w 7430250"/>
                    <a:gd name="connsiteY350" fmla="*/ 1057411 h 1609071"/>
                    <a:gd name="connsiteX351" fmla="*/ 2914357 w 7430250"/>
                    <a:gd name="connsiteY351" fmla="*/ 1057411 h 1609071"/>
                    <a:gd name="connsiteX352" fmla="*/ 2931692 w 7430250"/>
                    <a:gd name="connsiteY352" fmla="*/ 1074746 h 1609071"/>
                    <a:gd name="connsiteX353" fmla="*/ 2983696 w 7430250"/>
                    <a:gd name="connsiteY353" fmla="*/ 1074746 h 1609071"/>
                    <a:gd name="connsiteX354" fmla="*/ 2983696 w 7430250"/>
                    <a:gd name="connsiteY354" fmla="*/ 1092080 h 1609071"/>
                    <a:gd name="connsiteX355" fmla="*/ 3149898 w 7430250"/>
                    <a:gd name="connsiteY355" fmla="*/ 1094462 h 1609071"/>
                    <a:gd name="connsiteX356" fmla="*/ 3149899 w 7430250"/>
                    <a:gd name="connsiteY356" fmla="*/ 1122414 h 1609071"/>
                    <a:gd name="connsiteX357" fmla="*/ 3226380 w 7430250"/>
                    <a:gd name="connsiteY357" fmla="*/ 1122415 h 1609071"/>
                    <a:gd name="connsiteX358" fmla="*/ 3230714 w 7430250"/>
                    <a:gd name="connsiteY358" fmla="*/ 1122415 h 1609071"/>
                    <a:gd name="connsiteX359" fmla="*/ 3317387 w 7430250"/>
                    <a:gd name="connsiteY359" fmla="*/ 1124796 h 1609071"/>
                    <a:gd name="connsiteX360" fmla="*/ 3317387 w 7430250"/>
                    <a:gd name="connsiteY360" fmla="*/ 1141273 h 1609071"/>
                    <a:gd name="connsiteX361" fmla="*/ 3411204 w 7430250"/>
                    <a:gd name="connsiteY361" fmla="*/ 1141273 h 1609071"/>
                    <a:gd name="connsiteX362" fmla="*/ 3411203 w 7430250"/>
                    <a:gd name="connsiteY362" fmla="*/ 1154703 h 1609071"/>
                    <a:gd name="connsiteX363" fmla="*/ 3460397 w 7430250"/>
                    <a:gd name="connsiteY363" fmla="*/ 1157085 h 1609071"/>
                    <a:gd name="connsiteX364" fmla="*/ 3459541 w 7430250"/>
                    <a:gd name="connsiteY364" fmla="*/ 1165753 h 1609071"/>
                    <a:gd name="connsiteX365" fmla="*/ 3612075 w 7430250"/>
                    <a:gd name="connsiteY365" fmla="*/ 1165753 h 1609071"/>
                    <a:gd name="connsiteX366" fmla="*/ 3612075 w 7430250"/>
                    <a:gd name="connsiteY366" fmla="*/ 1178753 h 1609071"/>
                    <a:gd name="connsiteX367" fmla="*/ 3720416 w 7430250"/>
                    <a:gd name="connsiteY367" fmla="*/ 1178753 h 1609071"/>
                    <a:gd name="connsiteX368" fmla="*/ 3724750 w 7430250"/>
                    <a:gd name="connsiteY368" fmla="*/ 1183087 h 1609071"/>
                    <a:gd name="connsiteX369" fmla="*/ 3978483 w 7430250"/>
                    <a:gd name="connsiteY369" fmla="*/ 1187849 h 1609071"/>
                    <a:gd name="connsiteX370" fmla="*/ 3976102 w 7430250"/>
                    <a:gd name="connsiteY370" fmla="*/ 1204755 h 1609071"/>
                    <a:gd name="connsiteX371" fmla="*/ 4006437 w 7430250"/>
                    <a:gd name="connsiteY371" fmla="*/ 1204755 h 1609071"/>
                    <a:gd name="connsiteX372" fmla="*/ 4006437 w 7430250"/>
                    <a:gd name="connsiteY372" fmla="*/ 1178753 h 1609071"/>
                    <a:gd name="connsiteX373" fmla="*/ 4045440 w 7430250"/>
                    <a:gd name="connsiteY373" fmla="*/ 1178753 h 1609071"/>
                    <a:gd name="connsiteX374" fmla="*/ 4045440 w 7430250"/>
                    <a:gd name="connsiteY374" fmla="*/ 1213422 h 1609071"/>
                    <a:gd name="connsiteX375" fmla="*/ 4058441 w 7430250"/>
                    <a:gd name="connsiteY375" fmla="*/ 1213422 h 1609071"/>
                    <a:gd name="connsiteX376" fmla="*/ 4058441 w 7430250"/>
                    <a:gd name="connsiteY376" fmla="*/ 1222089 h 1609071"/>
                    <a:gd name="connsiteX377" fmla="*/ 4179783 w 7430250"/>
                    <a:gd name="connsiteY377" fmla="*/ 1222089 h 1609071"/>
                    <a:gd name="connsiteX378" fmla="*/ 4179783 w 7430250"/>
                    <a:gd name="connsiteY378" fmla="*/ 1243758 h 1609071"/>
                    <a:gd name="connsiteX379" fmla="*/ 4335794 w 7430250"/>
                    <a:gd name="connsiteY379" fmla="*/ 1243758 h 1609071"/>
                    <a:gd name="connsiteX380" fmla="*/ 4335794 w 7430250"/>
                    <a:gd name="connsiteY380" fmla="*/ 1261092 h 1609071"/>
                    <a:gd name="connsiteX381" fmla="*/ 4413800 w 7430250"/>
                    <a:gd name="connsiteY381" fmla="*/ 1261092 h 1609071"/>
                    <a:gd name="connsiteX382" fmla="*/ 4413800 w 7430250"/>
                    <a:gd name="connsiteY382" fmla="*/ 1287094 h 1609071"/>
                    <a:gd name="connsiteX383" fmla="*/ 4465804 w 7430250"/>
                    <a:gd name="connsiteY383" fmla="*/ 1287094 h 1609071"/>
                    <a:gd name="connsiteX384" fmla="*/ 4491806 w 7430250"/>
                    <a:gd name="connsiteY384" fmla="*/ 1287094 h 1609071"/>
                    <a:gd name="connsiteX385" fmla="*/ 4513474 w 7430250"/>
                    <a:gd name="connsiteY385" fmla="*/ 1308762 h 1609071"/>
                    <a:gd name="connsiteX386" fmla="*/ 4608814 w 7430250"/>
                    <a:gd name="connsiteY386" fmla="*/ 1308762 h 1609071"/>
                    <a:gd name="connsiteX387" fmla="*/ 4612719 w 7430250"/>
                    <a:gd name="connsiteY387" fmla="*/ 1317430 h 1609071"/>
                    <a:gd name="connsiteX388" fmla="*/ 4678153 w 7430250"/>
                    <a:gd name="connsiteY388" fmla="*/ 1317430 h 1609071"/>
                    <a:gd name="connsiteX389" fmla="*/ 4678153 w 7430250"/>
                    <a:gd name="connsiteY389" fmla="*/ 1339098 h 1609071"/>
                    <a:gd name="connsiteX390" fmla="*/ 4721489 w 7430250"/>
                    <a:gd name="connsiteY390" fmla="*/ 1339098 h 1609071"/>
                    <a:gd name="connsiteX391" fmla="*/ 4725823 w 7430250"/>
                    <a:gd name="connsiteY391" fmla="*/ 1343432 h 1609071"/>
                    <a:gd name="connsiteX392" fmla="*/ 4782160 w 7430250"/>
                    <a:gd name="connsiteY392" fmla="*/ 1343432 h 1609071"/>
                    <a:gd name="connsiteX393" fmla="*/ 4780873 w 7430250"/>
                    <a:gd name="connsiteY393" fmla="*/ 1358814 h 1609071"/>
                    <a:gd name="connsiteX394" fmla="*/ 5020511 w 7430250"/>
                    <a:gd name="connsiteY394" fmla="*/ 1356433 h 1609071"/>
                    <a:gd name="connsiteX395" fmla="*/ 5033512 w 7430250"/>
                    <a:gd name="connsiteY395" fmla="*/ 1369434 h 1609071"/>
                    <a:gd name="connsiteX396" fmla="*/ 5167855 w 7430250"/>
                    <a:gd name="connsiteY396" fmla="*/ 1369434 h 1609071"/>
                    <a:gd name="connsiteX397" fmla="*/ 5167855 w 7430250"/>
                    <a:gd name="connsiteY397" fmla="*/ 1391102 h 1609071"/>
                    <a:gd name="connsiteX398" fmla="*/ 5297865 w 7430250"/>
                    <a:gd name="connsiteY398" fmla="*/ 1391102 h 1609071"/>
                    <a:gd name="connsiteX399" fmla="*/ 5306532 w 7430250"/>
                    <a:gd name="connsiteY399" fmla="*/ 1399769 h 1609071"/>
                    <a:gd name="connsiteX400" fmla="*/ 5371537 w 7430250"/>
                    <a:gd name="connsiteY400" fmla="*/ 1399769 h 1609071"/>
                    <a:gd name="connsiteX401" fmla="*/ 5384538 w 7430250"/>
                    <a:gd name="connsiteY401" fmla="*/ 1399769 h 1609071"/>
                    <a:gd name="connsiteX402" fmla="*/ 5384538 w 7430250"/>
                    <a:gd name="connsiteY402" fmla="*/ 1421437 h 1609071"/>
                    <a:gd name="connsiteX403" fmla="*/ 5488545 w 7430250"/>
                    <a:gd name="connsiteY403" fmla="*/ 1421437 h 1609071"/>
                    <a:gd name="connsiteX404" fmla="*/ 5488545 w 7430250"/>
                    <a:gd name="connsiteY404" fmla="*/ 1399769 h 1609071"/>
                    <a:gd name="connsiteX405" fmla="*/ 5527548 w 7430250"/>
                    <a:gd name="connsiteY405" fmla="*/ 1399769 h 1609071"/>
                    <a:gd name="connsiteX406" fmla="*/ 5527548 w 7430250"/>
                    <a:gd name="connsiteY406" fmla="*/ 1425771 h 1609071"/>
                    <a:gd name="connsiteX407" fmla="*/ 5622888 w 7430250"/>
                    <a:gd name="connsiteY407" fmla="*/ 1425771 h 1609071"/>
                    <a:gd name="connsiteX408" fmla="*/ 5622888 w 7430250"/>
                    <a:gd name="connsiteY408" fmla="*/ 1399769 h 1609071"/>
                    <a:gd name="connsiteX409" fmla="*/ 5679226 w 7430250"/>
                    <a:gd name="connsiteY409" fmla="*/ 1399769 h 1609071"/>
                    <a:gd name="connsiteX410" fmla="*/ 5679226 w 7430250"/>
                    <a:gd name="connsiteY410" fmla="*/ 1434438 h 1609071"/>
                    <a:gd name="connsiteX411" fmla="*/ 5700894 w 7430250"/>
                    <a:gd name="connsiteY411" fmla="*/ 1434438 h 1609071"/>
                    <a:gd name="connsiteX412" fmla="*/ 5700894 w 7430250"/>
                    <a:gd name="connsiteY412" fmla="*/ 1443106 h 1609071"/>
                    <a:gd name="connsiteX413" fmla="*/ 5731229 w 7430250"/>
                    <a:gd name="connsiteY413" fmla="*/ 1443106 h 1609071"/>
                    <a:gd name="connsiteX414" fmla="*/ 5731229 w 7430250"/>
                    <a:gd name="connsiteY414" fmla="*/ 1456106 h 1609071"/>
                    <a:gd name="connsiteX415" fmla="*/ 5809235 w 7430250"/>
                    <a:gd name="connsiteY415" fmla="*/ 1456106 h 1609071"/>
                    <a:gd name="connsiteX416" fmla="*/ 5809235 w 7430250"/>
                    <a:gd name="connsiteY416" fmla="*/ 1421437 h 1609071"/>
                    <a:gd name="connsiteX417" fmla="*/ 5852572 w 7430250"/>
                    <a:gd name="connsiteY417" fmla="*/ 1421437 h 1609071"/>
                    <a:gd name="connsiteX418" fmla="*/ 5852572 w 7430250"/>
                    <a:gd name="connsiteY418" fmla="*/ 1456106 h 1609071"/>
                    <a:gd name="connsiteX419" fmla="*/ 5917576 w 7430250"/>
                    <a:gd name="connsiteY419" fmla="*/ 1456106 h 1609071"/>
                    <a:gd name="connsiteX420" fmla="*/ 5943578 w 7430250"/>
                    <a:gd name="connsiteY420" fmla="*/ 1456106 h 1609071"/>
                    <a:gd name="connsiteX421" fmla="*/ 5943578 w 7430250"/>
                    <a:gd name="connsiteY421" fmla="*/ 1473441 h 1609071"/>
                    <a:gd name="connsiteX422" fmla="*/ 5960913 w 7430250"/>
                    <a:gd name="connsiteY422" fmla="*/ 1473441 h 1609071"/>
                    <a:gd name="connsiteX423" fmla="*/ 5965247 w 7430250"/>
                    <a:gd name="connsiteY423" fmla="*/ 1477775 h 1609071"/>
                    <a:gd name="connsiteX424" fmla="*/ 6034585 w 7430250"/>
                    <a:gd name="connsiteY424" fmla="*/ 1477775 h 1609071"/>
                    <a:gd name="connsiteX425" fmla="*/ 6034585 w 7430250"/>
                    <a:gd name="connsiteY425" fmla="*/ 1456106 h 1609071"/>
                    <a:gd name="connsiteX426" fmla="*/ 6073588 w 7430250"/>
                    <a:gd name="connsiteY426" fmla="*/ 1456106 h 1609071"/>
                    <a:gd name="connsiteX427" fmla="*/ 6073588 w 7430250"/>
                    <a:gd name="connsiteY427" fmla="*/ 1499443 h 1609071"/>
                    <a:gd name="connsiteX428" fmla="*/ 6125592 w 7430250"/>
                    <a:gd name="connsiteY428" fmla="*/ 1499443 h 1609071"/>
                    <a:gd name="connsiteX429" fmla="*/ 6125592 w 7430250"/>
                    <a:gd name="connsiteY429" fmla="*/ 1508110 h 1609071"/>
                    <a:gd name="connsiteX430" fmla="*/ 6203597 w 7430250"/>
                    <a:gd name="connsiteY430" fmla="*/ 1508110 h 1609071"/>
                    <a:gd name="connsiteX431" fmla="*/ 6203597 w 7430250"/>
                    <a:gd name="connsiteY431" fmla="*/ 1464774 h 1609071"/>
                    <a:gd name="connsiteX432" fmla="*/ 6242600 w 7430250"/>
                    <a:gd name="connsiteY432" fmla="*/ 1464774 h 1609071"/>
                    <a:gd name="connsiteX433" fmla="*/ 6242600 w 7430250"/>
                    <a:gd name="connsiteY433" fmla="*/ 1516778 h 1609071"/>
                    <a:gd name="connsiteX434" fmla="*/ 6368276 w 7430250"/>
                    <a:gd name="connsiteY434" fmla="*/ 1516778 h 1609071"/>
                    <a:gd name="connsiteX435" fmla="*/ 6368276 w 7430250"/>
                    <a:gd name="connsiteY435" fmla="*/ 1477775 h 1609071"/>
                    <a:gd name="connsiteX436" fmla="*/ 6412707 w 7430250"/>
                    <a:gd name="connsiteY436" fmla="*/ 1475394 h 1609071"/>
                    <a:gd name="connsiteX437" fmla="*/ 6415088 w 7430250"/>
                    <a:gd name="connsiteY437" fmla="*/ 1529778 h 1609071"/>
                    <a:gd name="connsiteX438" fmla="*/ 6462760 w 7430250"/>
                    <a:gd name="connsiteY438" fmla="*/ 1529778 h 1609071"/>
                    <a:gd name="connsiteX439" fmla="*/ 6462757 w 7430250"/>
                    <a:gd name="connsiteY439" fmla="*/ 1479728 h 1609071"/>
                    <a:gd name="connsiteX440" fmla="*/ 6502619 w 7430250"/>
                    <a:gd name="connsiteY440" fmla="*/ 1482108 h 1609071"/>
                    <a:gd name="connsiteX441" fmla="*/ 6502619 w 7430250"/>
                    <a:gd name="connsiteY441" fmla="*/ 1529778 h 1609071"/>
                    <a:gd name="connsiteX442" fmla="*/ 6576291 w 7430250"/>
                    <a:gd name="connsiteY442" fmla="*/ 1529778 h 1609071"/>
                    <a:gd name="connsiteX443" fmla="*/ 6580625 w 7430250"/>
                    <a:gd name="connsiteY443" fmla="*/ 1534112 h 1609071"/>
                    <a:gd name="connsiteX444" fmla="*/ 6689395 w 7430250"/>
                    <a:gd name="connsiteY444" fmla="*/ 1536493 h 1609071"/>
                    <a:gd name="connsiteX445" fmla="*/ 6691776 w 7430250"/>
                    <a:gd name="connsiteY445" fmla="*/ 1499443 h 1609071"/>
                    <a:gd name="connsiteX446" fmla="*/ 6753971 w 7430250"/>
                    <a:gd name="connsiteY446" fmla="*/ 1499443 h 1609071"/>
                    <a:gd name="connsiteX447" fmla="*/ 6753971 w 7430250"/>
                    <a:gd name="connsiteY447" fmla="*/ 1542779 h 1609071"/>
                    <a:gd name="connsiteX448" fmla="*/ 6810308 w 7430250"/>
                    <a:gd name="connsiteY448" fmla="*/ 1542779 h 1609071"/>
                    <a:gd name="connsiteX449" fmla="*/ 6810308 w 7430250"/>
                    <a:gd name="connsiteY449" fmla="*/ 1499443 h 1609071"/>
                    <a:gd name="connsiteX450" fmla="*/ 6844977 w 7430250"/>
                    <a:gd name="connsiteY450" fmla="*/ 1499443 h 1609071"/>
                    <a:gd name="connsiteX451" fmla="*/ 6844977 w 7430250"/>
                    <a:gd name="connsiteY451" fmla="*/ 1529778 h 1609071"/>
                    <a:gd name="connsiteX452" fmla="*/ 6862312 w 7430250"/>
                    <a:gd name="connsiteY452" fmla="*/ 1529778 h 1609071"/>
                    <a:gd name="connsiteX453" fmla="*/ 6862312 w 7430250"/>
                    <a:gd name="connsiteY453" fmla="*/ 1555780 h 1609071"/>
                    <a:gd name="connsiteX454" fmla="*/ 7065993 w 7430250"/>
                    <a:gd name="connsiteY454" fmla="*/ 1555780 h 1609071"/>
                    <a:gd name="connsiteX455" fmla="*/ 7078994 w 7430250"/>
                    <a:gd name="connsiteY455" fmla="*/ 1568781 h 1609071"/>
                    <a:gd name="connsiteX456" fmla="*/ 7148333 w 7430250"/>
                    <a:gd name="connsiteY456" fmla="*/ 1568781 h 1609071"/>
                    <a:gd name="connsiteX457" fmla="*/ 7148333 w 7430250"/>
                    <a:gd name="connsiteY457" fmla="*/ 1586116 h 1609071"/>
                    <a:gd name="connsiteX458" fmla="*/ 7300011 w 7430250"/>
                    <a:gd name="connsiteY458" fmla="*/ 1586116 h 1609071"/>
                    <a:gd name="connsiteX459" fmla="*/ 7300011 w 7430250"/>
                    <a:gd name="connsiteY459" fmla="*/ 1607784 h 1609071"/>
                    <a:gd name="connsiteX460" fmla="*/ 7430022 w 7430250"/>
                    <a:gd name="connsiteY460"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48691 w 7430250"/>
                    <a:gd name="connsiteY255" fmla="*/ 374365 h 1609071"/>
                    <a:gd name="connsiteX256" fmla="*/ 393110 w 7430250"/>
                    <a:gd name="connsiteY256" fmla="*/ 355032 h 1609071"/>
                    <a:gd name="connsiteX257" fmla="*/ 439843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48691 w 7430250"/>
                    <a:gd name="connsiteY255" fmla="*/ 374365 h 1609071"/>
                    <a:gd name="connsiteX256" fmla="*/ 435973 w 7430250"/>
                    <a:gd name="connsiteY256" fmla="*/ 307407 h 1609071"/>
                    <a:gd name="connsiteX257" fmla="*/ 439843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396316 w 7430250"/>
                    <a:gd name="connsiteY255" fmla="*/ 317215 h 1609071"/>
                    <a:gd name="connsiteX256" fmla="*/ 435973 w 7430250"/>
                    <a:gd name="connsiteY256" fmla="*/ 307407 h 1609071"/>
                    <a:gd name="connsiteX257" fmla="*/ 439843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01079 w 7430250"/>
                    <a:gd name="connsiteY255" fmla="*/ 312453 h 1609071"/>
                    <a:gd name="connsiteX256" fmla="*/ 435973 w 7430250"/>
                    <a:gd name="connsiteY256" fmla="*/ 307407 h 1609071"/>
                    <a:gd name="connsiteX257" fmla="*/ 439843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01079 w 7430250"/>
                    <a:gd name="connsiteY255" fmla="*/ 312453 h 1609071"/>
                    <a:gd name="connsiteX256" fmla="*/ 433592 w 7430250"/>
                    <a:gd name="connsiteY256" fmla="*/ 309789 h 1609071"/>
                    <a:gd name="connsiteX257" fmla="*/ 439843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01079 w 7430250"/>
                    <a:gd name="connsiteY255" fmla="*/ 312453 h 1609071"/>
                    <a:gd name="connsiteX256" fmla="*/ 433592 w 7430250"/>
                    <a:gd name="connsiteY256" fmla="*/ 309789 h 1609071"/>
                    <a:gd name="connsiteX257" fmla="*/ 437462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 name="connsiteX0" fmla="*/ 7430022 w 7430250"/>
                    <a:gd name="connsiteY0" fmla="*/ 1609071 h 1609071"/>
                    <a:gd name="connsiteX1" fmla="*/ 7430020 w 7430250"/>
                    <a:gd name="connsiteY1" fmla="*/ 1508110 h 1609071"/>
                    <a:gd name="connsiteX2" fmla="*/ 7287010 w 7430250"/>
                    <a:gd name="connsiteY2" fmla="*/ 1508110 h 1609071"/>
                    <a:gd name="connsiteX3" fmla="*/ 7285916 w 7430250"/>
                    <a:gd name="connsiteY3" fmla="*/ 1495109 h 1609071"/>
                    <a:gd name="connsiteX4" fmla="*/ 7169573 w 7430250"/>
                    <a:gd name="connsiteY4" fmla="*/ 1492728 h 1609071"/>
                    <a:gd name="connsiteX5" fmla="*/ 7166526 w 7430250"/>
                    <a:gd name="connsiteY5" fmla="*/ 1465868 h 1609071"/>
                    <a:gd name="connsiteX6" fmla="*/ 7052993 w 7430250"/>
                    <a:gd name="connsiteY6" fmla="*/ 1461106 h 1609071"/>
                    <a:gd name="connsiteX7" fmla="*/ 7052993 w 7430250"/>
                    <a:gd name="connsiteY7" fmla="*/ 1451773 h 1609071"/>
                    <a:gd name="connsiteX8" fmla="*/ 6888314 w 7430250"/>
                    <a:gd name="connsiteY8" fmla="*/ 1451773 h 1609071"/>
                    <a:gd name="connsiteX9" fmla="*/ 6888742 w 7430250"/>
                    <a:gd name="connsiteY9" fmla="*/ 1437915 h 1609071"/>
                    <a:gd name="connsiteX10" fmla="*/ 6840644 w 7430250"/>
                    <a:gd name="connsiteY10" fmla="*/ 1440295 h 1609071"/>
                    <a:gd name="connsiteX11" fmla="*/ 6840644 w 7430250"/>
                    <a:gd name="connsiteY11" fmla="*/ 1495109 h 1609071"/>
                    <a:gd name="connsiteX12" fmla="*/ 6801641 w 7430250"/>
                    <a:gd name="connsiteY12" fmla="*/ 1495109 h 1609071"/>
                    <a:gd name="connsiteX13" fmla="*/ 6801641 w 7430250"/>
                    <a:gd name="connsiteY13" fmla="*/ 1443106 h 1609071"/>
                    <a:gd name="connsiteX14" fmla="*/ 6753971 w 7430250"/>
                    <a:gd name="connsiteY14" fmla="*/ 1443106 h 1609071"/>
                    <a:gd name="connsiteX15" fmla="*/ 6753970 w 7430250"/>
                    <a:gd name="connsiteY15" fmla="*/ 1477775 h 1609071"/>
                    <a:gd name="connsiteX16" fmla="*/ 6693300 w 7430250"/>
                    <a:gd name="connsiteY16" fmla="*/ 1477775 h 1609071"/>
                    <a:gd name="connsiteX17" fmla="*/ 6693300 w 7430250"/>
                    <a:gd name="connsiteY17" fmla="*/ 1438772 h 1609071"/>
                    <a:gd name="connsiteX18" fmla="*/ 6576291 w 7430250"/>
                    <a:gd name="connsiteY18" fmla="*/ 1438772 h 1609071"/>
                    <a:gd name="connsiteX19" fmla="*/ 6570433 w 7430250"/>
                    <a:gd name="connsiteY19" fmla="*/ 1428152 h 1609071"/>
                    <a:gd name="connsiteX20" fmla="*/ 6498285 w 7430250"/>
                    <a:gd name="connsiteY20" fmla="*/ 1425771 h 1609071"/>
                    <a:gd name="connsiteX21" fmla="*/ 6498285 w 7430250"/>
                    <a:gd name="connsiteY21" fmla="*/ 1482108 h 1609071"/>
                    <a:gd name="connsiteX22" fmla="*/ 6466426 w 7430250"/>
                    <a:gd name="connsiteY22" fmla="*/ 1479727 h 1609071"/>
                    <a:gd name="connsiteX23" fmla="*/ 6464046 w 7430250"/>
                    <a:gd name="connsiteY23" fmla="*/ 1427295 h 1609071"/>
                    <a:gd name="connsiteX24" fmla="*/ 6413137 w 7430250"/>
                    <a:gd name="connsiteY24" fmla="*/ 1424913 h 1609071"/>
                    <a:gd name="connsiteX25" fmla="*/ 6413136 w 7430250"/>
                    <a:gd name="connsiteY25" fmla="*/ 1477775 h 1609071"/>
                    <a:gd name="connsiteX26" fmla="*/ 6372610 w 7430250"/>
                    <a:gd name="connsiteY26" fmla="*/ 1477775 h 1609071"/>
                    <a:gd name="connsiteX27" fmla="*/ 6372610 w 7430250"/>
                    <a:gd name="connsiteY27" fmla="*/ 1430105 h 1609071"/>
                    <a:gd name="connsiteX28" fmla="*/ 6238266 w 7430250"/>
                    <a:gd name="connsiteY28" fmla="*/ 1430105 h 1609071"/>
                    <a:gd name="connsiteX29" fmla="*/ 6238266 w 7430250"/>
                    <a:gd name="connsiteY29" fmla="*/ 1443106 h 1609071"/>
                    <a:gd name="connsiteX30" fmla="*/ 6207931 w 7430250"/>
                    <a:gd name="connsiteY30" fmla="*/ 1443106 h 1609071"/>
                    <a:gd name="connsiteX31" fmla="*/ 6207931 w 7430250"/>
                    <a:gd name="connsiteY31" fmla="*/ 1412770 h 1609071"/>
                    <a:gd name="connsiteX32" fmla="*/ 6134259 w 7430250"/>
                    <a:gd name="connsiteY32" fmla="*/ 1412770 h 1609071"/>
                    <a:gd name="connsiteX33" fmla="*/ 6134259 w 7430250"/>
                    <a:gd name="connsiteY33" fmla="*/ 1399769 h 1609071"/>
                    <a:gd name="connsiteX34" fmla="*/ 6086589 w 7430250"/>
                    <a:gd name="connsiteY34" fmla="*/ 1399769 h 1609071"/>
                    <a:gd name="connsiteX35" fmla="*/ 6086589 w 7430250"/>
                    <a:gd name="connsiteY35" fmla="*/ 1382434 h 1609071"/>
                    <a:gd name="connsiteX36" fmla="*/ 6064920 w 7430250"/>
                    <a:gd name="connsiteY36" fmla="*/ 1382434 h 1609071"/>
                    <a:gd name="connsiteX37" fmla="*/ 6064920 w 7430250"/>
                    <a:gd name="connsiteY37" fmla="*/ 1421437 h 1609071"/>
                    <a:gd name="connsiteX38" fmla="*/ 6034585 w 7430250"/>
                    <a:gd name="connsiteY38" fmla="*/ 1421437 h 1609071"/>
                    <a:gd name="connsiteX39" fmla="*/ 6034585 w 7430250"/>
                    <a:gd name="connsiteY39" fmla="*/ 1391102 h 1609071"/>
                    <a:gd name="connsiteX40" fmla="*/ 5973914 w 7430250"/>
                    <a:gd name="connsiteY40" fmla="*/ 1391102 h 1609071"/>
                    <a:gd name="connsiteX41" fmla="*/ 5973914 w 7430250"/>
                    <a:gd name="connsiteY41" fmla="*/ 1373767 h 1609071"/>
                    <a:gd name="connsiteX42" fmla="*/ 5934911 w 7430250"/>
                    <a:gd name="connsiteY42" fmla="*/ 1373767 h 1609071"/>
                    <a:gd name="connsiteX43" fmla="*/ 5934911 w 7430250"/>
                    <a:gd name="connsiteY43" fmla="*/ 1352099 h 1609071"/>
                    <a:gd name="connsiteX44" fmla="*/ 5839571 w 7430250"/>
                    <a:gd name="connsiteY44" fmla="*/ 1352099 h 1609071"/>
                    <a:gd name="connsiteX45" fmla="*/ 5839571 w 7430250"/>
                    <a:gd name="connsiteY45" fmla="*/ 1399769 h 1609071"/>
                    <a:gd name="connsiteX46" fmla="*/ 5804902 w 7430250"/>
                    <a:gd name="connsiteY46" fmla="*/ 1399769 h 1609071"/>
                    <a:gd name="connsiteX47" fmla="*/ 5804902 w 7430250"/>
                    <a:gd name="connsiteY47" fmla="*/ 1365100 h 1609071"/>
                    <a:gd name="connsiteX48" fmla="*/ 5713895 w 7430250"/>
                    <a:gd name="connsiteY48" fmla="*/ 1365100 h 1609071"/>
                    <a:gd name="connsiteX49" fmla="*/ 5713895 w 7430250"/>
                    <a:gd name="connsiteY49" fmla="*/ 1326097 h 1609071"/>
                    <a:gd name="connsiteX50" fmla="*/ 5670558 w 7430250"/>
                    <a:gd name="connsiteY50" fmla="*/ 1326097 h 1609071"/>
                    <a:gd name="connsiteX51" fmla="*/ 5670558 w 7430250"/>
                    <a:gd name="connsiteY51" fmla="*/ 1373767 h 1609071"/>
                    <a:gd name="connsiteX52" fmla="*/ 5627222 w 7430250"/>
                    <a:gd name="connsiteY52" fmla="*/ 1373767 h 1609071"/>
                    <a:gd name="connsiteX53" fmla="*/ 5627222 w 7430250"/>
                    <a:gd name="connsiteY53" fmla="*/ 1334764 h 1609071"/>
                    <a:gd name="connsiteX54" fmla="*/ 5527548 w 7430250"/>
                    <a:gd name="connsiteY54" fmla="*/ 1334764 h 1609071"/>
                    <a:gd name="connsiteX55" fmla="*/ 5527548 w 7430250"/>
                    <a:gd name="connsiteY55" fmla="*/ 1360766 h 1609071"/>
                    <a:gd name="connsiteX56" fmla="*/ 5484211 w 7430250"/>
                    <a:gd name="connsiteY56" fmla="*/ 1360766 h 1609071"/>
                    <a:gd name="connsiteX57" fmla="*/ 5484211 w 7430250"/>
                    <a:gd name="connsiteY57" fmla="*/ 1321763 h 1609071"/>
                    <a:gd name="connsiteX58" fmla="*/ 5375870 w 7430250"/>
                    <a:gd name="connsiteY58" fmla="*/ 1321763 h 1609071"/>
                    <a:gd name="connsiteX59" fmla="*/ 5375870 w 7430250"/>
                    <a:gd name="connsiteY59" fmla="*/ 1304429 h 1609071"/>
                    <a:gd name="connsiteX60" fmla="*/ 5315199 w 7430250"/>
                    <a:gd name="connsiteY60" fmla="*/ 1304429 h 1609071"/>
                    <a:gd name="connsiteX61" fmla="*/ 5306532 w 7430250"/>
                    <a:gd name="connsiteY61" fmla="*/ 1295762 h 1609071"/>
                    <a:gd name="connsiteX62" fmla="*/ 5202524 w 7430250"/>
                    <a:gd name="connsiteY62" fmla="*/ 1295762 h 1609071"/>
                    <a:gd name="connsiteX63" fmla="*/ 5202524 w 7430250"/>
                    <a:gd name="connsiteY63" fmla="*/ 1278427 h 1609071"/>
                    <a:gd name="connsiteX64" fmla="*/ 5060609 w 7430250"/>
                    <a:gd name="connsiteY64" fmla="*/ 1278427 h 1609071"/>
                    <a:gd name="connsiteX65" fmla="*/ 5063847 w 7430250"/>
                    <a:gd name="connsiteY65" fmla="*/ 1269759 h 1609071"/>
                    <a:gd name="connsiteX66" fmla="*/ 4938172 w 7430250"/>
                    <a:gd name="connsiteY66" fmla="*/ 1269759 h 1609071"/>
                    <a:gd name="connsiteX67" fmla="*/ 4941839 w 7430250"/>
                    <a:gd name="connsiteY67" fmla="*/ 1256758 h 1609071"/>
                    <a:gd name="connsiteX68" fmla="*/ 4717585 w 7430250"/>
                    <a:gd name="connsiteY68" fmla="*/ 1254376 h 1609071"/>
                    <a:gd name="connsiteX69" fmla="*/ 4709346 w 7430250"/>
                    <a:gd name="connsiteY69" fmla="*/ 1241375 h 1609071"/>
                    <a:gd name="connsiteX70" fmla="*/ 4690060 w 7430250"/>
                    <a:gd name="connsiteY70" fmla="*/ 1238995 h 1609071"/>
                    <a:gd name="connsiteX71" fmla="*/ 4676979 w 7430250"/>
                    <a:gd name="connsiteY71" fmla="*/ 1226572 h 1609071"/>
                    <a:gd name="connsiteX72" fmla="*/ 4670344 w 7430250"/>
                    <a:gd name="connsiteY72" fmla="*/ 1224042 h 1609071"/>
                    <a:gd name="connsiteX73" fmla="*/ 4647818 w 7430250"/>
                    <a:gd name="connsiteY73" fmla="*/ 1213422 h 1609071"/>
                    <a:gd name="connsiteX74" fmla="*/ 4504807 w 7430250"/>
                    <a:gd name="connsiteY74" fmla="*/ 1213422 h 1609071"/>
                    <a:gd name="connsiteX75" fmla="*/ 4504807 w 7430250"/>
                    <a:gd name="connsiteY75" fmla="*/ 1200421 h 1609071"/>
                    <a:gd name="connsiteX76" fmla="*/ 4461470 w 7430250"/>
                    <a:gd name="connsiteY76" fmla="*/ 1200421 h 1609071"/>
                    <a:gd name="connsiteX77" fmla="*/ 4459089 w 7430250"/>
                    <a:gd name="connsiteY77" fmla="*/ 1192612 h 1609071"/>
                    <a:gd name="connsiteX78" fmla="*/ 4436474 w 7430250"/>
                    <a:gd name="connsiteY78" fmla="*/ 1195615 h 1609071"/>
                    <a:gd name="connsiteX79" fmla="*/ 4438708 w 7430250"/>
                    <a:gd name="connsiteY79" fmla="*/ 1171180 h 1609071"/>
                    <a:gd name="connsiteX80" fmla="*/ 4409038 w 7430250"/>
                    <a:gd name="connsiteY80" fmla="*/ 1172467 h 1609071"/>
                    <a:gd name="connsiteX81" fmla="*/ 4409467 w 7430250"/>
                    <a:gd name="connsiteY81" fmla="*/ 1200421 h 1609071"/>
                    <a:gd name="connsiteX82" fmla="*/ 4374797 w 7430250"/>
                    <a:gd name="connsiteY82" fmla="*/ 1200421 h 1609071"/>
                    <a:gd name="connsiteX83" fmla="*/ 4374797 w 7430250"/>
                    <a:gd name="connsiteY83" fmla="*/ 1157085 h 1609071"/>
                    <a:gd name="connsiteX84" fmla="*/ 4344462 w 7430250"/>
                    <a:gd name="connsiteY84" fmla="*/ 1157085 h 1609071"/>
                    <a:gd name="connsiteX85" fmla="*/ 4335794 w 7430250"/>
                    <a:gd name="connsiteY85" fmla="*/ 1148417 h 1609071"/>
                    <a:gd name="connsiteX86" fmla="*/ 4171116 w 7430250"/>
                    <a:gd name="connsiteY86" fmla="*/ 1148417 h 1609071"/>
                    <a:gd name="connsiteX87" fmla="*/ 4169592 w 7430250"/>
                    <a:gd name="connsiteY87" fmla="*/ 1134986 h 1609071"/>
                    <a:gd name="connsiteX88" fmla="*/ 4082490 w 7430250"/>
                    <a:gd name="connsiteY88" fmla="*/ 1134987 h 1609071"/>
                    <a:gd name="connsiteX89" fmla="*/ 4080109 w 7430250"/>
                    <a:gd name="connsiteY89" fmla="*/ 1122415 h 1609071"/>
                    <a:gd name="connsiteX90" fmla="*/ 4062774 w 7430250"/>
                    <a:gd name="connsiteY90" fmla="*/ 1122415 h 1609071"/>
                    <a:gd name="connsiteX91" fmla="*/ 4062774 w 7430250"/>
                    <a:gd name="connsiteY91" fmla="*/ 1105081 h 1609071"/>
                    <a:gd name="connsiteX92" fmla="*/ 4041106 w 7430250"/>
                    <a:gd name="connsiteY92" fmla="*/ 1105081 h 1609071"/>
                    <a:gd name="connsiteX93" fmla="*/ 4041106 w 7430250"/>
                    <a:gd name="connsiteY93" fmla="*/ 1152751 h 1609071"/>
                    <a:gd name="connsiteX94" fmla="*/ 4006437 w 7430250"/>
                    <a:gd name="connsiteY94" fmla="*/ 1152751 h 1609071"/>
                    <a:gd name="connsiteX95" fmla="*/ 4006437 w 7430250"/>
                    <a:gd name="connsiteY95" fmla="*/ 1109415 h 1609071"/>
                    <a:gd name="connsiteX96" fmla="*/ 3976102 w 7430250"/>
                    <a:gd name="connsiteY96" fmla="*/ 1109415 h 1609071"/>
                    <a:gd name="connsiteX97" fmla="*/ 3969816 w 7430250"/>
                    <a:gd name="connsiteY97" fmla="*/ 1091222 h 1609071"/>
                    <a:gd name="connsiteX98" fmla="*/ 3745990 w 7430250"/>
                    <a:gd name="connsiteY98" fmla="*/ 1093604 h 1609071"/>
                    <a:gd name="connsiteX99" fmla="*/ 3747705 w 7430250"/>
                    <a:gd name="connsiteY99" fmla="*/ 1081031 h 1609071"/>
                    <a:gd name="connsiteX100" fmla="*/ 3600597 w 7430250"/>
                    <a:gd name="connsiteY100" fmla="*/ 1078650 h 1609071"/>
                    <a:gd name="connsiteX101" fmla="*/ 3599932 w 7430250"/>
                    <a:gd name="connsiteY101" fmla="*/ 1066079 h 1609071"/>
                    <a:gd name="connsiteX102" fmla="*/ 3456064 w 7430250"/>
                    <a:gd name="connsiteY102" fmla="*/ 1066079 h 1609071"/>
                    <a:gd name="connsiteX103" fmla="*/ 3456064 w 7430250"/>
                    <a:gd name="connsiteY103" fmla="*/ 1040076 h 1609071"/>
                    <a:gd name="connsiteX104" fmla="*/ 3334721 w 7430250"/>
                    <a:gd name="connsiteY104" fmla="*/ 1040076 h 1609071"/>
                    <a:gd name="connsiteX105" fmla="*/ 3334721 w 7430250"/>
                    <a:gd name="connsiteY105" fmla="*/ 1027075 h 1609071"/>
                    <a:gd name="connsiteX106" fmla="*/ 3196045 w 7430250"/>
                    <a:gd name="connsiteY106" fmla="*/ 1027075 h 1609071"/>
                    <a:gd name="connsiteX107" fmla="*/ 3196045 w 7430250"/>
                    <a:gd name="connsiteY107" fmla="*/ 1020123 h 1609071"/>
                    <a:gd name="connsiteX108" fmla="*/ 3178710 w 7430250"/>
                    <a:gd name="connsiteY108" fmla="*/ 1018408 h 1609071"/>
                    <a:gd name="connsiteX109" fmla="*/ 3165709 w 7430250"/>
                    <a:gd name="connsiteY109" fmla="*/ 1000645 h 1609071"/>
                    <a:gd name="connsiteX110" fmla="*/ 3005364 w 7430250"/>
                    <a:gd name="connsiteY110" fmla="*/ 1003026 h 1609071"/>
                    <a:gd name="connsiteX111" fmla="*/ 3005364 w 7430250"/>
                    <a:gd name="connsiteY111" fmla="*/ 988072 h 1609071"/>
                    <a:gd name="connsiteX112" fmla="*/ 2923025 w 7430250"/>
                    <a:gd name="connsiteY112" fmla="*/ 988072 h 1609071"/>
                    <a:gd name="connsiteX113" fmla="*/ 2914357 w 7430250"/>
                    <a:gd name="connsiteY113" fmla="*/ 979404 h 1609071"/>
                    <a:gd name="connsiteX114" fmla="*/ 2884022 w 7430250"/>
                    <a:gd name="connsiteY114" fmla="*/ 979404 h 1609071"/>
                    <a:gd name="connsiteX115" fmla="*/ 2884022 w 7430250"/>
                    <a:gd name="connsiteY115" fmla="*/ 953403 h 1609071"/>
                    <a:gd name="connsiteX116" fmla="*/ 2858020 w 7430250"/>
                    <a:gd name="connsiteY116" fmla="*/ 953403 h 1609071"/>
                    <a:gd name="connsiteX117" fmla="*/ 2849353 w 7430250"/>
                    <a:gd name="connsiteY117" fmla="*/ 944736 h 1609071"/>
                    <a:gd name="connsiteX118" fmla="*/ 2771347 w 7430250"/>
                    <a:gd name="connsiteY118" fmla="*/ 944736 h 1609071"/>
                    <a:gd name="connsiteX119" fmla="*/ 2762680 w 7430250"/>
                    <a:gd name="connsiteY119" fmla="*/ 936069 h 1609071"/>
                    <a:gd name="connsiteX120" fmla="*/ 2715010 w 7430250"/>
                    <a:gd name="connsiteY120" fmla="*/ 936069 h 1609071"/>
                    <a:gd name="connsiteX121" fmla="*/ 2703961 w 7430250"/>
                    <a:gd name="connsiteY121" fmla="*/ 925019 h 1609071"/>
                    <a:gd name="connsiteX122" fmla="*/ 2658672 w 7430250"/>
                    <a:gd name="connsiteY122" fmla="*/ 927401 h 1609071"/>
                    <a:gd name="connsiteX123" fmla="*/ 2653245 w 7430250"/>
                    <a:gd name="connsiteY123" fmla="*/ 910067 h 1609071"/>
                    <a:gd name="connsiteX124" fmla="*/ 2631147 w 7430250"/>
                    <a:gd name="connsiteY124" fmla="*/ 899876 h 1609071"/>
                    <a:gd name="connsiteX125" fmla="*/ 2606668 w 7430250"/>
                    <a:gd name="connsiteY125" fmla="*/ 875397 h 1609071"/>
                    <a:gd name="connsiteX126" fmla="*/ 2576333 w 7430250"/>
                    <a:gd name="connsiteY126" fmla="*/ 875397 h 1609071"/>
                    <a:gd name="connsiteX127" fmla="*/ 2567665 w 7430250"/>
                    <a:gd name="connsiteY127" fmla="*/ 866729 h 1609071"/>
                    <a:gd name="connsiteX128" fmla="*/ 2515662 w 7430250"/>
                    <a:gd name="connsiteY128" fmla="*/ 866729 h 1609071"/>
                    <a:gd name="connsiteX129" fmla="*/ 2515662 w 7430250"/>
                    <a:gd name="connsiteY129" fmla="*/ 849396 h 1609071"/>
                    <a:gd name="connsiteX130" fmla="*/ 2459324 w 7430250"/>
                    <a:gd name="connsiteY130" fmla="*/ 849396 h 1609071"/>
                    <a:gd name="connsiteX131" fmla="*/ 2450656 w 7430250"/>
                    <a:gd name="connsiteY131" fmla="*/ 840728 h 1609071"/>
                    <a:gd name="connsiteX132" fmla="*/ 2428989 w 7430250"/>
                    <a:gd name="connsiteY132" fmla="*/ 840728 h 1609071"/>
                    <a:gd name="connsiteX133" fmla="*/ 2415988 w 7430250"/>
                    <a:gd name="connsiteY133" fmla="*/ 827727 h 1609071"/>
                    <a:gd name="connsiteX134" fmla="*/ 2363984 w 7430250"/>
                    <a:gd name="connsiteY134" fmla="*/ 827727 h 1609071"/>
                    <a:gd name="connsiteX135" fmla="*/ 2363984 w 7430250"/>
                    <a:gd name="connsiteY135" fmla="*/ 810393 h 1609071"/>
                    <a:gd name="connsiteX136" fmla="*/ 2324981 w 7430250"/>
                    <a:gd name="connsiteY136" fmla="*/ 810393 h 1609071"/>
                    <a:gd name="connsiteX137" fmla="*/ 2319123 w 7430250"/>
                    <a:gd name="connsiteY137" fmla="*/ 830537 h 1609071"/>
                    <a:gd name="connsiteX138" fmla="*/ 2288789 w 7430250"/>
                    <a:gd name="connsiteY138" fmla="*/ 828156 h 1609071"/>
                    <a:gd name="connsiteX139" fmla="*/ 2287694 w 7430250"/>
                    <a:gd name="connsiteY139" fmla="*/ 800867 h 1609071"/>
                    <a:gd name="connsiteX140" fmla="*/ 2259976 w 7430250"/>
                    <a:gd name="connsiteY140" fmla="*/ 801725 h 1609071"/>
                    <a:gd name="connsiteX141" fmla="*/ 2259976 w 7430250"/>
                    <a:gd name="connsiteY141" fmla="*/ 775724 h 1609071"/>
                    <a:gd name="connsiteX142" fmla="*/ 2138634 w 7430250"/>
                    <a:gd name="connsiteY142" fmla="*/ 775724 h 1609071"/>
                    <a:gd name="connsiteX143" fmla="*/ 2138634 w 7430250"/>
                    <a:gd name="connsiteY143" fmla="*/ 745388 h 1609071"/>
                    <a:gd name="connsiteX144" fmla="*/ 2086630 w 7430250"/>
                    <a:gd name="connsiteY144" fmla="*/ 745388 h 1609071"/>
                    <a:gd name="connsiteX145" fmla="*/ 2077963 w 7430250"/>
                    <a:gd name="connsiteY145" fmla="*/ 736721 h 1609071"/>
                    <a:gd name="connsiteX146" fmla="*/ 2021626 w 7430250"/>
                    <a:gd name="connsiteY146" fmla="*/ 736721 h 1609071"/>
                    <a:gd name="connsiteX147" fmla="*/ 2021626 w 7430250"/>
                    <a:gd name="connsiteY147" fmla="*/ 715052 h 1609071"/>
                    <a:gd name="connsiteX148" fmla="*/ 1921952 w 7430250"/>
                    <a:gd name="connsiteY148" fmla="*/ 715052 h 1609071"/>
                    <a:gd name="connsiteX149" fmla="*/ 1917619 w 7430250"/>
                    <a:gd name="connsiteY149" fmla="*/ 710719 h 1609071"/>
                    <a:gd name="connsiteX150" fmla="*/ 1878615 w 7430250"/>
                    <a:gd name="connsiteY150" fmla="*/ 710719 h 1609071"/>
                    <a:gd name="connsiteX151" fmla="*/ 1878615 w 7430250"/>
                    <a:gd name="connsiteY151" fmla="*/ 680383 h 1609071"/>
                    <a:gd name="connsiteX152" fmla="*/ 1822278 w 7430250"/>
                    <a:gd name="connsiteY152" fmla="*/ 680383 h 1609071"/>
                    <a:gd name="connsiteX153" fmla="*/ 1823136 w 7430250"/>
                    <a:gd name="connsiteY153" fmla="*/ 671716 h 1609071"/>
                    <a:gd name="connsiteX154" fmla="*/ 1800610 w 7430250"/>
                    <a:gd name="connsiteY154" fmla="*/ 671716 h 1609071"/>
                    <a:gd name="connsiteX155" fmla="*/ 1800610 w 7430250"/>
                    <a:gd name="connsiteY155" fmla="*/ 658715 h 1609071"/>
                    <a:gd name="connsiteX156" fmla="*/ 1765940 w 7430250"/>
                    <a:gd name="connsiteY156" fmla="*/ 658715 h 1609071"/>
                    <a:gd name="connsiteX157" fmla="*/ 1765940 w 7430250"/>
                    <a:gd name="connsiteY157" fmla="*/ 637047 h 1609071"/>
                    <a:gd name="connsiteX158" fmla="*/ 1713937 w 7430250"/>
                    <a:gd name="connsiteY158" fmla="*/ 637047 h 1609071"/>
                    <a:gd name="connsiteX159" fmla="*/ 1713937 w 7430250"/>
                    <a:gd name="connsiteY159" fmla="*/ 611045 h 1609071"/>
                    <a:gd name="connsiteX160" fmla="*/ 1631597 w 7430250"/>
                    <a:gd name="connsiteY160" fmla="*/ 611045 h 1609071"/>
                    <a:gd name="connsiteX161" fmla="*/ 1618596 w 7430250"/>
                    <a:gd name="connsiteY161" fmla="*/ 598044 h 1609071"/>
                    <a:gd name="connsiteX162" fmla="*/ 1605595 w 7430250"/>
                    <a:gd name="connsiteY162" fmla="*/ 598044 h 1609071"/>
                    <a:gd name="connsiteX163" fmla="*/ 1592594 w 7430250"/>
                    <a:gd name="connsiteY163" fmla="*/ 585043 h 1609071"/>
                    <a:gd name="connsiteX164" fmla="*/ 1544924 w 7430250"/>
                    <a:gd name="connsiteY164" fmla="*/ 585043 h 1609071"/>
                    <a:gd name="connsiteX165" fmla="*/ 1544924 w 7430250"/>
                    <a:gd name="connsiteY165" fmla="*/ 576376 h 1609071"/>
                    <a:gd name="connsiteX166" fmla="*/ 1492920 w 7430250"/>
                    <a:gd name="connsiteY166" fmla="*/ 576376 h 1609071"/>
                    <a:gd name="connsiteX167" fmla="*/ 1492920 w 7430250"/>
                    <a:gd name="connsiteY167" fmla="*/ 559041 h 1609071"/>
                    <a:gd name="connsiteX168" fmla="*/ 1423582 w 7430250"/>
                    <a:gd name="connsiteY168" fmla="*/ 559041 h 1609071"/>
                    <a:gd name="connsiteX169" fmla="*/ 1410581 w 7430250"/>
                    <a:gd name="connsiteY169" fmla="*/ 546040 h 1609071"/>
                    <a:gd name="connsiteX170" fmla="*/ 1345576 w 7430250"/>
                    <a:gd name="connsiteY170" fmla="*/ 546040 h 1609071"/>
                    <a:gd name="connsiteX171" fmla="*/ 1345576 w 7430250"/>
                    <a:gd name="connsiteY171" fmla="*/ 528706 h 1609071"/>
                    <a:gd name="connsiteX172" fmla="*/ 1289239 w 7430250"/>
                    <a:gd name="connsiteY172" fmla="*/ 528706 h 1609071"/>
                    <a:gd name="connsiteX173" fmla="*/ 1289239 w 7430250"/>
                    <a:gd name="connsiteY173" fmla="*/ 507037 h 1609071"/>
                    <a:gd name="connsiteX174" fmla="*/ 1206900 w 7430250"/>
                    <a:gd name="connsiteY174" fmla="*/ 507037 h 1609071"/>
                    <a:gd name="connsiteX175" fmla="*/ 1189565 w 7430250"/>
                    <a:gd name="connsiteY175" fmla="*/ 507037 h 1609071"/>
                    <a:gd name="connsiteX176" fmla="*/ 1163563 w 7430250"/>
                    <a:gd name="connsiteY176" fmla="*/ 507037 h 1609071"/>
                    <a:gd name="connsiteX177" fmla="*/ 1163563 w 7430250"/>
                    <a:gd name="connsiteY177" fmla="*/ 481035 h 1609071"/>
                    <a:gd name="connsiteX178" fmla="*/ 1107226 w 7430250"/>
                    <a:gd name="connsiteY178" fmla="*/ 481035 h 1609071"/>
                    <a:gd name="connsiteX179" fmla="*/ 1107226 w 7430250"/>
                    <a:gd name="connsiteY179" fmla="*/ 468034 h 1609071"/>
                    <a:gd name="connsiteX180" fmla="*/ 1059556 w 7430250"/>
                    <a:gd name="connsiteY180" fmla="*/ 468034 h 1609071"/>
                    <a:gd name="connsiteX181" fmla="*/ 1059556 w 7430250"/>
                    <a:gd name="connsiteY181" fmla="*/ 437699 h 1609071"/>
                    <a:gd name="connsiteX182" fmla="*/ 1003218 w 7430250"/>
                    <a:gd name="connsiteY182" fmla="*/ 437699 h 1609071"/>
                    <a:gd name="connsiteX183" fmla="*/ 990217 w 7430250"/>
                    <a:gd name="connsiteY183" fmla="*/ 424698 h 1609071"/>
                    <a:gd name="connsiteX184" fmla="*/ 968549 w 7430250"/>
                    <a:gd name="connsiteY184" fmla="*/ 424698 h 1609071"/>
                    <a:gd name="connsiteX185" fmla="*/ 959882 w 7430250"/>
                    <a:gd name="connsiteY185" fmla="*/ 416031 h 1609071"/>
                    <a:gd name="connsiteX186" fmla="*/ 907878 w 7430250"/>
                    <a:gd name="connsiteY186" fmla="*/ 416031 h 1609071"/>
                    <a:gd name="connsiteX187" fmla="*/ 907878 w 7430250"/>
                    <a:gd name="connsiteY187" fmla="*/ 394362 h 1609071"/>
                    <a:gd name="connsiteX188" fmla="*/ 881876 w 7430250"/>
                    <a:gd name="connsiteY188" fmla="*/ 394362 h 1609071"/>
                    <a:gd name="connsiteX189" fmla="*/ 873209 w 7430250"/>
                    <a:gd name="connsiteY189" fmla="*/ 385695 h 1609071"/>
                    <a:gd name="connsiteX190" fmla="*/ 769201 w 7430250"/>
                    <a:gd name="connsiteY190" fmla="*/ 385695 h 1609071"/>
                    <a:gd name="connsiteX191" fmla="*/ 769201 w 7430250"/>
                    <a:gd name="connsiteY191" fmla="*/ 359693 h 1609071"/>
                    <a:gd name="connsiteX192" fmla="*/ 738865 w 7430250"/>
                    <a:gd name="connsiteY192" fmla="*/ 359693 h 1609071"/>
                    <a:gd name="connsiteX193" fmla="*/ 738865 w 7430250"/>
                    <a:gd name="connsiteY193" fmla="*/ 342359 h 1609071"/>
                    <a:gd name="connsiteX194" fmla="*/ 673861 w 7430250"/>
                    <a:gd name="connsiteY194" fmla="*/ 342359 h 1609071"/>
                    <a:gd name="connsiteX195" fmla="*/ 665193 w 7430250"/>
                    <a:gd name="connsiteY195" fmla="*/ 333691 h 1609071"/>
                    <a:gd name="connsiteX196" fmla="*/ 643525 w 7430250"/>
                    <a:gd name="connsiteY196" fmla="*/ 333691 h 1609071"/>
                    <a:gd name="connsiteX197" fmla="*/ 643525 w 7430250"/>
                    <a:gd name="connsiteY197" fmla="*/ 316357 h 1609071"/>
                    <a:gd name="connsiteX198" fmla="*/ 613190 w 7430250"/>
                    <a:gd name="connsiteY198" fmla="*/ 316357 h 1609071"/>
                    <a:gd name="connsiteX199" fmla="*/ 613190 w 7430250"/>
                    <a:gd name="connsiteY199" fmla="*/ 294688 h 1609071"/>
                    <a:gd name="connsiteX200" fmla="*/ 591521 w 7430250"/>
                    <a:gd name="connsiteY200" fmla="*/ 294688 h 1609071"/>
                    <a:gd name="connsiteX201" fmla="*/ 591521 w 7430250"/>
                    <a:gd name="connsiteY201" fmla="*/ 281687 h 1609071"/>
                    <a:gd name="connsiteX202" fmla="*/ 569853 w 7430250"/>
                    <a:gd name="connsiteY202" fmla="*/ 281687 h 1609071"/>
                    <a:gd name="connsiteX203" fmla="*/ 569853 w 7430250"/>
                    <a:gd name="connsiteY203" fmla="*/ 268687 h 1609071"/>
                    <a:gd name="connsiteX204" fmla="*/ 504848 w 7430250"/>
                    <a:gd name="connsiteY204" fmla="*/ 268687 h 1609071"/>
                    <a:gd name="connsiteX205" fmla="*/ 504848 w 7430250"/>
                    <a:gd name="connsiteY205" fmla="*/ 242685 h 1609071"/>
                    <a:gd name="connsiteX206" fmla="*/ 470179 w 7430250"/>
                    <a:gd name="connsiteY206" fmla="*/ 242685 h 1609071"/>
                    <a:gd name="connsiteX207" fmla="*/ 470179 w 7430250"/>
                    <a:gd name="connsiteY207" fmla="*/ 216683 h 1609071"/>
                    <a:gd name="connsiteX208" fmla="*/ 452845 w 7430250"/>
                    <a:gd name="connsiteY208" fmla="*/ 216683 h 1609071"/>
                    <a:gd name="connsiteX209" fmla="*/ 452845 w 7430250"/>
                    <a:gd name="connsiteY209" fmla="*/ 186347 h 1609071"/>
                    <a:gd name="connsiteX210" fmla="*/ 422509 w 7430250"/>
                    <a:gd name="connsiteY210" fmla="*/ 186347 h 1609071"/>
                    <a:gd name="connsiteX211" fmla="*/ 422509 w 7430250"/>
                    <a:gd name="connsiteY211" fmla="*/ 173346 h 1609071"/>
                    <a:gd name="connsiteX212" fmla="*/ 387840 w 7430250"/>
                    <a:gd name="connsiteY212" fmla="*/ 173346 h 1609071"/>
                    <a:gd name="connsiteX213" fmla="*/ 387840 w 7430250"/>
                    <a:gd name="connsiteY213" fmla="*/ 151678 h 1609071"/>
                    <a:gd name="connsiteX214" fmla="*/ 370505 w 7430250"/>
                    <a:gd name="connsiteY214" fmla="*/ 151678 h 1609071"/>
                    <a:gd name="connsiteX215" fmla="*/ 370505 w 7430250"/>
                    <a:gd name="connsiteY215" fmla="*/ 138677 h 1609071"/>
                    <a:gd name="connsiteX216" fmla="*/ 318502 w 7430250"/>
                    <a:gd name="connsiteY216" fmla="*/ 138677 h 1609071"/>
                    <a:gd name="connsiteX217" fmla="*/ 318502 w 7430250"/>
                    <a:gd name="connsiteY217" fmla="*/ 95341 h 1609071"/>
                    <a:gd name="connsiteX218" fmla="*/ 283832 w 7430250"/>
                    <a:gd name="connsiteY218" fmla="*/ 95341 h 1609071"/>
                    <a:gd name="connsiteX219" fmla="*/ 283832 w 7430250"/>
                    <a:gd name="connsiteY219" fmla="*/ 82340 h 1609071"/>
                    <a:gd name="connsiteX220" fmla="*/ 249163 w 7430250"/>
                    <a:gd name="connsiteY220" fmla="*/ 82340 h 1609071"/>
                    <a:gd name="connsiteX221" fmla="*/ 249163 w 7430250"/>
                    <a:gd name="connsiteY221" fmla="*/ 47670 h 1609071"/>
                    <a:gd name="connsiteX222" fmla="*/ 223161 w 7430250"/>
                    <a:gd name="connsiteY222" fmla="*/ 47670 h 1609071"/>
                    <a:gd name="connsiteX223" fmla="*/ 223161 w 7430250"/>
                    <a:gd name="connsiteY223" fmla="*/ 39003 h 1609071"/>
                    <a:gd name="connsiteX224" fmla="*/ 171157 w 7430250"/>
                    <a:gd name="connsiteY224" fmla="*/ 39003 h 1609071"/>
                    <a:gd name="connsiteX225" fmla="*/ 171157 w 7430250"/>
                    <a:gd name="connsiteY225" fmla="*/ 26002 h 1609071"/>
                    <a:gd name="connsiteX226" fmla="*/ 136488 w 7430250"/>
                    <a:gd name="connsiteY226" fmla="*/ 26002 h 1609071"/>
                    <a:gd name="connsiteX227" fmla="*/ 136488 w 7430250"/>
                    <a:gd name="connsiteY227" fmla="*/ 0 h 1609071"/>
                    <a:gd name="connsiteX228" fmla="*/ 85579 w 7430250"/>
                    <a:gd name="connsiteY228" fmla="*/ 0 h 1609071"/>
                    <a:gd name="connsiteX229" fmla="*/ 85579 w 7430250"/>
                    <a:gd name="connsiteY229" fmla="*/ 38575 h 1609071"/>
                    <a:gd name="connsiteX230" fmla="*/ 0 w 7430250"/>
                    <a:gd name="connsiteY230" fmla="*/ 37051 h 1609071"/>
                    <a:gd name="connsiteX231" fmla="*/ 39195 w 7430250"/>
                    <a:gd name="connsiteY231" fmla="*/ 42479 h 1609071"/>
                    <a:gd name="connsiteX232" fmla="*/ 36814 w 7430250"/>
                    <a:gd name="connsiteY232" fmla="*/ 65005 h 1609071"/>
                    <a:gd name="connsiteX233" fmla="*/ 67150 w 7430250"/>
                    <a:gd name="connsiteY233" fmla="*/ 65005 h 1609071"/>
                    <a:gd name="connsiteX234" fmla="*/ 67150 w 7430250"/>
                    <a:gd name="connsiteY234" fmla="*/ 86673 h 1609071"/>
                    <a:gd name="connsiteX235" fmla="*/ 93152 w 7430250"/>
                    <a:gd name="connsiteY235" fmla="*/ 86673 h 1609071"/>
                    <a:gd name="connsiteX236" fmla="*/ 93152 w 7430250"/>
                    <a:gd name="connsiteY236" fmla="*/ 125676 h 1609071"/>
                    <a:gd name="connsiteX237" fmla="*/ 153823 w 7430250"/>
                    <a:gd name="connsiteY237" fmla="*/ 125676 h 1609071"/>
                    <a:gd name="connsiteX238" fmla="*/ 162490 w 7430250"/>
                    <a:gd name="connsiteY238" fmla="*/ 134343 h 1609071"/>
                    <a:gd name="connsiteX239" fmla="*/ 179825 w 7430250"/>
                    <a:gd name="connsiteY239" fmla="*/ 134343 h 1609071"/>
                    <a:gd name="connsiteX240" fmla="*/ 179825 w 7430250"/>
                    <a:gd name="connsiteY240" fmla="*/ 156012 h 1609071"/>
                    <a:gd name="connsiteX241" fmla="*/ 197159 w 7430250"/>
                    <a:gd name="connsiteY241" fmla="*/ 156012 h 1609071"/>
                    <a:gd name="connsiteX242" fmla="*/ 210160 w 7430250"/>
                    <a:gd name="connsiteY242" fmla="*/ 169013 h 1609071"/>
                    <a:gd name="connsiteX243" fmla="*/ 240496 w 7430250"/>
                    <a:gd name="connsiteY243" fmla="*/ 169013 h 1609071"/>
                    <a:gd name="connsiteX244" fmla="*/ 240496 w 7430250"/>
                    <a:gd name="connsiteY244" fmla="*/ 208015 h 1609071"/>
                    <a:gd name="connsiteX245" fmla="*/ 266498 w 7430250"/>
                    <a:gd name="connsiteY245" fmla="*/ 208015 h 1609071"/>
                    <a:gd name="connsiteX246" fmla="*/ 275165 w 7430250"/>
                    <a:gd name="connsiteY246" fmla="*/ 216682 h 1609071"/>
                    <a:gd name="connsiteX247" fmla="*/ 288167 w 7430250"/>
                    <a:gd name="connsiteY247" fmla="*/ 229684 h 1609071"/>
                    <a:gd name="connsiteX248" fmla="*/ 288167 w 7430250"/>
                    <a:gd name="connsiteY248" fmla="*/ 251352 h 1609071"/>
                    <a:gd name="connsiteX249" fmla="*/ 318502 w 7430250"/>
                    <a:gd name="connsiteY249" fmla="*/ 251352 h 1609071"/>
                    <a:gd name="connsiteX250" fmla="*/ 318502 w 7430250"/>
                    <a:gd name="connsiteY250" fmla="*/ 268687 h 1609071"/>
                    <a:gd name="connsiteX251" fmla="*/ 357504 w 7430250"/>
                    <a:gd name="connsiteY251" fmla="*/ 268687 h 1609071"/>
                    <a:gd name="connsiteX252" fmla="*/ 357504 w 7430250"/>
                    <a:gd name="connsiteY252" fmla="*/ 286021 h 1609071"/>
                    <a:gd name="connsiteX253" fmla="*/ 400841 w 7430250"/>
                    <a:gd name="connsiteY253" fmla="*/ 286021 h 1609071"/>
                    <a:gd name="connsiteX254" fmla="*/ 400841 w 7430250"/>
                    <a:gd name="connsiteY254" fmla="*/ 286021 h 1609071"/>
                    <a:gd name="connsiteX255" fmla="*/ 401079 w 7430250"/>
                    <a:gd name="connsiteY255" fmla="*/ 312453 h 1609071"/>
                    <a:gd name="connsiteX256" fmla="*/ 438355 w 7430250"/>
                    <a:gd name="connsiteY256" fmla="*/ 316933 h 1609071"/>
                    <a:gd name="connsiteX257" fmla="*/ 437462 w 7430250"/>
                    <a:gd name="connsiteY257" fmla="*/ 334549 h 1609071"/>
                    <a:gd name="connsiteX258" fmla="*/ 482751 w 7430250"/>
                    <a:gd name="connsiteY258" fmla="*/ 334549 h 1609071"/>
                    <a:gd name="connsiteX259" fmla="*/ 487514 w 7430250"/>
                    <a:gd name="connsiteY259" fmla="*/ 355360 h 1609071"/>
                    <a:gd name="connsiteX260" fmla="*/ 526517 w 7430250"/>
                    <a:gd name="connsiteY260" fmla="*/ 355360 h 1609071"/>
                    <a:gd name="connsiteX261" fmla="*/ 526517 w 7430250"/>
                    <a:gd name="connsiteY261" fmla="*/ 377028 h 1609071"/>
                    <a:gd name="connsiteX262" fmla="*/ 574187 w 7430250"/>
                    <a:gd name="connsiteY262" fmla="*/ 377028 h 1609071"/>
                    <a:gd name="connsiteX263" fmla="*/ 574187 w 7430250"/>
                    <a:gd name="connsiteY263" fmla="*/ 398696 h 1609071"/>
                    <a:gd name="connsiteX264" fmla="*/ 604522 w 7430250"/>
                    <a:gd name="connsiteY264" fmla="*/ 398696 h 1609071"/>
                    <a:gd name="connsiteX265" fmla="*/ 617523 w 7430250"/>
                    <a:gd name="connsiteY265" fmla="*/ 411697 h 1609071"/>
                    <a:gd name="connsiteX266" fmla="*/ 665193 w 7430250"/>
                    <a:gd name="connsiteY266" fmla="*/ 411697 h 1609071"/>
                    <a:gd name="connsiteX267" fmla="*/ 665193 w 7430250"/>
                    <a:gd name="connsiteY267" fmla="*/ 450700 h 1609071"/>
                    <a:gd name="connsiteX268" fmla="*/ 773535 w 7430250"/>
                    <a:gd name="connsiteY268" fmla="*/ 450700 h 1609071"/>
                    <a:gd name="connsiteX269" fmla="*/ 773535 w 7430250"/>
                    <a:gd name="connsiteY269" fmla="*/ 481035 h 1609071"/>
                    <a:gd name="connsiteX270" fmla="*/ 890543 w 7430250"/>
                    <a:gd name="connsiteY270" fmla="*/ 481035 h 1609071"/>
                    <a:gd name="connsiteX271" fmla="*/ 890543 w 7430250"/>
                    <a:gd name="connsiteY271" fmla="*/ 507037 h 1609071"/>
                    <a:gd name="connsiteX272" fmla="*/ 942547 w 7430250"/>
                    <a:gd name="connsiteY272" fmla="*/ 507037 h 1609071"/>
                    <a:gd name="connsiteX273" fmla="*/ 942547 w 7430250"/>
                    <a:gd name="connsiteY273" fmla="*/ 524372 h 1609071"/>
                    <a:gd name="connsiteX274" fmla="*/ 994551 w 7430250"/>
                    <a:gd name="connsiteY274" fmla="*/ 524372 h 1609071"/>
                    <a:gd name="connsiteX275" fmla="*/ 1007552 w 7430250"/>
                    <a:gd name="connsiteY275" fmla="*/ 524372 h 1609071"/>
                    <a:gd name="connsiteX276" fmla="*/ 1020553 w 7430250"/>
                    <a:gd name="connsiteY276" fmla="*/ 537373 h 1609071"/>
                    <a:gd name="connsiteX277" fmla="*/ 1037458 w 7430250"/>
                    <a:gd name="connsiteY277" fmla="*/ 544516 h 1609071"/>
                    <a:gd name="connsiteX278" fmla="*/ 1072556 w 7430250"/>
                    <a:gd name="connsiteY278" fmla="*/ 549279 h 1609071"/>
                    <a:gd name="connsiteX279" fmla="*/ 1072556 w 7430250"/>
                    <a:gd name="connsiteY279" fmla="*/ 563375 h 1609071"/>
                    <a:gd name="connsiteX280" fmla="*/ 1094225 w 7430250"/>
                    <a:gd name="connsiteY280" fmla="*/ 563375 h 1609071"/>
                    <a:gd name="connsiteX281" fmla="*/ 1094225 w 7430250"/>
                    <a:gd name="connsiteY281" fmla="*/ 576376 h 1609071"/>
                    <a:gd name="connsiteX282" fmla="*/ 1172230 w 7430250"/>
                    <a:gd name="connsiteY282" fmla="*/ 576376 h 1609071"/>
                    <a:gd name="connsiteX283" fmla="*/ 1172230 w 7430250"/>
                    <a:gd name="connsiteY283" fmla="*/ 589377 h 1609071"/>
                    <a:gd name="connsiteX284" fmla="*/ 1211233 w 7430250"/>
                    <a:gd name="connsiteY284" fmla="*/ 589377 h 1609071"/>
                    <a:gd name="connsiteX285" fmla="*/ 1211233 w 7430250"/>
                    <a:gd name="connsiteY285" fmla="*/ 598044 h 1609071"/>
                    <a:gd name="connsiteX286" fmla="*/ 1258903 w 7430250"/>
                    <a:gd name="connsiteY286" fmla="*/ 598044 h 1609071"/>
                    <a:gd name="connsiteX287" fmla="*/ 1271904 w 7430250"/>
                    <a:gd name="connsiteY287" fmla="*/ 611045 h 1609071"/>
                    <a:gd name="connsiteX288" fmla="*/ 1284905 w 7430250"/>
                    <a:gd name="connsiteY288" fmla="*/ 624046 h 1609071"/>
                    <a:gd name="connsiteX289" fmla="*/ 1349910 w 7430250"/>
                    <a:gd name="connsiteY289" fmla="*/ 624046 h 1609071"/>
                    <a:gd name="connsiteX290" fmla="*/ 1349910 w 7430250"/>
                    <a:gd name="connsiteY290" fmla="*/ 645714 h 1609071"/>
                    <a:gd name="connsiteX291" fmla="*/ 1440917 w 7430250"/>
                    <a:gd name="connsiteY291" fmla="*/ 645714 h 1609071"/>
                    <a:gd name="connsiteX292" fmla="*/ 1449584 w 7430250"/>
                    <a:gd name="connsiteY292" fmla="*/ 654381 h 1609071"/>
                    <a:gd name="connsiteX293" fmla="*/ 1471252 w 7430250"/>
                    <a:gd name="connsiteY293" fmla="*/ 654381 h 1609071"/>
                    <a:gd name="connsiteX294" fmla="*/ 1471252 w 7430250"/>
                    <a:gd name="connsiteY294" fmla="*/ 667382 h 1609071"/>
                    <a:gd name="connsiteX295" fmla="*/ 1523256 w 7430250"/>
                    <a:gd name="connsiteY295" fmla="*/ 667382 h 1609071"/>
                    <a:gd name="connsiteX296" fmla="*/ 1523256 w 7430250"/>
                    <a:gd name="connsiteY296" fmla="*/ 684717 h 1609071"/>
                    <a:gd name="connsiteX297" fmla="*/ 1579593 w 7430250"/>
                    <a:gd name="connsiteY297" fmla="*/ 684717 h 1609071"/>
                    <a:gd name="connsiteX298" fmla="*/ 1586308 w 7430250"/>
                    <a:gd name="connsiteY298" fmla="*/ 693814 h 1609071"/>
                    <a:gd name="connsiteX299" fmla="*/ 1624883 w 7430250"/>
                    <a:gd name="connsiteY299" fmla="*/ 696194 h 1609071"/>
                    <a:gd name="connsiteX300" fmla="*/ 1642646 w 7430250"/>
                    <a:gd name="connsiteY300" fmla="*/ 709196 h 1609071"/>
                    <a:gd name="connsiteX301" fmla="*/ 1692268 w 7430250"/>
                    <a:gd name="connsiteY301" fmla="*/ 709196 h 1609071"/>
                    <a:gd name="connsiteX302" fmla="*/ 1693792 w 7430250"/>
                    <a:gd name="connsiteY302" fmla="*/ 722627 h 1609071"/>
                    <a:gd name="connsiteX303" fmla="*/ 1718269 w 7430250"/>
                    <a:gd name="connsiteY303" fmla="*/ 728053 h 1609071"/>
                    <a:gd name="connsiteX304" fmla="*/ 1731270 w 7430250"/>
                    <a:gd name="connsiteY304" fmla="*/ 741054 h 1609071"/>
                    <a:gd name="connsiteX305" fmla="*/ 1765940 w 7430250"/>
                    <a:gd name="connsiteY305" fmla="*/ 745816 h 1609071"/>
                    <a:gd name="connsiteX306" fmla="*/ 1765940 w 7430250"/>
                    <a:gd name="connsiteY306" fmla="*/ 767056 h 1609071"/>
                    <a:gd name="connsiteX307" fmla="*/ 1813611 w 7430250"/>
                    <a:gd name="connsiteY307" fmla="*/ 767056 h 1609071"/>
                    <a:gd name="connsiteX308" fmla="*/ 1813611 w 7430250"/>
                    <a:gd name="connsiteY308" fmla="*/ 780057 h 1609071"/>
                    <a:gd name="connsiteX309" fmla="*/ 1856947 w 7430250"/>
                    <a:gd name="connsiteY309" fmla="*/ 780057 h 1609071"/>
                    <a:gd name="connsiteX310" fmla="*/ 1856947 w 7430250"/>
                    <a:gd name="connsiteY310" fmla="*/ 797392 h 1609071"/>
                    <a:gd name="connsiteX311" fmla="*/ 1891616 w 7430250"/>
                    <a:gd name="connsiteY311" fmla="*/ 797392 h 1609071"/>
                    <a:gd name="connsiteX312" fmla="*/ 1902666 w 7430250"/>
                    <a:gd name="connsiteY312" fmla="*/ 813204 h 1609071"/>
                    <a:gd name="connsiteX313" fmla="*/ 1975908 w 7430250"/>
                    <a:gd name="connsiteY313" fmla="*/ 813204 h 1609071"/>
                    <a:gd name="connsiteX314" fmla="*/ 2021626 w 7430250"/>
                    <a:gd name="connsiteY314" fmla="*/ 813204 h 1609071"/>
                    <a:gd name="connsiteX315" fmla="*/ 2021885 w 7430250"/>
                    <a:gd name="connsiteY315" fmla="*/ 826521 h 1609071"/>
                    <a:gd name="connsiteX316" fmla="*/ 2059985 w 7430250"/>
                    <a:gd name="connsiteY316" fmla="*/ 828902 h 1609071"/>
                    <a:gd name="connsiteX317" fmla="*/ 2063868 w 7430250"/>
                    <a:gd name="connsiteY317" fmla="*/ 850683 h 1609071"/>
                    <a:gd name="connsiteX318" fmla="*/ 2123681 w 7430250"/>
                    <a:gd name="connsiteY318" fmla="*/ 848301 h 1609071"/>
                    <a:gd name="connsiteX319" fmla="*/ 2121300 w 7430250"/>
                    <a:gd name="connsiteY319" fmla="*/ 862396 h 1609071"/>
                    <a:gd name="connsiteX320" fmla="*/ 2134301 w 7430250"/>
                    <a:gd name="connsiteY320" fmla="*/ 862396 h 1609071"/>
                    <a:gd name="connsiteX321" fmla="*/ 2151635 w 7430250"/>
                    <a:gd name="connsiteY321" fmla="*/ 862396 h 1609071"/>
                    <a:gd name="connsiteX322" fmla="*/ 2199305 w 7430250"/>
                    <a:gd name="connsiteY322" fmla="*/ 862396 h 1609071"/>
                    <a:gd name="connsiteX323" fmla="*/ 2199305 w 7430250"/>
                    <a:gd name="connsiteY323" fmla="*/ 888398 h 1609071"/>
                    <a:gd name="connsiteX324" fmla="*/ 2215400 w 7430250"/>
                    <a:gd name="connsiteY324" fmla="*/ 883636 h 1609071"/>
                    <a:gd name="connsiteX325" fmla="*/ 2255879 w 7430250"/>
                    <a:gd name="connsiteY325" fmla="*/ 881254 h 1609071"/>
                    <a:gd name="connsiteX326" fmla="*/ 2255248 w 7430250"/>
                    <a:gd name="connsiteY326" fmla="*/ 914626 h 1609071"/>
                    <a:gd name="connsiteX327" fmla="*/ 2280786 w 7430250"/>
                    <a:gd name="connsiteY327" fmla="*/ 915879 h 1609071"/>
                    <a:gd name="connsiteX328" fmla="*/ 2281442 w 7430250"/>
                    <a:gd name="connsiteY328" fmla="*/ 878908 h 1609071"/>
                    <a:gd name="connsiteX329" fmla="*/ 2309171 w 7430250"/>
                    <a:gd name="connsiteY329" fmla="*/ 877780 h 1609071"/>
                    <a:gd name="connsiteX330" fmla="*/ 2309171 w 7430250"/>
                    <a:gd name="connsiteY330" fmla="*/ 912018 h 1609071"/>
                    <a:gd name="connsiteX331" fmla="*/ 2350983 w 7430250"/>
                    <a:gd name="connsiteY331" fmla="*/ 914400 h 1609071"/>
                    <a:gd name="connsiteX332" fmla="*/ 2350983 w 7430250"/>
                    <a:gd name="connsiteY332" fmla="*/ 923068 h 1609071"/>
                    <a:gd name="connsiteX333" fmla="*/ 2415988 w 7430250"/>
                    <a:gd name="connsiteY333" fmla="*/ 923068 h 1609071"/>
                    <a:gd name="connsiteX334" fmla="*/ 2415988 w 7430250"/>
                    <a:gd name="connsiteY334" fmla="*/ 936069 h 1609071"/>
                    <a:gd name="connsiteX335" fmla="*/ 2454991 w 7430250"/>
                    <a:gd name="connsiteY335" fmla="*/ 936069 h 1609071"/>
                    <a:gd name="connsiteX336" fmla="*/ 2467992 w 7430250"/>
                    <a:gd name="connsiteY336" fmla="*/ 949070 h 1609071"/>
                    <a:gd name="connsiteX337" fmla="*/ 2515662 w 7430250"/>
                    <a:gd name="connsiteY337" fmla="*/ 949070 h 1609071"/>
                    <a:gd name="connsiteX338" fmla="*/ 2528663 w 7430250"/>
                    <a:gd name="connsiteY338" fmla="*/ 962071 h 1609071"/>
                    <a:gd name="connsiteX339" fmla="*/ 2558998 w 7430250"/>
                    <a:gd name="connsiteY339" fmla="*/ 962071 h 1609071"/>
                    <a:gd name="connsiteX340" fmla="*/ 2558998 w 7430250"/>
                    <a:gd name="connsiteY340" fmla="*/ 979405 h 1609071"/>
                    <a:gd name="connsiteX341" fmla="*/ 2606668 w 7430250"/>
                    <a:gd name="connsiteY341" fmla="*/ 979405 h 1609071"/>
                    <a:gd name="connsiteX342" fmla="*/ 2606668 w 7430250"/>
                    <a:gd name="connsiteY342" fmla="*/ 1001073 h 1609071"/>
                    <a:gd name="connsiteX343" fmla="*/ 2654338 w 7430250"/>
                    <a:gd name="connsiteY343" fmla="*/ 1001073 h 1609071"/>
                    <a:gd name="connsiteX344" fmla="*/ 2654338 w 7430250"/>
                    <a:gd name="connsiteY344" fmla="*/ 1022742 h 1609071"/>
                    <a:gd name="connsiteX345" fmla="*/ 2715010 w 7430250"/>
                    <a:gd name="connsiteY345" fmla="*/ 1022742 h 1609071"/>
                    <a:gd name="connsiteX346" fmla="*/ 2715010 w 7430250"/>
                    <a:gd name="connsiteY346" fmla="*/ 1040076 h 1609071"/>
                    <a:gd name="connsiteX347" fmla="*/ 2823351 w 7430250"/>
                    <a:gd name="connsiteY347" fmla="*/ 1040076 h 1609071"/>
                    <a:gd name="connsiteX348" fmla="*/ 2832018 w 7430250"/>
                    <a:gd name="connsiteY348" fmla="*/ 1048743 h 1609071"/>
                    <a:gd name="connsiteX349" fmla="*/ 2840686 w 7430250"/>
                    <a:gd name="connsiteY349" fmla="*/ 1057411 h 1609071"/>
                    <a:gd name="connsiteX350" fmla="*/ 2879688 w 7430250"/>
                    <a:gd name="connsiteY350" fmla="*/ 1057411 h 1609071"/>
                    <a:gd name="connsiteX351" fmla="*/ 2901356 w 7430250"/>
                    <a:gd name="connsiteY351" fmla="*/ 1057411 h 1609071"/>
                    <a:gd name="connsiteX352" fmla="*/ 2914357 w 7430250"/>
                    <a:gd name="connsiteY352" fmla="*/ 1057411 h 1609071"/>
                    <a:gd name="connsiteX353" fmla="*/ 2931692 w 7430250"/>
                    <a:gd name="connsiteY353" fmla="*/ 1074746 h 1609071"/>
                    <a:gd name="connsiteX354" fmla="*/ 2983696 w 7430250"/>
                    <a:gd name="connsiteY354" fmla="*/ 1074746 h 1609071"/>
                    <a:gd name="connsiteX355" fmla="*/ 2983696 w 7430250"/>
                    <a:gd name="connsiteY355" fmla="*/ 1092080 h 1609071"/>
                    <a:gd name="connsiteX356" fmla="*/ 3149898 w 7430250"/>
                    <a:gd name="connsiteY356" fmla="*/ 1094462 h 1609071"/>
                    <a:gd name="connsiteX357" fmla="*/ 3149899 w 7430250"/>
                    <a:gd name="connsiteY357" fmla="*/ 1122414 h 1609071"/>
                    <a:gd name="connsiteX358" fmla="*/ 3226380 w 7430250"/>
                    <a:gd name="connsiteY358" fmla="*/ 1122415 h 1609071"/>
                    <a:gd name="connsiteX359" fmla="*/ 3230714 w 7430250"/>
                    <a:gd name="connsiteY359" fmla="*/ 1122415 h 1609071"/>
                    <a:gd name="connsiteX360" fmla="*/ 3317387 w 7430250"/>
                    <a:gd name="connsiteY360" fmla="*/ 1124796 h 1609071"/>
                    <a:gd name="connsiteX361" fmla="*/ 3317387 w 7430250"/>
                    <a:gd name="connsiteY361" fmla="*/ 1141273 h 1609071"/>
                    <a:gd name="connsiteX362" fmla="*/ 3411204 w 7430250"/>
                    <a:gd name="connsiteY362" fmla="*/ 1141273 h 1609071"/>
                    <a:gd name="connsiteX363" fmla="*/ 3411203 w 7430250"/>
                    <a:gd name="connsiteY363" fmla="*/ 1154703 h 1609071"/>
                    <a:gd name="connsiteX364" fmla="*/ 3460397 w 7430250"/>
                    <a:gd name="connsiteY364" fmla="*/ 1157085 h 1609071"/>
                    <a:gd name="connsiteX365" fmla="*/ 3459541 w 7430250"/>
                    <a:gd name="connsiteY365" fmla="*/ 1165753 h 1609071"/>
                    <a:gd name="connsiteX366" fmla="*/ 3612075 w 7430250"/>
                    <a:gd name="connsiteY366" fmla="*/ 1165753 h 1609071"/>
                    <a:gd name="connsiteX367" fmla="*/ 3612075 w 7430250"/>
                    <a:gd name="connsiteY367" fmla="*/ 1178753 h 1609071"/>
                    <a:gd name="connsiteX368" fmla="*/ 3720416 w 7430250"/>
                    <a:gd name="connsiteY368" fmla="*/ 1178753 h 1609071"/>
                    <a:gd name="connsiteX369" fmla="*/ 3724750 w 7430250"/>
                    <a:gd name="connsiteY369" fmla="*/ 1183087 h 1609071"/>
                    <a:gd name="connsiteX370" fmla="*/ 3978483 w 7430250"/>
                    <a:gd name="connsiteY370" fmla="*/ 1187849 h 1609071"/>
                    <a:gd name="connsiteX371" fmla="*/ 3976102 w 7430250"/>
                    <a:gd name="connsiteY371" fmla="*/ 1204755 h 1609071"/>
                    <a:gd name="connsiteX372" fmla="*/ 4006437 w 7430250"/>
                    <a:gd name="connsiteY372" fmla="*/ 1204755 h 1609071"/>
                    <a:gd name="connsiteX373" fmla="*/ 4006437 w 7430250"/>
                    <a:gd name="connsiteY373" fmla="*/ 1178753 h 1609071"/>
                    <a:gd name="connsiteX374" fmla="*/ 4045440 w 7430250"/>
                    <a:gd name="connsiteY374" fmla="*/ 1178753 h 1609071"/>
                    <a:gd name="connsiteX375" fmla="*/ 4045440 w 7430250"/>
                    <a:gd name="connsiteY375" fmla="*/ 1213422 h 1609071"/>
                    <a:gd name="connsiteX376" fmla="*/ 4058441 w 7430250"/>
                    <a:gd name="connsiteY376" fmla="*/ 1213422 h 1609071"/>
                    <a:gd name="connsiteX377" fmla="*/ 4058441 w 7430250"/>
                    <a:gd name="connsiteY377" fmla="*/ 1222089 h 1609071"/>
                    <a:gd name="connsiteX378" fmla="*/ 4179783 w 7430250"/>
                    <a:gd name="connsiteY378" fmla="*/ 1222089 h 1609071"/>
                    <a:gd name="connsiteX379" fmla="*/ 4179783 w 7430250"/>
                    <a:gd name="connsiteY379" fmla="*/ 1243758 h 1609071"/>
                    <a:gd name="connsiteX380" fmla="*/ 4335794 w 7430250"/>
                    <a:gd name="connsiteY380" fmla="*/ 1243758 h 1609071"/>
                    <a:gd name="connsiteX381" fmla="*/ 4335794 w 7430250"/>
                    <a:gd name="connsiteY381" fmla="*/ 1261092 h 1609071"/>
                    <a:gd name="connsiteX382" fmla="*/ 4413800 w 7430250"/>
                    <a:gd name="connsiteY382" fmla="*/ 1261092 h 1609071"/>
                    <a:gd name="connsiteX383" fmla="*/ 4413800 w 7430250"/>
                    <a:gd name="connsiteY383" fmla="*/ 1287094 h 1609071"/>
                    <a:gd name="connsiteX384" fmla="*/ 4465804 w 7430250"/>
                    <a:gd name="connsiteY384" fmla="*/ 1287094 h 1609071"/>
                    <a:gd name="connsiteX385" fmla="*/ 4491806 w 7430250"/>
                    <a:gd name="connsiteY385" fmla="*/ 1287094 h 1609071"/>
                    <a:gd name="connsiteX386" fmla="*/ 4513474 w 7430250"/>
                    <a:gd name="connsiteY386" fmla="*/ 1308762 h 1609071"/>
                    <a:gd name="connsiteX387" fmla="*/ 4608814 w 7430250"/>
                    <a:gd name="connsiteY387" fmla="*/ 1308762 h 1609071"/>
                    <a:gd name="connsiteX388" fmla="*/ 4612719 w 7430250"/>
                    <a:gd name="connsiteY388" fmla="*/ 1317430 h 1609071"/>
                    <a:gd name="connsiteX389" fmla="*/ 4678153 w 7430250"/>
                    <a:gd name="connsiteY389" fmla="*/ 1317430 h 1609071"/>
                    <a:gd name="connsiteX390" fmla="*/ 4678153 w 7430250"/>
                    <a:gd name="connsiteY390" fmla="*/ 1339098 h 1609071"/>
                    <a:gd name="connsiteX391" fmla="*/ 4721489 w 7430250"/>
                    <a:gd name="connsiteY391" fmla="*/ 1339098 h 1609071"/>
                    <a:gd name="connsiteX392" fmla="*/ 4725823 w 7430250"/>
                    <a:gd name="connsiteY392" fmla="*/ 1343432 h 1609071"/>
                    <a:gd name="connsiteX393" fmla="*/ 4782160 w 7430250"/>
                    <a:gd name="connsiteY393" fmla="*/ 1343432 h 1609071"/>
                    <a:gd name="connsiteX394" fmla="*/ 4780873 w 7430250"/>
                    <a:gd name="connsiteY394" fmla="*/ 1358814 h 1609071"/>
                    <a:gd name="connsiteX395" fmla="*/ 5020511 w 7430250"/>
                    <a:gd name="connsiteY395" fmla="*/ 1356433 h 1609071"/>
                    <a:gd name="connsiteX396" fmla="*/ 5033512 w 7430250"/>
                    <a:gd name="connsiteY396" fmla="*/ 1369434 h 1609071"/>
                    <a:gd name="connsiteX397" fmla="*/ 5167855 w 7430250"/>
                    <a:gd name="connsiteY397" fmla="*/ 1369434 h 1609071"/>
                    <a:gd name="connsiteX398" fmla="*/ 5167855 w 7430250"/>
                    <a:gd name="connsiteY398" fmla="*/ 1391102 h 1609071"/>
                    <a:gd name="connsiteX399" fmla="*/ 5297865 w 7430250"/>
                    <a:gd name="connsiteY399" fmla="*/ 1391102 h 1609071"/>
                    <a:gd name="connsiteX400" fmla="*/ 5306532 w 7430250"/>
                    <a:gd name="connsiteY400" fmla="*/ 1399769 h 1609071"/>
                    <a:gd name="connsiteX401" fmla="*/ 5371537 w 7430250"/>
                    <a:gd name="connsiteY401" fmla="*/ 1399769 h 1609071"/>
                    <a:gd name="connsiteX402" fmla="*/ 5384538 w 7430250"/>
                    <a:gd name="connsiteY402" fmla="*/ 1399769 h 1609071"/>
                    <a:gd name="connsiteX403" fmla="*/ 5384538 w 7430250"/>
                    <a:gd name="connsiteY403" fmla="*/ 1421437 h 1609071"/>
                    <a:gd name="connsiteX404" fmla="*/ 5488545 w 7430250"/>
                    <a:gd name="connsiteY404" fmla="*/ 1421437 h 1609071"/>
                    <a:gd name="connsiteX405" fmla="*/ 5488545 w 7430250"/>
                    <a:gd name="connsiteY405" fmla="*/ 1399769 h 1609071"/>
                    <a:gd name="connsiteX406" fmla="*/ 5527548 w 7430250"/>
                    <a:gd name="connsiteY406" fmla="*/ 1399769 h 1609071"/>
                    <a:gd name="connsiteX407" fmla="*/ 5527548 w 7430250"/>
                    <a:gd name="connsiteY407" fmla="*/ 1425771 h 1609071"/>
                    <a:gd name="connsiteX408" fmla="*/ 5622888 w 7430250"/>
                    <a:gd name="connsiteY408" fmla="*/ 1425771 h 1609071"/>
                    <a:gd name="connsiteX409" fmla="*/ 5622888 w 7430250"/>
                    <a:gd name="connsiteY409" fmla="*/ 1399769 h 1609071"/>
                    <a:gd name="connsiteX410" fmla="*/ 5679226 w 7430250"/>
                    <a:gd name="connsiteY410" fmla="*/ 1399769 h 1609071"/>
                    <a:gd name="connsiteX411" fmla="*/ 5679226 w 7430250"/>
                    <a:gd name="connsiteY411" fmla="*/ 1434438 h 1609071"/>
                    <a:gd name="connsiteX412" fmla="*/ 5700894 w 7430250"/>
                    <a:gd name="connsiteY412" fmla="*/ 1434438 h 1609071"/>
                    <a:gd name="connsiteX413" fmla="*/ 5700894 w 7430250"/>
                    <a:gd name="connsiteY413" fmla="*/ 1443106 h 1609071"/>
                    <a:gd name="connsiteX414" fmla="*/ 5731229 w 7430250"/>
                    <a:gd name="connsiteY414" fmla="*/ 1443106 h 1609071"/>
                    <a:gd name="connsiteX415" fmla="*/ 5731229 w 7430250"/>
                    <a:gd name="connsiteY415" fmla="*/ 1456106 h 1609071"/>
                    <a:gd name="connsiteX416" fmla="*/ 5809235 w 7430250"/>
                    <a:gd name="connsiteY416" fmla="*/ 1456106 h 1609071"/>
                    <a:gd name="connsiteX417" fmla="*/ 5809235 w 7430250"/>
                    <a:gd name="connsiteY417" fmla="*/ 1421437 h 1609071"/>
                    <a:gd name="connsiteX418" fmla="*/ 5852572 w 7430250"/>
                    <a:gd name="connsiteY418" fmla="*/ 1421437 h 1609071"/>
                    <a:gd name="connsiteX419" fmla="*/ 5852572 w 7430250"/>
                    <a:gd name="connsiteY419" fmla="*/ 1456106 h 1609071"/>
                    <a:gd name="connsiteX420" fmla="*/ 5917576 w 7430250"/>
                    <a:gd name="connsiteY420" fmla="*/ 1456106 h 1609071"/>
                    <a:gd name="connsiteX421" fmla="*/ 5943578 w 7430250"/>
                    <a:gd name="connsiteY421" fmla="*/ 1456106 h 1609071"/>
                    <a:gd name="connsiteX422" fmla="*/ 5943578 w 7430250"/>
                    <a:gd name="connsiteY422" fmla="*/ 1473441 h 1609071"/>
                    <a:gd name="connsiteX423" fmla="*/ 5960913 w 7430250"/>
                    <a:gd name="connsiteY423" fmla="*/ 1473441 h 1609071"/>
                    <a:gd name="connsiteX424" fmla="*/ 5965247 w 7430250"/>
                    <a:gd name="connsiteY424" fmla="*/ 1477775 h 1609071"/>
                    <a:gd name="connsiteX425" fmla="*/ 6034585 w 7430250"/>
                    <a:gd name="connsiteY425" fmla="*/ 1477775 h 1609071"/>
                    <a:gd name="connsiteX426" fmla="*/ 6034585 w 7430250"/>
                    <a:gd name="connsiteY426" fmla="*/ 1456106 h 1609071"/>
                    <a:gd name="connsiteX427" fmla="*/ 6073588 w 7430250"/>
                    <a:gd name="connsiteY427" fmla="*/ 1456106 h 1609071"/>
                    <a:gd name="connsiteX428" fmla="*/ 6073588 w 7430250"/>
                    <a:gd name="connsiteY428" fmla="*/ 1499443 h 1609071"/>
                    <a:gd name="connsiteX429" fmla="*/ 6125592 w 7430250"/>
                    <a:gd name="connsiteY429" fmla="*/ 1499443 h 1609071"/>
                    <a:gd name="connsiteX430" fmla="*/ 6125592 w 7430250"/>
                    <a:gd name="connsiteY430" fmla="*/ 1508110 h 1609071"/>
                    <a:gd name="connsiteX431" fmla="*/ 6203597 w 7430250"/>
                    <a:gd name="connsiteY431" fmla="*/ 1508110 h 1609071"/>
                    <a:gd name="connsiteX432" fmla="*/ 6203597 w 7430250"/>
                    <a:gd name="connsiteY432" fmla="*/ 1464774 h 1609071"/>
                    <a:gd name="connsiteX433" fmla="*/ 6242600 w 7430250"/>
                    <a:gd name="connsiteY433" fmla="*/ 1464774 h 1609071"/>
                    <a:gd name="connsiteX434" fmla="*/ 6242600 w 7430250"/>
                    <a:gd name="connsiteY434" fmla="*/ 1516778 h 1609071"/>
                    <a:gd name="connsiteX435" fmla="*/ 6368276 w 7430250"/>
                    <a:gd name="connsiteY435" fmla="*/ 1516778 h 1609071"/>
                    <a:gd name="connsiteX436" fmla="*/ 6368276 w 7430250"/>
                    <a:gd name="connsiteY436" fmla="*/ 1477775 h 1609071"/>
                    <a:gd name="connsiteX437" fmla="*/ 6412707 w 7430250"/>
                    <a:gd name="connsiteY437" fmla="*/ 1475394 h 1609071"/>
                    <a:gd name="connsiteX438" fmla="*/ 6415088 w 7430250"/>
                    <a:gd name="connsiteY438" fmla="*/ 1529778 h 1609071"/>
                    <a:gd name="connsiteX439" fmla="*/ 6462760 w 7430250"/>
                    <a:gd name="connsiteY439" fmla="*/ 1529778 h 1609071"/>
                    <a:gd name="connsiteX440" fmla="*/ 6462757 w 7430250"/>
                    <a:gd name="connsiteY440" fmla="*/ 1479728 h 1609071"/>
                    <a:gd name="connsiteX441" fmla="*/ 6502619 w 7430250"/>
                    <a:gd name="connsiteY441" fmla="*/ 1482108 h 1609071"/>
                    <a:gd name="connsiteX442" fmla="*/ 6502619 w 7430250"/>
                    <a:gd name="connsiteY442" fmla="*/ 1529778 h 1609071"/>
                    <a:gd name="connsiteX443" fmla="*/ 6576291 w 7430250"/>
                    <a:gd name="connsiteY443" fmla="*/ 1529778 h 1609071"/>
                    <a:gd name="connsiteX444" fmla="*/ 6580625 w 7430250"/>
                    <a:gd name="connsiteY444" fmla="*/ 1534112 h 1609071"/>
                    <a:gd name="connsiteX445" fmla="*/ 6689395 w 7430250"/>
                    <a:gd name="connsiteY445" fmla="*/ 1536493 h 1609071"/>
                    <a:gd name="connsiteX446" fmla="*/ 6691776 w 7430250"/>
                    <a:gd name="connsiteY446" fmla="*/ 1499443 h 1609071"/>
                    <a:gd name="connsiteX447" fmla="*/ 6753971 w 7430250"/>
                    <a:gd name="connsiteY447" fmla="*/ 1499443 h 1609071"/>
                    <a:gd name="connsiteX448" fmla="*/ 6753971 w 7430250"/>
                    <a:gd name="connsiteY448" fmla="*/ 1542779 h 1609071"/>
                    <a:gd name="connsiteX449" fmla="*/ 6810308 w 7430250"/>
                    <a:gd name="connsiteY449" fmla="*/ 1542779 h 1609071"/>
                    <a:gd name="connsiteX450" fmla="*/ 6810308 w 7430250"/>
                    <a:gd name="connsiteY450" fmla="*/ 1499443 h 1609071"/>
                    <a:gd name="connsiteX451" fmla="*/ 6844977 w 7430250"/>
                    <a:gd name="connsiteY451" fmla="*/ 1499443 h 1609071"/>
                    <a:gd name="connsiteX452" fmla="*/ 6844977 w 7430250"/>
                    <a:gd name="connsiteY452" fmla="*/ 1529778 h 1609071"/>
                    <a:gd name="connsiteX453" fmla="*/ 6862312 w 7430250"/>
                    <a:gd name="connsiteY453" fmla="*/ 1529778 h 1609071"/>
                    <a:gd name="connsiteX454" fmla="*/ 6862312 w 7430250"/>
                    <a:gd name="connsiteY454" fmla="*/ 1555780 h 1609071"/>
                    <a:gd name="connsiteX455" fmla="*/ 7065993 w 7430250"/>
                    <a:gd name="connsiteY455" fmla="*/ 1555780 h 1609071"/>
                    <a:gd name="connsiteX456" fmla="*/ 7078994 w 7430250"/>
                    <a:gd name="connsiteY456" fmla="*/ 1568781 h 1609071"/>
                    <a:gd name="connsiteX457" fmla="*/ 7148333 w 7430250"/>
                    <a:gd name="connsiteY457" fmla="*/ 1568781 h 1609071"/>
                    <a:gd name="connsiteX458" fmla="*/ 7148333 w 7430250"/>
                    <a:gd name="connsiteY458" fmla="*/ 1586116 h 1609071"/>
                    <a:gd name="connsiteX459" fmla="*/ 7300011 w 7430250"/>
                    <a:gd name="connsiteY459" fmla="*/ 1586116 h 1609071"/>
                    <a:gd name="connsiteX460" fmla="*/ 7300011 w 7430250"/>
                    <a:gd name="connsiteY460" fmla="*/ 1607784 h 1609071"/>
                    <a:gd name="connsiteX461" fmla="*/ 7430022 w 7430250"/>
                    <a:gd name="connsiteY461" fmla="*/ 1609071 h 160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7430250" h="1609071">
                      <a:moveTo>
                        <a:pt x="7430022" y="1609071"/>
                      </a:moveTo>
                      <a:cubicBezTo>
                        <a:pt x="7430816" y="1574624"/>
                        <a:pt x="7429226" y="1542557"/>
                        <a:pt x="7430020" y="1508110"/>
                      </a:cubicBezTo>
                      <a:lnTo>
                        <a:pt x="7287010" y="1508110"/>
                      </a:lnTo>
                      <a:lnTo>
                        <a:pt x="7285916" y="1495109"/>
                      </a:lnTo>
                      <a:lnTo>
                        <a:pt x="7169573" y="1492728"/>
                      </a:lnTo>
                      <a:lnTo>
                        <a:pt x="7166526" y="1465868"/>
                      </a:lnTo>
                      <a:lnTo>
                        <a:pt x="7052993" y="1461106"/>
                      </a:lnTo>
                      <a:lnTo>
                        <a:pt x="7052993" y="1451773"/>
                      </a:lnTo>
                      <a:lnTo>
                        <a:pt x="6888314" y="1451773"/>
                      </a:lnTo>
                      <a:cubicBezTo>
                        <a:pt x="6888457" y="1447154"/>
                        <a:pt x="6888599" y="1442534"/>
                        <a:pt x="6888742" y="1437915"/>
                      </a:cubicBezTo>
                      <a:lnTo>
                        <a:pt x="6840644" y="1440295"/>
                      </a:lnTo>
                      <a:lnTo>
                        <a:pt x="6840644" y="1495109"/>
                      </a:lnTo>
                      <a:lnTo>
                        <a:pt x="6801641" y="1495109"/>
                      </a:lnTo>
                      <a:lnTo>
                        <a:pt x="6801641" y="1443106"/>
                      </a:lnTo>
                      <a:lnTo>
                        <a:pt x="6753971" y="1443106"/>
                      </a:lnTo>
                      <a:cubicBezTo>
                        <a:pt x="6753971" y="1454662"/>
                        <a:pt x="6753970" y="1466219"/>
                        <a:pt x="6753970" y="1477775"/>
                      </a:cubicBezTo>
                      <a:lnTo>
                        <a:pt x="6693300" y="1477775"/>
                      </a:lnTo>
                      <a:lnTo>
                        <a:pt x="6693300" y="1438772"/>
                      </a:lnTo>
                      <a:lnTo>
                        <a:pt x="6576291" y="1438772"/>
                      </a:lnTo>
                      <a:lnTo>
                        <a:pt x="6570433" y="1428152"/>
                      </a:lnTo>
                      <a:lnTo>
                        <a:pt x="6498285" y="1425771"/>
                      </a:lnTo>
                      <a:lnTo>
                        <a:pt x="6498285" y="1482108"/>
                      </a:lnTo>
                      <a:lnTo>
                        <a:pt x="6466426" y="1479727"/>
                      </a:lnTo>
                      <a:lnTo>
                        <a:pt x="6464046" y="1427295"/>
                      </a:lnTo>
                      <a:lnTo>
                        <a:pt x="6413137" y="1424913"/>
                      </a:lnTo>
                      <a:cubicBezTo>
                        <a:pt x="6413137" y="1442534"/>
                        <a:pt x="6413136" y="1460154"/>
                        <a:pt x="6413136" y="1477775"/>
                      </a:cubicBezTo>
                      <a:lnTo>
                        <a:pt x="6372610" y="1477775"/>
                      </a:lnTo>
                      <a:lnTo>
                        <a:pt x="6372610" y="1430105"/>
                      </a:lnTo>
                      <a:lnTo>
                        <a:pt x="6238266" y="1430105"/>
                      </a:lnTo>
                      <a:lnTo>
                        <a:pt x="6238266" y="1443106"/>
                      </a:lnTo>
                      <a:lnTo>
                        <a:pt x="6207931" y="1443106"/>
                      </a:lnTo>
                      <a:lnTo>
                        <a:pt x="6207931" y="1412770"/>
                      </a:lnTo>
                      <a:lnTo>
                        <a:pt x="6134259" y="1412770"/>
                      </a:lnTo>
                      <a:lnTo>
                        <a:pt x="6134259" y="1399769"/>
                      </a:lnTo>
                      <a:lnTo>
                        <a:pt x="6086589" y="1399769"/>
                      </a:lnTo>
                      <a:lnTo>
                        <a:pt x="6086589" y="1382434"/>
                      </a:lnTo>
                      <a:lnTo>
                        <a:pt x="6064920" y="1382434"/>
                      </a:lnTo>
                      <a:lnTo>
                        <a:pt x="6064920" y="1421437"/>
                      </a:lnTo>
                      <a:lnTo>
                        <a:pt x="6034585" y="1421437"/>
                      </a:lnTo>
                      <a:lnTo>
                        <a:pt x="6034585" y="1391102"/>
                      </a:lnTo>
                      <a:lnTo>
                        <a:pt x="5973914" y="1391102"/>
                      </a:lnTo>
                      <a:lnTo>
                        <a:pt x="5973914" y="1373767"/>
                      </a:lnTo>
                      <a:lnTo>
                        <a:pt x="5934911" y="1373767"/>
                      </a:lnTo>
                      <a:lnTo>
                        <a:pt x="5934911" y="1352099"/>
                      </a:lnTo>
                      <a:lnTo>
                        <a:pt x="5839571" y="1352099"/>
                      </a:lnTo>
                      <a:lnTo>
                        <a:pt x="5839571" y="1399769"/>
                      </a:lnTo>
                      <a:lnTo>
                        <a:pt x="5804902" y="1399769"/>
                      </a:lnTo>
                      <a:lnTo>
                        <a:pt x="5804902" y="1365100"/>
                      </a:lnTo>
                      <a:lnTo>
                        <a:pt x="5713895" y="1365100"/>
                      </a:lnTo>
                      <a:lnTo>
                        <a:pt x="5713895" y="1326097"/>
                      </a:lnTo>
                      <a:lnTo>
                        <a:pt x="5670558" y="1326097"/>
                      </a:lnTo>
                      <a:lnTo>
                        <a:pt x="5670558" y="1373767"/>
                      </a:lnTo>
                      <a:lnTo>
                        <a:pt x="5627222" y="1373767"/>
                      </a:lnTo>
                      <a:lnTo>
                        <a:pt x="5627222" y="1334764"/>
                      </a:lnTo>
                      <a:lnTo>
                        <a:pt x="5527548" y="1334764"/>
                      </a:lnTo>
                      <a:lnTo>
                        <a:pt x="5527548" y="1360766"/>
                      </a:lnTo>
                      <a:lnTo>
                        <a:pt x="5484211" y="1360766"/>
                      </a:lnTo>
                      <a:lnTo>
                        <a:pt x="5484211" y="1321763"/>
                      </a:lnTo>
                      <a:lnTo>
                        <a:pt x="5375870" y="1321763"/>
                      </a:lnTo>
                      <a:lnTo>
                        <a:pt x="5375870" y="1304429"/>
                      </a:lnTo>
                      <a:lnTo>
                        <a:pt x="5315199" y="1304429"/>
                      </a:lnTo>
                      <a:lnTo>
                        <a:pt x="5306532" y="1295762"/>
                      </a:lnTo>
                      <a:lnTo>
                        <a:pt x="5202524" y="1295762"/>
                      </a:lnTo>
                      <a:lnTo>
                        <a:pt x="5202524" y="1278427"/>
                      </a:lnTo>
                      <a:lnTo>
                        <a:pt x="5060609" y="1278427"/>
                      </a:lnTo>
                      <a:lnTo>
                        <a:pt x="5063847" y="1269759"/>
                      </a:lnTo>
                      <a:lnTo>
                        <a:pt x="4938172" y="1269759"/>
                      </a:lnTo>
                      <a:lnTo>
                        <a:pt x="4941839" y="1256758"/>
                      </a:lnTo>
                      <a:lnTo>
                        <a:pt x="4717585" y="1254376"/>
                      </a:lnTo>
                      <a:lnTo>
                        <a:pt x="4709346" y="1241375"/>
                      </a:lnTo>
                      <a:lnTo>
                        <a:pt x="4690060" y="1238995"/>
                      </a:lnTo>
                      <a:lnTo>
                        <a:pt x="4676979" y="1226572"/>
                      </a:lnTo>
                      <a:lnTo>
                        <a:pt x="4670344" y="1224042"/>
                      </a:lnTo>
                      <a:lnTo>
                        <a:pt x="4647818" y="1213422"/>
                      </a:lnTo>
                      <a:lnTo>
                        <a:pt x="4504807" y="1213422"/>
                      </a:lnTo>
                      <a:lnTo>
                        <a:pt x="4504807" y="1200421"/>
                      </a:lnTo>
                      <a:lnTo>
                        <a:pt x="4461470" y="1200421"/>
                      </a:lnTo>
                      <a:lnTo>
                        <a:pt x="4459089" y="1192612"/>
                      </a:lnTo>
                      <a:lnTo>
                        <a:pt x="4436474" y="1195615"/>
                      </a:lnTo>
                      <a:lnTo>
                        <a:pt x="4438708" y="1171180"/>
                      </a:lnTo>
                      <a:lnTo>
                        <a:pt x="4409038" y="1172467"/>
                      </a:lnTo>
                      <a:lnTo>
                        <a:pt x="4409467" y="1200421"/>
                      </a:lnTo>
                      <a:lnTo>
                        <a:pt x="4374797" y="1200421"/>
                      </a:lnTo>
                      <a:lnTo>
                        <a:pt x="4374797" y="1157085"/>
                      </a:lnTo>
                      <a:lnTo>
                        <a:pt x="4344462" y="1157085"/>
                      </a:lnTo>
                      <a:lnTo>
                        <a:pt x="4335794" y="1148417"/>
                      </a:lnTo>
                      <a:lnTo>
                        <a:pt x="4171116" y="1148417"/>
                      </a:lnTo>
                      <a:lnTo>
                        <a:pt x="4169592" y="1134986"/>
                      </a:lnTo>
                      <a:lnTo>
                        <a:pt x="4082490" y="1134987"/>
                      </a:lnTo>
                      <a:lnTo>
                        <a:pt x="4080109" y="1122415"/>
                      </a:lnTo>
                      <a:lnTo>
                        <a:pt x="4062774" y="1122415"/>
                      </a:lnTo>
                      <a:lnTo>
                        <a:pt x="4062774" y="1105081"/>
                      </a:lnTo>
                      <a:lnTo>
                        <a:pt x="4041106" y="1105081"/>
                      </a:lnTo>
                      <a:lnTo>
                        <a:pt x="4041106" y="1152751"/>
                      </a:lnTo>
                      <a:lnTo>
                        <a:pt x="4006437" y="1152751"/>
                      </a:lnTo>
                      <a:lnTo>
                        <a:pt x="4006437" y="1109415"/>
                      </a:lnTo>
                      <a:lnTo>
                        <a:pt x="3976102" y="1109415"/>
                      </a:lnTo>
                      <a:lnTo>
                        <a:pt x="3969816" y="1091222"/>
                      </a:lnTo>
                      <a:lnTo>
                        <a:pt x="3745990" y="1093604"/>
                      </a:lnTo>
                      <a:lnTo>
                        <a:pt x="3747705" y="1081031"/>
                      </a:lnTo>
                      <a:lnTo>
                        <a:pt x="3600597" y="1078650"/>
                      </a:lnTo>
                      <a:cubicBezTo>
                        <a:pt x="3600375" y="1072872"/>
                        <a:pt x="3600154" y="1071857"/>
                        <a:pt x="3599932" y="1066079"/>
                      </a:cubicBezTo>
                      <a:lnTo>
                        <a:pt x="3456064" y="1066079"/>
                      </a:lnTo>
                      <a:lnTo>
                        <a:pt x="3456064" y="1040076"/>
                      </a:lnTo>
                      <a:lnTo>
                        <a:pt x="3334721" y="1040076"/>
                      </a:lnTo>
                      <a:lnTo>
                        <a:pt x="3334721" y="1027075"/>
                      </a:lnTo>
                      <a:lnTo>
                        <a:pt x="3196045" y="1027075"/>
                      </a:lnTo>
                      <a:lnTo>
                        <a:pt x="3196045" y="1020123"/>
                      </a:lnTo>
                      <a:lnTo>
                        <a:pt x="3178710" y="1018408"/>
                      </a:lnTo>
                      <a:lnTo>
                        <a:pt x="3165709" y="1000645"/>
                      </a:lnTo>
                      <a:lnTo>
                        <a:pt x="3005364" y="1003026"/>
                      </a:lnTo>
                      <a:lnTo>
                        <a:pt x="3005364" y="988072"/>
                      </a:lnTo>
                      <a:lnTo>
                        <a:pt x="2923025" y="988072"/>
                      </a:lnTo>
                      <a:lnTo>
                        <a:pt x="2914357" y="979404"/>
                      </a:lnTo>
                      <a:lnTo>
                        <a:pt x="2884022" y="979404"/>
                      </a:lnTo>
                      <a:lnTo>
                        <a:pt x="2884022" y="953403"/>
                      </a:lnTo>
                      <a:lnTo>
                        <a:pt x="2858020" y="953403"/>
                      </a:lnTo>
                      <a:lnTo>
                        <a:pt x="2849353" y="944736"/>
                      </a:lnTo>
                      <a:lnTo>
                        <a:pt x="2771347" y="944736"/>
                      </a:lnTo>
                      <a:lnTo>
                        <a:pt x="2762680" y="936069"/>
                      </a:lnTo>
                      <a:lnTo>
                        <a:pt x="2715010" y="936069"/>
                      </a:lnTo>
                      <a:lnTo>
                        <a:pt x="2703961" y="925019"/>
                      </a:lnTo>
                      <a:lnTo>
                        <a:pt x="2658672" y="927401"/>
                      </a:lnTo>
                      <a:lnTo>
                        <a:pt x="2653245" y="910067"/>
                      </a:lnTo>
                      <a:lnTo>
                        <a:pt x="2631147" y="899876"/>
                      </a:lnTo>
                      <a:lnTo>
                        <a:pt x="2606668" y="875397"/>
                      </a:lnTo>
                      <a:lnTo>
                        <a:pt x="2576333" y="875397"/>
                      </a:lnTo>
                      <a:lnTo>
                        <a:pt x="2567665" y="866729"/>
                      </a:lnTo>
                      <a:lnTo>
                        <a:pt x="2515662" y="866729"/>
                      </a:lnTo>
                      <a:lnTo>
                        <a:pt x="2515662" y="849396"/>
                      </a:lnTo>
                      <a:lnTo>
                        <a:pt x="2459324" y="849396"/>
                      </a:lnTo>
                      <a:lnTo>
                        <a:pt x="2450656" y="840728"/>
                      </a:lnTo>
                      <a:lnTo>
                        <a:pt x="2428989" y="840728"/>
                      </a:lnTo>
                      <a:lnTo>
                        <a:pt x="2415988" y="827727"/>
                      </a:lnTo>
                      <a:lnTo>
                        <a:pt x="2363984" y="827727"/>
                      </a:lnTo>
                      <a:lnTo>
                        <a:pt x="2363984" y="810393"/>
                      </a:lnTo>
                      <a:lnTo>
                        <a:pt x="2324981" y="810393"/>
                      </a:lnTo>
                      <a:lnTo>
                        <a:pt x="2319123" y="830537"/>
                      </a:lnTo>
                      <a:lnTo>
                        <a:pt x="2288789" y="828156"/>
                      </a:lnTo>
                      <a:lnTo>
                        <a:pt x="2287694" y="800867"/>
                      </a:lnTo>
                      <a:lnTo>
                        <a:pt x="2259976" y="801725"/>
                      </a:lnTo>
                      <a:lnTo>
                        <a:pt x="2259976" y="775724"/>
                      </a:lnTo>
                      <a:lnTo>
                        <a:pt x="2138634" y="775724"/>
                      </a:lnTo>
                      <a:lnTo>
                        <a:pt x="2138634" y="745388"/>
                      </a:lnTo>
                      <a:lnTo>
                        <a:pt x="2086630" y="745388"/>
                      </a:lnTo>
                      <a:lnTo>
                        <a:pt x="2077963" y="736721"/>
                      </a:lnTo>
                      <a:lnTo>
                        <a:pt x="2021626" y="736721"/>
                      </a:lnTo>
                      <a:lnTo>
                        <a:pt x="2021626" y="715052"/>
                      </a:lnTo>
                      <a:lnTo>
                        <a:pt x="1921952" y="715052"/>
                      </a:lnTo>
                      <a:lnTo>
                        <a:pt x="1917619" y="710719"/>
                      </a:lnTo>
                      <a:lnTo>
                        <a:pt x="1878615" y="710719"/>
                      </a:lnTo>
                      <a:lnTo>
                        <a:pt x="1878615" y="680383"/>
                      </a:lnTo>
                      <a:lnTo>
                        <a:pt x="1822278" y="680383"/>
                      </a:lnTo>
                      <a:lnTo>
                        <a:pt x="1823136" y="671716"/>
                      </a:lnTo>
                      <a:lnTo>
                        <a:pt x="1800610" y="671716"/>
                      </a:lnTo>
                      <a:lnTo>
                        <a:pt x="1800610" y="658715"/>
                      </a:lnTo>
                      <a:lnTo>
                        <a:pt x="1765940" y="658715"/>
                      </a:lnTo>
                      <a:lnTo>
                        <a:pt x="1765940" y="637047"/>
                      </a:lnTo>
                      <a:lnTo>
                        <a:pt x="1713937" y="637047"/>
                      </a:lnTo>
                      <a:lnTo>
                        <a:pt x="1713937" y="611045"/>
                      </a:lnTo>
                      <a:lnTo>
                        <a:pt x="1631597" y="611045"/>
                      </a:lnTo>
                      <a:lnTo>
                        <a:pt x="1618596" y="598044"/>
                      </a:lnTo>
                      <a:lnTo>
                        <a:pt x="1605595" y="598044"/>
                      </a:lnTo>
                      <a:lnTo>
                        <a:pt x="1592594" y="585043"/>
                      </a:lnTo>
                      <a:lnTo>
                        <a:pt x="1544924" y="585043"/>
                      </a:lnTo>
                      <a:lnTo>
                        <a:pt x="1544924" y="576376"/>
                      </a:lnTo>
                      <a:lnTo>
                        <a:pt x="1492920" y="576376"/>
                      </a:lnTo>
                      <a:lnTo>
                        <a:pt x="1492920" y="559041"/>
                      </a:lnTo>
                      <a:lnTo>
                        <a:pt x="1423582" y="559041"/>
                      </a:lnTo>
                      <a:lnTo>
                        <a:pt x="1410581" y="546040"/>
                      </a:lnTo>
                      <a:lnTo>
                        <a:pt x="1345576" y="546040"/>
                      </a:lnTo>
                      <a:lnTo>
                        <a:pt x="1345576" y="528706"/>
                      </a:lnTo>
                      <a:lnTo>
                        <a:pt x="1289239" y="528706"/>
                      </a:lnTo>
                      <a:lnTo>
                        <a:pt x="1289239" y="507037"/>
                      </a:lnTo>
                      <a:lnTo>
                        <a:pt x="1206900" y="507037"/>
                      </a:lnTo>
                      <a:lnTo>
                        <a:pt x="1189565" y="507037"/>
                      </a:lnTo>
                      <a:lnTo>
                        <a:pt x="1163563" y="507037"/>
                      </a:lnTo>
                      <a:lnTo>
                        <a:pt x="1163563" y="481035"/>
                      </a:lnTo>
                      <a:lnTo>
                        <a:pt x="1107226" y="481035"/>
                      </a:lnTo>
                      <a:lnTo>
                        <a:pt x="1107226" y="468034"/>
                      </a:lnTo>
                      <a:lnTo>
                        <a:pt x="1059556" y="468034"/>
                      </a:lnTo>
                      <a:lnTo>
                        <a:pt x="1059556" y="437699"/>
                      </a:lnTo>
                      <a:lnTo>
                        <a:pt x="1003218" y="437699"/>
                      </a:lnTo>
                      <a:lnTo>
                        <a:pt x="990217" y="424698"/>
                      </a:lnTo>
                      <a:lnTo>
                        <a:pt x="968549" y="424698"/>
                      </a:lnTo>
                      <a:lnTo>
                        <a:pt x="959882" y="416031"/>
                      </a:lnTo>
                      <a:lnTo>
                        <a:pt x="907878" y="416031"/>
                      </a:lnTo>
                      <a:lnTo>
                        <a:pt x="907878" y="394362"/>
                      </a:lnTo>
                      <a:lnTo>
                        <a:pt x="881876" y="394362"/>
                      </a:lnTo>
                      <a:lnTo>
                        <a:pt x="873209" y="385695"/>
                      </a:lnTo>
                      <a:lnTo>
                        <a:pt x="769201" y="385695"/>
                      </a:lnTo>
                      <a:lnTo>
                        <a:pt x="769201" y="359693"/>
                      </a:lnTo>
                      <a:lnTo>
                        <a:pt x="738865" y="359693"/>
                      </a:lnTo>
                      <a:lnTo>
                        <a:pt x="738865" y="342359"/>
                      </a:lnTo>
                      <a:lnTo>
                        <a:pt x="673861" y="342359"/>
                      </a:lnTo>
                      <a:lnTo>
                        <a:pt x="665193" y="333691"/>
                      </a:lnTo>
                      <a:lnTo>
                        <a:pt x="643525" y="333691"/>
                      </a:lnTo>
                      <a:lnTo>
                        <a:pt x="643525" y="316357"/>
                      </a:lnTo>
                      <a:lnTo>
                        <a:pt x="613190" y="316357"/>
                      </a:lnTo>
                      <a:lnTo>
                        <a:pt x="613190" y="294688"/>
                      </a:lnTo>
                      <a:lnTo>
                        <a:pt x="591521" y="294688"/>
                      </a:lnTo>
                      <a:lnTo>
                        <a:pt x="591521" y="281687"/>
                      </a:lnTo>
                      <a:lnTo>
                        <a:pt x="569853" y="281687"/>
                      </a:lnTo>
                      <a:lnTo>
                        <a:pt x="569853" y="268687"/>
                      </a:lnTo>
                      <a:lnTo>
                        <a:pt x="504848" y="268687"/>
                      </a:lnTo>
                      <a:lnTo>
                        <a:pt x="504848" y="242685"/>
                      </a:lnTo>
                      <a:lnTo>
                        <a:pt x="470179" y="242685"/>
                      </a:lnTo>
                      <a:lnTo>
                        <a:pt x="470179" y="216683"/>
                      </a:lnTo>
                      <a:lnTo>
                        <a:pt x="452845" y="216683"/>
                      </a:lnTo>
                      <a:lnTo>
                        <a:pt x="452845" y="186347"/>
                      </a:lnTo>
                      <a:lnTo>
                        <a:pt x="422509" y="186347"/>
                      </a:lnTo>
                      <a:lnTo>
                        <a:pt x="422509" y="173346"/>
                      </a:lnTo>
                      <a:lnTo>
                        <a:pt x="387840" y="173346"/>
                      </a:lnTo>
                      <a:lnTo>
                        <a:pt x="387840" y="151678"/>
                      </a:lnTo>
                      <a:lnTo>
                        <a:pt x="370505" y="151678"/>
                      </a:lnTo>
                      <a:lnTo>
                        <a:pt x="370505" y="138677"/>
                      </a:lnTo>
                      <a:lnTo>
                        <a:pt x="318502" y="138677"/>
                      </a:lnTo>
                      <a:lnTo>
                        <a:pt x="318502" y="95341"/>
                      </a:lnTo>
                      <a:lnTo>
                        <a:pt x="283832" y="95341"/>
                      </a:lnTo>
                      <a:lnTo>
                        <a:pt x="283832" y="82340"/>
                      </a:lnTo>
                      <a:lnTo>
                        <a:pt x="249163" y="82340"/>
                      </a:lnTo>
                      <a:lnTo>
                        <a:pt x="249163" y="47670"/>
                      </a:lnTo>
                      <a:lnTo>
                        <a:pt x="223161" y="47670"/>
                      </a:lnTo>
                      <a:lnTo>
                        <a:pt x="223161" y="39003"/>
                      </a:lnTo>
                      <a:lnTo>
                        <a:pt x="171157" y="39003"/>
                      </a:lnTo>
                      <a:lnTo>
                        <a:pt x="171157" y="26002"/>
                      </a:lnTo>
                      <a:lnTo>
                        <a:pt x="136488" y="26002"/>
                      </a:lnTo>
                      <a:lnTo>
                        <a:pt x="136488" y="0"/>
                      </a:lnTo>
                      <a:lnTo>
                        <a:pt x="85579" y="0"/>
                      </a:lnTo>
                      <a:lnTo>
                        <a:pt x="85579" y="38575"/>
                      </a:lnTo>
                      <a:lnTo>
                        <a:pt x="0" y="37051"/>
                      </a:lnTo>
                      <a:lnTo>
                        <a:pt x="39195" y="42479"/>
                      </a:lnTo>
                      <a:lnTo>
                        <a:pt x="36814" y="65005"/>
                      </a:lnTo>
                      <a:lnTo>
                        <a:pt x="67150" y="65005"/>
                      </a:lnTo>
                      <a:lnTo>
                        <a:pt x="67150" y="86673"/>
                      </a:lnTo>
                      <a:lnTo>
                        <a:pt x="93152" y="86673"/>
                      </a:lnTo>
                      <a:lnTo>
                        <a:pt x="93152" y="125676"/>
                      </a:lnTo>
                      <a:lnTo>
                        <a:pt x="153823" y="125676"/>
                      </a:lnTo>
                      <a:lnTo>
                        <a:pt x="162490" y="134343"/>
                      </a:lnTo>
                      <a:lnTo>
                        <a:pt x="179825" y="134343"/>
                      </a:lnTo>
                      <a:lnTo>
                        <a:pt x="179825" y="156012"/>
                      </a:lnTo>
                      <a:lnTo>
                        <a:pt x="197159" y="156012"/>
                      </a:lnTo>
                      <a:lnTo>
                        <a:pt x="210160" y="169013"/>
                      </a:lnTo>
                      <a:lnTo>
                        <a:pt x="240496" y="169013"/>
                      </a:lnTo>
                      <a:lnTo>
                        <a:pt x="240496" y="208015"/>
                      </a:lnTo>
                      <a:lnTo>
                        <a:pt x="266498" y="208015"/>
                      </a:lnTo>
                      <a:lnTo>
                        <a:pt x="275165" y="216682"/>
                      </a:lnTo>
                      <a:lnTo>
                        <a:pt x="288167" y="229684"/>
                      </a:lnTo>
                      <a:lnTo>
                        <a:pt x="288167" y="251352"/>
                      </a:lnTo>
                      <a:lnTo>
                        <a:pt x="318502" y="251352"/>
                      </a:lnTo>
                      <a:lnTo>
                        <a:pt x="318502" y="268687"/>
                      </a:lnTo>
                      <a:lnTo>
                        <a:pt x="357504" y="268687"/>
                      </a:lnTo>
                      <a:lnTo>
                        <a:pt x="357504" y="286021"/>
                      </a:lnTo>
                      <a:lnTo>
                        <a:pt x="400841" y="286021"/>
                      </a:lnTo>
                      <a:lnTo>
                        <a:pt x="400841" y="286021"/>
                      </a:lnTo>
                      <a:cubicBezTo>
                        <a:pt x="400920" y="294832"/>
                        <a:pt x="401000" y="303642"/>
                        <a:pt x="401079" y="312453"/>
                      </a:cubicBezTo>
                      <a:lnTo>
                        <a:pt x="438355" y="316933"/>
                      </a:lnTo>
                      <a:cubicBezTo>
                        <a:pt x="438057" y="322805"/>
                        <a:pt x="437760" y="328677"/>
                        <a:pt x="437462" y="334549"/>
                      </a:cubicBezTo>
                      <a:lnTo>
                        <a:pt x="482751" y="334549"/>
                      </a:lnTo>
                      <a:lnTo>
                        <a:pt x="487514" y="355360"/>
                      </a:lnTo>
                      <a:lnTo>
                        <a:pt x="526517" y="355360"/>
                      </a:lnTo>
                      <a:lnTo>
                        <a:pt x="526517" y="377028"/>
                      </a:lnTo>
                      <a:lnTo>
                        <a:pt x="574187" y="377028"/>
                      </a:lnTo>
                      <a:lnTo>
                        <a:pt x="574187" y="398696"/>
                      </a:lnTo>
                      <a:lnTo>
                        <a:pt x="604522" y="398696"/>
                      </a:lnTo>
                      <a:lnTo>
                        <a:pt x="617523" y="411697"/>
                      </a:lnTo>
                      <a:lnTo>
                        <a:pt x="665193" y="411697"/>
                      </a:lnTo>
                      <a:lnTo>
                        <a:pt x="665193" y="450700"/>
                      </a:lnTo>
                      <a:lnTo>
                        <a:pt x="773535" y="450700"/>
                      </a:lnTo>
                      <a:lnTo>
                        <a:pt x="773535" y="481035"/>
                      </a:lnTo>
                      <a:lnTo>
                        <a:pt x="890543" y="481035"/>
                      </a:lnTo>
                      <a:lnTo>
                        <a:pt x="890543" y="507037"/>
                      </a:lnTo>
                      <a:lnTo>
                        <a:pt x="942547" y="507037"/>
                      </a:lnTo>
                      <a:lnTo>
                        <a:pt x="942547" y="524372"/>
                      </a:lnTo>
                      <a:lnTo>
                        <a:pt x="994551" y="524372"/>
                      </a:lnTo>
                      <a:lnTo>
                        <a:pt x="1007552" y="524372"/>
                      </a:lnTo>
                      <a:lnTo>
                        <a:pt x="1020553" y="537373"/>
                      </a:lnTo>
                      <a:lnTo>
                        <a:pt x="1037458" y="544516"/>
                      </a:lnTo>
                      <a:lnTo>
                        <a:pt x="1072556" y="549279"/>
                      </a:lnTo>
                      <a:lnTo>
                        <a:pt x="1072556" y="563375"/>
                      </a:lnTo>
                      <a:lnTo>
                        <a:pt x="1094225" y="563375"/>
                      </a:lnTo>
                      <a:lnTo>
                        <a:pt x="1094225" y="576376"/>
                      </a:lnTo>
                      <a:lnTo>
                        <a:pt x="1172230" y="576376"/>
                      </a:lnTo>
                      <a:lnTo>
                        <a:pt x="1172230" y="589377"/>
                      </a:lnTo>
                      <a:lnTo>
                        <a:pt x="1211233" y="589377"/>
                      </a:lnTo>
                      <a:lnTo>
                        <a:pt x="1211233" y="598044"/>
                      </a:lnTo>
                      <a:lnTo>
                        <a:pt x="1258903" y="598044"/>
                      </a:lnTo>
                      <a:lnTo>
                        <a:pt x="1271904" y="611045"/>
                      </a:lnTo>
                      <a:lnTo>
                        <a:pt x="1284905" y="624046"/>
                      </a:lnTo>
                      <a:lnTo>
                        <a:pt x="1349910" y="624046"/>
                      </a:lnTo>
                      <a:lnTo>
                        <a:pt x="1349910" y="645714"/>
                      </a:lnTo>
                      <a:lnTo>
                        <a:pt x="1440917" y="645714"/>
                      </a:lnTo>
                      <a:lnTo>
                        <a:pt x="1449584" y="654381"/>
                      </a:lnTo>
                      <a:lnTo>
                        <a:pt x="1471252" y="654381"/>
                      </a:lnTo>
                      <a:lnTo>
                        <a:pt x="1471252" y="667382"/>
                      </a:lnTo>
                      <a:lnTo>
                        <a:pt x="1523256" y="667382"/>
                      </a:lnTo>
                      <a:lnTo>
                        <a:pt x="1523256" y="684717"/>
                      </a:lnTo>
                      <a:lnTo>
                        <a:pt x="1579593" y="684717"/>
                      </a:lnTo>
                      <a:lnTo>
                        <a:pt x="1586308" y="693814"/>
                      </a:lnTo>
                      <a:lnTo>
                        <a:pt x="1624883" y="696194"/>
                      </a:lnTo>
                      <a:lnTo>
                        <a:pt x="1642646" y="709196"/>
                      </a:lnTo>
                      <a:lnTo>
                        <a:pt x="1692268" y="709196"/>
                      </a:lnTo>
                      <a:lnTo>
                        <a:pt x="1693792" y="722627"/>
                      </a:lnTo>
                      <a:lnTo>
                        <a:pt x="1718269" y="728053"/>
                      </a:lnTo>
                      <a:lnTo>
                        <a:pt x="1731270" y="741054"/>
                      </a:lnTo>
                      <a:lnTo>
                        <a:pt x="1765940" y="745816"/>
                      </a:lnTo>
                      <a:lnTo>
                        <a:pt x="1765940" y="767056"/>
                      </a:lnTo>
                      <a:lnTo>
                        <a:pt x="1813611" y="767056"/>
                      </a:lnTo>
                      <a:lnTo>
                        <a:pt x="1813611" y="780057"/>
                      </a:lnTo>
                      <a:lnTo>
                        <a:pt x="1856947" y="780057"/>
                      </a:lnTo>
                      <a:lnTo>
                        <a:pt x="1856947" y="797392"/>
                      </a:lnTo>
                      <a:lnTo>
                        <a:pt x="1891616" y="797392"/>
                      </a:lnTo>
                      <a:lnTo>
                        <a:pt x="1902666" y="813204"/>
                      </a:lnTo>
                      <a:lnTo>
                        <a:pt x="1975908" y="813204"/>
                      </a:lnTo>
                      <a:lnTo>
                        <a:pt x="2021626" y="813204"/>
                      </a:lnTo>
                      <a:cubicBezTo>
                        <a:pt x="2021712" y="817643"/>
                        <a:pt x="2021799" y="822082"/>
                        <a:pt x="2021885" y="826521"/>
                      </a:cubicBezTo>
                      <a:lnTo>
                        <a:pt x="2059985" y="828902"/>
                      </a:lnTo>
                      <a:lnTo>
                        <a:pt x="2063868" y="850683"/>
                      </a:lnTo>
                      <a:lnTo>
                        <a:pt x="2123681" y="848301"/>
                      </a:lnTo>
                      <a:lnTo>
                        <a:pt x="2121300" y="862396"/>
                      </a:lnTo>
                      <a:lnTo>
                        <a:pt x="2134301" y="862396"/>
                      </a:lnTo>
                      <a:lnTo>
                        <a:pt x="2151635" y="862396"/>
                      </a:lnTo>
                      <a:lnTo>
                        <a:pt x="2199305" y="862396"/>
                      </a:lnTo>
                      <a:lnTo>
                        <a:pt x="2199305" y="888398"/>
                      </a:lnTo>
                      <a:lnTo>
                        <a:pt x="2215400" y="883636"/>
                      </a:lnTo>
                      <a:lnTo>
                        <a:pt x="2255879" y="881254"/>
                      </a:lnTo>
                      <a:cubicBezTo>
                        <a:pt x="2255669" y="892378"/>
                        <a:pt x="2255458" y="903502"/>
                        <a:pt x="2255248" y="914626"/>
                      </a:cubicBezTo>
                      <a:lnTo>
                        <a:pt x="2280786" y="915879"/>
                      </a:lnTo>
                      <a:cubicBezTo>
                        <a:pt x="2281005" y="905937"/>
                        <a:pt x="2281223" y="888850"/>
                        <a:pt x="2281442" y="878908"/>
                      </a:cubicBezTo>
                      <a:lnTo>
                        <a:pt x="2309171" y="877780"/>
                      </a:lnTo>
                      <a:lnTo>
                        <a:pt x="2309171" y="912018"/>
                      </a:lnTo>
                      <a:lnTo>
                        <a:pt x="2350983" y="914400"/>
                      </a:lnTo>
                      <a:lnTo>
                        <a:pt x="2350983" y="923068"/>
                      </a:lnTo>
                      <a:lnTo>
                        <a:pt x="2415988" y="923068"/>
                      </a:lnTo>
                      <a:lnTo>
                        <a:pt x="2415988" y="936069"/>
                      </a:lnTo>
                      <a:lnTo>
                        <a:pt x="2454991" y="936069"/>
                      </a:lnTo>
                      <a:lnTo>
                        <a:pt x="2467992" y="949070"/>
                      </a:lnTo>
                      <a:lnTo>
                        <a:pt x="2515662" y="949070"/>
                      </a:lnTo>
                      <a:lnTo>
                        <a:pt x="2528663" y="962071"/>
                      </a:lnTo>
                      <a:lnTo>
                        <a:pt x="2558998" y="962071"/>
                      </a:lnTo>
                      <a:lnTo>
                        <a:pt x="2558998" y="979405"/>
                      </a:lnTo>
                      <a:lnTo>
                        <a:pt x="2606668" y="979405"/>
                      </a:lnTo>
                      <a:lnTo>
                        <a:pt x="2606668" y="1001073"/>
                      </a:lnTo>
                      <a:lnTo>
                        <a:pt x="2654338" y="1001073"/>
                      </a:lnTo>
                      <a:lnTo>
                        <a:pt x="2654338" y="1022742"/>
                      </a:lnTo>
                      <a:lnTo>
                        <a:pt x="2715010" y="1022742"/>
                      </a:lnTo>
                      <a:lnTo>
                        <a:pt x="2715010" y="1040076"/>
                      </a:lnTo>
                      <a:lnTo>
                        <a:pt x="2823351" y="1040076"/>
                      </a:lnTo>
                      <a:lnTo>
                        <a:pt x="2832018" y="1048743"/>
                      </a:lnTo>
                      <a:lnTo>
                        <a:pt x="2840686" y="1057411"/>
                      </a:lnTo>
                      <a:lnTo>
                        <a:pt x="2879688" y="1057411"/>
                      </a:lnTo>
                      <a:lnTo>
                        <a:pt x="2901356" y="1057411"/>
                      </a:lnTo>
                      <a:lnTo>
                        <a:pt x="2914357" y="1057411"/>
                      </a:lnTo>
                      <a:lnTo>
                        <a:pt x="2931692" y="1074746"/>
                      </a:lnTo>
                      <a:lnTo>
                        <a:pt x="2983696" y="1074746"/>
                      </a:lnTo>
                      <a:lnTo>
                        <a:pt x="2983696" y="1092080"/>
                      </a:lnTo>
                      <a:lnTo>
                        <a:pt x="3149898" y="1094462"/>
                      </a:lnTo>
                      <a:cubicBezTo>
                        <a:pt x="3149898" y="1105367"/>
                        <a:pt x="3149899" y="1111509"/>
                        <a:pt x="3149899" y="1122414"/>
                      </a:cubicBezTo>
                      <a:lnTo>
                        <a:pt x="3226380" y="1122415"/>
                      </a:lnTo>
                      <a:lnTo>
                        <a:pt x="3230714" y="1122415"/>
                      </a:lnTo>
                      <a:lnTo>
                        <a:pt x="3317387" y="1124796"/>
                      </a:lnTo>
                      <a:lnTo>
                        <a:pt x="3317387" y="1141273"/>
                      </a:lnTo>
                      <a:lnTo>
                        <a:pt x="3411204" y="1141273"/>
                      </a:lnTo>
                      <a:cubicBezTo>
                        <a:pt x="3411998" y="1170356"/>
                        <a:pt x="3410409" y="1125620"/>
                        <a:pt x="3411203" y="1154703"/>
                      </a:cubicBezTo>
                      <a:lnTo>
                        <a:pt x="3460397" y="1157085"/>
                      </a:lnTo>
                      <a:cubicBezTo>
                        <a:pt x="3460112" y="1159974"/>
                        <a:pt x="3459826" y="1162864"/>
                        <a:pt x="3459541" y="1165753"/>
                      </a:cubicBezTo>
                      <a:lnTo>
                        <a:pt x="3612075" y="1165753"/>
                      </a:lnTo>
                      <a:lnTo>
                        <a:pt x="3612075" y="1178753"/>
                      </a:lnTo>
                      <a:lnTo>
                        <a:pt x="3720416" y="1178753"/>
                      </a:lnTo>
                      <a:lnTo>
                        <a:pt x="3724750" y="1183087"/>
                      </a:lnTo>
                      <a:lnTo>
                        <a:pt x="3978483" y="1187849"/>
                      </a:lnTo>
                      <a:lnTo>
                        <a:pt x="3976102" y="1204755"/>
                      </a:lnTo>
                      <a:lnTo>
                        <a:pt x="4006437" y="1204755"/>
                      </a:lnTo>
                      <a:lnTo>
                        <a:pt x="4006437" y="1178753"/>
                      </a:lnTo>
                      <a:lnTo>
                        <a:pt x="4045440" y="1178753"/>
                      </a:lnTo>
                      <a:lnTo>
                        <a:pt x="4045440" y="1213422"/>
                      </a:lnTo>
                      <a:lnTo>
                        <a:pt x="4058441" y="1213422"/>
                      </a:lnTo>
                      <a:lnTo>
                        <a:pt x="4058441" y="1222089"/>
                      </a:lnTo>
                      <a:lnTo>
                        <a:pt x="4179783" y="1222089"/>
                      </a:lnTo>
                      <a:lnTo>
                        <a:pt x="4179783" y="1243758"/>
                      </a:lnTo>
                      <a:lnTo>
                        <a:pt x="4335794" y="1243758"/>
                      </a:lnTo>
                      <a:lnTo>
                        <a:pt x="4335794" y="1261092"/>
                      </a:lnTo>
                      <a:lnTo>
                        <a:pt x="4413800" y="1261092"/>
                      </a:lnTo>
                      <a:lnTo>
                        <a:pt x="4413800" y="1287094"/>
                      </a:lnTo>
                      <a:lnTo>
                        <a:pt x="4465804" y="1287094"/>
                      </a:lnTo>
                      <a:lnTo>
                        <a:pt x="4491806" y="1287094"/>
                      </a:lnTo>
                      <a:lnTo>
                        <a:pt x="4513474" y="1308762"/>
                      </a:lnTo>
                      <a:lnTo>
                        <a:pt x="4608814" y="1308762"/>
                      </a:lnTo>
                      <a:lnTo>
                        <a:pt x="4612719" y="1317430"/>
                      </a:lnTo>
                      <a:lnTo>
                        <a:pt x="4678153" y="1317430"/>
                      </a:lnTo>
                      <a:lnTo>
                        <a:pt x="4678153" y="1339098"/>
                      </a:lnTo>
                      <a:lnTo>
                        <a:pt x="4721489" y="1339098"/>
                      </a:lnTo>
                      <a:lnTo>
                        <a:pt x="4725823" y="1343432"/>
                      </a:lnTo>
                      <a:lnTo>
                        <a:pt x="4782160" y="1343432"/>
                      </a:lnTo>
                      <a:lnTo>
                        <a:pt x="4780873" y="1358814"/>
                      </a:lnTo>
                      <a:lnTo>
                        <a:pt x="5020511" y="1356433"/>
                      </a:lnTo>
                      <a:lnTo>
                        <a:pt x="5033512" y="1369434"/>
                      </a:lnTo>
                      <a:lnTo>
                        <a:pt x="5167855" y="1369434"/>
                      </a:lnTo>
                      <a:lnTo>
                        <a:pt x="5167855" y="1391102"/>
                      </a:lnTo>
                      <a:lnTo>
                        <a:pt x="5297865" y="1391102"/>
                      </a:lnTo>
                      <a:lnTo>
                        <a:pt x="5306532" y="1399769"/>
                      </a:lnTo>
                      <a:lnTo>
                        <a:pt x="5371537" y="1399769"/>
                      </a:lnTo>
                      <a:lnTo>
                        <a:pt x="5384538" y="1399769"/>
                      </a:lnTo>
                      <a:lnTo>
                        <a:pt x="5384538" y="1421437"/>
                      </a:lnTo>
                      <a:lnTo>
                        <a:pt x="5488545" y="1421437"/>
                      </a:lnTo>
                      <a:lnTo>
                        <a:pt x="5488545" y="1399769"/>
                      </a:lnTo>
                      <a:lnTo>
                        <a:pt x="5527548" y="1399769"/>
                      </a:lnTo>
                      <a:lnTo>
                        <a:pt x="5527548" y="1425771"/>
                      </a:lnTo>
                      <a:lnTo>
                        <a:pt x="5622888" y="1425771"/>
                      </a:lnTo>
                      <a:lnTo>
                        <a:pt x="5622888" y="1399769"/>
                      </a:lnTo>
                      <a:lnTo>
                        <a:pt x="5679226" y="1399769"/>
                      </a:lnTo>
                      <a:lnTo>
                        <a:pt x="5679226" y="1434438"/>
                      </a:lnTo>
                      <a:lnTo>
                        <a:pt x="5700894" y="1434438"/>
                      </a:lnTo>
                      <a:lnTo>
                        <a:pt x="5700894" y="1443106"/>
                      </a:lnTo>
                      <a:lnTo>
                        <a:pt x="5731229" y="1443106"/>
                      </a:lnTo>
                      <a:lnTo>
                        <a:pt x="5731229" y="1456106"/>
                      </a:lnTo>
                      <a:lnTo>
                        <a:pt x="5809235" y="1456106"/>
                      </a:lnTo>
                      <a:lnTo>
                        <a:pt x="5809235" y="1421437"/>
                      </a:lnTo>
                      <a:lnTo>
                        <a:pt x="5852572" y="1421437"/>
                      </a:lnTo>
                      <a:lnTo>
                        <a:pt x="5852572" y="1456106"/>
                      </a:lnTo>
                      <a:lnTo>
                        <a:pt x="5917576" y="1456106"/>
                      </a:lnTo>
                      <a:lnTo>
                        <a:pt x="5943578" y="1456106"/>
                      </a:lnTo>
                      <a:lnTo>
                        <a:pt x="5943578" y="1473441"/>
                      </a:lnTo>
                      <a:lnTo>
                        <a:pt x="5960913" y="1473441"/>
                      </a:lnTo>
                      <a:lnTo>
                        <a:pt x="5965247" y="1477775"/>
                      </a:lnTo>
                      <a:lnTo>
                        <a:pt x="6034585" y="1477775"/>
                      </a:lnTo>
                      <a:lnTo>
                        <a:pt x="6034585" y="1456106"/>
                      </a:lnTo>
                      <a:lnTo>
                        <a:pt x="6073588" y="1456106"/>
                      </a:lnTo>
                      <a:lnTo>
                        <a:pt x="6073588" y="1499443"/>
                      </a:lnTo>
                      <a:lnTo>
                        <a:pt x="6125592" y="1499443"/>
                      </a:lnTo>
                      <a:lnTo>
                        <a:pt x="6125592" y="1508110"/>
                      </a:lnTo>
                      <a:lnTo>
                        <a:pt x="6203597" y="1508110"/>
                      </a:lnTo>
                      <a:lnTo>
                        <a:pt x="6203597" y="1464774"/>
                      </a:lnTo>
                      <a:lnTo>
                        <a:pt x="6242600" y="1464774"/>
                      </a:lnTo>
                      <a:lnTo>
                        <a:pt x="6242600" y="1516778"/>
                      </a:lnTo>
                      <a:lnTo>
                        <a:pt x="6368276" y="1516778"/>
                      </a:lnTo>
                      <a:lnTo>
                        <a:pt x="6368276" y="1477775"/>
                      </a:lnTo>
                      <a:lnTo>
                        <a:pt x="6412707" y="1475394"/>
                      </a:lnTo>
                      <a:lnTo>
                        <a:pt x="6415088" y="1529778"/>
                      </a:lnTo>
                      <a:lnTo>
                        <a:pt x="6462760" y="1529778"/>
                      </a:lnTo>
                      <a:cubicBezTo>
                        <a:pt x="6462760" y="1514682"/>
                        <a:pt x="6462757" y="1494824"/>
                        <a:pt x="6462757" y="1479728"/>
                      </a:cubicBezTo>
                      <a:lnTo>
                        <a:pt x="6502619" y="1482108"/>
                      </a:lnTo>
                      <a:lnTo>
                        <a:pt x="6502619" y="1529778"/>
                      </a:lnTo>
                      <a:lnTo>
                        <a:pt x="6576291" y="1529778"/>
                      </a:lnTo>
                      <a:lnTo>
                        <a:pt x="6580625" y="1534112"/>
                      </a:lnTo>
                      <a:lnTo>
                        <a:pt x="6689395" y="1536493"/>
                      </a:lnTo>
                      <a:lnTo>
                        <a:pt x="6691776" y="1499443"/>
                      </a:lnTo>
                      <a:lnTo>
                        <a:pt x="6753971" y="1499443"/>
                      </a:lnTo>
                      <a:lnTo>
                        <a:pt x="6753971" y="1542779"/>
                      </a:lnTo>
                      <a:lnTo>
                        <a:pt x="6810308" y="1542779"/>
                      </a:lnTo>
                      <a:lnTo>
                        <a:pt x="6810308" y="1499443"/>
                      </a:lnTo>
                      <a:lnTo>
                        <a:pt x="6844977" y="1499443"/>
                      </a:lnTo>
                      <a:lnTo>
                        <a:pt x="6844977" y="1529778"/>
                      </a:lnTo>
                      <a:lnTo>
                        <a:pt x="6862312" y="1529778"/>
                      </a:lnTo>
                      <a:lnTo>
                        <a:pt x="6862312" y="1555780"/>
                      </a:lnTo>
                      <a:lnTo>
                        <a:pt x="7065993" y="1555780"/>
                      </a:lnTo>
                      <a:lnTo>
                        <a:pt x="7078994" y="1568781"/>
                      </a:lnTo>
                      <a:lnTo>
                        <a:pt x="7148333" y="1568781"/>
                      </a:lnTo>
                      <a:lnTo>
                        <a:pt x="7148333" y="1586116"/>
                      </a:lnTo>
                      <a:lnTo>
                        <a:pt x="7300011" y="1586116"/>
                      </a:lnTo>
                      <a:lnTo>
                        <a:pt x="7300011" y="1607784"/>
                      </a:lnTo>
                      <a:lnTo>
                        <a:pt x="7430022" y="1609071"/>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6BBD509-78B6-444F-8B50-993C2601EC9B}"/>
                    </a:ext>
                  </a:extLst>
                </p:cNvPr>
                <p:cNvSpPr/>
                <p:nvPr/>
              </p:nvSpPr>
              <p:spPr>
                <a:xfrm>
                  <a:off x="8366611" y="2957652"/>
                  <a:ext cx="2058145" cy="190624"/>
                </a:xfrm>
                <a:custGeom>
                  <a:avLst/>
                  <a:gdLst>
                    <a:gd name="connsiteX0" fmla="*/ 2058145 w 2058145"/>
                    <a:gd name="connsiteY0" fmla="*/ 190624 h 190624"/>
                    <a:gd name="connsiteX1" fmla="*/ 1766252 w 2058145"/>
                    <a:gd name="connsiteY1" fmla="*/ 190624 h 190624"/>
                    <a:gd name="connsiteX2" fmla="*/ 1766252 w 2058145"/>
                    <a:gd name="connsiteY2" fmla="*/ 139990 h 190624"/>
                    <a:gd name="connsiteX3" fmla="*/ 1656047 w 2058145"/>
                    <a:gd name="connsiteY3" fmla="*/ 139990 h 190624"/>
                    <a:gd name="connsiteX4" fmla="*/ 1656047 w 2058145"/>
                    <a:gd name="connsiteY4" fmla="*/ 128076 h 190624"/>
                    <a:gd name="connsiteX5" fmla="*/ 1376068 w 2058145"/>
                    <a:gd name="connsiteY5" fmla="*/ 128076 h 190624"/>
                    <a:gd name="connsiteX6" fmla="*/ 1376068 w 2058145"/>
                    <a:gd name="connsiteY6" fmla="*/ 110205 h 190624"/>
                    <a:gd name="connsiteX7" fmla="*/ 1230121 w 2058145"/>
                    <a:gd name="connsiteY7" fmla="*/ 110205 h 190624"/>
                    <a:gd name="connsiteX8" fmla="*/ 753561 w 2058145"/>
                    <a:gd name="connsiteY8" fmla="*/ 110205 h 190624"/>
                    <a:gd name="connsiteX9" fmla="*/ 753561 w 2058145"/>
                    <a:gd name="connsiteY9" fmla="*/ 62549 h 190624"/>
                    <a:gd name="connsiteX10" fmla="*/ 542087 w 2058145"/>
                    <a:gd name="connsiteY10" fmla="*/ 62549 h 190624"/>
                    <a:gd name="connsiteX11" fmla="*/ 542087 w 2058145"/>
                    <a:gd name="connsiteY11" fmla="*/ 32764 h 190624"/>
                    <a:gd name="connsiteX12" fmla="*/ 312743 w 2058145"/>
                    <a:gd name="connsiteY12" fmla="*/ 32764 h 190624"/>
                    <a:gd name="connsiteX13" fmla="*/ 312743 w 2058145"/>
                    <a:gd name="connsiteY13" fmla="*/ 8936 h 190624"/>
                    <a:gd name="connsiteX14" fmla="*/ 166796 w 2058145"/>
                    <a:gd name="connsiteY14" fmla="*/ 8936 h 190624"/>
                    <a:gd name="connsiteX15" fmla="*/ 166796 w 2058145"/>
                    <a:gd name="connsiteY15" fmla="*/ 0 h 190624"/>
                    <a:gd name="connsiteX16" fmla="*/ 0 w 2058145"/>
                    <a:gd name="connsiteY16" fmla="*/ 0 h 19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58145" h="190624">
                      <a:moveTo>
                        <a:pt x="2058145" y="190624"/>
                      </a:moveTo>
                      <a:lnTo>
                        <a:pt x="1766252" y="190624"/>
                      </a:lnTo>
                      <a:lnTo>
                        <a:pt x="1766252" y="139990"/>
                      </a:lnTo>
                      <a:lnTo>
                        <a:pt x="1656047" y="139990"/>
                      </a:lnTo>
                      <a:lnTo>
                        <a:pt x="1656047" y="128076"/>
                      </a:lnTo>
                      <a:lnTo>
                        <a:pt x="1376068" y="128076"/>
                      </a:lnTo>
                      <a:lnTo>
                        <a:pt x="1376068" y="110205"/>
                      </a:lnTo>
                      <a:lnTo>
                        <a:pt x="1230121" y="110205"/>
                      </a:lnTo>
                      <a:lnTo>
                        <a:pt x="753561" y="110205"/>
                      </a:lnTo>
                      <a:lnTo>
                        <a:pt x="753561" y="62549"/>
                      </a:lnTo>
                      <a:lnTo>
                        <a:pt x="542087" y="62549"/>
                      </a:lnTo>
                      <a:lnTo>
                        <a:pt x="542087" y="32764"/>
                      </a:lnTo>
                      <a:lnTo>
                        <a:pt x="312743" y="32764"/>
                      </a:lnTo>
                      <a:lnTo>
                        <a:pt x="312743" y="8936"/>
                      </a:lnTo>
                      <a:lnTo>
                        <a:pt x="166796" y="8936"/>
                      </a:lnTo>
                      <a:lnTo>
                        <a:pt x="166796" y="0"/>
                      </a:lnTo>
                      <a:lnTo>
                        <a:pt x="0" y="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000000"/>
                    </a:solidFill>
                    <a:effectLst/>
                    <a:uLnTx/>
                    <a:uFillTx/>
                    <a:latin typeface="Arial"/>
                    <a:ea typeface="+mn-ea"/>
                    <a:cs typeface="+mn-cs"/>
                  </a:endParaRPr>
                </a:p>
              </p:txBody>
            </p:sp>
          </p:grpSp>
        </p:grpSp>
      </p:grpSp>
      <p:sp>
        <p:nvSpPr>
          <p:cNvPr id="64" name="Text Placeholder 1">
            <a:extLst>
              <a:ext uri="{FF2B5EF4-FFF2-40B4-BE49-F238E27FC236}">
                <a16:creationId xmlns:a16="http://schemas.microsoft.com/office/drawing/2014/main" id="{605743DA-9E7E-4772-B842-94528E48B37A}"/>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14416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171C343-B805-4C75-9AA6-4896EE797B6C}"/>
              </a:ext>
            </a:extLst>
          </p:cNvPr>
          <p:cNvSpPr>
            <a:spLocks noGrp="1"/>
          </p:cNvSpPr>
          <p:nvPr>
            <p:ph type="body" sz="quarter" idx="14"/>
          </p:nvPr>
        </p:nvSpPr>
        <p:spPr/>
        <p:txBody>
          <a:bodyPr/>
          <a:lstStyle/>
          <a:p>
            <a:r>
              <a:rPr lang="en-US"/>
              <a:t>Patients with hospitalizations and number of hospitalizations per patient following a worsening HF event* in the PINNACLE registry</a:t>
            </a:r>
          </a:p>
        </p:txBody>
      </p:sp>
      <p:sp>
        <p:nvSpPr>
          <p:cNvPr id="3" name="Slide Number Placeholder 2">
            <a:extLst>
              <a:ext uri="{FF2B5EF4-FFF2-40B4-BE49-F238E27FC236}">
                <a16:creationId xmlns:a16="http://schemas.microsoft.com/office/drawing/2014/main" id="{E24EFF12-46D5-4873-9F6D-CD00B3AD96C8}"/>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E7A9C-228B-4998-AC5D-8ECFE8FBAA55}" type="slidenum">
              <a:rPr kumimoji="0" lang="en-US" sz="800" b="1"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D6E69933-732D-4FA0-BFA9-B607332EBB10}"/>
              </a:ext>
            </a:extLst>
          </p:cNvPr>
          <p:cNvSpPr>
            <a:spLocks noGrp="1"/>
          </p:cNvSpPr>
          <p:nvPr>
            <p:ph type="title"/>
          </p:nvPr>
        </p:nvSpPr>
        <p:spPr/>
        <p:txBody>
          <a:bodyPr/>
          <a:lstStyle/>
          <a:p>
            <a:r>
              <a:rPr lang="en-US"/>
              <a:t>Each worsening HF event is associated with a high risk of recurrent hospitalization</a:t>
            </a:r>
            <a:endParaRPr lang="en-GB"/>
          </a:p>
        </p:txBody>
      </p:sp>
      <p:sp>
        <p:nvSpPr>
          <p:cNvPr id="5" name="Footer Placeholder 4">
            <a:extLst>
              <a:ext uri="{FF2B5EF4-FFF2-40B4-BE49-F238E27FC236}">
                <a16:creationId xmlns:a16="http://schemas.microsoft.com/office/drawing/2014/main" id="{D8C46940-9C83-419E-8801-F96B04638B9D}"/>
              </a:ext>
            </a:extLst>
          </p:cNvPr>
          <p:cNvSpPr>
            <a:spLocks noGrp="1"/>
          </p:cNvSpPr>
          <p:nvPr>
            <p:ph type="ftr" sz="quarter" idx="17"/>
          </p:nvPr>
        </p:nvSpPr>
        <p:spPr/>
        <p:txBody>
          <a:bodyPr/>
          <a:lstStyle/>
          <a:p>
            <a:pPr marL="0" marR="0" lvl="0" indent="0" algn="l" defTabSz="914309" rtl="0" eaLnBrk="1" fontAlgn="auto" latinLnBrk="0" hangingPunct="1">
              <a:lnSpc>
                <a:spcPct val="80000"/>
              </a:lnSpc>
              <a:spcBef>
                <a:spcPts val="200"/>
              </a:spcBef>
              <a:spcAft>
                <a:spcPts val="0"/>
              </a:spcAft>
              <a:buClrTx/>
              <a:buSzTx/>
              <a:buFontTx/>
              <a:buNone/>
              <a:tabLst/>
              <a:defRPr/>
            </a:pPr>
            <a:r>
              <a:rPr kumimoji="0" lang="en-GB" sz="800" b="0" i="0" u="none" strike="noStrike" kern="1200" cap="none" spc="0" normalizeH="0" baseline="0" noProof="0">
                <a:ln>
                  <a:noFill/>
                </a:ln>
                <a:solidFill>
                  <a:srgbClr val="898989"/>
                </a:solidFill>
                <a:effectLst/>
                <a:uLnTx/>
                <a:uFillTx/>
                <a:latin typeface="Arial"/>
                <a:ea typeface="MS PGothic" charset="0"/>
                <a:cs typeface="+mn-cs"/>
              </a:rPr>
              <a:t>* Worsening HF event was defined as a requirement for IV diuretic treatment in any healthcare setting or HF hospitalization.</a:t>
            </a:r>
          </a:p>
          <a:p>
            <a:pPr marL="0" marR="0" lvl="0" indent="0" algn="l" defTabSz="914218" rtl="0" eaLnBrk="1" fontAlgn="auto" latinLnBrk="0" hangingPunct="1">
              <a:lnSpc>
                <a:spcPct val="80000"/>
              </a:lnSpc>
              <a:spcBef>
                <a:spcPts val="200"/>
              </a:spcBef>
              <a:spcAft>
                <a:spcPts val="0"/>
              </a:spcAft>
              <a:buClr>
                <a:srgbClr val="FFFF00"/>
              </a:buClr>
              <a:buSzPct val="100000"/>
              <a:buFont typeface="Arial" panose="020B0604020202020204" pitchFamily="34" charset="0"/>
              <a:buNone/>
              <a:tabLst/>
              <a:defRPr/>
            </a:pPr>
            <a:r>
              <a:rPr kumimoji="0" lang="en-GB" sz="800" b="0" i="0" u="none" strike="noStrike" kern="1200" cap="none" spc="0" normalizeH="0" baseline="0" noProof="0">
                <a:ln>
                  <a:noFill/>
                </a:ln>
                <a:solidFill>
                  <a:srgbClr val="898989"/>
                </a:solidFill>
                <a:effectLst/>
                <a:uLnTx/>
                <a:uFillTx/>
                <a:latin typeface="Arial"/>
                <a:ea typeface="+mn-ea"/>
                <a:cs typeface="+mn-cs"/>
              </a:rPr>
              <a:t>HF, heart failure; IV, intravenous.</a:t>
            </a:r>
          </a:p>
          <a:p>
            <a:pPr marL="0" marR="0" lvl="0" indent="0" algn="l" defTabSz="914218" rtl="0" eaLnBrk="1" fontAlgn="auto" latinLnBrk="0" hangingPunct="1">
              <a:lnSpc>
                <a:spcPct val="80000"/>
              </a:lnSpc>
              <a:spcBef>
                <a:spcPts val="200"/>
              </a:spcBef>
              <a:spcAft>
                <a:spcPts val="0"/>
              </a:spcAft>
              <a:buClr>
                <a:srgbClr val="FFFF00"/>
              </a:buClr>
              <a:buSzPct val="100000"/>
              <a:buFont typeface="Arial" panose="020B0604020202020204" pitchFamily="34" charset="0"/>
              <a:buNone/>
              <a:tabLst/>
              <a:defRPr/>
            </a:pPr>
            <a:r>
              <a:rPr kumimoji="0" lang="en-GB" sz="800" b="1" i="0" u="none" strike="noStrike" kern="1200" cap="none" spc="0" normalizeH="0" baseline="0" noProof="0">
                <a:ln>
                  <a:noFill/>
                </a:ln>
                <a:solidFill>
                  <a:srgbClr val="898989"/>
                </a:solidFill>
                <a:effectLst/>
                <a:uLnTx/>
                <a:uFillTx/>
                <a:latin typeface="Arial"/>
                <a:ea typeface="+mn-ea"/>
                <a:cs typeface="+mn-cs"/>
              </a:rPr>
              <a:t>Reference:</a:t>
            </a:r>
            <a:r>
              <a:rPr kumimoji="0" lang="en-GB" sz="800" b="0" i="0" u="none" strike="noStrike" kern="1200" cap="none" spc="0" normalizeH="0" baseline="0" noProof="0">
                <a:ln>
                  <a:noFill/>
                </a:ln>
                <a:solidFill>
                  <a:srgbClr val="898989"/>
                </a:solidFill>
                <a:effectLst/>
                <a:uLnTx/>
                <a:uFillTx/>
                <a:latin typeface="Arial"/>
                <a:ea typeface="+mn-ea"/>
                <a:cs typeface="+mn-cs"/>
              </a:rPr>
              <a:t> Butler J </a:t>
            </a:r>
            <a:r>
              <a:rPr kumimoji="0" lang="en-GB" sz="800" b="0" i="1" u="none" strike="noStrike" kern="1200" cap="none" spc="0" normalizeH="0" baseline="0" noProof="0">
                <a:ln>
                  <a:noFill/>
                </a:ln>
                <a:solidFill>
                  <a:srgbClr val="898989"/>
                </a:solidFill>
                <a:effectLst/>
                <a:uLnTx/>
                <a:uFillTx/>
                <a:latin typeface="Arial"/>
                <a:ea typeface="+mn-ea"/>
                <a:cs typeface="+mn-cs"/>
              </a:rPr>
              <a:t>et al</a:t>
            </a:r>
            <a:r>
              <a:rPr kumimoji="0" lang="en-GB" sz="800" b="0" i="0" u="none" strike="noStrike" kern="1200" cap="none" spc="0" normalizeH="0" baseline="0" noProof="0">
                <a:ln>
                  <a:noFill/>
                </a:ln>
                <a:solidFill>
                  <a:srgbClr val="898989"/>
                </a:solidFill>
                <a:effectLst/>
                <a:uLnTx/>
                <a:uFillTx/>
                <a:latin typeface="Arial"/>
                <a:ea typeface="+mn-ea"/>
                <a:cs typeface="+mn-cs"/>
              </a:rPr>
              <a:t>. </a:t>
            </a:r>
            <a:r>
              <a:rPr kumimoji="0" lang="en-GB" sz="800" b="0" i="1" u="none" strike="noStrike" kern="1200" cap="none" spc="0" normalizeH="0" baseline="0" noProof="0">
                <a:ln>
                  <a:noFill/>
                </a:ln>
                <a:solidFill>
                  <a:srgbClr val="898989"/>
                </a:solidFill>
                <a:effectLst/>
                <a:uLnTx/>
                <a:uFillTx/>
                <a:latin typeface="Arial"/>
                <a:ea typeface="+mn-ea"/>
                <a:cs typeface="+mn-cs"/>
              </a:rPr>
              <a:t>J Am Coll </a:t>
            </a:r>
            <a:r>
              <a:rPr kumimoji="0" lang="en-GB" sz="800" b="0" i="1" u="none" strike="noStrike" kern="1200" cap="none" spc="0" normalizeH="0" baseline="0" noProof="0" err="1">
                <a:ln>
                  <a:noFill/>
                </a:ln>
                <a:solidFill>
                  <a:srgbClr val="898989"/>
                </a:solidFill>
                <a:effectLst/>
                <a:uLnTx/>
                <a:uFillTx/>
                <a:latin typeface="Arial"/>
                <a:ea typeface="+mn-ea"/>
                <a:cs typeface="+mn-cs"/>
              </a:rPr>
              <a:t>Cardiol</a:t>
            </a:r>
            <a:r>
              <a:rPr kumimoji="0" lang="en-GB" sz="800" b="0" i="0" u="none" strike="noStrike" kern="1200" cap="none" spc="0" normalizeH="0" baseline="0" noProof="0">
                <a:ln>
                  <a:noFill/>
                </a:ln>
                <a:solidFill>
                  <a:srgbClr val="898989"/>
                </a:solidFill>
                <a:effectLst/>
                <a:uLnTx/>
                <a:uFillTx/>
                <a:latin typeface="Arial"/>
                <a:ea typeface="+mn-ea"/>
                <a:cs typeface="+mn-cs"/>
              </a:rPr>
              <a:t> 2019;73:935–944.</a:t>
            </a:r>
          </a:p>
        </p:txBody>
      </p:sp>
      <p:sp>
        <p:nvSpPr>
          <p:cNvPr id="7" name="Rectangle 6">
            <a:extLst>
              <a:ext uri="{FF2B5EF4-FFF2-40B4-BE49-F238E27FC236}">
                <a16:creationId xmlns:a16="http://schemas.microsoft.com/office/drawing/2014/main" id="{94D41FC2-E1E0-4479-A459-C324B1227870}"/>
              </a:ext>
            </a:extLst>
          </p:cNvPr>
          <p:cNvSpPr/>
          <p:nvPr/>
        </p:nvSpPr>
        <p:spPr>
          <a:xfrm>
            <a:off x="1560053" y="3414819"/>
            <a:ext cx="744563" cy="131032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2E5FA13-64F2-43FC-B466-9DFCF0051F60}"/>
              </a:ext>
            </a:extLst>
          </p:cNvPr>
          <p:cNvSpPr/>
          <p:nvPr/>
        </p:nvSpPr>
        <p:spPr>
          <a:xfrm>
            <a:off x="2938413" y="3354121"/>
            <a:ext cx="744563" cy="137102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CAC35855-FE72-495A-A86A-7ABE93247ECE}"/>
              </a:ext>
            </a:extLst>
          </p:cNvPr>
          <p:cNvSpPr/>
          <p:nvPr/>
        </p:nvSpPr>
        <p:spPr>
          <a:xfrm>
            <a:off x="4347998" y="3218966"/>
            <a:ext cx="744563" cy="150617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7E6856E-3A82-4E7C-8ECE-8B322BDDB3F7}"/>
              </a:ext>
            </a:extLst>
          </p:cNvPr>
          <p:cNvSpPr/>
          <p:nvPr/>
        </p:nvSpPr>
        <p:spPr>
          <a:xfrm>
            <a:off x="5751635" y="3118613"/>
            <a:ext cx="744563" cy="160653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C8BBAADF-88FA-406F-81FC-8555FDAC11A2}"/>
              </a:ext>
            </a:extLst>
          </p:cNvPr>
          <p:cNvSpPr/>
          <p:nvPr/>
        </p:nvSpPr>
        <p:spPr>
          <a:xfrm>
            <a:off x="1239999" y="2394675"/>
            <a:ext cx="5590760" cy="2343738"/>
          </a:xfrm>
          <a:custGeom>
            <a:avLst/>
            <a:gdLst>
              <a:gd name="connsiteX0" fmla="*/ 0 w 2984500"/>
              <a:gd name="connsiteY0" fmla="*/ 0 h 2298700"/>
              <a:gd name="connsiteX1" fmla="*/ 0 w 2984500"/>
              <a:gd name="connsiteY1" fmla="*/ 2298700 h 2298700"/>
              <a:gd name="connsiteX2" fmla="*/ 2984500 w 2984500"/>
              <a:gd name="connsiteY2" fmla="*/ 2298700 h 2298700"/>
              <a:gd name="connsiteX3" fmla="*/ 2984500 w 2984500"/>
              <a:gd name="connsiteY3" fmla="*/ 6350 h 2298700"/>
            </a:gdLst>
            <a:ahLst/>
            <a:cxnLst>
              <a:cxn ang="0">
                <a:pos x="connsiteX0" y="connsiteY0"/>
              </a:cxn>
              <a:cxn ang="0">
                <a:pos x="connsiteX1" y="connsiteY1"/>
              </a:cxn>
              <a:cxn ang="0">
                <a:pos x="connsiteX2" y="connsiteY2"/>
              </a:cxn>
              <a:cxn ang="0">
                <a:pos x="connsiteX3" y="connsiteY3"/>
              </a:cxn>
            </a:cxnLst>
            <a:rect l="l" t="t" r="r" b="b"/>
            <a:pathLst>
              <a:path w="2984500" h="2298700">
                <a:moveTo>
                  <a:pt x="0" y="0"/>
                </a:moveTo>
                <a:lnTo>
                  <a:pt x="0" y="2298700"/>
                </a:lnTo>
                <a:lnTo>
                  <a:pt x="2984500" y="2298700"/>
                </a:lnTo>
                <a:lnTo>
                  <a:pt x="2984500" y="63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83A29116-22E2-4EC5-8283-FF63346E4856}"/>
              </a:ext>
            </a:extLst>
          </p:cNvPr>
          <p:cNvCxnSpPr/>
          <p:nvPr/>
        </p:nvCxnSpPr>
        <p:spPr>
          <a:xfrm flipH="1">
            <a:off x="1196740" y="2394670"/>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1C5A61D3-5831-42FB-8318-EDCC560D36B5}"/>
              </a:ext>
            </a:extLst>
          </p:cNvPr>
          <p:cNvCxnSpPr/>
          <p:nvPr/>
        </p:nvCxnSpPr>
        <p:spPr>
          <a:xfrm flipH="1">
            <a:off x="1196740" y="2627091"/>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CAF80A99-055E-4B12-95C1-AB6859AAEE0A}"/>
              </a:ext>
            </a:extLst>
          </p:cNvPr>
          <p:cNvCxnSpPr/>
          <p:nvPr/>
        </p:nvCxnSpPr>
        <p:spPr>
          <a:xfrm flipH="1">
            <a:off x="1196740" y="2859866"/>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4D498EAF-A3ED-4C6F-8F6B-3EDE771D3141}"/>
              </a:ext>
            </a:extLst>
          </p:cNvPr>
          <p:cNvCxnSpPr/>
          <p:nvPr/>
        </p:nvCxnSpPr>
        <p:spPr>
          <a:xfrm flipH="1">
            <a:off x="1196740" y="3092641"/>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0989232F-9989-4A3F-9A34-00CFF6A09092}"/>
              </a:ext>
            </a:extLst>
          </p:cNvPr>
          <p:cNvCxnSpPr/>
          <p:nvPr/>
        </p:nvCxnSpPr>
        <p:spPr>
          <a:xfrm flipH="1">
            <a:off x="1196740" y="3325416"/>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A60EA62F-7A23-4C92-B5EC-F300F439EE9E}"/>
              </a:ext>
            </a:extLst>
          </p:cNvPr>
          <p:cNvCxnSpPr/>
          <p:nvPr/>
        </p:nvCxnSpPr>
        <p:spPr>
          <a:xfrm flipH="1">
            <a:off x="1196740" y="3558191"/>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7DED44E4-3611-4C30-BD26-8B9E0135D955}"/>
              </a:ext>
            </a:extLst>
          </p:cNvPr>
          <p:cNvCxnSpPr/>
          <p:nvPr/>
        </p:nvCxnSpPr>
        <p:spPr>
          <a:xfrm flipH="1">
            <a:off x="1196740" y="3790966"/>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A88AC046-4472-443C-9F29-07E8BD69A0C3}"/>
              </a:ext>
            </a:extLst>
          </p:cNvPr>
          <p:cNvCxnSpPr/>
          <p:nvPr/>
        </p:nvCxnSpPr>
        <p:spPr>
          <a:xfrm flipH="1">
            <a:off x="1196740" y="4023741"/>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EA6D7AA7-9632-400A-B04A-96E9854EB7C3}"/>
              </a:ext>
            </a:extLst>
          </p:cNvPr>
          <p:cNvCxnSpPr/>
          <p:nvPr/>
        </p:nvCxnSpPr>
        <p:spPr>
          <a:xfrm flipH="1">
            <a:off x="1196740" y="4256516"/>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8820CE32-79FA-4293-A69E-4F4DC608BBDD}"/>
              </a:ext>
            </a:extLst>
          </p:cNvPr>
          <p:cNvCxnSpPr/>
          <p:nvPr/>
        </p:nvCxnSpPr>
        <p:spPr>
          <a:xfrm flipH="1">
            <a:off x="1196740" y="4489294"/>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9A67C640-C3C1-43EB-8098-6CC45AF31076}"/>
              </a:ext>
            </a:extLst>
          </p:cNvPr>
          <p:cNvCxnSpPr>
            <a:cxnSpLocks/>
          </p:cNvCxnSpPr>
          <p:nvPr/>
        </p:nvCxnSpPr>
        <p:spPr>
          <a:xfrm flipH="1">
            <a:off x="1196741" y="4738666"/>
            <a:ext cx="5677275"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0344A2DC-7B5F-4860-AE47-381FA55552A1}"/>
              </a:ext>
            </a:extLst>
          </p:cNvPr>
          <p:cNvCxnSpPr/>
          <p:nvPr/>
        </p:nvCxnSpPr>
        <p:spPr>
          <a:xfrm flipH="1">
            <a:off x="6830757" y="2403998"/>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a:extLst>
              <a:ext uri="{FF2B5EF4-FFF2-40B4-BE49-F238E27FC236}">
                <a16:creationId xmlns:a16="http://schemas.microsoft.com/office/drawing/2014/main" id="{5A0A4E27-D9EB-4039-A979-DEE5EB54FC19}"/>
              </a:ext>
            </a:extLst>
          </p:cNvPr>
          <p:cNvCxnSpPr/>
          <p:nvPr/>
        </p:nvCxnSpPr>
        <p:spPr>
          <a:xfrm flipH="1">
            <a:off x="6830757" y="2991494"/>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a:extLst>
              <a:ext uri="{FF2B5EF4-FFF2-40B4-BE49-F238E27FC236}">
                <a16:creationId xmlns:a16="http://schemas.microsoft.com/office/drawing/2014/main" id="{E815A3E4-B8F9-47EA-93E2-BE27975ACFC6}"/>
              </a:ext>
            </a:extLst>
          </p:cNvPr>
          <p:cNvCxnSpPr/>
          <p:nvPr/>
        </p:nvCxnSpPr>
        <p:spPr>
          <a:xfrm flipH="1">
            <a:off x="6830757" y="3575462"/>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EAF4D2FF-D664-4DC5-A8E7-2922DE9391B0}"/>
              </a:ext>
            </a:extLst>
          </p:cNvPr>
          <p:cNvCxnSpPr/>
          <p:nvPr/>
        </p:nvCxnSpPr>
        <p:spPr>
          <a:xfrm flipH="1">
            <a:off x="6830757" y="4156947"/>
            <a:ext cx="43259"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7" name="TextBox 138">
            <a:extLst>
              <a:ext uri="{FF2B5EF4-FFF2-40B4-BE49-F238E27FC236}">
                <a16:creationId xmlns:a16="http://schemas.microsoft.com/office/drawing/2014/main" id="{E42EA22A-DD5B-47E6-9452-320C4D5D06DF}"/>
              </a:ext>
            </a:extLst>
          </p:cNvPr>
          <p:cNvSpPr txBox="1"/>
          <p:nvPr/>
        </p:nvSpPr>
        <p:spPr>
          <a:xfrm>
            <a:off x="949341" y="2324850"/>
            <a:ext cx="223314"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100</a:t>
            </a:r>
          </a:p>
        </p:txBody>
      </p:sp>
      <p:sp>
        <p:nvSpPr>
          <p:cNvPr id="28" name="TextBox 139">
            <a:extLst>
              <a:ext uri="{FF2B5EF4-FFF2-40B4-BE49-F238E27FC236}">
                <a16:creationId xmlns:a16="http://schemas.microsoft.com/office/drawing/2014/main" id="{FE2AEAF0-82B6-44F5-B342-AC946CAA0904}"/>
              </a:ext>
            </a:extLst>
          </p:cNvPr>
          <p:cNvSpPr txBox="1"/>
          <p:nvPr/>
        </p:nvSpPr>
        <p:spPr>
          <a:xfrm>
            <a:off x="1023779" y="2543360"/>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90</a:t>
            </a:r>
          </a:p>
        </p:txBody>
      </p:sp>
      <p:sp>
        <p:nvSpPr>
          <p:cNvPr id="29" name="TextBox 140">
            <a:extLst>
              <a:ext uri="{FF2B5EF4-FFF2-40B4-BE49-F238E27FC236}">
                <a16:creationId xmlns:a16="http://schemas.microsoft.com/office/drawing/2014/main" id="{A7995AAC-68D4-4BC8-AE14-7CDBEE7E0D6A}"/>
              </a:ext>
            </a:extLst>
          </p:cNvPr>
          <p:cNvSpPr txBox="1"/>
          <p:nvPr/>
        </p:nvSpPr>
        <p:spPr>
          <a:xfrm>
            <a:off x="1023779" y="2781298"/>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80</a:t>
            </a:r>
          </a:p>
        </p:txBody>
      </p:sp>
      <p:sp>
        <p:nvSpPr>
          <p:cNvPr id="30" name="TextBox 141">
            <a:extLst>
              <a:ext uri="{FF2B5EF4-FFF2-40B4-BE49-F238E27FC236}">
                <a16:creationId xmlns:a16="http://schemas.microsoft.com/office/drawing/2014/main" id="{7CB96755-58E2-4FA4-A465-807D3DE5AF58}"/>
              </a:ext>
            </a:extLst>
          </p:cNvPr>
          <p:cNvSpPr txBox="1"/>
          <p:nvPr/>
        </p:nvSpPr>
        <p:spPr>
          <a:xfrm>
            <a:off x="1023779" y="3019229"/>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70</a:t>
            </a:r>
          </a:p>
        </p:txBody>
      </p:sp>
      <p:sp>
        <p:nvSpPr>
          <p:cNvPr id="31" name="TextBox 142">
            <a:extLst>
              <a:ext uri="{FF2B5EF4-FFF2-40B4-BE49-F238E27FC236}">
                <a16:creationId xmlns:a16="http://schemas.microsoft.com/office/drawing/2014/main" id="{D2DDD24A-2D01-45E5-9C7D-E961652347EC}"/>
              </a:ext>
            </a:extLst>
          </p:cNvPr>
          <p:cNvSpPr txBox="1"/>
          <p:nvPr/>
        </p:nvSpPr>
        <p:spPr>
          <a:xfrm>
            <a:off x="1023779" y="3257167"/>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60</a:t>
            </a:r>
          </a:p>
        </p:txBody>
      </p:sp>
      <p:sp>
        <p:nvSpPr>
          <p:cNvPr id="32" name="TextBox 143">
            <a:extLst>
              <a:ext uri="{FF2B5EF4-FFF2-40B4-BE49-F238E27FC236}">
                <a16:creationId xmlns:a16="http://schemas.microsoft.com/office/drawing/2014/main" id="{AABC1405-9C34-4111-BD1F-97BD22BF22BD}"/>
              </a:ext>
            </a:extLst>
          </p:cNvPr>
          <p:cNvSpPr txBox="1"/>
          <p:nvPr/>
        </p:nvSpPr>
        <p:spPr>
          <a:xfrm>
            <a:off x="1023779" y="3485389"/>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50</a:t>
            </a:r>
          </a:p>
        </p:txBody>
      </p:sp>
      <p:sp>
        <p:nvSpPr>
          <p:cNvPr id="33" name="TextBox 144">
            <a:extLst>
              <a:ext uri="{FF2B5EF4-FFF2-40B4-BE49-F238E27FC236}">
                <a16:creationId xmlns:a16="http://schemas.microsoft.com/office/drawing/2014/main" id="{62813CB8-15B1-4678-BF7B-841F63437BB0}"/>
              </a:ext>
            </a:extLst>
          </p:cNvPr>
          <p:cNvSpPr txBox="1"/>
          <p:nvPr/>
        </p:nvSpPr>
        <p:spPr>
          <a:xfrm>
            <a:off x="1023779" y="3713612"/>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40</a:t>
            </a:r>
          </a:p>
        </p:txBody>
      </p:sp>
      <p:sp>
        <p:nvSpPr>
          <p:cNvPr id="34" name="TextBox 145">
            <a:extLst>
              <a:ext uri="{FF2B5EF4-FFF2-40B4-BE49-F238E27FC236}">
                <a16:creationId xmlns:a16="http://schemas.microsoft.com/office/drawing/2014/main" id="{BE0364A6-8F20-49C4-9C39-A6D475E87929}"/>
              </a:ext>
            </a:extLst>
          </p:cNvPr>
          <p:cNvSpPr txBox="1"/>
          <p:nvPr/>
        </p:nvSpPr>
        <p:spPr>
          <a:xfrm>
            <a:off x="1023779" y="3946692"/>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30</a:t>
            </a:r>
          </a:p>
        </p:txBody>
      </p:sp>
      <p:sp>
        <p:nvSpPr>
          <p:cNvPr id="35" name="TextBox 146">
            <a:extLst>
              <a:ext uri="{FF2B5EF4-FFF2-40B4-BE49-F238E27FC236}">
                <a16:creationId xmlns:a16="http://schemas.microsoft.com/office/drawing/2014/main" id="{3710F204-C85F-4474-BEDE-D2390E5D9A5C}"/>
              </a:ext>
            </a:extLst>
          </p:cNvPr>
          <p:cNvSpPr txBox="1"/>
          <p:nvPr/>
        </p:nvSpPr>
        <p:spPr>
          <a:xfrm>
            <a:off x="1023779" y="4184389"/>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20</a:t>
            </a:r>
          </a:p>
        </p:txBody>
      </p:sp>
      <p:sp>
        <p:nvSpPr>
          <p:cNvPr id="36" name="TextBox 147">
            <a:extLst>
              <a:ext uri="{FF2B5EF4-FFF2-40B4-BE49-F238E27FC236}">
                <a16:creationId xmlns:a16="http://schemas.microsoft.com/office/drawing/2014/main" id="{26099621-7F99-4D7E-BB66-DC2EC0503FF6}"/>
              </a:ext>
            </a:extLst>
          </p:cNvPr>
          <p:cNvSpPr txBox="1"/>
          <p:nvPr/>
        </p:nvSpPr>
        <p:spPr>
          <a:xfrm>
            <a:off x="1023779" y="4417162"/>
            <a:ext cx="148876"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10</a:t>
            </a:r>
          </a:p>
        </p:txBody>
      </p:sp>
      <p:sp>
        <p:nvSpPr>
          <p:cNvPr id="37" name="TextBox 148">
            <a:extLst>
              <a:ext uri="{FF2B5EF4-FFF2-40B4-BE49-F238E27FC236}">
                <a16:creationId xmlns:a16="http://schemas.microsoft.com/office/drawing/2014/main" id="{D47B44B7-0732-4B6A-8978-773ACDAC9800}"/>
              </a:ext>
            </a:extLst>
          </p:cNvPr>
          <p:cNvSpPr txBox="1"/>
          <p:nvPr/>
        </p:nvSpPr>
        <p:spPr>
          <a:xfrm>
            <a:off x="1098217" y="4649941"/>
            <a:ext cx="74438"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0</a:t>
            </a:r>
          </a:p>
        </p:txBody>
      </p:sp>
      <p:sp>
        <p:nvSpPr>
          <p:cNvPr id="38" name="TextBox 149">
            <a:extLst>
              <a:ext uri="{FF2B5EF4-FFF2-40B4-BE49-F238E27FC236}">
                <a16:creationId xmlns:a16="http://schemas.microsoft.com/office/drawing/2014/main" id="{206AAFBD-0652-48A3-9374-B713BF7F7C80}"/>
              </a:ext>
            </a:extLst>
          </p:cNvPr>
          <p:cNvSpPr txBox="1"/>
          <p:nvPr/>
        </p:nvSpPr>
        <p:spPr>
          <a:xfrm>
            <a:off x="6893270" y="2343900"/>
            <a:ext cx="185335"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2.5</a:t>
            </a:r>
          </a:p>
        </p:txBody>
      </p:sp>
      <p:sp>
        <p:nvSpPr>
          <p:cNvPr id="39" name="TextBox 150">
            <a:extLst>
              <a:ext uri="{FF2B5EF4-FFF2-40B4-BE49-F238E27FC236}">
                <a16:creationId xmlns:a16="http://schemas.microsoft.com/office/drawing/2014/main" id="{AB8B3CEF-113F-4977-BF0C-D88A976E92A8}"/>
              </a:ext>
            </a:extLst>
          </p:cNvPr>
          <p:cNvSpPr txBox="1"/>
          <p:nvPr/>
        </p:nvSpPr>
        <p:spPr>
          <a:xfrm>
            <a:off x="6893270" y="2915783"/>
            <a:ext cx="185335"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2.0</a:t>
            </a:r>
          </a:p>
        </p:txBody>
      </p:sp>
      <p:sp>
        <p:nvSpPr>
          <p:cNvPr id="40" name="TextBox 151">
            <a:extLst>
              <a:ext uri="{FF2B5EF4-FFF2-40B4-BE49-F238E27FC236}">
                <a16:creationId xmlns:a16="http://schemas.microsoft.com/office/drawing/2014/main" id="{297E3E5F-2DC3-481F-B240-06CBFF6AA45F}"/>
              </a:ext>
            </a:extLst>
          </p:cNvPr>
          <p:cNvSpPr txBox="1"/>
          <p:nvPr/>
        </p:nvSpPr>
        <p:spPr>
          <a:xfrm>
            <a:off x="6893270" y="3504439"/>
            <a:ext cx="185335"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1.5</a:t>
            </a:r>
          </a:p>
        </p:txBody>
      </p:sp>
      <p:sp>
        <p:nvSpPr>
          <p:cNvPr id="41" name="TextBox 152">
            <a:extLst>
              <a:ext uri="{FF2B5EF4-FFF2-40B4-BE49-F238E27FC236}">
                <a16:creationId xmlns:a16="http://schemas.microsoft.com/office/drawing/2014/main" id="{FAE6F4CC-B643-4B61-BAA8-CBFE3F59473C}"/>
              </a:ext>
            </a:extLst>
          </p:cNvPr>
          <p:cNvSpPr txBox="1"/>
          <p:nvPr/>
        </p:nvSpPr>
        <p:spPr>
          <a:xfrm>
            <a:off x="6893270" y="4668991"/>
            <a:ext cx="185335"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0.5</a:t>
            </a:r>
          </a:p>
        </p:txBody>
      </p:sp>
      <p:sp>
        <p:nvSpPr>
          <p:cNvPr id="42" name="TextBox 153">
            <a:extLst>
              <a:ext uri="{FF2B5EF4-FFF2-40B4-BE49-F238E27FC236}">
                <a16:creationId xmlns:a16="http://schemas.microsoft.com/office/drawing/2014/main" id="{4404E226-D901-40D8-B099-0DB08B8463F5}"/>
              </a:ext>
            </a:extLst>
          </p:cNvPr>
          <p:cNvSpPr txBox="1"/>
          <p:nvPr/>
        </p:nvSpPr>
        <p:spPr>
          <a:xfrm>
            <a:off x="1512019" y="4765569"/>
            <a:ext cx="827471" cy="634020"/>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irst</a:t>
            </a:r>
            <a:br>
              <a:rPr kumimoji="0" lang="en-US" sz="1100" b="0" i="0" u="none" strike="noStrike" kern="1200" cap="none" spc="0" normalizeH="0" baseline="0" noProof="0">
                <a:ln>
                  <a:noFill/>
                </a:ln>
                <a:solidFill>
                  <a:srgbClr val="000000"/>
                </a:solidFill>
                <a:effectLst/>
                <a:uLnTx/>
                <a:uFillTx/>
                <a:latin typeface="Arial"/>
                <a:ea typeface="+mn-ea"/>
                <a:cs typeface="+mn-cs"/>
              </a:rPr>
            </a:br>
            <a:r>
              <a:rPr kumimoji="0" lang="en-US" sz="1100" b="0" i="0" u="none" strike="noStrike" kern="1200" cap="none" spc="0" normalizeH="0" baseline="0" noProof="0">
                <a:ln>
                  <a:noFill/>
                </a:ln>
                <a:solidFill>
                  <a:srgbClr val="000000"/>
                </a:solidFill>
                <a:effectLst/>
                <a:uLnTx/>
                <a:uFillTx/>
                <a:latin typeface="Arial"/>
                <a:ea typeface="+mn-ea"/>
                <a:cs typeface="+mn-cs"/>
              </a:rPr>
              <a:t>30 days</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ost index</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1,851)</a:t>
            </a:r>
          </a:p>
        </p:txBody>
      </p:sp>
      <p:sp>
        <p:nvSpPr>
          <p:cNvPr id="43" name="TextBox 154">
            <a:extLst>
              <a:ext uri="{FF2B5EF4-FFF2-40B4-BE49-F238E27FC236}">
                <a16:creationId xmlns:a16="http://schemas.microsoft.com/office/drawing/2014/main" id="{8611B1CB-FA84-456E-B229-C8262BBC4C42}"/>
              </a:ext>
            </a:extLst>
          </p:cNvPr>
          <p:cNvSpPr txBox="1"/>
          <p:nvPr/>
        </p:nvSpPr>
        <p:spPr>
          <a:xfrm>
            <a:off x="2910436" y="4765569"/>
            <a:ext cx="827471" cy="634020"/>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irst</a:t>
            </a:r>
            <a:br>
              <a:rPr kumimoji="0" lang="en-US" sz="1100" b="0" i="0" u="none" strike="noStrike" kern="1200" cap="none" spc="0" normalizeH="0" baseline="0" noProof="0">
                <a:ln>
                  <a:noFill/>
                </a:ln>
                <a:solidFill>
                  <a:srgbClr val="000000"/>
                </a:solidFill>
                <a:effectLst/>
                <a:uLnTx/>
                <a:uFillTx/>
                <a:latin typeface="Arial"/>
                <a:ea typeface="+mn-ea"/>
                <a:cs typeface="+mn-cs"/>
              </a:rPr>
            </a:br>
            <a:r>
              <a:rPr kumimoji="0" lang="en-US" sz="1100" b="0" i="0" u="none" strike="noStrike" kern="1200" cap="none" spc="0" normalizeH="0" baseline="0" noProof="0">
                <a:ln>
                  <a:noFill/>
                </a:ln>
                <a:solidFill>
                  <a:srgbClr val="000000"/>
                </a:solidFill>
                <a:effectLst/>
                <a:uLnTx/>
                <a:uFillTx/>
                <a:latin typeface="Arial"/>
                <a:ea typeface="+mn-ea"/>
                <a:cs typeface="+mn-cs"/>
              </a:rPr>
              <a:t>3 months</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ost index</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1,761)</a:t>
            </a:r>
          </a:p>
        </p:txBody>
      </p:sp>
      <p:sp>
        <p:nvSpPr>
          <p:cNvPr id="44" name="TextBox 155">
            <a:extLst>
              <a:ext uri="{FF2B5EF4-FFF2-40B4-BE49-F238E27FC236}">
                <a16:creationId xmlns:a16="http://schemas.microsoft.com/office/drawing/2014/main" id="{294C1969-8104-4FD5-8ABA-EBFD0BC63921}"/>
              </a:ext>
            </a:extLst>
          </p:cNvPr>
          <p:cNvSpPr txBox="1"/>
          <p:nvPr/>
        </p:nvSpPr>
        <p:spPr>
          <a:xfrm>
            <a:off x="4306056" y="4765569"/>
            <a:ext cx="841898" cy="634020"/>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irst</a:t>
            </a:r>
            <a:br>
              <a:rPr kumimoji="0" lang="en-US" sz="1100" b="0" i="0" u="none" strike="noStrike" kern="1200" cap="none" spc="0" normalizeH="0" baseline="0" noProof="0">
                <a:ln>
                  <a:noFill/>
                </a:ln>
                <a:solidFill>
                  <a:srgbClr val="000000"/>
                </a:solidFill>
                <a:effectLst/>
                <a:uLnTx/>
                <a:uFillTx/>
                <a:latin typeface="Arial"/>
                <a:ea typeface="+mn-ea"/>
                <a:cs typeface="+mn-cs"/>
              </a:rPr>
            </a:br>
            <a:r>
              <a:rPr kumimoji="0" lang="en-US" sz="1100" b="0" i="0" u="none" strike="noStrike" kern="1200" cap="none" spc="0" normalizeH="0" baseline="0" noProof="0">
                <a:ln>
                  <a:noFill/>
                </a:ln>
                <a:solidFill>
                  <a:srgbClr val="000000"/>
                </a:solidFill>
                <a:effectLst/>
                <a:uLnTx/>
                <a:uFillTx/>
                <a:latin typeface="Arial"/>
                <a:ea typeface="+mn-ea"/>
                <a:cs typeface="+mn-cs"/>
              </a:rPr>
              <a:t>12 months</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ost index</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1,538)</a:t>
            </a:r>
          </a:p>
        </p:txBody>
      </p:sp>
      <p:sp>
        <p:nvSpPr>
          <p:cNvPr id="45" name="TextBox 156">
            <a:extLst>
              <a:ext uri="{FF2B5EF4-FFF2-40B4-BE49-F238E27FC236}">
                <a16:creationId xmlns:a16="http://schemas.microsoft.com/office/drawing/2014/main" id="{C9F2D038-7909-473B-8BFA-3C8CC9F5E024}"/>
              </a:ext>
            </a:extLst>
          </p:cNvPr>
          <p:cNvSpPr txBox="1"/>
          <p:nvPr/>
        </p:nvSpPr>
        <p:spPr>
          <a:xfrm>
            <a:off x="5724999" y="4765569"/>
            <a:ext cx="797853" cy="586703"/>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irst</a:t>
            </a:r>
            <a:br>
              <a:rPr kumimoji="0" lang="en-US" sz="1100" b="0" i="0" u="none" strike="noStrike" kern="1200" cap="none" spc="0" normalizeH="0" baseline="0" noProof="0">
                <a:ln>
                  <a:noFill/>
                </a:ln>
                <a:solidFill>
                  <a:srgbClr val="000000"/>
                </a:solidFill>
                <a:effectLst/>
                <a:uLnTx/>
                <a:uFillTx/>
                <a:latin typeface="Arial"/>
                <a:ea typeface="+mn-ea"/>
                <a:cs typeface="+mn-cs"/>
              </a:rPr>
            </a:br>
            <a:r>
              <a:rPr kumimoji="0" lang="en-US" sz="1100" b="0" i="0" u="none" strike="noStrike" kern="1200" cap="none" spc="0" normalizeH="0" baseline="0" noProof="0">
                <a:ln>
                  <a:noFill/>
                </a:ln>
                <a:solidFill>
                  <a:srgbClr val="000000"/>
                </a:solidFill>
                <a:effectLst/>
                <a:uLnTx/>
                <a:uFillTx/>
                <a:latin typeface="Arial"/>
                <a:ea typeface="+mn-ea"/>
                <a:cs typeface="+mn-cs"/>
              </a:rPr>
              <a:t>24 months</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ost index</a:t>
            </a:r>
          </a:p>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n=582)</a:t>
            </a:r>
          </a:p>
        </p:txBody>
      </p:sp>
      <p:sp>
        <p:nvSpPr>
          <p:cNvPr id="46" name="TextBox 157">
            <a:extLst>
              <a:ext uri="{FF2B5EF4-FFF2-40B4-BE49-F238E27FC236}">
                <a16:creationId xmlns:a16="http://schemas.microsoft.com/office/drawing/2014/main" id="{48A10E65-D84F-4511-8D68-53CC70AA60B2}"/>
              </a:ext>
            </a:extLst>
          </p:cNvPr>
          <p:cNvSpPr txBox="1"/>
          <p:nvPr/>
        </p:nvSpPr>
        <p:spPr>
          <a:xfrm rot="16200000">
            <a:off x="-611305" y="3456268"/>
            <a:ext cx="2691356" cy="240066"/>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atients with hospitalizations (%)</a:t>
            </a:r>
          </a:p>
        </p:txBody>
      </p:sp>
      <p:sp>
        <p:nvSpPr>
          <p:cNvPr id="47" name="TextBox 158">
            <a:extLst>
              <a:ext uri="{FF2B5EF4-FFF2-40B4-BE49-F238E27FC236}">
                <a16:creationId xmlns:a16="http://schemas.microsoft.com/office/drawing/2014/main" id="{1720D2E9-7D4B-4B50-A833-BB69245D2603}"/>
              </a:ext>
            </a:extLst>
          </p:cNvPr>
          <p:cNvSpPr txBox="1"/>
          <p:nvPr/>
        </p:nvSpPr>
        <p:spPr>
          <a:xfrm rot="5400000">
            <a:off x="6035738" y="3392542"/>
            <a:ext cx="2741798" cy="36751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Mean number of hospitalizations/patient</a:t>
            </a:r>
          </a:p>
        </p:txBody>
      </p:sp>
      <p:sp>
        <p:nvSpPr>
          <p:cNvPr id="48" name="Freeform: Shape 47">
            <a:extLst>
              <a:ext uri="{FF2B5EF4-FFF2-40B4-BE49-F238E27FC236}">
                <a16:creationId xmlns:a16="http://schemas.microsoft.com/office/drawing/2014/main" id="{F4AF45A5-9438-4C3A-BCFD-7CF2FFED68C4}"/>
              </a:ext>
            </a:extLst>
          </p:cNvPr>
          <p:cNvSpPr/>
          <p:nvPr/>
        </p:nvSpPr>
        <p:spPr>
          <a:xfrm>
            <a:off x="1929922" y="2993165"/>
            <a:ext cx="4210912" cy="1521486"/>
          </a:xfrm>
          <a:custGeom>
            <a:avLst/>
            <a:gdLst>
              <a:gd name="connsiteX0" fmla="*/ 0 w 2247900"/>
              <a:gd name="connsiteY0" fmla="*/ 1492250 h 1492250"/>
              <a:gd name="connsiteX1" fmla="*/ 755650 w 2247900"/>
              <a:gd name="connsiteY1" fmla="*/ 1257300 h 1492250"/>
              <a:gd name="connsiteX2" fmla="*/ 1504950 w 2247900"/>
              <a:gd name="connsiteY2" fmla="*/ 685800 h 1492250"/>
              <a:gd name="connsiteX3" fmla="*/ 2247900 w 2247900"/>
              <a:gd name="connsiteY3" fmla="*/ 0 h 1492250"/>
            </a:gdLst>
            <a:ahLst/>
            <a:cxnLst>
              <a:cxn ang="0">
                <a:pos x="connsiteX0" y="connsiteY0"/>
              </a:cxn>
              <a:cxn ang="0">
                <a:pos x="connsiteX1" y="connsiteY1"/>
              </a:cxn>
              <a:cxn ang="0">
                <a:pos x="connsiteX2" y="connsiteY2"/>
              </a:cxn>
              <a:cxn ang="0">
                <a:pos x="connsiteX3" y="connsiteY3"/>
              </a:cxn>
            </a:cxnLst>
            <a:rect l="l" t="t" r="r" b="b"/>
            <a:pathLst>
              <a:path w="2247900" h="1492250">
                <a:moveTo>
                  <a:pt x="0" y="1492250"/>
                </a:moveTo>
                <a:lnTo>
                  <a:pt x="755650" y="1257300"/>
                </a:lnTo>
                <a:lnTo>
                  <a:pt x="1504950" y="685800"/>
                </a:lnTo>
                <a:lnTo>
                  <a:pt x="224790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49" name="Oval 48">
            <a:extLst>
              <a:ext uri="{FF2B5EF4-FFF2-40B4-BE49-F238E27FC236}">
                <a16:creationId xmlns:a16="http://schemas.microsoft.com/office/drawing/2014/main" id="{AEA7513C-4A34-4064-96C2-DAFD4EBB8569}"/>
              </a:ext>
            </a:extLst>
          </p:cNvPr>
          <p:cNvSpPr>
            <a:spLocks noChangeAspect="1"/>
          </p:cNvSpPr>
          <p:nvPr/>
        </p:nvSpPr>
        <p:spPr>
          <a:xfrm>
            <a:off x="1891587" y="4459619"/>
            <a:ext cx="90000"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0" name="Oval 49">
            <a:extLst>
              <a:ext uri="{FF2B5EF4-FFF2-40B4-BE49-F238E27FC236}">
                <a16:creationId xmlns:a16="http://schemas.microsoft.com/office/drawing/2014/main" id="{5DA78F88-BBDF-4026-8B31-3DD66C437616}"/>
              </a:ext>
            </a:extLst>
          </p:cNvPr>
          <p:cNvSpPr>
            <a:spLocks noChangeAspect="1"/>
          </p:cNvSpPr>
          <p:nvPr/>
        </p:nvSpPr>
        <p:spPr>
          <a:xfrm>
            <a:off x="3284522" y="4221927"/>
            <a:ext cx="90000"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1" name="Oval 50">
            <a:extLst>
              <a:ext uri="{FF2B5EF4-FFF2-40B4-BE49-F238E27FC236}">
                <a16:creationId xmlns:a16="http://schemas.microsoft.com/office/drawing/2014/main" id="{E7A189CD-98AF-47A0-BF7A-0CF954ACCE69}"/>
              </a:ext>
            </a:extLst>
          </p:cNvPr>
          <p:cNvSpPr>
            <a:spLocks noChangeAspect="1"/>
          </p:cNvSpPr>
          <p:nvPr/>
        </p:nvSpPr>
        <p:spPr>
          <a:xfrm>
            <a:off x="4680636" y="3641541"/>
            <a:ext cx="90000"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2" name="Oval 51">
            <a:extLst>
              <a:ext uri="{FF2B5EF4-FFF2-40B4-BE49-F238E27FC236}">
                <a16:creationId xmlns:a16="http://schemas.microsoft.com/office/drawing/2014/main" id="{956BE6ED-C01B-48DF-AC47-9B134D88AD9F}"/>
              </a:ext>
            </a:extLst>
          </p:cNvPr>
          <p:cNvSpPr>
            <a:spLocks noChangeAspect="1"/>
          </p:cNvSpPr>
          <p:nvPr/>
        </p:nvSpPr>
        <p:spPr>
          <a:xfrm>
            <a:off x="6099862" y="2947645"/>
            <a:ext cx="90000"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3" name="TextBox 159">
            <a:extLst>
              <a:ext uri="{FF2B5EF4-FFF2-40B4-BE49-F238E27FC236}">
                <a16:creationId xmlns:a16="http://schemas.microsoft.com/office/drawing/2014/main" id="{9ADFEBC9-271B-420F-B136-8D75F7F40D0C}"/>
              </a:ext>
            </a:extLst>
          </p:cNvPr>
          <p:cNvSpPr txBox="1"/>
          <p:nvPr/>
        </p:nvSpPr>
        <p:spPr>
          <a:xfrm>
            <a:off x="2550561" y="5505196"/>
            <a:ext cx="1490002" cy="336072"/>
          </a:xfrm>
          <a:prstGeom prst="rect">
            <a:avLst/>
          </a:prstGeom>
          <a:no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atients with hospitalizations</a:t>
            </a:r>
          </a:p>
        </p:txBody>
      </p:sp>
      <p:sp>
        <p:nvSpPr>
          <p:cNvPr id="54" name="TextBox 160">
            <a:extLst>
              <a:ext uri="{FF2B5EF4-FFF2-40B4-BE49-F238E27FC236}">
                <a16:creationId xmlns:a16="http://schemas.microsoft.com/office/drawing/2014/main" id="{9642B052-27EB-4F4C-A4F8-0455D2CE2D57}"/>
              </a:ext>
            </a:extLst>
          </p:cNvPr>
          <p:cNvSpPr txBox="1"/>
          <p:nvPr/>
        </p:nvSpPr>
        <p:spPr>
          <a:xfrm>
            <a:off x="4521136" y="5505196"/>
            <a:ext cx="1571372" cy="336072"/>
          </a:xfrm>
          <a:prstGeom prst="rect">
            <a:avLst/>
          </a:prstGeom>
          <a:no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Hospitalizations per patient</a:t>
            </a:r>
          </a:p>
        </p:txBody>
      </p:sp>
      <p:sp>
        <p:nvSpPr>
          <p:cNvPr id="55" name="Rectangle 54">
            <a:extLst>
              <a:ext uri="{FF2B5EF4-FFF2-40B4-BE49-F238E27FC236}">
                <a16:creationId xmlns:a16="http://schemas.microsoft.com/office/drawing/2014/main" id="{7695A4CE-B572-45BA-B397-8020583A7114}"/>
              </a:ext>
            </a:extLst>
          </p:cNvPr>
          <p:cNvSpPr/>
          <p:nvPr/>
        </p:nvSpPr>
        <p:spPr>
          <a:xfrm>
            <a:off x="2432796" y="5589571"/>
            <a:ext cx="190739" cy="16732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56" name="Straight Connector 55">
            <a:extLst>
              <a:ext uri="{FF2B5EF4-FFF2-40B4-BE49-F238E27FC236}">
                <a16:creationId xmlns:a16="http://schemas.microsoft.com/office/drawing/2014/main" id="{22CE4A91-DDB6-478C-A53F-8657A2F374F2}"/>
              </a:ext>
            </a:extLst>
          </p:cNvPr>
          <p:cNvCxnSpPr>
            <a:cxnSpLocks/>
          </p:cNvCxnSpPr>
          <p:nvPr/>
        </p:nvCxnSpPr>
        <p:spPr>
          <a:xfrm>
            <a:off x="4197875" y="5673232"/>
            <a:ext cx="342582" cy="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49D791C0-FD93-4147-B485-B8B7A28C8372}"/>
              </a:ext>
            </a:extLst>
          </p:cNvPr>
          <p:cNvSpPr/>
          <p:nvPr/>
        </p:nvSpPr>
        <p:spPr>
          <a:xfrm>
            <a:off x="4344229" y="5640021"/>
            <a:ext cx="49634" cy="66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58" name="TextBox 165">
            <a:extLst>
              <a:ext uri="{FF2B5EF4-FFF2-40B4-BE49-F238E27FC236}">
                <a16:creationId xmlns:a16="http://schemas.microsoft.com/office/drawing/2014/main" id="{E1C634A1-D829-431A-992B-7B8F4F98E03D}"/>
              </a:ext>
            </a:extLst>
          </p:cNvPr>
          <p:cNvSpPr txBox="1"/>
          <p:nvPr/>
        </p:nvSpPr>
        <p:spPr>
          <a:xfrm>
            <a:off x="6893270" y="4080292"/>
            <a:ext cx="185335" cy="156644"/>
          </a:xfrm>
          <a:prstGeom prst="rect">
            <a:avLst/>
          </a:prstGeom>
          <a:noFill/>
        </p:spPr>
        <p:txBody>
          <a:bodyPr wrap="none" lIns="0" tIns="0" rIns="0" bIns="0" rtlCol="0"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1.0</a:t>
            </a:r>
          </a:p>
        </p:txBody>
      </p:sp>
      <p:sp>
        <p:nvSpPr>
          <p:cNvPr id="59" name="Content Placeholder 7">
            <a:extLst>
              <a:ext uri="{FF2B5EF4-FFF2-40B4-BE49-F238E27FC236}">
                <a16:creationId xmlns:a16="http://schemas.microsoft.com/office/drawing/2014/main" id="{64E50C80-8AFF-47D8-922B-D4490ADA1AB6}"/>
              </a:ext>
            </a:extLst>
          </p:cNvPr>
          <p:cNvSpPr txBox="1">
            <a:spLocks/>
          </p:cNvSpPr>
          <p:nvPr/>
        </p:nvSpPr>
        <p:spPr>
          <a:xfrm>
            <a:off x="7968054" y="1957214"/>
            <a:ext cx="2556438" cy="15472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defPPr>
              <a:defRPr lang="hu-HU"/>
            </a:defPPr>
            <a:lvl1pPr marR="0" lvl="0" indent="0" algn="ctr" fontAlgn="auto">
              <a:lnSpc>
                <a:spcPct val="110000"/>
              </a:lnSpc>
              <a:spcBef>
                <a:spcPts val="0"/>
              </a:spcBef>
              <a:spcAft>
                <a:spcPts val="0"/>
              </a:spcAft>
              <a:buClrTx/>
              <a:buSzTx/>
              <a:buFontTx/>
              <a:buNone/>
              <a:tabLst/>
              <a:defRPr kumimoji="0" sz="1600" b="0" i="0" u="none" strike="noStrike" cap="none" spc="0" normalizeH="0" baseline="0">
                <a:ln>
                  <a:noFill/>
                </a:ln>
                <a:solidFill>
                  <a:schemeClr val="tx1"/>
                </a:solidFill>
                <a:effectLst/>
                <a:uLnTx/>
                <a:uFillTx/>
                <a:latin typeface="Arial"/>
              </a:defRPr>
            </a:lvl1pPr>
            <a:lvl2pPr marL="0" lvl="1" indent="0" algn="ctr">
              <a:lnSpc>
                <a:spcPct val="100000"/>
              </a:lnSpc>
              <a:spcBef>
                <a:spcPts val="600"/>
              </a:spcBef>
              <a:buClr>
                <a:schemeClr val="accent3"/>
              </a:buClr>
              <a:buFont typeface="Arial" panose="020B0604020202020204" pitchFamily="34" charset="0"/>
              <a:buNone/>
              <a:tabLst/>
              <a:defRPr b="1"/>
            </a:lvl2pPr>
            <a:lvl3pPr marL="461963" indent="-234950">
              <a:lnSpc>
                <a:spcPct val="100000"/>
              </a:lnSpc>
              <a:spcBef>
                <a:spcPts val="600"/>
              </a:spcBef>
              <a:buClr>
                <a:schemeClr val="accent3"/>
              </a:buClr>
              <a:buFont typeface="Arial" panose="020B0604020202020204" pitchFamily="34" charset="0"/>
              <a:buChar char="–"/>
            </a:lvl3pPr>
            <a:lvl4pPr marL="687388" indent="-225425">
              <a:lnSpc>
                <a:spcPct val="100000"/>
              </a:lnSpc>
              <a:spcBef>
                <a:spcPts val="600"/>
              </a:spcBef>
              <a:buClr>
                <a:schemeClr val="accent3"/>
              </a:buClr>
              <a:buFont typeface="Arial" panose="020B0604020202020204" pitchFamily="34" charset="0"/>
              <a:buChar char="•"/>
              <a:defRPr sz="1600"/>
            </a:lvl4pPr>
            <a:lvl5pPr marL="914400" indent="-227013">
              <a:lnSpc>
                <a:spcPct val="100000"/>
              </a:lnSpc>
              <a:spcBef>
                <a:spcPts val="600"/>
              </a:spcBef>
              <a:buClr>
                <a:schemeClr val="accent3"/>
              </a:buClr>
              <a:buFont typeface="Arial" panose="020B0604020202020204"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C3B2D"/>
                </a:solidFill>
                <a:effectLst/>
                <a:uLnTx/>
                <a:uFillTx/>
                <a:latin typeface="Arial"/>
                <a:ea typeface="+mn-ea"/>
                <a:cs typeface="+mn-cs"/>
              </a:rPr>
              <a:t>56%</a:t>
            </a:r>
            <a:r>
              <a:rPr kumimoji="0" lang="en-US" sz="1600" b="0" i="0" u="none" strike="noStrike" kern="1200" cap="none" spc="0" normalizeH="0" baseline="0" noProof="0">
                <a:ln>
                  <a:noFill/>
                </a:ln>
                <a:solidFill>
                  <a:srgbClr val="000000"/>
                </a:solidFill>
                <a:effectLst/>
                <a:uLnTx/>
                <a:uFillTx/>
                <a:latin typeface="Arial"/>
                <a:ea typeface="+mn-ea"/>
                <a:cs typeface="+mn-cs"/>
              </a:rPr>
              <a:t> of patients were hospitalized within </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30 days of a </a:t>
            </a:r>
            <a:br>
              <a:rPr kumimoji="0" lang="en-US" sz="1600" b="0" i="0" u="none" strike="noStrike" kern="1200" cap="none" spc="0" normalizeH="0" baseline="0" noProof="0">
                <a:ln>
                  <a:noFill/>
                </a:ln>
                <a:solidFill>
                  <a:srgbClr val="000000"/>
                </a:solidFill>
                <a:effectLst/>
                <a:uLnTx/>
                <a:uFillTx/>
                <a:latin typeface="Arial"/>
                <a:ea typeface="+mn-ea"/>
                <a:cs typeface="+mn-cs"/>
              </a:rPr>
            </a:br>
            <a:r>
              <a:rPr kumimoji="0" lang="en-US" sz="1600" b="0" i="0" u="none" strike="noStrike" kern="1200" cap="none" spc="0" normalizeH="0" baseline="0" noProof="0">
                <a:ln>
                  <a:noFill/>
                </a:ln>
                <a:solidFill>
                  <a:srgbClr val="000000"/>
                </a:solidFill>
                <a:effectLst/>
                <a:uLnTx/>
                <a:uFillTx/>
                <a:latin typeface="Arial"/>
                <a:ea typeface="+mn-ea"/>
                <a:cs typeface="+mn-cs"/>
              </a:rPr>
              <a:t>worsening HF event</a:t>
            </a:r>
          </a:p>
        </p:txBody>
      </p:sp>
      <p:sp>
        <p:nvSpPr>
          <p:cNvPr id="60" name="Content Placeholder 7">
            <a:extLst>
              <a:ext uri="{FF2B5EF4-FFF2-40B4-BE49-F238E27FC236}">
                <a16:creationId xmlns:a16="http://schemas.microsoft.com/office/drawing/2014/main" id="{0CED8401-747A-4C24-B3EE-BD0A2CCA754F}"/>
              </a:ext>
            </a:extLst>
          </p:cNvPr>
          <p:cNvSpPr txBox="1">
            <a:spLocks/>
          </p:cNvSpPr>
          <p:nvPr/>
        </p:nvSpPr>
        <p:spPr>
          <a:xfrm>
            <a:off x="7968054" y="4074325"/>
            <a:ext cx="2556438" cy="15472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5719" rIns="90000" bIns="45719" rtlCol="0" anchor="ctr"/>
          <a:lstStyle>
            <a:defPPr>
              <a:defRPr lang="hu-HU"/>
            </a:defPPr>
            <a:lvl1pPr marR="0" lvl="0" indent="0" algn="ctr" fontAlgn="auto">
              <a:lnSpc>
                <a:spcPct val="110000"/>
              </a:lnSpc>
              <a:spcBef>
                <a:spcPts val="0"/>
              </a:spcBef>
              <a:spcAft>
                <a:spcPts val="0"/>
              </a:spcAft>
              <a:buClrTx/>
              <a:buSzTx/>
              <a:buFontTx/>
              <a:buNone/>
              <a:tabLst/>
              <a:defRPr kumimoji="0" sz="1600" b="0" i="0" u="none" strike="noStrike" cap="none" spc="0" normalizeH="0" baseline="0">
                <a:ln>
                  <a:noFill/>
                </a:ln>
                <a:solidFill>
                  <a:schemeClr val="tx1"/>
                </a:solidFill>
                <a:effectLst/>
                <a:uLnTx/>
                <a:uFillTx/>
                <a:latin typeface="Arial"/>
              </a:defRPr>
            </a:lvl1pPr>
            <a:lvl2pPr marL="0" lvl="1" indent="0" algn="ctr">
              <a:lnSpc>
                <a:spcPct val="100000"/>
              </a:lnSpc>
              <a:spcBef>
                <a:spcPts val="600"/>
              </a:spcBef>
              <a:buClr>
                <a:schemeClr val="accent3"/>
              </a:buClr>
              <a:buFont typeface="Arial" panose="020B0604020202020204" pitchFamily="34" charset="0"/>
              <a:buNone/>
              <a:tabLst/>
              <a:defRPr b="1"/>
            </a:lvl2pPr>
            <a:lvl3pPr marL="461963" indent="-234950">
              <a:lnSpc>
                <a:spcPct val="100000"/>
              </a:lnSpc>
              <a:spcBef>
                <a:spcPts val="600"/>
              </a:spcBef>
              <a:buClr>
                <a:schemeClr val="accent3"/>
              </a:buClr>
              <a:buFont typeface="Arial" panose="020B0604020202020204" pitchFamily="34" charset="0"/>
              <a:buChar char="–"/>
            </a:lvl3pPr>
            <a:lvl4pPr marL="687388" indent="-225425">
              <a:lnSpc>
                <a:spcPct val="100000"/>
              </a:lnSpc>
              <a:spcBef>
                <a:spcPts val="600"/>
              </a:spcBef>
              <a:buClr>
                <a:schemeClr val="accent3"/>
              </a:buClr>
              <a:buFont typeface="Arial" panose="020B0604020202020204" pitchFamily="34" charset="0"/>
              <a:buChar char="•"/>
              <a:defRPr sz="1600"/>
            </a:lvl4pPr>
            <a:lvl5pPr marL="914400" indent="-227013">
              <a:lnSpc>
                <a:spcPct val="100000"/>
              </a:lnSpc>
              <a:spcBef>
                <a:spcPts val="600"/>
              </a:spcBef>
              <a:buClr>
                <a:schemeClr val="accent3"/>
              </a:buClr>
              <a:buFont typeface="Arial" panose="020B0604020202020204" pitchFamily="34" charset="0"/>
              <a:buChar char="–"/>
              <a:defRPr sz="16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On average, patients are hospitalized </a:t>
            </a:r>
            <a:r>
              <a:rPr kumimoji="0" lang="en-GB" sz="1800" b="1" i="0" u="none" strike="noStrike" kern="1200" cap="none" spc="0" normalizeH="0" baseline="0" noProof="0">
                <a:ln>
                  <a:noFill/>
                </a:ln>
                <a:solidFill>
                  <a:srgbClr val="FC3B2D"/>
                </a:solidFill>
                <a:effectLst/>
                <a:uLnTx/>
                <a:uFillTx/>
                <a:latin typeface="Arial"/>
                <a:ea typeface="+mn-ea"/>
                <a:cs typeface="+mn-cs"/>
              </a:rPr>
              <a:t>twice</a:t>
            </a:r>
            <a:r>
              <a:rPr kumimoji="0" lang="en-GB" sz="1600" b="0" i="0" u="none" strike="noStrike" kern="1200" cap="none" spc="0" normalizeH="0" baseline="0" noProof="0">
                <a:ln>
                  <a:noFill/>
                </a:ln>
                <a:solidFill>
                  <a:srgbClr val="000000"/>
                </a:solidFill>
                <a:effectLst/>
                <a:uLnTx/>
                <a:uFillTx/>
                <a:latin typeface="Arial"/>
                <a:ea typeface="+mn-ea"/>
                <a:cs typeface="+mn-cs"/>
              </a:rPr>
              <a:t> in the 2 years following a worsening HF event</a:t>
            </a:r>
          </a:p>
        </p:txBody>
      </p:sp>
      <p:sp>
        <p:nvSpPr>
          <p:cNvPr id="61" name="Text Placeholder 1">
            <a:extLst>
              <a:ext uri="{FF2B5EF4-FFF2-40B4-BE49-F238E27FC236}">
                <a16:creationId xmlns:a16="http://schemas.microsoft.com/office/drawing/2014/main" id="{A29402E4-7D65-43DF-B01F-479C3FF824DB}"/>
              </a:ext>
            </a:extLst>
          </p:cNvPr>
          <p:cNvSpPr txBox="1">
            <a:spLocks/>
          </p:cNvSpPr>
          <p:nvPr/>
        </p:nvSpPr>
        <p:spPr>
          <a:xfrm>
            <a:off x="10101560" y="6515583"/>
            <a:ext cx="5494800" cy="284400"/>
          </a:xfrm>
          <a:prstGeom prst="rect">
            <a:avLst/>
          </a:prstGeom>
        </p:spPr>
        <p:txBody>
          <a:bodyPr vert="horz" lIns="91440" tIns="45720" rIns="91440" bIns="45720" rtlCol="0">
            <a:noAutofit/>
          </a:bodyPr>
          <a:lstStyle>
            <a:lvl1pPr marL="180975" indent="-180975" algn="l" defTabSz="914400" rtl="0" eaLnBrk="1" latinLnBrk="0" hangingPunct="1">
              <a:lnSpc>
                <a:spcPct val="100000"/>
              </a:lnSpc>
              <a:spcBef>
                <a:spcPts val="600"/>
              </a:spcBef>
              <a:buClr>
                <a:schemeClr val="accent4"/>
              </a:buClr>
              <a:buFont typeface="Arial" panose="020B0604020202020204" pitchFamily="34" charset="0"/>
              <a:buChar char="•"/>
              <a:defRPr sz="1600" kern="1200">
                <a:solidFill>
                  <a:schemeClr val="tx1"/>
                </a:solidFill>
                <a:latin typeface="+mn-lt"/>
                <a:ea typeface="+mn-ea"/>
                <a:cs typeface="+mn-cs"/>
              </a:defRPr>
            </a:lvl1pPr>
            <a:lvl2pPr marL="361950" indent="-180975" algn="l" defTabSz="914400" rtl="0" eaLnBrk="1" latinLnBrk="0" hangingPunct="1">
              <a:lnSpc>
                <a:spcPct val="100000"/>
              </a:lnSpc>
              <a:spcBef>
                <a:spcPts val="6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533400" indent="-17145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715963" indent="-182563" algn="l" defTabSz="914400" rtl="0" eaLnBrk="1" latinLnBrk="0" hangingPunct="1">
              <a:lnSpc>
                <a:spcPct val="100000"/>
              </a:lnSpc>
              <a:spcBef>
                <a:spcPts val="500"/>
              </a:spcBef>
              <a:buClr>
                <a:schemeClr val="accent4"/>
              </a:buClr>
              <a:buFont typeface="Arial" panose="020B0604020202020204" pitchFamily="34" charset="0"/>
              <a:buChar char="–"/>
              <a:defRPr sz="1100" kern="1200">
                <a:solidFill>
                  <a:schemeClr val="tx1"/>
                </a:solidFill>
                <a:latin typeface="+mn-lt"/>
                <a:ea typeface="+mn-ea"/>
                <a:cs typeface="+mn-cs"/>
              </a:defRPr>
            </a:lvl4pPr>
            <a:lvl5pPr marL="896938" indent="-180975" algn="l" defTabSz="914400" rtl="0" eaLnBrk="1" latinLnBrk="0" hangingPunct="1">
              <a:lnSpc>
                <a:spcPct val="100000"/>
              </a:lnSpc>
              <a:spcBef>
                <a:spcPts val="500"/>
              </a:spcBef>
              <a:buClr>
                <a:schemeClr val="accent2"/>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a:latin typeface="Arial" panose="020B0604020202020204" pitchFamily="34" charset="0"/>
              </a:rPr>
              <a:t>MA-M_VER-IN-0189-1</a:t>
            </a:r>
            <a:endParaRPr lang="en-US" sz="1100" dirty="0"/>
          </a:p>
        </p:txBody>
      </p:sp>
    </p:spTree>
    <p:extLst>
      <p:ext uri="{BB962C8B-B14F-4D97-AF65-F5344CB8AC3E}">
        <p14:creationId xmlns:p14="http://schemas.microsoft.com/office/powerpoint/2010/main" val="748237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ISCOVERI Theme">
  <a:themeElements>
    <a:clrScheme name="Discoveri guide colors">
      <a:dk1>
        <a:srgbClr val="000000"/>
      </a:dk1>
      <a:lt1>
        <a:srgbClr val="FFFFFF"/>
      </a:lt1>
      <a:dk2>
        <a:srgbClr val="707070"/>
      </a:dk2>
      <a:lt2>
        <a:srgbClr val="4E4D4D"/>
      </a:lt2>
      <a:accent1>
        <a:srgbClr val="FC3B2D"/>
      </a:accent1>
      <a:accent2>
        <a:srgbClr val="FB6055"/>
      </a:accent2>
      <a:accent3>
        <a:srgbClr val="FA9992"/>
      </a:accent3>
      <a:accent4>
        <a:srgbClr val="4F256F"/>
      </a:accent4>
      <a:accent5>
        <a:srgbClr val="704F8A"/>
      </a:accent5>
      <a:accent6>
        <a:srgbClr val="A28DB2"/>
      </a:accent6>
      <a:hlink>
        <a:srgbClr val="3B38C9"/>
      </a:hlink>
      <a:folHlink>
        <a:srgbClr val="BB92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217_Template examples slides_draft1" id="{EB436C4E-84A5-48AF-9DC3-DEE336ACD767}" vid="{5CBCF7CA-DF07-4882-AD49-9ABB71C4C631}"/>
    </a:ext>
  </a:extLst>
</a:theme>
</file>

<file path=ppt/theme/theme2.xml><?xml version="1.0" encoding="utf-8"?>
<a:theme xmlns:a="http://schemas.openxmlformats.org/drawingml/2006/main" name="1_DISCOVERI Theme">
  <a:themeElements>
    <a:clrScheme name="Discoveri guide colors">
      <a:dk1>
        <a:srgbClr val="000000"/>
      </a:dk1>
      <a:lt1>
        <a:srgbClr val="FFFFFF"/>
      </a:lt1>
      <a:dk2>
        <a:srgbClr val="707070"/>
      </a:dk2>
      <a:lt2>
        <a:srgbClr val="4E4D4D"/>
      </a:lt2>
      <a:accent1>
        <a:srgbClr val="FC3B2D"/>
      </a:accent1>
      <a:accent2>
        <a:srgbClr val="FB6055"/>
      </a:accent2>
      <a:accent3>
        <a:srgbClr val="FA9992"/>
      </a:accent3>
      <a:accent4>
        <a:srgbClr val="4F256F"/>
      </a:accent4>
      <a:accent5>
        <a:srgbClr val="704F8A"/>
      </a:accent5>
      <a:accent6>
        <a:srgbClr val="A28DB2"/>
      </a:accent6>
      <a:hlink>
        <a:srgbClr val="3B38C9"/>
      </a:hlink>
      <a:folHlink>
        <a:srgbClr val="BB92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217_Template examples slides_draft1" id="{EB436C4E-84A5-48AF-9DC3-DEE336ACD767}" vid="{5CBCF7CA-DF07-4882-AD49-9ABB71C4C631}"/>
    </a:ext>
  </a:extLst>
</a:theme>
</file>

<file path=ppt/theme/theme3.xml><?xml version="1.0" encoding="utf-8"?>
<a:theme xmlns:a="http://schemas.openxmlformats.org/drawingml/2006/main" name="2_DISCOVERI Theme">
  <a:themeElements>
    <a:clrScheme name="Discoveri guide colors">
      <a:dk1>
        <a:srgbClr val="000000"/>
      </a:dk1>
      <a:lt1>
        <a:srgbClr val="FFFFFF"/>
      </a:lt1>
      <a:dk2>
        <a:srgbClr val="707070"/>
      </a:dk2>
      <a:lt2>
        <a:srgbClr val="4E4D4D"/>
      </a:lt2>
      <a:accent1>
        <a:srgbClr val="FC3B2D"/>
      </a:accent1>
      <a:accent2>
        <a:srgbClr val="FB6055"/>
      </a:accent2>
      <a:accent3>
        <a:srgbClr val="FA9992"/>
      </a:accent3>
      <a:accent4>
        <a:srgbClr val="4F256F"/>
      </a:accent4>
      <a:accent5>
        <a:srgbClr val="704F8A"/>
      </a:accent5>
      <a:accent6>
        <a:srgbClr val="A28DB2"/>
      </a:accent6>
      <a:hlink>
        <a:srgbClr val="3B38C9"/>
      </a:hlink>
      <a:folHlink>
        <a:srgbClr val="BB92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217_Template examples slides_draft1" id="{EB436C4E-84A5-48AF-9DC3-DEE336ACD767}" vid="{5CBCF7CA-DF07-4882-AD49-9ABB71C4C63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rgbClr val="000000"/>
    </a:dk1>
    <a:lt1>
      <a:srgbClr val="FFFFFF"/>
    </a:lt1>
    <a:dk2>
      <a:srgbClr val="0D2B4C"/>
    </a:dk2>
    <a:lt2>
      <a:srgbClr val="F2F2F2"/>
    </a:lt2>
    <a:accent1>
      <a:srgbClr val="BBBBBB"/>
    </a:accent1>
    <a:accent2>
      <a:srgbClr val="F6BD17"/>
    </a:accent2>
    <a:accent3>
      <a:srgbClr val="B4008D"/>
    </a:accent3>
    <a:accent4>
      <a:srgbClr val="8FA7B3"/>
    </a:accent4>
    <a:accent5>
      <a:srgbClr val="8FA7B3"/>
    </a:accent5>
    <a:accent6>
      <a:srgbClr val="624963"/>
    </a:accent6>
    <a:hlink>
      <a:srgbClr val="000099"/>
    </a:hlink>
    <a:folHlink>
      <a:srgbClr val="AAAAB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0">
    <a:dk1>
      <a:srgbClr val="000000"/>
    </a:dk1>
    <a:lt1>
      <a:srgbClr val="FFFFFF"/>
    </a:lt1>
    <a:dk2>
      <a:srgbClr val="0D2B4C"/>
    </a:dk2>
    <a:lt2>
      <a:srgbClr val="F2F2F2"/>
    </a:lt2>
    <a:accent1>
      <a:srgbClr val="BBBBBB"/>
    </a:accent1>
    <a:accent2>
      <a:srgbClr val="F6BD17"/>
    </a:accent2>
    <a:accent3>
      <a:srgbClr val="B4008D"/>
    </a:accent3>
    <a:accent4>
      <a:srgbClr val="8FA7B3"/>
    </a:accent4>
    <a:accent5>
      <a:srgbClr val="8FA7B3"/>
    </a:accent5>
    <a:accent6>
      <a:srgbClr val="624963"/>
    </a:accent6>
    <a:hlink>
      <a:srgbClr val="000099"/>
    </a:hlink>
    <a:folHlink>
      <a:srgbClr val="AAAAB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0">
    <a:dk1>
      <a:srgbClr val="000000"/>
    </a:dk1>
    <a:lt1>
      <a:srgbClr val="FFFFFF"/>
    </a:lt1>
    <a:dk2>
      <a:srgbClr val="0D2B4C"/>
    </a:dk2>
    <a:lt2>
      <a:srgbClr val="F2F2F2"/>
    </a:lt2>
    <a:accent1>
      <a:srgbClr val="BBBBBB"/>
    </a:accent1>
    <a:accent2>
      <a:srgbClr val="F6BD17"/>
    </a:accent2>
    <a:accent3>
      <a:srgbClr val="B4008D"/>
    </a:accent3>
    <a:accent4>
      <a:srgbClr val="8FA7B3"/>
    </a:accent4>
    <a:accent5>
      <a:srgbClr val="8FA7B3"/>
    </a:accent5>
    <a:accent6>
      <a:srgbClr val="624963"/>
    </a:accent6>
    <a:hlink>
      <a:srgbClr val="000099"/>
    </a:hlink>
    <a:folHlink>
      <a:srgbClr val="AAAAB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793</TotalTime>
  <Words>15894</Words>
  <Application>Microsoft Office PowerPoint</Application>
  <PresentationFormat>Widescreen</PresentationFormat>
  <Paragraphs>2395</Paragraphs>
  <Slides>74</Slides>
  <Notes>64</Notes>
  <HiddenSlides>1</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74</vt:i4>
      </vt:variant>
    </vt:vector>
  </HeadingPairs>
  <TitlesOfParts>
    <vt:vector size="87" baseType="lpstr">
      <vt:lpstr>AdvOT5415ed09.I</vt:lpstr>
      <vt:lpstr>AdvOTb7819099</vt:lpstr>
      <vt:lpstr>AdvP3E7259</vt:lpstr>
      <vt:lpstr>Arial</vt:lpstr>
      <vt:lpstr>Arial Black</vt:lpstr>
      <vt:lpstr>Arial Narrow</vt:lpstr>
      <vt:lpstr>Calibri</vt:lpstr>
      <vt:lpstr>Lato</vt:lpstr>
      <vt:lpstr>Times New Roman</vt:lpstr>
      <vt:lpstr>Wingdings</vt:lpstr>
      <vt:lpstr>DISCOVERI Theme</vt:lpstr>
      <vt:lpstr>1_DISCOVERI Theme</vt:lpstr>
      <vt:lpstr>2_DISCOVERI Theme</vt:lpstr>
      <vt:lpstr>Expanding Horizons in Worsening Heart Failure:  Insights from The VICTORIA trial</vt:lpstr>
      <vt:lpstr> Expanding horizons in worsening heart failure</vt:lpstr>
      <vt:lpstr>Worsening heart failure: Why should we care?</vt:lpstr>
      <vt:lpstr>Heart failure has significant impact on patients, HCP’s and healthcare systems globally and in India</vt:lpstr>
      <vt:lpstr>Prescription of guideline directed medical therapy:  Insights from Kerala AHF Registry</vt:lpstr>
      <vt:lpstr>Residual risk in HFrEF remains despite the use of HF medications</vt:lpstr>
      <vt:lpstr>HF progression is punctuated by repeated worsening HF events, each resulting in reduced cardiac function1–3</vt:lpstr>
      <vt:lpstr>Worsening HF events are associated with a poor prognosis</vt:lpstr>
      <vt:lpstr>Each worsening HF event is associated with a high risk of recurrent hospitalization</vt:lpstr>
      <vt:lpstr>Risk of CV death or HF hospitalization is highest in the early phase after hospitalization</vt:lpstr>
      <vt:lpstr>Worsening HF events become more frequent as HF progresses</vt:lpstr>
      <vt:lpstr>New Therapies Like vericiguat offer the Hope to Improve the Natural Disease Trajectory and Slow the Decline in Heart Failure</vt:lpstr>
      <vt:lpstr>The period following a WHF event is a critical juncture to modify a patient’s disease trajectory </vt:lpstr>
      <vt:lpstr>Challenging the status quo in Worsening heart failure: Snippets from VICTORIA trial </vt:lpstr>
      <vt:lpstr>PowerPoint Presentation</vt:lpstr>
      <vt:lpstr>By directly stimulating sGC, vericiguat has the potential to improve HF pathophysiology1–6</vt:lpstr>
      <vt:lpstr>By restoring the NO–sGC–cGMP pathway, vericiguat has the potential to improve HF pathophysiology1–6</vt:lpstr>
      <vt:lpstr>Current treatments for HFrEF were established based on large randomized, controlled trials, focused on patients with more stable chronic HFrEF</vt:lpstr>
      <vt:lpstr>VICTORIA was designed to study patients with symptomatic chronic HF who had a recent worsening HF event1–5</vt:lpstr>
      <vt:lpstr>The majority of VICTORIA patients received multiple HF therapies before randomization &amp; all randomized patients had a worsening HF event</vt:lpstr>
      <vt:lpstr>Vericiguat significantly reduced the primary composite outcome of first HF hospitalization or CV death</vt:lpstr>
      <vt:lpstr>The Secondary Endpoint of CV Death Was Directionally Consistent with the Primary Endpoint, with an ARR of 1 event/100 patient-yr1,2</vt:lpstr>
      <vt:lpstr>Vericiguat improved both primary and secondary outcomes in patients with chronic and worsening HF in VICTORIA</vt:lpstr>
      <vt:lpstr>Vericiguat has a favorable safety profile1,2</vt:lpstr>
      <vt:lpstr>Minimal differences in SBP were observed in VICTORIA1,2</vt:lpstr>
      <vt:lpstr>Absence of clinically relevant blood pressure reductions with vericiguat in vulnerable patients</vt:lpstr>
      <vt:lpstr>Higher NT-proBNP = higher CV risk</vt:lpstr>
      <vt:lpstr>Benefit of vericiguat was preserved in patients with NT‑proBNP levels up to 8,000 pg/ml1,2</vt:lpstr>
      <vt:lpstr>NT-proBNP changes over time</vt:lpstr>
      <vt:lpstr>Annualised NNTs for primary endpoint outcomes</vt:lpstr>
      <vt:lpstr>In patients with a recent worsening HF event, vericiguat reduced time to HFH or CV death with an ARR of 4.2%1–6 </vt:lpstr>
      <vt:lpstr>Vericiguat added to GDMT is well tolerated in patients with HFrEF following a worsening HF event</vt:lpstr>
      <vt:lpstr>Typical patient scenarios for vericiguat initiation</vt:lpstr>
      <vt:lpstr>When starting vericiguat…</vt:lpstr>
      <vt:lpstr>Vericiguat has a straightforward dosing schedule</vt:lpstr>
      <vt:lpstr>Vericiguat may be suitable for vulnerable patients  due to its favorable safety profile1,2</vt:lpstr>
      <vt:lpstr>Vericiguat is recommended for the comprehensive medical treatment of patients with worsening HF</vt:lpstr>
      <vt:lpstr>Vericiguat is consistently recommended for patients with HFrEF following a worsening HF event1–3</vt:lpstr>
      <vt:lpstr>Vericiguat is approved and recommended for patients with HFrEF following a worsening HF event1,2</vt:lpstr>
      <vt:lpstr>PowerPoint Presentation</vt:lpstr>
      <vt:lpstr>Case 1: Dr. Rajesh Pandit</vt:lpstr>
      <vt:lpstr>Clinical case: 72-year-old man with HFrEF*</vt:lpstr>
      <vt:lpstr>Question for discussion</vt:lpstr>
      <vt:lpstr>What can be done to reduce the risk of recurrent events in hospitalized patients?1</vt:lpstr>
      <vt:lpstr>International guideline recommendations for patients with HFrEF following a worsening HF event</vt:lpstr>
      <vt:lpstr>ESC 2021 guidelines recommend optimization of treatment  prior to hospital discharge1 </vt:lpstr>
      <vt:lpstr>ESC 2021 HF guidelines recommendations for the treatment of patients with HFrEF and specific patient groups1</vt:lpstr>
      <vt:lpstr>Vericiguat is consistently recommended for patients with HFrEF following a worsening HF event1–3</vt:lpstr>
      <vt:lpstr>Patients with HFrEF may benefit from a comprehensive pharmacological approach1</vt:lpstr>
      <vt:lpstr>Relative and absolute rate reductions in contemporary landmark HF trials1–6</vt:lpstr>
      <vt:lpstr>What if… you have decided to prescribe vericiguat for your patient?</vt:lpstr>
      <vt:lpstr>Clinical case: 72-year-old man with HFrEF*</vt:lpstr>
      <vt:lpstr>Initiating treatment with vericiguat</vt:lpstr>
      <vt:lpstr>IN VICTORIA, vericiguat reduced the primary outcome irrespective of time from index event*1</vt:lpstr>
      <vt:lpstr>Vericiguat can be initiated in various scenarios following a decompensation event1–4</vt:lpstr>
      <vt:lpstr> Dosages and monitoring requirements for vericiguat</vt:lpstr>
      <vt:lpstr>Vericiguat is a once-daily treatment1,2</vt:lpstr>
      <vt:lpstr>Vericiguat can be initiated pre-discharge to improve CV outcomes in patients following a worsening HF event1</vt:lpstr>
      <vt:lpstr>Case 2: Abhishek Shukla</vt:lpstr>
      <vt:lpstr>Clinical scenario: 59-year-old woman with HFrEF*</vt:lpstr>
      <vt:lpstr>Managing therapies in a complex patient</vt:lpstr>
      <vt:lpstr>Tolerability issues with existing HFrEF therapies</vt:lpstr>
      <vt:lpstr>Although the use of GDMT increases following a worsening HF event, this is often not sustained1</vt:lpstr>
      <vt:lpstr>Patients with HFrEF often suffer from medication  side effects, making adherence challenging1</vt:lpstr>
      <vt:lpstr>Key considerations when adding further therapies</vt:lpstr>
      <vt:lpstr>Vericiguat in patients with low renal function and elevated potassium levels</vt:lpstr>
      <vt:lpstr>In VICTORIA, vericiguat provided benefit in patients across eGFR categories*1</vt:lpstr>
      <vt:lpstr>VICTORIA demonstrated similar rates of AEs by  treatment arm and eGFR category1</vt:lpstr>
      <vt:lpstr>Vericiguat had no clinically relevant impact on sodium and potassium levels over time*1</vt:lpstr>
      <vt:lpstr>A recent ESC consensus paper highlighted that vericiguat is suitable for patients presenting with low renal function in which therapeutic options are limited1</vt:lpstr>
      <vt:lpstr>Considerations for other clinical characteristics or comorbidities</vt:lpstr>
      <vt:lpstr>Patient groups highlighted for vericiguat use according to the HFA consensus document on patient profiling1</vt:lpstr>
      <vt:lpstr>Practical considerations to optimize treatment management following a worsening HF event1–4</vt:lpstr>
      <vt:lpstr>Summary &amp; Closing remarks</vt:lpstr>
    </vt:vector>
  </TitlesOfParts>
  <Company>Bay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anding Horizons in Worsening Heart Failure:  Insights from The VICTORIA trial</dc:title>
  <dc:creator>Vinisha Saldanha</dc:creator>
  <cp:lastModifiedBy>Hanit Pal Singh</cp:lastModifiedBy>
  <cp:revision>20</cp:revision>
  <dcterms:created xsi:type="dcterms:W3CDTF">2022-07-09T10:31:31Z</dcterms:created>
  <dcterms:modified xsi:type="dcterms:W3CDTF">2023-03-23T18: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2-07-09T10:31:32Z</vt:lpwstr>
  </property>
  <property fmtid="{D5CDD505-2E9C-101B-9397-08002B2CF9AE}" pid="4" name="MSIP_Label_7f850223-87a8-40c3-9eb2-432606efca2a_Method">
    <vt:lpwstr>Standar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251a5734-09c5-4adb-b147-590bf9c12f20</vt:lpwstr>
  </property>
  <property fmtid="{D5CDD505-2E9C-101B-9397-08002B2CF9AE}" pid="8" name="MSIP_Label_7f850223-87a8-40c3-9eb2-432606efca2a_ContentBits">
    <vt:lpwstr>0</vt:lpwstr>
  </property>
</Properties>
</file>